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9"/>
  </p:notesMasterIdLst>
  <p:sldIdLst>
    <p:sldId id="256" r:id="rId5"/>
    <p:sldId id="2147478053" r:id="rId6"/>
    <p:sldId id="2147478041" r:id="rId7"/>
    <p:sldId id="2147478060" r:id="rId8"/>
    <p:sldId id="266" r:id="rId9"/>
    <p:sldId id="2147478062" r:id="rId10"/>
    <p:sldId id="2147478002" r:id="rId11"/>
    <p:sldId id="2147477979" r:id="rId12"/>
    <p:sldId id="2147477953" r:id="rId13"/>
    <p:sldId id="2147478004" r:id="rId14"/>
    <p:sldId id="2147477928" r:id="rId15"/>
    <p:sldId id="2147477929" r:id="rId16"/>
    <p:sldId id="2147478057" r:id="rId17"/>
    <p:sldId id="2147478008" r:id="rId18"/>
    <p:sldId id="2147478051" r:id="rId19"/>
    <p:sldId id="2147478058" r:id="rId20"/>
    <p:sldId id="272" r:id="rId21"/>
    <p:sldId id="278" r:id="rId22"/>
    <p:sldId id="273" r:id="rId23"/>
    <p:sldId id="2147477986" r:id="rId24"/>
    <p:sldId id="2147478011" r:id="rId25"/>
    <p:sldId id="2147478050" r:id="rId26"/>
    <p:sldId id="2147478063" r:id="rId27"/>
    <p:sldId id="2147478065" r:id="rId28"/>
  </p:sldIdLst>
  <p:sldSz cx="12192000" cy="6858000"/>
  <p:notesSz cx="6858000" cy="9144000"/>
  <p:defaultTextStyle>
    <a:defPPr>
      <a:defRPr lang="nb-NO"/>
    </a:defPPr>
    <a:lvl1pPr marL="0" algn="l" defTabSz="914400" rtl="0" eaLnBrk="1" fontAlgn="ctr" latinLnBrk="0" hangingPunct="1">
      <a:defRPr sz="1800" kern="1200">
        <a:solidFill>
          <a:schemeClr val="tx1"/>
        </a:solidFill>
        <a:latin typeface="+mn-lt"/>
        <a:ea typeface="+mn-ea"/>
        <a:cs typeface="+mn-cs"/>
      </a:defRPr>
    </a:lvl1pPr>
    <a:lvl2pPr marL="457200" algn="l" defTabSz="914400" rtl="0" eaLnBrk="1" fontAlgn="ctr" latinLnBrk="0" hangingPunct="1">
      <a:defRPr sz="1800" kern="1200">
        <a:solidFill>
          <a:schemeClr val="tx1"/>
        </a:solidFill>
        <a:latin typeface="+mn-lt"/>
        <a:ea typeface="+mn-ea"/>
        <a:cs typeface="+mn-cs"/>
      </a:defRPr>
    </a:lvl2pPr>
    <a:lvl3pPr marL="914400" algn="l" defTabSz="914400" rtl="0" eaLnBrk="1" fontAlgn="ctr" latinLnBrk="0" hangingPunct="1">
      <a:defRPr sz="1800" kern="1200">
        <a:solidFill>
          <a:schemeClr val="tx1"/>
        </a:solidFill>
        <a:latin typeface="+mn-lt"/>
        <a:ea typeface="+mn-ea"/>
        <a:cs typeface="+mn-cs"/>
      </a:defRPr>
    </a:lvl3pPr>
    <a:lvl4pPr marL="1371600" algn="l" defTabSz="914400" rtl="0" eaLnBrk="1" fontAlgn="ctr" latinLnBrk="0" hangingPunct="1">
      <a:defRPr sz="1800" kern="1200">
        <a:solidFill>
          <a:schemeClr val="tx1"/>
        </a:solidFill>
        <a:latin typeface="+mn-lt"/>
        <a:ea typeface="+mn-ea"/>
        <a:cs typeface="+mn-cs"/>
      </a:defRPr>
    </a:lvl4pPr>
    <a:lvl5pPr marL="1828800" algn="l" defTabSz="914400" rtl="0" eaLnBrk="1" fontAlgn="ctr" latinLnBrk="0" hangingPunct="1">
      <a:defRPr sz="1800" kern="1200">
        <a:solidFill>
          <a:schemeClr val="tx1"/>
        </a:solidFill>
        <a:latin typeface="+mn-lt"/>
        <a:ea typeface="+mn-ea"/>
        <a:cs typeface="+mn-cs"/>
      </a:defRPr>
    </a:lvl5pPr>
    <a:lvl6pPr marL="2286000" algn="l" defTabSz="914400" rtl="0" eaLnBrk="1" fontAlgn="ctr" latinLnBrk="0" hangingPunct="1">
      <a:defRPr sz="1800" kern="1200">
        <a:solidFill>
          <a:schemeClr val="tx1"/>
        </a:solidFill>
        <a:latin typeface="+mn-lt"/>
        <a:ea typeface="+mn-ea"/>
        <a:cs typeface="+mn-cs"/>
      </a:defRPr>
    </a:lvl6pPr>
    <a:lvl7pPr marL="2743200" algn="l" defTabSz="914400" rtl="0" eaLnBrk="1" fontAlgn="ctr" latinLnBrk="0" hangingPunct="1">
      <a:defRPr sz="1800" kern="1200">
        <a:solidFill>
          <a:schemeClr val="tx1"/>
        </a:solidFill>
        <a:latin typeface="+mn-lt"/>
        <a:ea typeface="+mn-ea"/>
        <a:cs typeface="+mn-cs"/>
      </a:defRPr>
    </a:lvl7pPr>
    <a:lvl8pPr marL="3200400" algn="l" defTabSz="914400" rtl="0" eaLnBrk="1" fontAlgn="ctr" latinLnBrk="0" hangingPunct="1">
      <a:defRPr sz="1800" kern="1200">
        <a:solidFill>
          <a:schemeClr val="tx1"/>
        </a:solidFill>
        <a:latin typeface="+mn-lt"/>
        <a:ea typeface="+mn-ea"/>
        <a:cs typeface="+mn-cs"/>
      </a:defRPr>
    </a:lvl8pPr>
    <a:lvl9pPr marL="3657600" algn="l" defTabSz="914400" rtl="0" eaLnBrk="1" fontAlgn="ctr"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8C0C32B-AA95-7616-49FB-13680F6FA103}" name="Anne Mette Dørum" initials="AD" userId="S::anne.mette.dorum@novari.no::630b2d0e-ba2e-4795-a199-e23febfaa9c0" providerId="AD"/>
  <p188:author id="{14466A40-7259-6199-29DD-511D269BC2B1}" name="Jonas Bjørkå-Hjortdal" initials="JB" userId="S::jonas.hjortdal@novari.no::615ec882-2981-40f0-be27-f9ba81cec398" providerId="AD"/>
  <p188:author id="{139D3C63-BFF8-98D1-9BAF-5EAFE84D8D98}" name="Gyri Stavdal" initials="GS" userId="S::gyri.stavdal@novari.no::7eccf8c0-bf3f-4f03-a131-4f06eedb4106" providerId="AD"/>
  <p188:author id="{145F8667-F836-2583-33B1-665D87107E61}" name="Anne Synnøve Sundsteigen" initials="AS" userId="S::anne.synnove.sundsteigen@novari.no::19c42437-4938-46f5-882c-087437ab266b" providerId="AD"/>
  <p188:author id="{CA6DDB8E-CB47-C1DA-F63E-713C74F50D6B}" name="Nils Winther" initials="NW" userId="S::nils.winther@novari.no::3ba2a1a4-514f-4c14-9178-e30b157a6ed4" providerId="AD"/>
  <p188:author id="{C6265CC8-7278-25C5-B4CC-07D619E84D5F}" name="Benedicte Aas Glad" initials="BA" userId="S::benedicte.glad@novari.no::55a9e165-0d8a-4034-a14f-0bb29877055b"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4981308-85D0-BD4E-B579-5764B255B7FA}" v="190" dt="2025-06-12T07:53:36.58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05"/>
    <p:restoredTop sz="94677"/>
  </p:normalViewPr>
  <p:slideViewPr>
    <p:cSldViewPr snapToGrid="0">
      <p:cViewPr varScale="1">
        <p:scale>
          <a:sx n="101" d="100"/>
          <a:sy n="101" d="100"/>
        </p:scale>
        <p:origin x="1176"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e Synnøve Sundsteigen" userId="S::anne.synnove.sundsteigen@novari.no::19c42437-4938-46f5-882c-087437ab266b" providerId="AD" clId="Web-{C42B7A8B-7B99-185E-BE48-C63F55A66BF8}"/>
    <pc:docChg chg="mod modSld">
      <pc:chgData name="Anne Synnøve Sundsteigen" userId="S::anne.synnove.sundsteigen@novari.no::19c42437-4938-46f5-882c-087437ab266b" providerId="AD" clId="Web-{C42B7A8B-7B99-185E-BE48-C63F55A66BF8}" dt="2025-06-11T08:54:20.775" v="8"/>
      <pc:docMkLst>
        <pc:docMk/>
      </pc:docMkLst>
      <pc:sldChg chg="addSp modSp">
        <pc:chgData name="Anne Synnøve Sundsteigen" userId="S::anne.synnove.sundsteigen@novari.no::19c42437-4938-46f5-882c-087437ab266b" providerId="AD" clId="Web-{C42B7A8B-7B99-185E-BE48-C63F55A66BF8}" dt="2025-06-11T08:53:55.696" v="7" actId="1076"/>
        <pc:sldMkLst>
          <pc:docMk/>
          <pc:sldMk cId="1372717528" sldId="2147478053"/>
        </pc:sldMkLst>
        <pc:picChg chg="add mod modCrop">
          <ac:chgData name="Anne Synnøve Sundsteigen" userId="S::anne.synnove.sundsteigen@novari.no::19c42437-4938-46f5-882c-087437ab266b" providerId="AD" clId="Web-{C42B7A8B-7B99-185E-BE48-C63F55A66BF8}" dt="2025-06-11T08:53:55.696" v="7" actId="1076"/>
          <ac:picMkLst>
            <pc:docMk/>
            <pc:sldMk cId="1372717528" sldId="2147478053"/>
            <ac:picMk id="3" creationId="{E6303CBE-1172-5938-C1E6-77A1F844BFA9}"/>
          </ac:picMkLst>
        </pc:picChg>
      </pc:sldChg>
    </pc:docChg>
  </pc:docChgLst>
  <pc:docChgLst>
    <pc:chgData name="Jonas Bjørkå-Hjortdal" userId="615ec882-2981-40f0-be27-f9ba81cec398" providerId="ADAL" clId="{A103D56B-9BB1-491C-ABA7-117565E5D90B}"/>
    <pc:docChg chg="undo redo custSel addSld delSld modSld sldOrd">
      <pc:chgData name="Jonas Bjørkå-Hjortdal" userId="615ec882-2981-40f0-be27-f9ba81cec398" providerId="ADAL" clId="{A103D56B-9BB1-491C-ABA7-117565E5D90B}" dt="2025-06-11T11:53:30.210" v="1192" actId="1076"/>
      <pc:docMkLst>
        <pc:docMk/>
      </pc:docMkLst>
      <pc:sldChg chg="ord">
        <pc:chgData name="Jonas Bjørkå-Hjortdal" userId="615ec882-2981-40f0-be27-f9ba81cec398" providerId="ADAL" clId="{A103D56B-9BB1-491C-ABA7-117565E5D90B}" dt="2025-06-11T10:41:21.892" v="67"/>
        <pc:sldMkLst>
          <pc:docMk/>
          <pc:sldMk cId="2896630864" sldId="258"/>
        </pc:sldMkLst>
      </pc:sldChg>
      <pc:sldChg chg="modSp mod">
        <pc:chgData name="Jonas Bjørkå-Hjortdal" userId="615ec882-2981-40f0-be27-f9ba81cec398" providerId="ADAL" clId="{A103D56B-9BB1-491C-ABA7-117565E5D90B}" dt="2025-06-11T10:03:37.853" v="57" actId="20577"/>
        <pc:sldMkLst>
          <pc:docMk/>
          <pc:sldMk cId="531959542" sldId="266"/>
        </pc:sldMkLst>
        <pc:spChg chg="mod">
          <ac:chgData name="Jonas Bjørkå-Hjortdal" userId="615ec882-2981-40f0-be27-f9ba81cec398" providerId="ADAL" clId="{A103D56B-9BB1-491C-ABA7-117565E5D90B}" dt="2025-06-11T10:03:37.853" v="57" actId="20577"/>
          <ac:spMkLst>
            <pc:docMk/>
            <pc:sldMk cId="531959542" sldId="266"/>
            <ac:spMk id="36" creationId="{FA1D098F-0F33-404D-5F00-B97EB6CBF425}"/>
          </ac:spMkLst>
        </pc:spChg>
      </pc:sldChg>
      <pc:sldChg chg="modSp mod ord modShow">
        <pc:chgData name="Jonas Bjørkå-Hjortdal" userId="615ec882-2981-40f0-be27-f9ba81cec398" providerId="ADAL" clId="{A103D56B-9BB1-491C-ABA7-117565E5D90B}" dt="2025-06-11T11:24:16.516" v="459"/>
        <pc:sldMkLst>
          <pc:docMk/>
          <pc:sldMk cId="259941495" sldId="275"/>
        </pc:sldMkLst>
      </pc:sldChg>
      <pc:sldChg chg="modSp mod">
        <pc:chgData name="Jonas Bjørkå-Hjortdal" userId="615ec882-2981-40f0-be27-f9ba81cec398" providerId="ADAL" clId="{A103D56B-9BB1-491C-ABA7-117565E5D90B}" dt="2025-06-11T10:02:09.229" v="53" actId="404"/>
        <pc:sldMkLst>
          <pc:docMk/>
          <pc:sldMk cId="3791136380" sldId="2147477928"/>
        </pc:sldMkLst>
        <pc:spChg chg="mod">
          <ac:chgData name="Jonas Bjørkå-Hjortdal" userId="615ec882-2981-40f0-be27-f9ba81cec398" providerId="ADAL" clId="{A103D56B-9BB1-491C-ABA7-117565E5D90B}" dt="2025-06-11T10:02:09.229" v="53" actId="404"/>
          <ac:spMkLst>
            <pc:docMk/>
            <pc:sldMk cId="3791136380" sldId="2147477928"/>
            <ac:spMk id="16" creationId="{DC0B43C7-ADE9-5566-628B-A44A002BBB74}"/>
          </ac:spMkLst>
        </pc:spChg>
      </pc:sldChg>
      <pc:sldChg chg="modSp mod modShow">
        <pc:chgData name="Jonas Bjørkå-Hjortdal" userId="615ec882-2981-40f0-be27-f9ba81cec398" providerId="ADAL" clId="{A103D56B-9BB1-491C-ABA7-117565E5D90B}" dt="2025-06-11T11:27:54.496" v="464" actId="729"/>
        <pc:sldMkLst>
          <pc:docMk/>
          <pc:sldMk cId="3510433400" sldId="2147477999"/>
        </pc:sldMkLst>
      </pc:sldChg>
      <pc:sldChg chg="addSp delSp modSp mod">
        <pc:chgData name="Jonas Bjørkå-Hjortdal" userId="615ec882-2981-40f0-be27-f9ba81cec398" providerId="ADAL" clId="{A103D56B-9BB1-491C-ABA7-117565E5D90B}" dt="2025-06-11T11:22:51.661" v="427" actId="478"/>
        <pc:sldMkLst>
          <pc:docMk/>
          <pc:sldMk cId="2131935477" sldId="2147478002"/>
        </pc:sldMkLst>
      </pc:sldChg>
      <pc:sldChg chg="modSp mod">
        <pc:chgData name="Jonas Bjørkå-Hjortdal" userId="615ec882-2981-40f0-be27-f9ba81cec398" providerId="ADAL" clId="{A103D56B-9BB1-491C-ABA7-117565E5D90B}" dt="2025-06-11T11:28:22.556" v="465" actId="207"/>
        <pc:sldMkLst>
          <pc:docMk/>
          <pc:sldMk cId="59814507" sldId="2147478008"/>
        </pc:sldMkLst>
        <pc:spChg chg="mod">
          <ac:chgData name="Jonas Bjørkå-Hjortdal" userId="615ec882-2981-40f0-be27-f9ba81cec398" providerId="ADAL" clId="{A103D56B-9BB1-491C-ABA7-117565E5D90B}" dt="2025-06-11T11:28:22.556" v="465" actId="207"/>
          <ac:spMkLst>
            <pc:docMk/>
            <pc:sldMk cId="59814507" sldId="2147478008"/>
            <ac:spMk id="23" creationId="{7FDE2B00-A76B-3EF7-E4E6-FD06EA31FA4A}"/>
          </ac:spMkLst>
        </pc:spChg>
      </pc:sldChg>
      <pc:sldChg chg="addSp delSp modSp mod ord modClrScheme delAnim modAnim chgLayout">
        <pc:chgData name="Jonas Bjørkå-Hjortdal" userId="615ec882-2981-40f0-be27-f9ba81cec398" providerId="ADAL" clId="{A103D56B-9BB1-491C-ABA7-117565E5D90B}" dt="2025-06-11T11:17:58.335" v="413" actId="478"/>
        <pc:sldMkLst>
          <pc:docMk/>
          <pc:sldMk cId="2113800702" sldId="2147478041"/>
        </pc:sldMkLst>
        <pc:spChg chg="add mod">
          <ac:chgData name="Jonas Bjørkå-Hjortdal" userId="615ec882-2981-40f0-be27-f9ba81cec398" providerId="ADAL" clId="{A103D56B-9BB1-491C-ABA7-117565E5D90B}" dt="2025-06-11T11:15:21.772" v="400" actId="1076"/>
          <ac:spMkLst>
            <pc:docMk/>
            <pc:sldMk cId="2113800702" sldId="2147478041"/>
            <ac:spMk id="3" creationId="{3DBF386A-29FA-A66D-8798-85EB2D2D5093}"/>
          </ac:spMkLst>
        </pc:spChg>
        <pc:spChg chg="add mod">
          <ac:chgData name="Jonas Bjørkå-Hjortdal" userId="615ec882-2981-40f0-be27-f9ba81cec398" providerId="ADAL" clId="{A103D56B-9BB1-491C-ABA7-117565E5D90B}" dt="2025-06-11T11:13:14.797" v="335" actId="26606"/>
          <ac:spMkLst>
            <pc:docMk/>
            <pc:sldMk cId="2113800702" sldId="2147478041"/>
            <ac:spMk id="507" creationId="{863334C0-03EF-8208-60B2-8DCCA28C1088}"/>
          </ac:spMkLst>
        </pc:spChg>
        <pc:graphicFrameChg chg="add mod">
          <ac:chgData name="Jonas Bjørkå-Hjortdal" userId="615ec882-2981-40f0-be27-f9ba81cec398" providerId="ADAL" clId="{A103D56B-9BB1-491C-ABA7-117565E5D90B}" dt="2025-06-11T11:15:51.586" v="406" actId="20577"/>
          <ac:graphicFrameMkLst>
            <pc:docMk/>
            <pc:sldMk cId="2113800702" sldId="2147478041"/>
            <ac:graphicFrameMk id="503" creationId="{1BF7A599-9884-A8CE-5AEE-D0EE872BD81F}"/>
          </ac:graphicFrameMkLst>
        </pc:graphicFrameChg>
      </pc:sldChg>
      <pc:sldChg chg="modSp mod">
        <pc:chgData name="Jonas Bjørkå-Hjortdal" userId="615ec882-2981-40f0-be27-f9ba81cec398" providerId="ADAL" clId="{A103D56B-9BB1-491C-ABA7-117565E5D90B}" dt="2025-06-11T10:04:01.263" v="61" actId="20577"/>
        <pc:sldMkLst>
          <pc:docMk/>
          <pc:sldMk cId="3321981643" sldId="2147478051"/>
        </pc:sldMkLst>
        <pc:spChg chg="mod">
          <ac:chgData name="Jonas Bjørkå-Hjortdal" userId="615ec882-2981-40f0-be27-f9ba81cec398" providerId="ADAL" clId="{A103D56B-9BB1-491C-ABA7-117565E5D90B}" dt="2025-06-11T10:04:01.263" v="61" actId="20577"/>
          <ac:spMkLst>
            <pc:docMk/>
            <pc:sldMk cId="3321981643" sldId="2147478051"/>
            <ac:spMk id="5" creationId="{74BD232D-5C38-2B64-B71D-F06AE44C3A74}"/>
          </ac:spMkLst>
        </pc:spChg>
      </pc:sldChg>
      <pc:sldChg chg="modSp mod ord">
        <pc:chgData name="Jonas Bjørkå-Hjortdal" userId="615ec882-2981-40f0-be27-f9ba81cec398" providerId="ADAL" clId="{A103D56B-9BB1-491C-ABA7-117565E5D90B}" dt="2025-06-11T10:41:13.857" v="65"/>
        <pc:sldMkLst>
          <pc:docMk/>
          <pc:sldMk cId="1372717528" sldId="2147478053"/>
        </pc:sldMkLst>
        <pc:spChg chg="mod">
          <ac:chgData name="Jonas Bjørkå-Hjortdal" userId="615ec882-2981-40f0-be27-f9ba81cec398" providerId="ADAL" clId="{A103D56B-9BB1-491C-ABA7-117565E5D90B}" dt="2025-06-11T10:33:21.583" v="63" actId="20577"/>
          <ac:spMkLst>
            <pc:docMk/>
            <pc:sldMk cId="1372717528" sldId="2147478053"/>
            <ac:spMk id="4" creationId="{EAD93288-1FD7-340B-7F25-335BFAD335CA}"/>
          </ac:spMkLst>
        </pc:spChg>
      </pc:sldChg>
      <pc:sldChg chg="mod ord modShow">
        <pc:chgData name="Jonas Bjørkå-Hjortdal" userId="615ec882-2981-40f0-be27-f9ba81cec398" providerId="ADAL" clId="{A103D56B-9BB1-491C-ABA7-117565E5D90B}" dt="2025-06-11T10:41:40.911" v="72" actId="729"/>
        <pc:sldMkLst>
          <pc:docMk/>
          <pc:sldMk cId="3708839777" sldId="2147478056"/>
        </pc:sldMkLst>
      </pc:sldChg>
      <pc:sldChg chg="new del">
        <pc:chgData name="Jonas Bjørkå-Hjortdal" userId="615ec882-2981-40f0-be27-f9ba81cec398" providerId="ADAL" clId="{A103D56B-9BB1-491C-ABA7-117565E5D90B}" dt="2025-06-11T10:42:07.182" v="75" actId="2696"/>
        <pc:sldMkLst>
          <pc:docMk/>
          <pc:sldMk cId="3686595321" sldId="2147478059"/>
        </pc:sldMkLst>
      </pc:sldChg>
      <pc:sldChg chg="addSp delSp modSp add mod setBg modClrScheme chgLayout">
        <pc:chgData name="Jonas Bjørkå-Hjortdal" userId="615ec882-2981-40f0-be27-f9ba81cec398" providerId="ADAL" clId="{A103D56B-9BB1-491C-ABA7-117565E5D90B}" dt="2025-06-11T11:24:36.318" v="461" actId="20577"/>
        <pc:sldMkLst>
          <pc:docMk/>
          <pc:sldMk cId="4003920697" sldId="2147478060"/>
        </pc:sldMkLst>
        <pc:spChg chg="add mod">
          <ac:chgData name="Jonas Bjørkå-Hjortdal" userId="615ec882-2981-40f0-be27-f9ba81cec398" providerId="ADAL" clId="{A103D56B-9BB1-491C-ABA7-117565E5D90B}" dt="2025-06-11T11:11:20.382" v="310" actId="403"/>
          <ac:spMkLst>
            <pc:docMk/>
            <pc:sldMk cId="4003920697" sldId="2147478060"/>
            <ac:spMk id="3" creationId="{EDA57770-2DED-FA34-3967-EC77BB129848}"/>
          </ac:spMkLst>
        </pc:spChg>
        <pc:spChg chg="add mod">
          <ac:chgData name="Jonas Bjørkå-Hjortdal" userId="615ec882-2981-40f0-be27-f9ba81cec398" providerId="ADAL" clId="{A103D56B-9BB1-491C-ABA7-117565E5D90B}" dt="2025-06-11T11:07:55.823" v="258" actId="26606"/>
          <ac:spMkLst>
            <pc:docMk/>
            <pc:sldMk cId="4003920697" sldId="2147478060"/>
            <ac:spMk id="507" creationId="{F6A86BDC-1FE7-2FBC-FCEC-83AEDDB55D4E}"/>
          </ac:spMkLst>
        </pc:spChg>
        <pc:graphicFrameChg chg="add mod">
          <ac:chgData name="Jonas Bjørkå-Hjortdal" userId="615ec882-2981-40f0-be27-f9ba81cec398" providerId="ADAL" clId="{A103D56B-9BB1-491C-ABA7-117565E5D90B}" dt="2025-06-11T11:24:36.318" v="461" actId="20577"/>
          <ac:graphicFrameMkLst>
            <pc:docMk/>
            <pc:sldMk cId="4003920697" sldId="2147478060"/>
            <ac:graphicFrameMk id="503" creationId="{98AB6728-1FF5-AF7B-07A9-A57350ECF767}"/>
          </ac:graphicFrameMkLst>
        </pc:graphicFrameChg>
      </pc:sldChg>
      <pc:sldChg chg="addSp delSp modSp new mod ord">
        <pc:chgData name="Jonas Bjørkå-Hjortdal" userId="615ec882-2981-40f0-be27-f9ba81cec398" providerId="ADAL" clId="{A103D56B-9BB1-491C-ABA7-117565E5D90B}" dt="2025-06-11T11:34:53.847" v="667"/>
        <pc:sldMkLst>
          <pc:docMk/>
          <pc:sldMk cId="2689959866" sldId="2147478061"/>
        </pc:sldMkLst>
      </pc:sldChg>
      <pc:sldChg chg="new add del">
        <pc:chgData name="Jonas Bjørkå-Hjortdal" userId="615ec882-2981-40f0-be27-f9ba81cec398" providerId="ADAL" clId="{A103D56B-9BB1-491C-ABA7-117565E5D90B}" dt="2025-06-11T11:32:09.887" v="471" actId="47"/>
        <pc:sldMkLst>
          <pc:docMk/>
          <pc:sldMk cId="660187418" sldId="2147478062"/>
        </pc:sldMkLst>
      </pc:sldChg>
      <pc:sldChg chg="new del">
        <pc:chgData name="Jonas Bjørkå-Hjortdal" userId="615ec882-2981-40f0-be27-f9ba81cec398" providerId="ADAL" clId="{A103D56B-9BB1-491C-ABA7-117565E5D90B}" dt="2025-06-11T11:25:13.039" v="463" actId="47"/>
        <pc:sldMkLst>
          <pc:docMk/>
          <pc:sldMk cId="748313010" sldId="2147478062"/>
        </pc:sldMkLst>
      </pc:sldChg>
      <pc:sldChg chg="addSp delSp modSp new mod modClrScheme chgLayout">
        <pc:chgData name="Jonas Bjørkå-Hjortdal" userId="615ec882-2981-40f0-be27-f9ba81cec398" providerId="ADAL" clId="{A103D56B-9BB1-491C-ABA7-117565E5D90B}" dt="2025-06-11T11:53:30.210" v="1192" actId="1076"/>
        <pc:sldMkLst>
          <pc:docMk/>
          <pc:sldMk cId="3032819932" sldId="2147478062"/>
        </pc:sldMkLst>
        <pc:spChg chg="add mod ord">
          <ac:chgData name="Jonas Bjørkå-Hjortdal" userId="615ec882-2981-40f0-be27-f9ba81cec398" providerId="ADAL" clId="{A103D56B-9BB1-491C-ABA7-117565E5D90B}" dt="2025-06-11T11:50:29.232" v="1183" actId="403"/>
          <ac:spMkLst>
            <pc:docMk/>
            <pc:sldMk cId="3032819932" sldId="2147478062"/>
            <ac:spMk id="2" creationId="{FF55B20F-7685-A1AA-516C-DBC609C63827}"/>
          </ac:spMkLst>
        </pc:spChg>
        <pc:spChg chg="add mod">
          <ac:chgData name="Jonas Bjørkå-Hjortdal" userId="615ec882-2981-40f0-be27-f9ba81cec398" providerId="ADAL" clId="{A103D56B-9BB1-491C-ABA7-117565E5D90B}" dt="2025-06-11T11:50:32.307" v="1184" actId="1076"/>
          <ac:spMkLst>
            <pc:docMk/>
            <pc:sldMk cId="3032819932" sldId="2147478062"/>
            <ac:spMk id="7" creationId="{C2976AAC-94D0-3586-DCB5-49AF8309E203}"/>
          </ac:spMkLst>
        </pc:spChg>
        <pc:spChg chg="add mod">
          <ac:chgData name="Jonas Bjørkå-Hjortdal" userId="615ec882-2981-40f0-be27-f9ba81cec398" providerId="ADAL" clId="{A103D56B-9BB1-491C-ABA7-117565E5D90B}" dt="2025-06-11T11:44:43.132" v="1152" actId="26606"/>
          <ac:spMkLst>
            <pc:docMk/>
            <pc:sldMk cId="3032819932" sldId="2147478062"/>
            <ac:spMk id="11" creationId="{E9243736-EB94-78CA-6116-857A5817ECA0}"/>
          </ac:spMkLst>
        </pc:spChg>
        <pc:grpChg chg="mod">
          <ac:chgData name="Jonas Bjørkå-Hjortdal" userId="615ec882-2981-40f0-be27-f9ba81cec398" providerId="ADAL" clId="{A103D56B-9BB1-491C-ABA7-117565E5D90B}" dt="2025-06-11T11:53:05.323" v="1190" actId="14100"/>
          <ac:grpSpMkLst>
            <pc:docMk/>
            <pc:sldMk cId="3032819932" sldId="2147478062"/>
            <ac:grpSpMk id="4" creationId="{5C5C6019-ACD1-8B85-13DF-D47AEF27619D}"/>
          </ac:grpSpMkLst>
        </pc:grpChg>
        <pc:picChg chg="mod">
          <ac:chgData name="Jonas Bjørkå-Hjortdal" userId="615ec882-2981-40f0-be27-f9ba81cec398" providerId="ADAL" clId="{A103D56B-9BB1-491C-ABA7-117565E5D90B}" dt="2025-06-11T11:53:05.323" v="1190" actId="14100"/>
          <ac:picMkLst>
            <pc:docMk/>
            <pc:sldMk cId="3032819932" sldId="2147478062"/>
            <ac:picMk id="6" creationId="{6F278D0D-16EC-0321-113E-7CA89E0AFD6D}"/>
          </ac:picMkLst>
        </pc:picChg>
        <pc:picChg chg="add mod">
          <ac:chgData name="Jonas Bjørkå-Hjortdal" userId="615ec882-2981-40f0-be27-f9ba81cec398" providerId="ADAL" clId="{A103D56B-9BB1-491C-ABA7-117565E5D90B}" dt="2025-06-11T11:53:05.323" v="1190" actId="14100"/>
          <ac:picMkLst>
            <pc:docMk/>
            <pc:sldMk cId="3032819932" sldId="2147478062"/>
            <ac:picMk id="12" creationId="{DF6D0735-9961-3CFC-AEA0-B12C4EE3B6EE}"/>
          </ac:picMkLst>
        </pc:picChg>
        <pc:picChg chg="mod">
          <ac:chgData name="Jonas Bjørkå-Hjortdal" userId="615ec882-2981-40f0-be27-f9ba81cec398" providerId="ADAL" clId="{A103D56B-9BB1-491C-ABA7-117565E5D90B}" dt="2025-06-11T11:53:30.210" v="1192" actId="1076"/>
          <ac:picMkLst>
            <pc:docMk/>
            <pc:sldMk cId="3032819932" sldId="2147478062"/>
            <ac:picMk id="13" creationId="{3C23EBB4-F3F5-2137-B070-4AC800FE3F6C}"/>
          </ac:picMkLst>
        </pc:picChg>
        <pc:picChg chg="add mod">
          <ac:chgData name="Jonas Bjørkå-Hjortdal" userId="615ec882-2981-40f0-be27-f9ba81cec398" providerId="ADAL" clId="{A103D56B-9BB1-491C-ABA7-117565E5D90B}" dt="2025-06-11T11:53:22.381" v="1191" actId="1076"/>
          <ac:picMkLst>
            <pc:docMk/>
            <pc:sldMk cId="3032819932" sldId="2147478062"/>
            <ac:picMk id="17" creationId="{3647D9E6-70E0-69B0-5D43-8EF4201FB3EE}"/>
          </ac:picMkLst>
        </pc:picChg>
      </pc:sldChg>
      <pc:sldChg chg="modSp new">
        <pc:chgData name="Jonas Bjørkå-Hjortdal" userId="615ec882-2981-40f0-be27-f9ba81cec398" providerId="ADAL" clId="{A103D56B-9BB1-491C-ABA7-117565E5D90B}" dt="2025-06-11T11:44:34.943" v="1151"/>
        <pc:sldMkLst>
          <pc:docMk/>
          <pc:sldMk cId="3043597025" sldId="2147478063"/>
        </pc:sldMkLst>
      </pc:sldChg>
    </pc:docChg>
  </pc:docChgLst>
  <pc:docChgLst>
    <pc:chgData name="Benedicte Aas Glad" userId="55a9e165-0d8a-4034-a14f-0bb29877055b" providerId="ADAL" clId="{E4981308-85D0-BD4E-B579-5764B255B7FA}"/>
    <pc:docChg chg="undo custSel addSld delSld modSld sldOrd">
      <pc:chgData name="Benedicte Aas Glad" userId="55a9e165-0d8a-4034-a14f-0bb29877055b" providerId="ADAL" clId="{E4981308-85D0-BD4E-B579-5764B255B7FA}" dt="2025-06-12T07:53:36.588" v="5127" actId="2696"/>
      <pc:docMkLst>
        <pc:docMk/>
      </pc:docMkLst>
      <pc:sldChg chg="modSp mod">
        <pc:chgData name="Benedicte Aas Glad" userId="55a9e165-0d8a-4034-a14f-0bb29877055b" providerId="ADAL" clId="{E4981308-85D0-BD4E-B579-5764B255B7FA}" dt="2025-06-03T09:37:31.551" v="1" actId="20577"/>
        <pc:sldMkLst>
          <pc:docMk/>
          <pc:sldMk cId="1397606944" sldId="256"/>
        </pc:sldMkLst>
        <pc:spChg chg="mod">
          <ac:chgData name="Benedicte Aas Glad" userId="55a9e165-0d8a-4034-a14f-0bb29877055b" providerId="ADAL" clId="{E4981308-85D0-BD4E-B579-5764B255B7FA}" dt="2025-06-03T09:37:31.551" v="1" actId="20577"/>
          <ac:spMkLst>
            <pc:docMk/>
            <pc:sldMk cId="1397606944" sldId="256"/>
            <ac:spMk id="7" creationId="{4A46942D-7CC9-445F-1DAE-8529D705DC4B}"/>
          </ac:spMkLst>
        </pc:spChg>
      </pc:sldChg>
      <pc:sldChg chg="del mod modShow">
        <pc:chgData name="Benedicte Aas Glad" userId="55a9e165-0d8a-4034-a14f-0bb29877055b" providerId="ADAL" clId="{E4981308-85D0-BD4E-B579-5764B255B7FA}" dt="2025-06-11T19:36:35.510" v="4091" actId="2696"/>
        <pc:sldMkLst>
          <pc:docMk/>
          <pc:sldMk cId="2896630864" sldId="258"/>
        </pc:sldMkLst>
      </pc:sldChg>
      <pc:sldChg chg="addSp delSp modSp add mod ord">
        <pc:chgData name="Benedicte Aas Glad" userId="55a9e165-0d8a-4034-a14f-0bb29877055b" providerId="ADAL" clId="{E4981308-85D0-BD4E-B579-5764B255B7FA}" dt="2025-06-06T08:52:29.016" v="3669" actId="20578"/>
        <pc:sldMkLst>
          <pc:docMk/>
          <pc:sldMk cId="531959542" sldId="266"/>
        </pc:sldMkLst>
        <pc:spChg chg="mod">
          <ac:chgData name="Benedicte Aas Glad" userId="55a9e165-0d8a-4034-a14f-0bb29877055b" providerId="ADAL" clId="{E4981308-85D0-BD4E-B579-5764B255B7FA}" dt="2025-06-05T11:04:41.235" v="856" actId="947"/>
          <ac:spMkLst>
            <pc:docMk/>
            <pc:sldMk cId="531959542" sldId="266"/>
            <ac:spMk id="3" creationId="{68ADE534-F951-1995-AA5B-66FA83EF6D55}"/>
          </ac:spMkLst>
        </pc:spChg>
        <pc:spChg chg="mod">
          <ac:chgData name="Benedicte Aas Glad" userId="55a9e165-0d8a-4034-a14f-0bb29877055b" providerId="ADAL" clId="{E4981308-85D0-BD4E-B579-5764B255B7FA}" dt="2025-06-05T11:04:41.236" v="858" actId="947"/>
          <ac:spMkLst>
            <pc:docMk/>
            <pc:sldMk cId="531959542" sldId="266"/>
            <ac:spMk id="4" creationId="{55B4FB16-96E6-0265-F2D5-474C67E6168F}"/>
          </ac:spMkLst>
        </pc:spChg>
        <pc:spChg chg="mod">
          <ac:chgData name="Benedicte Aas Glad" userId="55a9e165-0d8a-4034-a14f-0bb29877055b" providerId="ADAL" clId="{E4981308-85D0-BD4E-B579-5764B255B7FA}" dt="2025-06-05T11:04:41.237" v="860" actId="947"/>
          <ac:spMkLst>
            <pc:docMk/>
            <pc:sldMk cId="531959542" sldId="266"/>
            <ac:spMk id="5" creationId="{07F4AED0-27F9-8ACB-B609-D1EDF3F903F0}"/>
          </ac:spMkLst>
        </pc:spChg>
        <pc:spChg chg="mod">
          <ac:chgData name="Benedicte Aas Glad" userId="55a9e165-0d8a-4034-a14f-0bb29877055b" providerId="ADAL" clId="{E4981308-85D0-BD4E-B579-5764B255B7FA}" dt="2025-06-05T11:04:41.238" v="862" actId="947"/>
          <ac:spMkLst>
            <pc:docMk/>
            <pc:sldMk cId="531959542" sldId="266"/>
            <ac:spMk id="6" creationId="{1AD4955F-1484-C31E-54C6-CC9A51C9A85A}"/>
          </ac:spMkLst>
        </pc:spChg>
        <pc:spChg chg="mod">
          <ac:chgData name="Benedicte Aas Glad" userId="55a9e165-0d8a-4034-a14f-0bb29877055b" providerId="ADAL" clId="{E4981308-85D0-BD4E-B579-5764B255B7FA}" dt="2025-06-05T11:04:41.238" v="864" actId="947"/>
          <ac:spMkLst>
            <pc:docMk/>
            <pc:sldMk cId="531959542" sldId="266"/>
            <ac:spMk id="7" creationId="{F3EC1101-7722-7BDA-F4DE-5990F54A204E}"/>
          </ac:spMkLst>
        </pc:spChg>
        <pc:spChg chg="mod">
          <ac:chgData name="Benedicte Aas Glad" userId="55a9e165-0d8a-4034-a14f-0bb29877055b" providerId="ADAL" clId="{E4981308-85D0-BD4E-B579-5764B255B7FA}" dt="2025-06-06T08:44:56.092" v="3667" actId="1035"/>
          <ac:spMkLst>
            <pc:docMk/>
            <pc:sldMk cId="531959542" sldId="266"/>
            <ac:spMk id="9" creationId="{7CB83945-D6D8-D604-A652-6119A091C057}"/>
          </ac:spMkLst>
        </pc:spChg>
        <pc:spChg chg="mod">
          <ac:chgData name="Benedicte Aas Glad" userId="55a9e165-0d8a-4034-a14f-0bb29877055b" providerId="ADAL" clId="{E4981308-85D0-BD4E-B579-5764B255B7FA}" dt="2025-06-05T11:04:41.241" v="870" actId="947"/>
          <ac:spMkLst>
            <pc:docMk/>
            <pc:sldMk cId="531959542" sldId="266"/>
            <ac:spMk id="10" creationId="{49E9817A-C719-7D26-8CA2-C83174BB2425}"/>
          </ac:spMkLst>
        </pc:spChg>
        <pc:spChg chg="mod">
          <ac:chgData name="Benedicte Aas Glad" userId="55a9e165-0d8a-4034-a14f-0bb29877055b" providerId="ADAL" clId="{E4981308-85D0-BD4E-B579-5764B255B7FA}" dt="2025-06-05T11:04:41.241" v="872" actId="947"/>
          <ac:spMkLst>
            <pc:docMk/>
            <pc:sldMk cId="531959542" sldId="266"/>
            <ac:spMk id="11" creationId="{D4AED98D-94D6-36CB-3654-3C12EA87DFEB}"/>
          </ac:spMkLst>
        </pc:spChg>
        <pc:spChg chg="mod">
          <ac:chgData name="Benedicte Aas Glad" userId="55a9e165-0d8a-4034-a14f-0bb29877055b" providerId="ADAL" clId="{E4981308-85D0-BD4E-B579-5764B255B7FA}" dt="2025-06-06T08:44:56.092" v="3667" actId="1035"/>
          <ac:spMkLst>
            <pc:docMk/>
            <pc:sldMk cId="531959542" sldId="266"/>
            <ac:spMk id="12" creationId="{4D33D808-17B1-D75B-2BCB-02E9B4115601}"/>
          </ac:spMkLst>
        </pc:spChg>
        <pc:spChg chg="mod">
          <ac:chgData name="Benedicte Aas Glad" userId="55a9e165-0d8a-4034-a14f-0bb29877055b" providerId="ADAL" clId="{E4981308-85D0-BD4E-B579-5764B255B7FA}" dt="2025-06-05T11:04:41.244" v="876" actId="947"/>
          <ac:spMkLst>
            <pc:docMk/>
            <pc:sldMk cId="531959542" sldId="266"/>
            <ac:spMk id="13" creationId="{BA578967-4C75-C98A-FFF6-9B22EFD75A72}"/>
          </ac:spMkLst>
        </pc:spChg>
        <pc:spChg chg="mod">
          <ac:chgData name="Benedicte Aas Glad" userId="55a9e165-0d8a-4034-a14f-0bb29877055b" providerId="ADAL" clId="{E4981308-85D0-BD4E-B579-5764B255B7FA}" dt="2025-06-05T11:04:41.245" v="878" actId="947"/>
          <ac:spMkLst>
            <pc:docMk/>
            <pc:sldMk cId="531959542" sldId="266"/>
            <ac:spMk id="14" creationId="{E394EEC1-114B-C5E9-1457-4376BCCBDE2B}"/>
          </ac:spMkLst>
        </pc:spChg>
        <pc:spChg chg="mod">
          <ac:chgData name="Benedicte Aas Glad" userId="55a9e165-0d8a-4034-a14f-0bb29877055b" providerId="ADAL" clId="{E4981308-85D0-BD4E-B579-5764B255B7FA}" dt="2025-06-06T08:44:56.092" v="3667" actId="1035"/>
          <ac:spMkLst>
            <pc:docMk/>
            <pc:sldMk cId="531959542" sldId="266"/>
            <ac:spMk id="15" creationId="{44DA8EFF-987D-4558-FEF0-2E5EE8F673E0}"/>
          </ac:spMkLst>
        </pc:spChg>
        <pc:spChg chg="mod">
          <ac:chgData name="Benedicte Aas Glad" userId="55a9e165-0d8a-4034-a14f-0bb29877055b" providerId="ADAL" clId="{E4981308-85D0-BD4E-B579-5764B255B7FA}" dt="2025-06-05T11:04:41.247" v="882" actId="947"/>
          <ac:spMkLst>
            <pc:docMk/>
            <pc:sldMk cId="531959542" sldId="266"/>
            <ac:spMk id="17" creationId="{6F12F29F-81C1-485D-0DE4-1959E924DCEA}"/>
          </ac:spMkLst>
        </pc:spChg>
        <pc:spChg chg="mod">
          <ac:chgData name="Benedicte Aas Glad" userId="55a9e165-0d8a-4034-a14f-0bb29877055b" providerId="ADAL" clId="{E4981308-85D0-BD4E-B579-5764B255B7FA}" dt="2025-06-05T11:04:41.248" v="884" actId="947"/>
          <ac:spMkLst>
            <pc:docMk/>
            <pc:sldMk cId="531959542" sldId="266"/>
            <ac:spMk id="18" creationId="{91950FE7-6EF9-8E05-9350-A7A21CC2B5E4}"/>
          </ac:spMkLst>
        </pc:spChg>
        <pc:spChg chg="mod">
          <ac:chgData name="Benedicte Aas Glad" userId="55a9e165-0d8a-4034-a14f-0bb29877055b" providerId="ADAL" clId="{E4981308-85D0-BD4E-B579-5764B255B7FA}" dt="2025-06-06T08:44:56.092" v="3667" actId="1035"/>
          <ac:spMkLst>
            <pc:docMk/>
            <pc:sldMk cId="531959542" sldId="266"/>
            <ac:spMk id="19" creationId="{9DA09A01-8266-EA38-0458-DF24430A8B17}"/>
          </ac:spMkLst>
        </pc:spChg>
        <pc:spChg chg="mod">
          <ac:chgData name="Benedicte Aas Glad" userId="55a9e165-0d8a-4034-a14f-0bb29877055b" providerId="ADAL" clId="{E4981308-85D0-BD4E-B579-5764B255B7FA}" dt="2025-06-05T11:04:41.249" v="888" actId="947"/>
          <ac:spMkLst>
            <pc:docMk/>
            <pc:sldMk cId="531959542" sldId="266"/>
            <ac:spMk id="20" creationId="{F8444829-F31F-0FAD-2F28-29033C886CED}"/>
          </ac:spMkLst>
        </pc:spChg>
        <pc:spChg chg="mod">
          <ac:chgData name="Benedicte Aas Glad" userId="55a9e165-0d8a-4034-a14f-0bb29877055b" providerId="ADAL" clId="{E4981308-85D0-BD4E-B579-5764B255B7FA}" dt="2025-06-06T08:29:44.962" v="2041" actId="20577"/>
          <ac:spMkLst>
            <pc:docMk/>
            <pc:sldMk cId="531959542" sldId="266"/>
            <ac:spMk id="21" creationId="{B80DCE28-5DFE-53DD-CFF6-9F179C0B022F}"/>
          </ac:spMkLst>
        </pc:spChg>
        <pc:spChg chg="mod">
          <ac:chgData name="Benedicte Aas Glad" userId="55a9e165-0d8a-4034-a14f-0bb29877055b" providerId="ADAL" clId="{E4981308-85D0-BD4E-B579-5764B255B7FA}" dt="2025-06-06T08:44:56.092" v="3667" actId="1035"/>
          <ac:spMkLst>
            <pc:docMk/>
            <pc:sldMk cId="531959542" sldId="266"/>
            <ac:spMk id="22" creationId="{356469C7-2199-680F-78A0-16776D2C59ED}"/>
          </ac:spMkLst>
        </pc:spChg>
        <pc:spChg chg="mod">
          <ac:chgData name="Benedicte Aas Glad" userId="55a9e165-0d8a-4034-a14f-0bb29877055b" providerId="ADAL" clId="{E4981308-85D0-BD4E-B579-5764B255B7FA}" dt="2025-06-06T08:32:51.600" v="2575" actId="20577"/>
          <ac:spMkLst>
            <pc:docMk/>
            <pc:sldMk cId="531959542" sldId="266"/>
            <ac:spMk id="23" creationId="{0AF52F65-216F-D142-1D0A-D9E190084E31}"/>
          </ac:spMkLst>
        </pc:spChg>
        <pc:spChg chg="mod">
          <ac:chgData name="Benedicte Aas Glad" userId="55a9e165-0d8a-4034-a14f-0bb29877055b" providerId="ADAL" clId="{E4981308-85D0-BD4E-B579-5764B255B7FA}" dt="2025-06-06T08:37:59.327" v="2911" actId="313"/>
          <ac:spMkLst>
            <pc:docMk/>
            <pc:sldMk cId="531959542" sldId="266"/>
            <ac:spMk id="24" creationId="{9DDF530B-0390-23F1-A438-5D944C4D26EC}"/>
          </ac:spMkLst>
        </pc:spChg>
        <pc:spChg chg="mod">
          <ac:chgData name="Benedicte Aas Glad" userId="55a9e165-0d8a-4034-a14f-0bb29877055b" providerId="ADAL" clId="{E4981308-85D0-BD4E-B579-5764B255B7FA}" dt="2025-06-06T08:44:34.404" v="3642" actId="20577"/>
          <ac:spMkLst>
            <pc:docMk/>
            <pc:sldMk cId="531959542" sldId="266"/>
            <ac:spMk id="26" creationId="{F38D3A4E-9C8D-5D14-8B9E-6F9D1AD4354F}"/>
          </ac:spMkLst>
        </pc:spChg>
        <pc:spChg chg="mod">
          <ac:chgData name="Benedicte Aas Glad" userId="55a9e165-0d8a-4034-a14f-0bb29877055b" providerId="ADAL" clId="{E4981308-85D0-BD4E-B579-5764B255B7FA}" dt="2025-06-06T08:39:34.310" v="3023" actId="20577"/>
          <ac:spMkLst>
            <pc:docMk/>
            <pc:sldMk cId="531959542" sldId="266"/>
            <ac:spMk id="29" creationId="{36E44E36-21F9-46DD-99EF-2B2BAE0E98E2}"/>
          </ac:spMkLst>
        </pc:spChg>
        <pc:spChg chg="mod">
          <ac:chgData name="Benedicte Aas Glad" userId="55a9e165-0d8a-4034-a14f-0bb29877055b" providerId="ADAL" clId="{E4981308-85D0-BD4E-B579-5764B255B7FA}" dt="2025-06-06T08:40:07.078" v="3079" actId="20577"/>
          <ac:spMkLst>
            <pc:docMk/>
            <pc:sldMk cId="531959542" sldId="266"/>
            <ac:spMk id="30" creationId="{D305B84F-53E5-D875-F05D-79061A02F4E5}"/>
          </ac:spMkLst>
        </pc:spChg>
        <pc:spChg chg="mod">
          <ac:chgData name="Benedicte Aas Glad" userId="55a9e165-0d8a-4034-a14f-0bb29877055b" providerId="ADAL" clId="{E4981308-85D0-BD4E-B579-5764B255B7FA}" dt="2025-06-06T08:44:48.261" v="3644" actId="14100"/>
          <ac:spMkLst>
            <pc:docMk/>
            <pc:sldMk cId="531959542" sldId="266"/>
            <ac:spMk id="31" creationId="{77AEFE3F-0BE8-8390-FC2C-DD73DBE70840}"/>
          </ac:spMkLst>
        </pc:spChg>
        <pc:spChg chg="mod">
          <ac:chgData name="Benedicte Aas Glad" userId="55a9e165-0d8a-4034-a14f-0bb29877055b" providerId="ADAL" clId="{E4981308-85D0-BD4E-B579-5764B255B7FA}" dt="2025-06-06T08:44:56.092" v="3667" actId="1035"/>
          <ac:spMkLst>
            <pc:docMk/>
            <pc:sldMk cId="531959542" sldId="266"/>
            <ac:spMk id="32" creationId="{83EA3B43-59DF-E2D8-A843-854012DCD2EC}"/>
          </ac:spMkLst>
        </pc:spChg>
        <pc:spChg chg="mod">
          <ac:chgData name="Benedicte Aas Glad" userId="55a9e165-0d8a-4034-a14f-0bb29877055b" providerId="ADAL" clId="{E4981308-85D0-BD4E-B579-5764B255B7FA}" dt="2025-06-06T08:41:05.173" v="3145" actId="2711"/>
          <ac:spMkLst>
            <pc:docMk/>
            <pc:sldMk cId="531959542" sldId="266"/>
            <ac:spMk id="33" creationId="{6E404FE0-3D4F-B4C7-3F77-37CD6AE06E6A}"/>
          </ac:spMkLst>
        </pc:spChg>
        <pc:spChg chg="mod">
          <ac:chgData name="Benedicte Aas Glad" userId="55a9e165-0d8a-4034-a14f-0bb29877055b" providerId="ADAL" clId="{E4981308-85D0-BD4E-B579-5764B255B7FA}" dt="2025-06-06T08:44:56.092" v="3667" actId="1035"/>
          <ac:spMkLst>
            <pc:docMk/>
            <pc:sldMk cId="531959542" sldId="266"/>
            <ac:spMk id="34" creationId="{EEA0F2CA-BDE5-7942-3422-DD2DB63ED7A5}"/>
          </ac:spMkLst>
        </pc:spChg>
        <pc:spChg chg="mod">
          <ac:chgData name="Benedicte Aas Glad" userId="55a9e165-0d8a-4034-a14f-0bb29877055b" providerId="ADAL" clId="{E4981308-85D0-BD4E-B579-5764B255B7FA}" dt="2025-06-06T08:30:22.062" v="2172" actId="20577"/>
          <ac:spMkLst>
            <pc:docMk/>
            <pc:sldMk cId="531959542" sldId="266"/>
            <ac:spMk id="35" creationId="{9EF1B0FA-44EF-7BC5-2EB6-7064499186C7}"/>
          </ac:spMkLst>
        </pc:spChg>
        <pc:spChg chg="mod">
          <ac:chgData name="Benedicte Aas Glad" userId="55a9e165-0d8a-4034-a14f-0bb29877055b" providerId="ADAL" clId="{E4981308-85D0-BD4E-B579-5764B255B7FA}" dt="2025-06-05T11:04:49.797" v="1933" actId="20577"/>
          <ac:spMkLst>
            <pc:docMk/>
            <pc:sldMk cId="531959542" sldId="266"/>
            <ac:spMk id="36" creationId="{FA1D098F-0F33-404D-5F00-B97EB6CBF425}"/>
          </ac:spMkLst>
        </pc:spChg>
        <pc:spChg chg="mod">
          <ac:chgData name="Benedicte Aas Glad" userId="55a9e165-0d8a-4034-a14f-0bb29877055b" providerId="ADAL" clId="{E4981308-85D0-BD4E-B579-5764B255B7FA}" dt="2025-06-05T11:04:41.304" v="1012" actId="947"/>
          <ac:spMkLst>
            <pc:docMk/>
            <pc:sldMk cId="531959542" sldId="266"/>
            <ac:spMk id="38" creationId="{0FB66B4F-F3F7-67E1-42CB-245839AB122A}"/>
          </ac:spMkLst>
        </pc:spChg>
        <pc:spChg chg="mod">
          <ac:chgData name="Benedicte Aas Glad" userId="55a9e165-0d8a-4034-a14f-0bb29877055b" providerId="ADAL" clId="{E4981308-85D0-BD4E-B579-5764B255B7FA}" dt="2025-06-05T11:04:41.303" v="1010" actId="947"/>
          <ac:spMkLst>
            <pc:docMk/>
            <pc:sldMk cId="531959542" sldId="266"/>
            <ac:spMk id="39" creationId="{9B3CD3CB-103C-ECCE-FDA4-A930A314F35E}"/>
          </ac:spMkLst>
        </pc:spChg>
        <pc:spChg chg="mod">
          <ac:chgData name="Benedicte Aas Glad" userId="55a9e165-0d8a-4034-a14f-0bb29877055b" providerId="ADAL" clId="{E4981308-85D0-BD4E-B579-5764B255B7FA}" dt="2025-06-05T11:04:41.302" v="1008" actId="947"/>
          <ac:spMkLst>
            <pc:docMk/>
            <pc:sldMk cId="531959542" sldId="266"/>
            <ac:spMk id="40" creationId="{9CEA091E-DCDB-7F6C-750B-B1EF66742981}"/>
          </ac:spMkLst>
        </pc:spChg>
        <pc:spChg chg="mod">
          <ac:chgData name="Benedicte Aas Glad" userId="55a9e165-0d8a-4034-a14f-0bb29877055b" providerId="ADAL" clId="{E4981308-85D0-BD4E-B579-5764B255B7FA}" dt="2025-06-05T11:04:41.302" v="1006" actId="947"/>
          <ac:spMkLst>
            <pc:docMk/>
            <pc:sldMk cId="531959542" sldId="266"/>
            <ac:spMk id="41" creationId="{A45606C9-8955-A8DD-9F63-A94741437614}"/>
          </ac:spMkLst>
        </pc:spChg>
        <pc:spChg chg="mod">
          <ac:chgData name="Benedicte Aas Glad" userId="55a9e165-0d8a-4034-a14f-0bb29877055b" providerId="ADAL" clId="{E4981308-85D0-BD4E-B579-5764B255B7FA}" dt="2025-06-06T08:41:05.173" v="3145" actId="2711"/>
          <ac:spMkLst>
            <pc:docMk/>
            <pc:sldMk cId="531959542" sldId="266"/>
            <ac:spMk id="42" creationId="{6915D8D2-1CB5-5FD9-9F9C-E3E92FF05F55}"/>
          </ac:spMkLst>
        </pc:spChg>
        <pc:spChg chg="mod">
          <ac:chgData name="Benedicte Aas Glad" userId="55a9e165-0d8a-4034-a14f-0bb29877055b" providerId="ADAL" clId="{E4981308-85D0-BD4E-B579-5764B255B7FA}" dt="2025-06-05T11:04:41.300" v="1002" actId="947"/>
          <ac:spMkLst>
            <pc:docMk/>
            <pc:sldMk cId="531959542" sldId="266"/>
            <ac:spMk id="43" creationId="{6FEC772E-248C-5DBC-D682-0849E20F7215}"/>
          </ac:spMkLst>
        </pc:spChg>
        <pc:spChg chg="mod">
          <ac:chgData name="Benedicte Aas Glad" userId="55a9e165-0d8a-4034-a14f-0bb29877055b" providerId="ADAL" clId="{E4981308-85D0-BD4E-B579-5764B255B7FA}" dt="2025-06-05T11:04:41.300" v="1000" actId="947"/>
          <ac:spMkLst>
            <pc:docMk/>
            <pc:sldMk cId="531959542" sldId="266"/>
            <ac:spMk id="44" creationId="{C474EF55-AB2F-732D-4137-BC4D04E7BC25}"/>
          </ac:spMkLst>
        </pc:spChg>
        <pc:spChg chg="mod">
          <ac:chgData name="Benedicte Aas Glad" userId="55a9e165-0d8a-4034-a14f-0bb29877055b" providerId="ADAL" clId="{E4981308-85D0-BD4E-B579-5764B255B7FA}" dt="2025-06-05T11:04:41.299" v="998" actId="947"/>
          <ac:spMkLst>
            <pc:docMk/>
            <pc:sldMk cId="531959542" sldId="266"/>
            <ac:spMk id="45" creationId="{5633287D-DE73-2327-1922-126074AC4229}"/>
          </ac:spMkLst>
        </pc:spChg>
        <pc:spChg chg="mod">
          <ac:chgData name="Benedicte Aas Glad" userId="55a9e165-0d8a-4034-a14f-0bb29877055b" providerId="ADAL" clId="{E4981308-85D0-BD4E-B579-5764B255B7FA}" dt="2025-06-05T11:04:41.298" v="996" actId="947"/>
          <ac:spMkLst>
            <pc:docMk/>
            <pc:sldMk cId="531959542" sldId="266"/>
            <ac:spMk id="46" creationId="{40301A02-52D0-E8FE-6853-C9FB8F49BB2E}"/>
          </ac:spMkLst>
        </pc:spChg>
        <pc:spChg chg="mod">
          <ac:chgData name="Benedicte Aas Glad" userId="55a9e165-0d8a-4034-a14f-0bb29877055b" providerId="ADAL" clId="{E4981308-85D0-BD4E-B579-5764B255B7FA}" dt="2025-06-05T11:04:41.298" v="994" actId="947"/>
          <ac:spMkLst>
            <pc:docMk/>
            <pc:sldMk cId="531959542" sldId="266"/>
            <ac:spMk id="47" creationId="{6509ECD6-8C74-083C-1D26-1D8B455FE4E7}"/>
          </ac:spMkLst>
        </pc:spChg>
        <pc:spChg chg="mod">
          <ac:chgData name="Benedicte Aas Glad" userId="55a9e165-0d8a-4034-a14f-0bb29877055b" providerId="ADAL" clId="{E4981308-85D0-BD4E-B579-5764B255B7FA}" dt="2025-06-05T11:04:41.297" v="992" actId="947"/>
          <ac:spMkLst>
            <pc:docMk/>
            <pc:sldMk cId="531959542" sldId="266"/>
            <ac:spMk id="48" creationId="{AE9EE37D-CEE0-F7E7-635C-BF664490707C}"/>
          </ac:spMkLst>
        </pc:spChg>
        <pc:spChg chg="mod">
          <ac:chgData name="Benedicte Aas Glad" userId="55a9e165-0d8a-4034-a14f-0bb29877055b" providerId="ADAL" clId="{E4981308-85D0-BD4E-B579-5764B255B7FA}" dt="2025-06-05T11:04:41.296" v="990" actId="947"/>
          <ac:spMkLst>
            <pc:docMk/>
            <pc:sldMk cId="531959542" sldId="266"/>
            <ac:spMk id="49" creationId="{FFE0408C-EE3B-6346-1BDE-B0EA435A5592}"/>
          </ac:spMkLst>
        </pc:spChg>
        <pc:spChg chg="mod">
          <ac:chgData name="Benedicte Aas Glad" userId="55a9e165-0d8a-4034-a14f-0bb29877055b" providerId="ADAL" clId="{E4981308-85D0-BD4E-B579-5764B255B7FA}" dt="2025-06-05T11:04:41.296" v="988" actId="947"/>
          <ac:spMkLst>
            <pc:docMk/>
            <pc:sldMk cId="531959542" sldId="266"/>
            <ac:spMk id="50" creationId="{39A1729C-ECC4-3D4F-6338-761AF7032476}"/>
          </ac:spMkLst>
        </pc:spChg>
        <pc:spChg chg="mod">
          <ac:chgData name="Benedicte Aas Glad" userId="55a9e165-0d8a-4034-a14f-0bb29877055b" providerId="ADAL" clId="{E4981308-85D0-BD4E-B579-5764B255B7FA}" dt="2025-06-05T11:04:41.295" v="986" actId="947"/>
          <ac:spMkLst>
            <pc:docMk/>
            <pc:sldMk cId="531959542" sldId="266"/>
            <ac:spMk id="51" creationId="{73B5A6F8-14F8-018B-71EE-037FB223A0E2}"/>
          </ac:spMkLst>
        </pc:spChg>
        <pc:spChg chg="mod">
          <ac:chgData name="Benedicte Aas Glad" userId="55a9e165-0d8a-4034-a14f-0bb29877055b" providerId="ADAL" clId="{E4981308-85D0-BD4E-B579-5764B255B7FA}" dt="2025-06-05T11:04:41.294" v="984" actId="947"/>
          <ac:spMkLst>
            <pc:docMk/>
            <pc:sldMk cId="531959542" sldId="266"/>
            <ac:spMk id="52" creationId="{BDEBCBCF-B7B7-03CB-9999-34776D75F691}"/>
          </ac:spMkLst>
        </pc:spChg>
        <pc:spChg chg="mod">
          <ac:chgData name="Benedicte Aas Glad" userId="55a9e165-0d8a-4034-a14f-0bb29877055b" providerId="ADAL" clId="{E4981308-85D0-BD4E-B579-5764B255B7FA}" dt="2025-06-05T11:04:41.294" v="982" actId="947"/>
          <ac:spMkLst>
            <pc:docMk/>
            <pc:sldMk cId="531959542" sldId="266"/>
            <ac:spMk id="53" creationId="{B44725E5-7CB7-6D78-ED08-F1579073C1C9}"/>
          </ac:spMkLst>
        </pc:spChg>
        <pc:spChg chg="mod">
          <ac:chgData name="Benedicte Aas Glad" userId="55a9e165-0d8a-4034-a14f-0bb29877055b" providerId="ADAL" clId="{E4981308-85D0-BD4E-B579-5764B255B7FA}" dt="2025-06-05T11:04:41.293" v="980" actId="947"/>
          <ac:spMkLst>
            <pc:docMk/>
            <pc:sldMk cId="531959542" sldId="266"/>
            <ac:spMk id="54" creationId="{F1AF888E-6F82-B367-EC8C-3EC3D27AF788}"/>
          </ac:spMkLst>
        </pc:spChg>
        <pc:spChg chg="mod">
          <ac:chgData name="Benedicte Aas Glad" userId="55a9e165-0d8a-4034-a14f-0bb29877055b" providerId="ADAL" clId="{E4981308-85D0-BD4E-B579-5764B255B7FA}" dt="2025-06-05T11:04:41.292" v="978" actId="947"/>
          <ac:spMkLst>
            <pc:docMk/>
            <pc:sldMk cId="531959542" sldId="266"/>
            <ac:spMk id="55" creationId="{3BA09B31-D928-5B22-FA82-B73A4E975F31}"/>
          </ac:spMkLst>
        </pc:spChg>
        <pc:spChg chg="mod">
          <ac:chgData name="Benedicte Aas Glad" userId="55a9e165-0d8a-4034-a14f-0bb29877055b" providerId="ADAL" clId="{E4981308-85D0-BD4E-B579-5764B255B7FA}" dt="2025-06-05T11:04:41.292" v="976" actId="947"/>
          <ac:spMkLst>
            <pc:docMk/>
            <pc:sldMk cId="531959542" sldId="266"/>
            <ac:spMk id="56" creationId="{3C11CBB9-D45A-21D4-37DE-CB779C91716C}"/>
          </ac:spMkLst>
        </pc:spChg>
        <pc:spChg chg="mod">
          <ac:chgData name="Benedicte Aas Glad" userId="55a9e165-0d8a-4034-a14f-0bb29877055b" providerId="ADAL" clId="{E4981308-85D0-BD4E-B579-5764B255B7FA}" dt="2025-06-05T11:04:41.291" v="974" actId="947"/>
          <ac:spMkLst>
            <pc:docMk/>
            <pc:sldMk cId="531959542" sldId="266"/>
            <ac:spMk id="57" creationId="{31BD1FB7-AB44-FB6A-CBE8-156A8D144A89}"/>
          </ac:spMkLst>
        </pc:spChg>
        <pc:spChg chg="mod">
          <ac:chgData name="Benedicte Aas Glad" userId="55a9e165-0d8a-4034-a14f-0bb29877055b" providerId="ADAL" clId="{E4981308-85D0-BD4E-B579-5764B255B7FA}" dt="2025-06-05T11:04:41.290" v="972" actId="947"/>
          <ac:spMkLst>
            <pc:docMk/>
            <pc:sldMk cId="531959542" sldId="266"/>
            <ac:spMk id="58" creationId="{2FA9F0F0-D3A7-6DDA-0972-D31CBD961E57}"/>
          </ac:spMkLst>
        </pc:spChg>
        <pc:spChg chg="mod">
          <ac:chgData name="Benedicte Aas Glad" userId="55a9e165-0d8a-4034-a14f-0bb29877055b" providerId="ADAL" clId="{E4981308-85D0-BD4E-B579-5764B255B7FA}" dt="2025-06-05T11:04:41.290" v="970" actId="947"/>
          <ac:spMkLst>
            <pc:docMk/>
            <pc:sldMk cId="531959542" sldId="266"/>
            <ac:spMk id="59" creationId="{D50FBA61-4D6C-F379-FD92-234C610CDE65}"/>
          </ac:spMkLst>
        </pc:spChg>
        <pc:spChg chg="mod">
          <ac:chgData name="Benedicte Aas Glad" userId="55a9e165-0d8a-4034-a14f-0bb29877055b" providerId="ADAL" clId="{E4981308-85D0-BD4E-B579-5764B255B7FA}" dt="2025-06-05T11:04:41.289" v="968" actId="947"/>
          <ac:spMkLst>
            <pc:docMk/>
            <pc:sldMk cId="531959542" sldId="266"/>
            <ac:spMk id="60" creationId="{00EF0BF6-4EE3-FECE-568E-E9058066B023}"/>
          </ac:spMkLst>
        </pc:spChg>
        <pc:spChg chg="mod">
          <ac:chgData name="Benedicte Aas Glad" userId="55a9e165-0d8a-4034-a14f-0bb29877055b" providerId="ADAL" clId="{E4981308-85D0-BD4E-B579-5764B255B7FA}" dt="2025-06-05T11:04:41.288" v="966" actId="947"/>
          <ac:spMkLst>
            <pc:docMk/>
            <pc:sldMk cId="531959542" sldId="266"/>
            <ac:spMk id="61" creationId="{5B37108D-9A6D-27E4-F34D-7685F6B6616D}"/>
          </ac:spMkLst>
        </pc:spChg>
        <pc:spChg chg="mod">
          <ac:chgData name="Benedicte Aas Glad" userId="55a9e165-0d8a-4034-a14f-0bb29877055b" providerId="ADAL" clId="{E4981308-85D0-BD4E-B579-5764B255B7FA}" dt="2025-06-06T08:41:05.173" v="3145" actId="2711"/>
          <ac:spMkLst>
            <pc:docMk/>
            <pc:sldMk cId="531959542" sldId="266"/>
            <ac:spMk id="62" creationId="{996330DA-E183-A1FC-76FF-C4901B0876F8}"/>
          </ac:spMkLst>
        </pc:spChg>
        <pc:spChg chg="mod">
          <ac:chgData name="Benedicte Aas Glad" userId="55a9e165-0d8a-4034-a14f-0bb29877055b" providerId="ADAL" clId="{E4981308-85D0-BD4E-B579-5764B255B7FA}" dt="2025-06-05T11:04:41.287" v="962" actId="947"/>
          <ac:spMkLst>
            <pc:docMk/>
            <pc:sldMk cId="531959542" sldId="266"/>
            <ac:spMk id="63" creationId="{1170EFB6-D28C-B8C9-B571-B6D1226131EC}"/>
          </ac:spMkLst>
        </pc:spChg>
        <pc:spChg chg="mod">
          <ac:chgData name="Benedicte Aas Glad" userId="55a9e165-0d8a-4034-a14f-0bb29877055b" providerId="ADAL" clId="{E4981308-85D0-BD4E-B579-5764B255B7FA}" dt="2025-06-05T11:04:41.286" v="960" actId="947"/>
          <ac:spMkLst>
            <pc:docMk/>
            <pc:sldMk cId="531959542" sldId="266"/>
            <ac:spMk id="64" creationId="{67280522-71C1-53E9-65A7-C34376A6FDB8}"/>
          </ac:spMkLst>
        </pc:spChg>
        <pc:spChg chg="mod">
          <ac:chgData name="Benedicte Aas Glad" userId="55a9e165-0d8a-4034-a14f-0bb29877055b" providerId="ADAL" clId="{E4981308-85D0-BD4E-B579-5764B255B7FA}" dt="2025-06-05T11:04:41.286" v="958" actId="947"/>
          <ac:spMkLst>
            <pc:docMk/>
            <pc:sldMk cId="531959542" sldId="266"/>
            <ac:spMk id="65" creationId="{0F5F73F0-92AC-0886-FA97-344D0B577DCD}"/>
          </ac:spMkLst>
        </pc:spChg>
        <pc:spChg chg="mod">
          <ac:chgData name="Benedicte Aas Glad" userId="55a9e165-0d8a-4034-a14f-0bb29877055b" providerId="ADAL" clId="{E4981308-85D0-BD4E-B579-5764B255B7FA}" dt="2025-06-05T11:04:41.285" v="956" actId="947"/>
          <ac:spMkLst>
            <pc:docMk/>
            <pc:sldMk cId="531959542" sldId="266"/>
            <ac:spMk id="66" creationId="{82450B50-BBBB-C49D-7C7B-3480CF6E3418}"/>
          </ac:spMkLst>
        </pc:spChg>
        <pc:spChg chg="mod">
          <ac:chgData name="Benedicte Aas Glad" userId="55a9e165-0d8a-4034-a14f-0bb29877055b" providerId="ADAL" clId="{E4981308-85D0-BD4E-B579-5764B255B7FA}" dt="2025-06-05T11:04:41.284" v="954" actId="947"/>
          <ac:spMkLst>
            <pc:docMk/>
            <pc:sldMk cId="531959542" sldId="266"/>
            <ac:spMk id="67" creationId="{28F2F672-F532-D5B9-1A9E-922E0BE81F05}"/>
          </ac:spMkLst>
        </pc:spChg>
        <pc:spChg chg="mod">
          <ac:chgData name="Benedicte Aas Glad" userId="55a9e165-0d8a-4034-a14f-0bb29877055b" providerId="ADAL" clId="{E4981308-85D0-BD4E-B579-5764B255B7FA}" dt="2025-06-05T11:04:41.283" v="952" actId="947"/>
          <ac:spMkLst>
            <pc:docMk/>
            <pc:sldMk cId="531959542" sldId="266"/>
            <ac:spMk id="68" creationId="{2727AC55-404A-2448-F55D-656472B3D2B4}"/>
          </ac:spMkLst>
        </pc:spChg>
        <pc:spChg chg="mod">
          <ac:chgData name="Benedicte Aas Glad" userId="55a9e165-0d8a-4034-a14f-0bb29877055b" providerId="ADAL" clId="{E4981308-85D0-BD4E-B579-5764B255B7FA}" dt="2025-06-05T11:04:41.283" v="950" actId="947"/>
          <ac:spMkLst>
            <pc:docMk/>
            <pc:sldMk cId="531959542" sldId="266"/>
            <ac:spMk id="69" creationId="{4BE55ABE-F1E6-D9B4-F3DF-C34DAEE68176}"/>
          </ac:spMkLst>
        </pc:spChg>
        <pc:spChg chg="mod">
          <ac:chgData name="Benedicte Aas Glad" userId="55a9e165-0d8a-4034-a14f-0bb29877055b" providerId="ADAL" clId="{E4981308-85D0-BD4E-B579-5764B255B7FA}" dt="2025-06-05T11:04:41.282" v="948" actId="947"/>
          <ac:spMkLst>
            <pc:docMk/>
            <pc:sldMk cId="531959542" sldId="266"/>
            <ac:spMk id="70" creationId="{4602A450-05DE-EC82-5060-148FC29EAF4D}"/>
          </ac:spMkLst>
        </pc:spChg>
        <pc:spChg chg="mod">
          <ac:chgData name="Benedicte Aas Glad" userId="55a9e165-0d8a-4034-a14f-0bb29877055b" providerId="ADAL" clId="{E4981308-85D0-BD4E-B579-5764B255B7FA}" dt="2025-06-05T11:04:41.281" v="946" actId="947"/>
          <ac:spMkLst>
            <pc:docMk/>
            <pc:sldMk cId="531959542" sldId="266"/>
            <ac:spMk id="71" creationId="{8AC7283E-74D0-DC04-1DD4-171A8AB609F0}"/>
          </ac:spMkLst>
        </pc:spChg>
        <pc:spChg chg="mod">
          <ac:chgData name="Benedicte Aas Glad" userId="55a9e165-0d8a-4034-a14f-0bb29877055b" providerId="ADAL" clId="{E4981308-85D0-BD4E-B579-5764B255B7FA}" dt="2025-06-05T11:04:41.281" v="944" actId="947"/>
          <ac:spMkLst>
            <pc:docMk/>
            <pc:sldMk cId="531959542" sldId="266"/>
            <ac:spMk id="72" creationId="{BA338F58-172C-2723-62B9-48B0EF734708}"/>
          </ac:spMkLst>
        </pc:spChg>
        <pc:spChg chg="mod">
          <ac:chgData name="Benedicte Aas Glad" userId="55a9e165-0d8a-4034-a14f-0bb29877055b" providerId="ADAL" clId="{E4981308-85D0-BD4E-B579-5764B255B7FA}" dt="2025-06-05T11:04:41.280" v="942" actId="947"/>
          <ac:spMkLst>
            <pc:docMk/>
            <pc:sldMk cId="531959542" sldId="266"/>
            <ac:spMk id="73" creationId="{33496512-DFA4-A1F0-A9D4-D42365571393}"/>
          </ac:spMkLst>
        </pc:spChg>
        <pc:spChg chg="mod">
          <ac:chgData name="Benedicte Aas Glad" userId="55a9e165-0d8a-4034-a14f-0bb29877055b" providerId="ADAL" clId="{E4981308-85D0-BD4E-B579-5764B255B7FA}" dt="2025-06-05T11:04:41.279" v="940" actId="947"/>
          <ac:spMkLst>
            <pc:docMk/>
            <pc:sldMk cId="531959542" sldId="266"/>
            <ac:spMk id="74" creationId="{AF163F1B-CF0F-00B3-3027-1E5AB0D31BD1}"/>
          </ac:spMkLst>
        </pc:spChg>
        <pc:spChg chg="mod">
          <ac:chgData name="Benedicte Aas Glad" userId="55a9e165-0d8a-4034-a14f-0bb29877055b" providerId="ADAL" clId="{E4981308-85D0-BD4E-B579-5764B255B7FA}" dt="2025-06-05T11:04:41.278" v="938" actId="947"/>
          <ac:spMkLst>
            <pc:docMk/>
            <pc:sldMk cId="531959542" sldId="266"/>
            <ac:spMk id="75" creationId="{A88C02E9-4A85-C028-231F-2D42D03768FC}"/>
          </ac:spMkLst>
        </pc:spChg>
        <pc:spChg chg="mod">
          <ac:chgData name="Benedicte Aas Glad" userId="55a9e165-0d8a-4034-a14f-0bb29877055b" providerId="ADAL" clId="{E4981308-85D0-BD4E-B579-5764B255B7FA}" dt="2025-06-05T11:04:41.278" v="936" actId="947"/>
          <ac:spMkLst>
            <pc:docMk/>
            <pc:sldMk cId="531959542" sldId="266"/>
            <ac:spMk id="76" creationId="{CE31858D-A654-054B-6AC6-9059749630D5}"/>
          </ac:spMkLst>
        </pc:spChg>
        <pc:spChg chg="mod">
          <ac:chgData name="Benedicte Aas Glad" userId="55a9e165-0d8a-4034-a14f-0bb29877055b" providerId="ADAL" clId="{E4981308-85D0-BD4E-B579-5764B255B7FA}" dt="2025-06-05T11:04:41.277" v="934" actId="947"/>
          <ac:spMkLst>
            <pc:docMk/>
            <pc:sldMk cId="531959542" sldId="266"/>
            <ac:spMk id="77" creationId="{9FDE911C-9265-B7B9-75EE-3FE1B710EE2A}"/>
          </ac:spMkLst>
        </pc:spChg>
        <pc:spChg chg="mod">
          <ac:chgData name="Benedicte Aas Glad" userId="55a9e165-0d8a-4034-a14f-0bb29877055b" providerId="ADAL" clId="{E4981308-85D0-BD4E-B579-5764B255B7FA}" dt="2025-06-05T11:04:41.276" v="932" actId="947"/>
          <ac:spMkLst>
            <pc:docMk/>
            <pc:sldMk cId="531959542" sldId="266"/>
            <ac:spMk id="78" creationId="{40D89A3F-FFC9-3405-DF91-3E86D852CA82}"/>
          </ac:spMkLst>
        </pc:spChg>
        <pc:spChg chg="mod">
          <ac:chgData name="Benedicte Aas Glad" userId="55a9e165-0d8a-4034-a14f-0bb29877055b" providerId="ADAL" clId="{E4981308-85D0-BD4E-B579-5764B255B7FA}" dt="2025-06-05T11:04:41.275" v="930" actId="947"/>
          <ac:spMkLst>
            <pc:docMk/>
            <pc:sldMk cId="531959542" sldId="266"/>
            <ac:spMk id="79" creationId="{390C9ED8-4532-4C40-108C-32AF5CDD8288}"/>
          </ac:spMkLst>
        </pc:spChg>
        <pc:spChg chg="mod">
          <ac:chgData name="Benedicte Aas Glad" userId="55a9e165-0d8a-4034-a14f-0bb29877055b" providerId="ADAL" clId="{E4981308-85D0-BD4E-B579-5764B255B7FA}" dt="2025-06-05T11:04:41.274" v="928" actId="947"/>
          <ac:spMkLst>
            <pc:docMk/>
            <pc:sldMk cId="531959542" sldId="266"/>
            <ac:spMk id="80" creationId="{5FD58667-9585-CDD9-ED67-49CED3396826}"/>
          </ac:spMkLst>
        </pc:spChg>
        <pc:spChg chg="mod">
          <ac:chgData name="Benedicte Aas Glad" userId="55a9e165-0d8a-4034-a14f-0bb29877055b" providerId="ADAL" clId="{E4981308-85D0-BD4E-B579-5764B255B7FA}" dt="2025-06-05T11:04:41.274" v="926" actId="947"/>
          <ac:spMkLst>
            <pc:docMk/>
            <pc:sldMk cId="531959542" sldId="266"/>
            <ac:spMk id="81" creationId="{6F077613-F762-07B5-DBA1-A247B1139045}"/>
          </ac:spMkLst>
        </pc:spChg>
        <pc:spChg chg="mod">
          <ac:chgData name="Benedicte Aas Glad" userId="55a9e165-0d8a-4034-a14f-0bb29877055b" providerId="ADAL" clId="{E4981308-85D0-BD4E-B579-5764B255B7FA}" dt="2025-06-05T11:04:41.273" v="924" actId="947"/>
          <ac:spMkLst>
            <pc:docMk/>
            <pc:sldMk cId="531959542" sldId="266"/>
            <ac:spMk id="82" creationId="{00DD34F1-2926-C0DA-6358-D2512D996F5F}"/>
          </ac:spMkLst>
        </pc:spChg>
        <pc:spChg chg="mod">
          <ac:chgData name="Benedicte Aas Glad" userId="55a9e165-0d8a-4034-a14f-0bb29877055b" providerId="ADAL" clId="{E4981308-85D0-BD4E-B579-5764B255B7FA}" dt="2025-06-05T11:04:41.272" v="922" actId="947"/>
          <ac:spMkLst>
            <pc:docMk/>
            <pc:sldMk cId="531959542" sldId="266"/>
            <ac:spMk id="83" creationId="{961BD744-55FB-76EF-DB75-9D376A60249F}"/>
          </ac:spMkLst>
        </pc:spChg>
        <pc:spChg chg="mod">
          <ac:chgData name="Benedicte Aas Glad" userId="55a9e165-0d8a-4034-a14f-0bb29877055b" providerId="ADAL" clId="{E4981308-85D0-BD4E-B579-5764B255B7FA}" dt="2025-06-05T11:04:41.271" v="920" actId="947"/>
          <ac:spMkLst>
            <pc:docMk/>
            <pc:sldMk cId="531959542" sldId="266"/>
            <ac:spMk id="84" creationId="{07168660-CF8C-41ED-4709-2E8A6C999C38}"/>
          </ac:spMkLst>
        </pc:spChg>
        <pc:spChg chg="mod">
          <ac:chgData name="Benedicte Aas Glad" userId="55a9e165-0d8a-4034-a14f-0bb29877055b" providerId="ADAL" clId="{E4981308-85D0-BD4E-B579-5764B255B7FA}" dt="2025-06-05T11:04:41.434" v="1430" actId="947"/>
          <ac:spMkLst>
            <pc:docMk/>
            <pc:sldMk cId="531959542" sldId="266"/>
            <ac:spMk id="86" creationId="{FDD9799E-0249-9B44-2E8F-157F55E868D2}"/>
          </ac:spMkLst>
        </pc:spChg>
        <pc:spChg chg="mod">
          <ac:chgData name="Benedicte Aas Glad" userId="55a9e165-0d8a-4034-a14f-0bb29877055b" providerId="ADAL" clId="{E4981308-85D0-BD4E-B579-5764B255B7FA}" dt="2025-06-05T11:04:41.434" v="1428" actId="947"/>
          <ac:spMkLst>
            <pc:docMk/>
            <pc:sldMk cId="531959542" sldId="266"/>
            <ac:spMk id="87" creationId="{87C3C04B-3AF3-58D2-14B2-493F666F43DE}"/>
          </ac:spMkLst>
        </pc:spChg>
        <pc:spChg chg="mod">
          <ac:chgData name="Benedicte Aas Glad" userId="55a9e165-0d8a-4034-a14f-0bb29877055b" providerId="ADAL" clId="{E4981308-85D0-BD4E-B579-5764B255B7FA}" dt="2025-06-05T11:04:41.433" v="1426" actId="947"/>
          <ac:spMkLst>
            <pc:docMk/>
            <pc:sldMk cId="531959542" sldId="266"/>
            <ac:spMk id="88" creationId="{DC7F74BD-F965-AC36-04C2-CC72E4E96880}"/>
          </ac:spMkLst>
        </pc:spChg>
        <pc:spChg chg="mod">
          <ac:chgData name="Benedicte Aas Glad" userId="55a9e165-0d8a-4034-a14f-0bb29877055b" providerId="ADAL" clId="{E4981308-85D0-BD4E-B579-5764B255B7FA}" dt="2025-06-05T11:04:41.432" v="1424" actId="947"/>
          <ac:spMkLst>
            <pc:docMk/>
            <pc:sldMk cId="531959542" sldId="266"/>
            <ac:spMk id="89" creationId="{7E362295-0E52-CA0C-6CB9-CB3A92D3A93C}"/>
          </ac:spMkLst>
        </pc:spChg>
        <pc:spChg chg="mod">
          <ac:chgData name="Benedicte Aas Glad" userId="55a9e165-0d8a-4034-a14f-0bb29877055b" providerId="ADAL" clId="{E4981308-85D0-BD4E-B579-5764B255B7FA}" dt="2025-06-05T11:04:41.432" v="1422" actId="947"/>
          <ac:spMkLst>
            <pc:docMk/>
            <pc:sldMk cId="531959542" sldId="266"/>
            <ac:spMk id="90" creationId="{550A3287-9F9D-9D6A-B5F3-432046227F6F}"/>
          </ac:spMkLst>
        </pc:spChg>
        <pc:spChg chg="mod">
          <ac:chgData name="Benedicte Aas Glad" userId="55a9e165-0d8a-4034-a14f-0bb29877055b" providerId="ADAL" clId="{E4981308-85D0-BD4E-B579-5764B255B7FA}" dt="2025-06-05T11:04:41.431" v="1420" actId="947"/>
          <ac:spMkLst>
            <pc:docMk/>
            <pc:sldMk cId="531959542" sldId="266"/>
            <ac:spMk id="91" creationId="{0A2729A1-7A8F-4017-FD64-DFAD83E0538D}"/>
          </ac:spMkLst>
        </pc:spChg>
        <pc:spChg chg="mod">
          <ac:chgData name="Benedicte Aas Glad" userId="55a9e165-0d8a-4034-a14f-0bb29877055b" providerId="ADAL" clId="{E4981308-85D0-BD4E-B579-5764B255B7FA}" dt="2025-06-05T11:04:41.431" v="1418" actId="947"/>
          <ac:spMkLst>
            <pc:docMk/>
            <pc:sldMk cId="531959542" sldId="266"/>
            <ac:spMk id="92" creationId="{30C7EAB5-51C9-7F7F-8BAA-CF7F731670EB}"/>
          </ac:spMkLst>
        </pc:spChg>
        <pc:spChg chg="mod">
          <ac:chgData name="Benedicte Aas Glad" userId="55a9e165-0d8a-4034-a14f-0bb29877055b" providerId="ADAL" clId="{E4981308-85D0-BD4E-B579-5764B255B7FA}" dt="2025-06-05T11:04:41.430" v="1416" actId="947"/>
          <ac:spMkLst>
            <pc:docMk/>
            <pc:sldMk cId="531959542" sldId="266"/>
            <ac:spMk id="93" creationId="{EF0CFB4C-AFB8-8402-B836-022B06ED7133}"/>
          </ac:spMkLst>
        </pc:spChg>
        <pc:spChg chg="mod">
          <ac:chgData name="Benedicte Aas Glad" userId="55a9e165-0d8a-4034-a14f-0bb29877055b" providerId="ADAL" clId="{E4981308-85D0-BD4E-B579-5764B255B7FA}" dt="2025-06-05T11:04:41.429" v="1414" actId="947"/>
          <ac:spMkLst>
            <pc:docMk/>
            <pc:sldMk cId="531959542" sldId="266"/>
            <ac:spMk id="94" creationId="{2AF5156A-2D31-29DF-0BFD-71AA46C197A2}"/>
          </ac:spMkLst>
        </pc:spChg>
        <pc:spChg chg="mod">
          <ac:chgData name="Benedicte Aas Glad" userId="55a9e165-0d8a-4034-a14f-0bb29877055b" providerId="ADAL" clId="{E4981308-85D0-BD4E-B579-5764B255B7FA}" dt="2025-06-05T11:04:41.429" v="1412" actId="947"/>
          <ac:spMkLst>
            <pc:docMk/>
            <pc:sldMk cId="531959542" sldId="266"/>
            <ac:spMk id="95" creationId="{AD7E6F55-F8D9-55DD-941E-A90BA17696FD}"/>
          </ac:spMkLst>
        </pc:spChg>
        <pc:spChg chg="mod">
          <ac:chgData name="Benedicte Aas Glad" userId="55a9e165-0d8a-4034-a14f-0bb29877055b" providerId="ADAL" clId="{E4981308-85D0-BD4E-B579-5764B255B7FA}" dt="2025-06-05T11:04:41.428" v="1410" actId="947"/>
          <ac:spMkLst>
            <pc:docMk/>
            <pc:sldMk cId="531959542" sldId="266"/>
            <ac:spMk id="96" creationId="{490803E5-808F-8044-65ED-1441E32EA35E}"/>
          </ac:spMkLst>
        </pc:spChg>
        <pc:spChg chg="mod">
          <ac:chgData name="Benedicte Aas Glad" userId="55a9e165-0d8a-4034-a14f-0bb29877055b" providerId="ADAL" clId="{E4981308-85D0-BD4E-B579-5764B255B7FA}" dt="2025-06-05T11:04:41.428" v="1408" actId="947"/>
          <ac:spMkLst>
            <pc:docMk/>
            <pc:sldMk cId="531959542" sldId="266"/>
            <ac:spMk id="97" creationId="{514DD39F-EDB7-1C42-B3C6-B33D01BDF101}"/>
          </ac:spMkLst>
        </pc:spChg>
        <pc:spChg chg="mod">
          <ac:chgData name="Benedicte Aas Glad" userId="55a9e165-0d8a-4034-a14f-0bb29877055b" providerId="ADAL" clId="{E4981308-85D0-BD4E-B579-5764B255B7FA}" dt="2025-06-05T11:04:41.427" v="1406" actId="947"/>
          <ac:spMkLst>
            <pc:docMk/>
            <pc:sldMk cId="531959542" sldId="266"/>
            <ac:spMk id="98" creationId="{5E3EE7B8-21A1-273F-9DD2-1796789F5618}"/>
          </ac:spMkLst>
        </pc:spChg>
        <pc:spChg chg="mod">
          <ac:chgData name="Benedicte Aas Glad" userId="55a9e165-0d8a-4034-a14f-0bb29877055b" providerId="ADAL" clId="{E4981308-85D0-BD4E-B579-5764B255B7FA}" dt="2025-06-05T11:04:41.426" v="1404" actId="947"/>
          <ac:spMkLst>
            <pc:docMk/>
            <pc:sldMk cId="531959542" sldId="266"/>
            <ac:spMk id="99" creationId="{89E26F09-A5EC-371F-51C3-8D48CE3436F8}"/>
          </ac:spMkLst>
        </pc:spChg>
        <pc:spChg chg="mod">
          <ac:chgData name="Benedicte Aas Glad" userId="55a9e165-0d8a-4034-a14f-0bb29877055b" providerId="ADAL" clId="{E4981308-85D0-BD4E-B579-5764B255B7FA}" dt="2025-06-05T11:04:41.426" v="1402" actId="947"/>
          <ac:spMkLst>
            <pc:docMk/>
            <pc:sldMk cId="531959542" sldId="266"/>
            <ac:spMk id="100" creationId="{627C0E64-A613-BFFE-26F4-49ECAC63F96A}"/>
          </ac:spMkLst>
        </pc:spChg>
        <pc:spChg chg="mod">
          <ac:chgData name="Benedicte Aas Glad" userId="55a9e165-0d8a-4034-a14f-0bb29877055b" providerId="ADAL" clId="{E4981308-85D0-BD4E-B579-5764B255B7FA}" dt="2025-06-05T11:04:41.425" v="1400" actId="947"/>
          <ac:spMkLst>
            <pc:docMk/>
            <pc:sldMk cId="531959542" sldId="266"/>
            <ac:spMk id="101" creationId="{D3E3A13C-F122-8A25-16DC-141BC96C1376}"/>
          </ac:spMkLst>
        </pc:spChg>
        <pc:spChg chg="mod">
          <ac:chgData name="Benedicte Aas Glad" userId="55a9e165-0d8a-4034-a14f-0bb29877055b" providerId="ADAL" clId="{E4981308-85D0-BD4E-B579-5764B255B7FA}" dt="2025-06-05T11:04:41.425" v="1398" actId="947"/>
          <ac:spMkLst>
            <pc:docMk/>
            <pc:sldMk cId="531959542" sldId="266"/>
            <ac:spMk id="102" creationId="{8C475CE7-8C95-B954-C7E5-2F0838785505}"/>
          </ac:spMkLst>
        </pc:spChg>
        <pc:spChg chg="mod">
          <ac:chgData name="Benedicte Aas Glad" userId="55a9e165-0d8a-4034-a14f-0bb29877055b" providerId="ADAL" clId="{E4981308-85D0-BD4E-B579-5764B255B7FA}" dt="2025-06-05T11:04:41.424" v="1396" actId="947"/>
          <ac:spMkLst>
            <pc:docMk/>
            <pc:sldMk cId="531959542" sldId="266"/>
            <ac:spMk id="103" creationId="{5DED39A1-816C-590F-4ABD-395C6886D5E5}"/>
          </ac:spMkLst>
        </pc:spChg>
        <pc:spChg chg="mod">
          <ac:chgData name="Benedicte Aas Glad" userId="55a9e165-0d8a-4034-a14f-0bb29877055b" providerId="ADAL" clId="{E4981308-85D0-BD4E-B579-5764B255B7FA}" dt="2025-06-05T11:04:41.423" v="1394" actId="947"/>
          <ac:spMkLst>
            <pc:docMk/>
            <pc:sldMk cId="531959542" sldId="266"/>
            <ac:spMk id="104" creationId="{4AEDB4DF-EBB4-BE1F-707D-2E1BC0C21B77}"/>
          </ac:spMkLst>
        </pc:spChg>
        <pc:spChg chg="mod">
          <ac:chgData name="Benedicte Aas Glad" userId="55a9e165-0d8a-4034-a14f-0bb29877055b" providerId="ADAL" clId="{E4981308-85D0-BD4E-B579-5764B255B7FA}" dt="2025-06-05T11:04:41.423" v="1392" actId="947"/>
          <ac:spMkLst>
            <pc:docMk/>
            <pc:sldMk cId="531959542" sldId="266"/>
            <ac:spMk id="105" creationId="{AC921599-AEB7-DAC0-9DBD-88EB59C021C5}"/>
          </ac:spMkLst>
        </pc:spChg>
        <pc:spChg chg="mod">
          <ac:chgData name="Benedicte Aas Glad" userId="55a9e165-0d8a-4034-a14f-0bb29877055b" providerId="ADAL" clId="{E4981308-85D0-BD4E-B579-5764B255B7FA}" dt="2025-06-05T11:04:41.422" v="1390" actId="947"/>
          <ac:spMkLst>
            <pc:docMk/>
            <pc:sldMk cId="531959542" sldId="266"/>
            <ac:spMk id="106" creationId="{977D8C76-8FF5-C4CD-8CF2-BBB8B57544D2}"/>
          </ac:spMkLst>
        </pc:spChg>
        <pc:spChg chg="mod">
          <ac:chgData name="Benedicte Aas Glad" userId="55a9e165-0d8a-4034-a14f-0bb29877055b" providerId="ADAL" clId="{E4981308-85D0-BD4E-B579-5764B255B7FA}" dt="2025-06-05T11:04:41.422" v="1388" actId="947"/>
          <ac:spMkLst>
            <pc:docMk/>
            <pc:sldMk cId="531959542" sldId="266"/>
            <ac:spMk id="107" creationId="{0F427B09-7443-AAAD-EEFB-E092D2F6DD64}"/>
          </ac:spMkLst>
        </pc:spChg>
        <pc:spChg chg="mod">
          <ac:chgData name="Benedicte Aas Glad" userId="55a9e165-0d8a-4034-a14f-0bb29877055b" providerId="ADAL" clId="{E4981308-85D0-BD4E-B579-5764B255B7FA}" dt="2025-06-05T11:04:41.421" v="1386" actId="947"/>
          <ac:spMkLst>
            <pc:docMk/>
            <pc:sldMk cId="531959542" sldId="266"/>
            <ac:spMk id="108" creationId="{D3C74D92-34F4-1488-72D2-946B95373493}"/>
          </ac:spMkLst>
        </pc:spChg>
        <pc:spChg chg="mod">
          <ac:chgData name="Benedicte Aas Glad" userId="55a9e165-0d8a-4034-a14f-0bb29877055b" providerId="ADAL" clId="{E4981308-85D0-BD4E-B579-5764B255B7FA}" dt="2025-06-05T11:04:41.420" v="1384" actId="947"/>
          <ac:spMkLst>
            <pc:docMk/>
            <pc:sldMk cId="531959542" sldId="266"/>
            <ac:spMk id="109" creationId="{9EEB2AA3-30AC-A61D-832F-D7026642F76A}"/>
          </ac:spMkLst>
        </pc:spChg>
        <pc:spChg chg="mod">
          <ac:chgData name="Benedicte Aas Glad" userId="55a9e165-0d8a-4034-a14f-0bb29877055b" providerId="ADAL" clId="{E4981308-85D0-BD4E-B579-5764B255B7FA}" dt="2025-06-05T11:04:41.420" v="1382" actId="947"/>
          <ac:spMkLst>
            <pc:docMk/>
            <pc:sldMk cId="531959542" sldId="266"/>
            <ac:spMk id="110" creationId="{310AA25E-B5CE-3ECA-9956-5B36A6D07372}"/>
          </ac:spMkLst>
        </pc:spChg>
        <pc:spChg chg="mod">
          <ac:chgData name="Benedicte Aas Glad" userId="55a9e165-0d8a-4034-a14f-0bb29877055b" providerId="ADAL" clId="{E4981308-85D0-BD4E-B579-5764B255B7FA}" dt="2025-06-05T11:04:41.419" v="1380" actId="947"/>
          <ac:spMkLst>
            <pc:docMk/>
            <pc:sldMk cId="531959542" sldId="266"/>
            <ac:spMk id="111" creationId="{80C7D2DE-7E91-78A1-2D5F-6321541D0737}"/>
          </ac:spMkLst>
        </pc:spChg>
        <pc:spChg chg="mod">
          <ac:chgData name="Benedicte Aas Glad" userId="55a9e165-0d8a-4034-a14f-0bb29877055b" providerId="ADAL" clId="{E4981308-85D0-BD4E-B579-5764B255B7FA}" dt="2025-06-05T11:04:41.419" v="1378" actId="947"/>
          <ac:spMkLst>
            <pc:docMk/>
            <pc:sldMk cId="531959542" sldId="266"/>
            <ac:spMk id="112" creationId="{845CC00A-AC82-D48E-4EB7-5B80114C7328}"/>
          </ac:spMkLst>
        </pc:spChg>
        <pc:spChg chg="mod">
          <ac:chgData name="Benedicte Aas Glad" userId="55a9e165-0d8a-4034-a14f-0bb29877055b" providerId="ADAL" clId="{E4981308-85D0-BD4E-B579-5764B255B7FA}" dt="2025-06-05T11:04:41.418" v="1376" actId="947"/>
          <ac:spMkLst>
            <pc:docMk/>
            <pc:sldMk cId="531959542" sldId="266"/>
            <ac:spMk id="113" creationId="{6FA8F9BE-247B-2D55-58EE-E2397D89939A}"/>
          </ac:spMkLst>
        </pc:spChg>
        <pc:spChg chg="mod">
          <ac:chgData name="Benedicte Aas Glad" userId="55a9e165-0d8a-4034-a14f-0bb29877055b" providerId="ADAL" clId="{E4981308-85D0-BD4E-B579-5764B255B7FA}" dt="2025-06-05T11:04:41.418" v="1374" actId="947"/>
          <ac:spMkLst>
            <pc:docMk/>
            <pc:sldMk cId="531959542" sldId="266"/>
            <ac:spMk id="114" creationId="{B3A45F35-B6AF-C628-690B-5B4F402E4C57}"/>
          </ac:spMkLst>
        </pc:spChg>
        <pc:spChg chg="mod">
          <ac:chgData name="Benedicte Aas Glad" userId="55a9e165-0d8a-4034-a14f-0bb29877055b" providerId="ADAL" clId="{E4981308-85D0-BD4E-B579-5764B255B7FA}" dt="2025-06-05T11:04:41.417" v="1372" actId="947"/>
          <ac:spMkLst>
            <pc:docMk/>
            <pc:sldMk cId="531959542" sldId="266"/>
            <ac:spMk id="115" creationId="{FCF771B6-68D6-8976-9141-D0542082FE42}"/>
          </ac:spMkLst>
        </pc:spChg>
        <pc:spChg chg="mod">
          <ac:chgData name="Benedicte Aas Glad" userId="55a9e165-0d8a-4034-a14f-0bb29877055b" providerId="ADAL" clId="{E4981308-85D0-BD4E-B579-5764B255B7FA}" dt="2025-06-05T11:04:41.416" v="1370" actId="947"/>
          <ac:spMkLst>
            <pc:docMk/>
            <pc:sldMk cId="531959542" sldId="266"/>
            <ac:spMk id="116" creationId="{3591BA3C-25AE-005E-4F8E-3E9EE32819DF}"/>
          </ac:spMkLst>
        </pc:spChg>
        <pc:spChg chg="mod">
          <ac:chgData name="Benedicte Aas Glad" userId="55a9e165-0d8a-4034-a14f-0bb29877055b" providerId="ADAL" clId="{E4981308-85D0-BD4E-B579-5764B255B7FA}" dt="2025-06-05T11:04:41.416" v="1368" actId="947"/>
          <ac:spMkLst>
            <pc:docMk/>
            <pc:sldMk cId="531959542" sldId="266"/>
            <ac:spMk id="117" creationId="{D22F983C-B19E-4124-E8A3-5E179A9505A8}"/>
          </ac:spMkLst>
        </pc:spChg>
        <pc:spChg chg="mod">
          <ac:chgData name="Benedicte Aas Glad" userId="55a9e165-0d8a-4034-a14f-0bb29877055b" providerId="ADAL" clId="{E4981308-85D0-BD4E-B579-5764B255B7FA}" dt="2025-06-05T11:04:41.415" v="1366" actId="947"/>
          <ac:spMkLst>
            <pc:docMk/>
            <pc:sldMk cId="531959542" sldId="266"/>
            <ac:spMk id="118" creationId="{3A101338-DE2C-8738-6BCF-2DB8912B5B06}"/>
          </ac:spMkLst>
        </pc:spChg>
        <pc:spChg chg="mod">
          <ac:chgData name="Benedicte Aas Glad" userId="55a9e165-0d8a-4034-a14f-0bb29877055b" providerId="ADAL" clId="{E4981308-85D0-BD4E-B579-5764B255B7FA}" dt="2025-06-05T11:04:41.415" v="1364" actId="947"/>
          <ac:spMkLst>
            <pc:docMk/>
            <pc:sldMk cId="531959542" sldId="266"/>
            <ac:spMk id="119" creationId="{A23811C3-A1EA-5DC6-30A3-1394CBC0389F}"/>
          </ac:spMkLst>
        </pc:spChg>
        <pc:spChg chg="mod">
          <ac:chgData name="Benedicte Aas Glad" userId="55a9e165-0d8a-4034-a14f-0bb29877055b" providerId="ADAL" clId="{E4981308-85D0-BD4E-B579-5764B255B7FA}" dt="2025-06-05T11:04:41.414" v="1362" actId="947"/>
          <ac:spMkLst>
            <pc:docMk/>
            <pc:sldMk cId="531959542" sldId="266"/>
            <ac:spMk id="120" creationId="{C1E1A776-57A1-7D78-C05A-9827FBBA6E5D}"/>
          </ac:spMkLst>
        </pc:spChg>
        <pc:spChg chg="mod">
          <ac:chgData name="Benedicte Aas Glad" userId="55a9e165-0d8a-4034-a14f-0bb29877055b" providerId="ADAL" clId="{E4981308-85D0-BD4E-B579-5764B255B7FA}" dt="2025-06-05T11:04:41.413" v="1360" actId="947"/>
          <ac:spMkLst>
            <pc:docMk/>
            <pc:sldMk cId="531959542" sldId="266"/>
            <ac:spMk id="121" creationId="{A8FF0624-AEF8-8F0F-45C0-4A4AE06031AE}"/>
          </ac:spMkLst>
        </pc:spChg>
        <pc:spChg chg="mod">
          <ac:chgData name="Benedicte Aas Glad" userId="55a9e165-0d8a-4034-a14f-0bb29877055b" providerId="ADAL" clId="{E4981308-85D0-BD4E-B579-5764B255B7FA}" dt="2025-06-05T11:04:41.413" v="1358" actId="947"/>
          <ac:spMkLst>
            <pc:docMk/>
            <pc:sldMk cId="531959542" sldId="266"/>
            <ac:spMk id="122" creationId="{F324336C-8082-127B-1427-1FF9096259D8}"/>
          </ac:spMkLst>
        </pc:spChg>
        <pc:spChg chg="mod">
          <ac:chgData name="Benedicte Aas Glad" userId="55a9e165-0d8a-4034-a14f-0bb29877055b" providerId="ADAL" clId="{E4981308-85D0-BD4E-B579-5764B255B7FA}" dt="2025-06-05T11:04:41.412" v="1356" actId="947"/>
          <ac:spMkLst>
            <pc:docMk/>
            <pc:sldMk cId="531959542" sldId="266"/>
            <ac:spMk id="123" creationId="{CBAEECBB-51D4-433E-0FC7-850D2E15C8A0}"/>
          </ac:spMkLst>
        </pc:spChg>
        <pc:spChg chg="mod">
          <ac:chgData name="Benedicte Aas Glad" userId="55a9e165-0d8a-4034-a14f-0bb29877055b" providerId="ADAL" clId="{E4981308-85D0-BD4E-B579-5764B255B7FA}" dt="2025-06-05T11:04:41.412" v="1354" actId="947"/>
          <ac:spMkLst>
            <pc:docMk/>
            <pc:sldMk cId="531959542" sldId="266"/>
            <ac:spMk id="124" creationId="{A5A6E625-1C69-82E1-ED76-0DE7A36CF069}"/>
          </ac:spMkLst>
        </pc:spChg>
        <pc:spChg chg="mod">
          <ac:chgData name="Benedicte Aas Glad" userId="55a9e165-0d8a-4034-a14f-0bb29877055b" providerId="ADAL" clId="{E4981308-85D0-BD4E-B579-5764B255B7FA}" dt="2025-06-05T11:04:41.411" v="1352" actId="947"/>
          <ac:spMkLst>
            <pc:docMk/>
            <pc:sldMk cId="531959542" sldId="266"/>
            <ac:spMk id="125" creationId="{4D949872-B240-85CB-C021-2A23D9B46B4F}"/>
          </ac:spMkLst>
        </pc:spChg>
        <pc:spChg chg="mod">
          <ac:chgData name="Benedicte Aas Glad" userId="55a9e165-0d8a-4034-a14f-0bb29877055b" providerId="ADAL" clId="{E4981308-85D0-BD4E-B579-5764B255B7FA}" dt="2025-06-05T11:04:41.410" v="1350" actId="947"/>
          <ac:spMkLst>
            <pc:docMk/>
            <pc:sldMk cId="531959542" sldId="266"/>
            <ac:spMk id="126" creationId="{5BC1BF11-A107-4BC6-96D6-7C062C7FBAF0}"/>
          </ac:spMkLst>
        </pc:spChg>
        <pc:spChg chg="mod">
          <ac:chgData name="Benedicte Aas Glad" userId="55a9e165-0d8a-4034-a14f-0bb29877055b" providerId="ADAL" clId="{E4981308-85D0-BD4E-B579-5764B255B7FA}" dt="2025-06-05T11:04:41.410" v="1348" actId="947"/>
          <ac:spMkLst>
            <pc:docMk/>
            <pc:sldMk cId="531959542" sldId="266"/>
            <ac:spMk id="127" creationId="{7793AEF3-5DDB-2DCC-298D-BE9E6E3F0B6E}"/>
          </ac:spMkLst>
        </pc:spChg>
        <pc:spChg chg="mod">
          <ac:chgData name="Benedicte Aas Glad" userId="55a9e165-0d8a-4034-a14f-0bb29877055b" providerId="ADAL" clId="{E4981308-85D0-BD4E-B579-5764B255B7FA}" dt="2025-06-05T11:04:41.409" v="1346" actId="947"/>
          <ac:spMkLst>
            <pc:docMk/>
            <pc:sldMk cId="531959542" sldId="266"/>
            <ac:spMk id="128" creationId="{0E3E64D9-AEB0-5F25-7885-C57CC69E9C72}"/>
          </ac:spMkLst>
        </pc:spChg>
        <pc:spChg chg="mod">
          <ac:chgData name="Benedicte Aas Glad" userId="55a9e165-0d8a-4034-a14f-0bb29877055b" providerId="ADAL" clId="{E4981308-85D0-BD4E-B579-5764B255B7FA}" dt="2025-06-05T11:04:41.409" v="1344" actId="947"/>
          <ac:spMkLst>
            <pc:docMk/>
            <pc:sldMk cId="531959542" sldId="266"/>
            <ac:spMk id="129" creationId="{DC03898D-3825-662C-7EA8-C26295D42BBF}"/>
          </ac:spMkLst>
        </pc:spChg>
        <pc:spChg chg="mod">
          <ac:chgData name="Benedicte Aas Glad" userId="55a9e165-0d8a-4034-a14f-0bb29877055b" providerId="ADAL" clId="{E4981308-85D0-BD4E-B579-5764B255B7FA}" dt="2025-06-05T11:04:41.408" v="1342" actId="947"/>
          <ac:spMkLst>
            <pc:docMk/>
            <pc:sldMk cId="531959542" sldId="266"/>
            <ac:spMk id="130" creationId="{4AEFCF83-D108-BD8A-3316-41732B317C82}"/>
          </ac:spMkLst>
        </pc:spChg>
        <pc:spChg chg="mod">
          <ac:chgData name="Benedicte Aas Glad" userId="55a9e165-0d8a-4034-a14f-0bb29877055b" providerId="ADAL" clId="{E4981308-85D0-BD4E-B579-5764B255B7FA}" dt="2025-06-05T11:04:41.407" v="1340" actId="947"/>
          <ac:spMkLst>
            <pc:docMk/>
            <pc:sldMk cId="531959542" sldId="266"/>
            <ac:spMk id="131" creationId="{A5B5F19F-293F-CE2F-9064-4EA169259127}"/>
          </ac:spMkLst>
        </pc:spChg>
        <pc:spChg chg="mod">
          <ac:chgData name="Benedicte Aas Glad" userId="55a9e165-0d8a-4034-a14f-0bb29877055b" providerId="ADAL" clId="{E4981308-85D0-BD4E-B579-5764B255B7FA}" dt="2025-06-05T11:04:41.407" v="1338" actId="947"/>
          <ac:spMkLst>
            <pc:docMk/>
            <pc:sldMk cId="531959542" sldId="266"/>
            <ac:spMk id="132" creationId="{30123E79-69D9-D360-26B3-888B389E6773}"/>
          </ac:spMkLst>
        </pc:spChg>
        <pc:spChg chg="mod">
          <ac:chgData name="Benedicte Aas Glad" userId="55a9e165-0d8a-4034-a14f-0bb29877055b" providerId="ADAL" clId="{E4981308-85D0-BD4E-B579-5764B255B7FA}" dt="2025-06-05T11:04:41.406" v="1336" actId="947"/>
          <ac:spMkLst>
            <pc:docMk/>
            <pc:sldMk cId="531959542" sldId="266"/>
            <ac:spMk id="133" creationId="{53A558DE-65DC-61A8-1C78-DF1B4E210B54}"/>
          </ac:spMkLst>
        </pc:spChg>
        <pc:spChg chg="mod">
          <ac:chgData name="Benedicte Aas Glad" userId="55a9e165-0d8a-4034-a14f-0bb29877055b" providerId="ADAL" clId="{E4981308-85D0-BD4E-B579-5764B255B7FA}" dt="2025-06-05T11:04:41.405" v="1334" actId="947"/>
          <ac:spMkLst>
            <pc:docMk/>
            <pc:sldMk cId="531959542" sldId="266"/>
            <ac:spMk id="134" creationId="{65B19528-597F-7A63-A38B-B815D712A4E0}"/>
          </ac:spMkLst>
        </pc:spChg>
        <pc:spChg chg="mod">
          <ac:chgData name="Benedicte Aas Glad" userId="55a9e165-0d8a-4034-a14f-0bb29877055b" providerId="ADAL" clId="{E4981308-85D0-BD4E-B579-5764B255B7FA}" dt="2025-06-05T11:04:41.405" v="1332" actId="947"/>
          <ac:spMkLst>
            <pc:docMk/>
            <pc:sldMk cId="531959542" sldId="266"/>
            <ac:spMk id="135" creationId="{BE4DADE3-99A0-23C4-E609-074BE154D4A4}"/>
          </ac:spMkLst>
        </pc:spChg>
        <pc:spChg chg="mod">
          <ac:chgData name="Benedicte Aas Glad" userId="55a9e165-0d8a-4034-a14f-0bb29877055b" providerId="ADAL" clId="{E4981308-85D0-BD4E-B579-5764B255B7FA}" dt="2025-06-05T11:04:41.404" v="1330" actId="947"/>
          <ac:spMkLst>
            <pc:docMk/>
            <pc:sldMk cId="531959542" sldId="266"/>
            <ac:spMk id="136" creationId="{5A66EE4B-B8F9-35F3-8ACD-8FD30ED77268}"/>
          </ac:spMkLst>
        </pc:spChg>
        <pc:spChg chg="mod">
          <ac:chgData name="Benedicte Aas Glad" userId="55a9e165-0d8a-4034-a14f-0bb29877055b" providerId="ADAL" clId="{E4981308-85D0-BD4E-B579-5764B255B7FA}" dt="2025-06-05T11:04:41.404" v="1328" actId="947"/>
          <ac:spMkLst>
            <pc:docMk/>
            <pc:sldMk cId="531959542" sldId="266"/>
            <ac:spMk id="137" creationId="{FE5C0585-A49D-0759-F776-C6715C8DED76}"/>
          </ac:spMkLst>
        </pc:spChg>
        <pc:spChg chg="mod">
          <ac:chgData name="Benedicte Aas Glad" userId="55a9e165-0d8a-4034-a14f-0bb29877055b" providerId="ADAL" clId="{E4981308-85D0-BD4E-B579-5764B255B7FA}" dt="2025-06-05T11:04:41.403" v="1326" actId="947"/>
          <ac:spMkLst>
            <pc:docMk/>
            <pc:sldMk cId="531959542" sldId="266"/>
            <ac:spMk id="138" creationId="{BDD6421E-A928-921D-0359-EEC383EC88FB}"/>
          </ac:spMkLst>
        </pc:spChg>
        <pc:spChg chg="mod">
          <ac:chgData name="Benedicte Aas Glad" userId="55a9e165-0d8a-4034-a14f-0bb29877055b" providerId="ADAL" clId="{E4981308-85D0-BD4E-B579-5764B255B7FA}" dt="2025-06-05T11:04:41.403" v="1324" actId="947"/>
          <ac:spMkLst>
            <pc:docMk/>
            <pc:sldMk cId="531959542" sldId="266"/>
            <ac:spMk id="139" creationId="{EC70109C-D1CD-4A2B-3BE6-D5ED8EAF3C30}"/>
          </ac:spMkLst>
        </pc:spChg>
        <pc:spChg chg="mod">
          <ac:chgData name="Benedicte Aas Glad" userId="55a9e165-0d8a-4034-a14f-0bb29877055b" providerId="ADAL" clId="{E4981308-85D0-BD4E-B579-5764B255B7FA}" dt="2025-06-05T11:04:41.402" v="1322" actId="947"/>
          <ac:spMkLst>
            <pc:docMk/>
            <pc:sldMk cId="531959542" sldId="266"/>
            <ac:spMk id="140" creationId="{F9C5EDD0-2F67-5D5B-CFBF-42A415FBA02C}"/>
          </ac:spMkLst>
        </pc:spChg>
        <pc:spChg chg="mod">
          <ac:chgData name="Benedicte Aas Glad" userId="55a9e165-0d8a-4034-a14f-0bb29877055b" providerId="ADAL" clId="{E4981308-85D0-BD4E-B579-5764B255B7FA}" dt="2025-06-05T11:04:41.401" v="1320" actId="947"/>
          <ac:spMkLst>
            <pc:docMk/>
            <pc:sldMk cId="531959542" sldId="266"/>
            <ac:spMk id="141" creationId="{EA2AD559-A5C1-D820-51C6-48A079DA2178}"/>
          </ac:spMkLst>
        </pc:spChg>
        <pc:spChg chg="mod">
          <ac:chgData name="Benedicte Aas Glad" userId="55a9e165-0d8a-4034-a14f-0bb29877055b" providerId="ADAL" clId="{E4981308-85D0-BD4E-B579-5764B255B7FA}" dt="2025-06-05T11:04:41.401" v="1318" actId="947"/>
          <ac:spMkLst>
            <pc:docMk/>
            <pc:sldMk cId="531959542" sldId="266"/>
            <ac:spMk id="142" creationId="{0F094048-F8EA-1C9E-2CD1-3B2A016A9CB2}"/>
          </ac:spMkLst>
        </pc:spChg>
        <pc:spChg chg="mod">
          <ac:chgData name="Benedicte Aas Glad" userId="55a9e165-0d8a-4034-a14f-0bb29877055b" providerId="ADAL" clId="{E4981308-85D0-BD4E-B579-5764B255B7FA}" dt="2025-06-05T11:04:41.400" v="1316" actId="947"/>
          <ac:spMkLst>
            <pc:docMk/>
            <pc:sldMk cId="531959542" sldId="266"/>
            <ac:spMk id="143" creationId="{6811D485-9B12-6496-51EE-8992B891C9F4}"/>
          </ac:spMkLst>
        </pc:spChg>
        <pc:spChg chg="mod">
          <ac:chgData name="Benedicte Aas Glad" userId="55a9e165-0d8a-4034-a14f-0bb29877055b" providerId="ADAL" clId="{E4981308-85D0-BD4E-B579-5764B255B7FA}" dt="2025-06-05T11:04:41.400" v="1314" actId="947"/>
          <ac:spMkLst>
            <pc:docMk/>
            <pc:sldMk cId="531959542" sldId="266"/>
            <ac:spMk id="144" creationId="{58D2E8E4-7399-9142-9A0F-FC5C0B12A8EF}"/>
          </ac:spMkLst>
        </pc:spChg>
        <pc:spChg chg="mod">
          <ac:chgData name="Benedicte Aas Glad" userId="55a9e165-0d8a-4034-a14f-0bb29877055b" providerId="ADAL" clId="{E4981308-85D0-BD4E-B579-5764B255B7FA}" dt="2025-06-05T11:04:41.399" v="1312" actId="947"/>
          <ac:spMkLst>
            <pc:docMk/>
            <pc:sldMk cId="531959542" sldId="266"/>
            <ac:spMk id="145" creationId="{69D4AE32-CDA6-32E7-BE62-3E2EEB448412}"/>
          </ac:spMkLst>
        </pc:spChg>
        <pc:spChg chg="mod">
          <ac:chgData name="Benedicte Aas Glad" userId="55a9e165-0d8a-4034-a14f-0bb29877055b" providerId="ADAL" clId="{E4981308-85D0-BD4E-B579-5764B255B7FA}" dt="2025-06-05T11:04:41.398" v="1310" actId="947"/>
          <ac:spMkLst>
            <pc:docMk/>
            <pc:sldMk cId="531959542" sldId="266"/>
            <ac:spMk id="146" creationId="{550ACA33-6DCE-D575-9DC4-17224873C2B9}"/>
          </ac:spMkLst>
        </pc:spChg>
        <pc:spChg chg="mod">
          <ac:chgData name="Benedicte Aas Glad" userId="55a9e165-0d8a-4034-a14f-0bb29877055b" providerId="ADAL" clId="{E4981308-85D0-BD4E-B579-5764B255B7FA}" dt="2025-06-05T11:04:41.398" v="1308" actId="947"/>
          <ac:spMkLst>
            <pc:docMk/>
            <pc:sldMk cId="531959542" sldId="266"/>
            <ac:spMk id="147" creationId="{8AC70D32-3D6E-7D6C-1F96-E5BC7AF2499D}"/>
          </ac:spMkLst>
        </pc:spChg>
        <pc:spChg chg="mod">
          <ac:chgData name="Benedicte Aas Glad" userId="55a9e165-0d8a-4034-a14f-0bb29877055b" providerId="ADAL" clId="{E4981308-85D0-BD4E-B579-5764B255B7FA}" dt="2025-06-05T11:04:41.397" v="1306" actId="947"/>
          <ac:spMkLst>
            <pc:docMk/>
            <pc:sldMk cId="531959542" sldId="266"/>
            <ac:spMk id="148" creationId="{461D2C15-466E-C575-F14C-069AD72FD199}"/>
          </ac:spMkLst>
        </pc:spChg>
        <pc:spChg chg="mod">
          <ac:chgData name="Benedicte Aas Glad" userId="55a9e165-0d8a-4034-a14f-0bb29877055b" providerId="ADAL" clId="{E4981308-85D0-BD4E-B579-5764B255B7FA}" dt="2025-06-05T11:04:41.396" v="1304" actId="947"/>
          <ac:spMkLst>
            <pc:docMk/>
            <pc:sldMk cId="531959542" sldId="266"/>
            <ac:spMk id="149" creationId="{ADAC6AE4-4D0F-D391-D867-2E18A5B37151}"/>
          </ac:spMkLst>
        </pc:spChg>
        <pc:spChg chg="mod">
          <ac:chgData name="Benedicte Aas Glad" userId="55a9e165-0d8a-4034-a14f-0bb29877055b" providerId="ADAL" clId="{E4981308-85D0-BD4E-B579-5764B255B7FA}" dt="2025-06-05T11:04:41.396" v="1302" actId="947"/>
          <ac:spMkLst>
            <pc:docMk/>
            <pc:sldMk cId="531959542" sldId="266"/>
            <ac:spMk id="150" creationId="{1AADA7F3-96AE-F85A-22D0-F45CF9BBABED}"/>
          </ac:spMkLst>
        </pc:spChg>
        <pc:spChg chg="mod">
          <ac:chgData name="Benedicte Aas Glad" userId="55a9e165-0d8a-4034-a14f-0bb29877055b" providerId="ADAL" clId="{E4981308-85D0-BD4E-B579-5764B255B7FA}" dt="2025-06-05T11:04:41.395" v="1300" actId="947"/>
          <ac:spMkLst>
            <pc:docMk/>
            <pc:sldMk cId="531959542" sldId="266"/>
            <ac:spMk id="151" creationId="{0B87B6E8-ADCC-0319-865A-01CAE5B11688}"/>
          </ac:spMkLst>
        </pc:spChg>
        <pc:spChg chg="mod">
          <ac:chgData name="Benedicte Aas Glad" userId="55a9e165-0d8a-4034-a14f-0bb29877055b" providerId="ADAL" clId="{E4981308-85D0-BD4E-B579-5764B255B7FA}" dt="2025-06-05T11:04:41.395" v="1298" actId="947"/>
          <ac:spMkLst>
            <pc:docMk/>
            <pc:sldMk cId="531959542" sldId="266"/>
            <ac:spMk id="152" creationId="{178636CB-C11D-3992-960A-9C9DDEF464EB}"/>
          </ac:spMkLst>
        </pc:spChg>
        <pc:spChg chg="mod">
          <ac:chgData name="Benedicte Aas Glad" userId="55a9e165-0d8a-4034-a14f-0bb29877055b" providerId="ADAL" clId="{E4981308-85D0-BD4E-B579-5764B255B7FA}" dt="2025-06-05T11:04:41.394" v="1296" actId="947"/>
          <ac:spMkLst>
            <pc:docMk/>
            <pc:sldMk cId="531959542" sldId="266"/>
            <ac:spMk id="153" creationId="{22DC41B2-613B-5BEA-5918-4B560F39B3B7}"/>
          </ac:spMkLst>
        </pc:spChg>
        <pc:spChg chg="mod">
          <ac:chgData name="Benedicte Aas Glad" userId="55a9e165-0d8a-4034-a14f-0bb29877055b" providerId="ADAL" clId="{E4981308-85D0-BD4E-B579-5764B255B7FA}" dt="2025-06-05T11:04:41.393" v="1294" actId="947"/>
          <ac:spMkLst>
            <pc:docMk/>
            <pc:sldMk cId="531959542" sldId="266"/>
            <ac:spMk id="154" creationId="{6940A180-2732-8681-0D56-80BD8D41E57C}"/>
          </ac:spMkLst>
        </pc:spChg>
        <pc:spChg chg="mod">
          <ac:chgData name="Benedicte Aas Glad" userId="55a9e165-0d8a-4034-a14f-0bb29877055b" providerId="ADAL" clId="{E4981308-85D0-BD4E-B579-5764B255B7FA}" dt="2025-06-05T11:04:41.393" v="1292" actId="947"/>
          <ac:spMkLst>
            <pc:docMk/>
            <pc:sldMk cId="531959542" sldId="266"/>
            <ac:spMk id="155" creationId="{A52EE067-C5AB-FA10-92FE-6C87CFC82FDB}"/>
          </ac:spMkLst>
        </pc:spChg>
        <pc:spChg chg="mod">
          <ac:chgData name="Benedicte Aas Glad" userId="55a9e165-0d8a-4034-a14f-0bb29877055b" providerId="ADAL" clId="{E4981308-85D0-BD4E-B579-5764B255B7FA}" dt="2025-06-05T11:04:41.392" v="1290" actId="947"/>
          <ac:spMkLst>
            <pc:docMk/>
            <pc:sldMk cId="531959542" sldId="266"/>
            <ac:spMk id="156" creationId="{A4197215-A1B3-8290-D10D-93599F0C685A}"/>
          </ac:spMkLst>
        </pc:spChg>
        <pc:spChg chg="mod">
          <ac:chgData name="Benedicte Aas Glad" userId="55a9e165-0d8a-4034-a14f-0bb29877055b" providerId="ADAL" clId="{E4981308-85D0-BD4E-B579-5764B255B7FA}" dt="2025-06-05T11:04:41.391" v="1288" actId="947"/>
          <ac:spMkLst>
            <pc:docMk/>
            <pc:sldMk cId="531959542" sldId="266"/>
            <ac:spMk id="157" creationId="{E6361C32-BAFA-91A4-175E-40C4CFE70939}"/>
          </ac:spMkLst>
        </pc:spChg>
        <pc:spChg chg="mod">
          <ac:chgData name="Benedicte Aas Glad" userId="55a9e165-0d8a-4034-a14f-0bb29877055b" providerId="ADAL" clId="{E4981308-85D0-BD4E-B579-5764B255B7FA}" dt="2025-06-05T11:04:41.391" v="1286" actId="947"/>
          <ac:spMkLst>
            <pc:docMk/>
            <pc:sldMk cId="531959542" sldId="266"/>
            <ac:spMk id="158" creationId="{DA1ECF95-251C-3DA4-CD2B-CAA054523D43}"/>
          </ac:spMkLst>
        </pc:spChg>
        <pc:spChg chg="mod">
          <ac:chgData name="Benedicte Aas Glad" userId="55a9e165-0d8a-4034-a14f-0bb29877055b" providerId="ADAL" clId="{E4981308-85D0-BD4E-B579-5764B255B7FA}" dt="2025-06-05T11:04:41.390" v="1284" actId="947"/>
          <ac:spMkLst>
            <pc:docMk/>
            <pc:sldMk cId="531959542" sldId="266"/>
            <ac:spMk id="159" creationId="{7F3A94D8-80FD-9B9C-FFD0-ECC5C0DB365E}"/>
          </ac:spMkLst>
        </pc:spChg>
        <pc:spChg chg="mod">
          <ac:chgData name="Benedicte Aas Glad" userId="55a9e165-0d8a-4034-a14f-0bb29877055b" providerId="ADAL" clId="{E4981308-85D0-BD4E-B579-5764B255B7FA}" dt="2025-06-05T11:04:41.389" v="1282" actId="947"/>
          <ac:spMkLst>
            <pc:docMk/>
            <pc:sldMk cId="531959542" sldId="266"/>
            <ac:spMk id="160" creationId="{41CFC331-28CE-6499-EF07-107314FB0CC8}"/>
          </ac:spMkLst>
        </pc:spChg>
        <pc:spChg chg="mod">
          <ac:chgData name="Benedicte Aas Glad" userId="55a9e165-0d8a-4034-a14f-0bb29877055b" providerId="ADAL" clId="{E4981308-85D0-BD4E-B579-5764B255B7FA}" dt="2025-06-05T11:04:41.388" v="1280" actId="947"/>
          <ac:spMkLst>
            <pc:docMk/>
            <pc:sldMk cId="531959542" sldId="266"/>
            <ac:spMk id="161" creationId="{535628FD-02E8-EF39-96B4-6988B18E710B}"/>
          </ac:spMkLst>
        </pc:spChg>
        <pc:spChg chg="mod">
          <ac:chgData name="Benedicte Aas Glad" userId="55a9e165-0d8a-4034-a14f-0bb29877055b" providerId="ADAL" clId="{E4981308-85D0-BD4E-B579-5764B255B7FA}" dt="2025-06-05T11:04:41.388" v="1278" actId="947"/>
          <ac:spMkLst>
            <pc:docMk/>
            <pc:sldMk cId="531959542" sldId="266"/>
            <ac:spMk id="162" creationId="{D2DEFF39-48F4-3661-5275-F7818F3AEB46}"/>
          </ac:spMkLst>
        </pc:spChg>
        <pc:spChg chg="mod">
          <ac:chgData name="Benedicte Aas Glad" userId="55a9e165-0d8a-4034-a14f-0bb29877055b" providerId="ADAL" clId="{E4981308-85D0-BD4E-B579-5764B255B7FA}" dt="2025-06-05T11:04:41.387" v="1276" actId="947"/>
          <ac:spMkLst>
            <pc:docMk/>
            <pc:sldMk cId="531959542" sldId="266"/>
            <ac:spMk id="163" creationId="{A2B672BB-C4D7-125F-16E4-DC54BF11BA1A}"/>
          </ac:spMkLst>
        </pc:spChg>
        <pc:spChg chg="mod">
          <ac:chgData name="Benedicte Aas Glad" userId="55a9e165-0d8a-4034-a14f-0bb29877055b" providerId="ADAL" clId="{E4981308-85D0-BD4E-B579-5764B255B7FA}" dt="2025-06-05T11:04:41.386" v="1274" actId="947"/>
          <ac:spMkLst>
            <pc:docMk/>
            <pc:sldMk cId="531959542" sldId="266"/>
            <ac:spMk id="164" creationId="{451A939A-353A-9B50-B969-F8DB605104B5}"/>
          </ac:spMkLst>
        </pc:spChg>
        <pc:spChg chg="mod">
          <ac:chgData name="Benedicte Aas Glad" userId="55a9e165-0d8a-4034-a14f-0bb29877055b" providerId="ADAL" clId="{E4981308-85D0-BD4E-B579-5764B255B7FA}" dt="2025-06-05T11:04:41.386" v="1272" actId="947"/>
          <ac:spMkLst>
            <pc:docMk/>
            <pc:sldMk cId="531959542" sldId="266"/>
            <ac:spMk id="165" creationId="{775BFCC8-2FB2-5F41-2D3B-1953F49B562E}"/>
          </ac:spMkLst>
        </pc:spChg>
        <pc:spChg chg="mod">
          <ac:chgData name="Benedicte Aas Glad" userId="55a9e165-0d8a-4034-a14f-0bb29877055b" providerId="ADAL" clId="{E4981308-85D0-BD4E-B579-5764B255B7FA}" dt="2025-06-05T11:04:41.385" v="1270" actId="947"/>
          <ac:spMkLst>
            <pc:docMk/>
            <pc:sldMk cId="531959542" sldId="266"/>
            <ac:spMk id="166" creationId="{86579C24-E94F-0FF4-39EB-CB59544F43E4}"/>
          </ac:spMkLst>
        </pc:spChg>
        <pc:spChg chg="mod">
          <ac:chgData name="Benedicte Aas Glad" userId="55a9e165-0d8a-4034-a14f-0bb29877055b" providerId="ADAL" clId="{E4981308-85D0-BD4E-B579-5764B255B7FA}" dt="2025-06-05T11:04:41.385" v="1268" actId="947"/>
          <ac:spMkLst>
            <pc:docMk/>
            <pc:sldMk cId="531959542" sldId="266"/>
            <ac:spMk id="167" creationId="{84FF7BCC-7070-1441-12CE-A9BCFA30B83B}"/>
          </ac:spMkLst>
        </pc:spChg>
        <pc:spChg chg="mod">
          <ac:chgData name="Benedicte Aas Glad" userId="55a9e165-0d8a-4034-a14f-0bb29877055b" providerId="ADAL" clId="{E4981308-85D0-BD4E-B579-5764B255B7FA}" dt="2025-06-05T11:04:41.384" v="1266" actId="947"/>
          <ac:spMkLst>
            <pc:docMk/>
            <pc:sldMk cId="531959542" sldId="266"/>
            <ac:spMk id="168" creationId="{8E2E1C1D-412E-0151-8D88-B446F217B49B}"/>
          </ac:spMkLst>
        </pc:spChg>
        <pc:spChg chg="mod">
          <ac:chgData name="Benedicte Aas Glad" userId="55a9e165-0d8a-4034-a14f-0bb29877055b" providerId="ADAL" clId="{E4981308-85D0-BD4E-B579-5764B255B7FA}" dt="2025-06-05T11:04:41.383" v="1264" actId="947"/>
          <ac:spMkLst>
            <pc:docMk/>
            <pc:sldMk cId="531959542" sldId="266"/>
            <ac:spMk id="169" creationId="{9CB43610-32D1-29EF-0840-8C6929962877}"/>
          </ac:spMkLst>
        </pc:spChg>
        <pc:spChg chg="mod">
          <ac:chgData name="Benedicte Aas Glad" userId="55a9e165-0d8a-4034-a14f-0bb29877055b" providerId="ADAL" clId="{E4981308-85D0-BD4E-B579-5764B255B7FA}" dt="2025-06-05T11:04:41.383" v="1262" actId="947"/>
          <ac:spMkLst>
            <pc:docMk/>
            <pc:sldMk cId="531959542" sldId="266"/>
            <ac:spMk id="170" creationId="{9493684B-9CDF-141A-2B68-65806D7EF08C}"/>
          </ac:spMkLst>
        </pc:spChg>
        <pc:spChg chg="mod">
          <ac:chgData name="Benedicte Aas Glad" userId="55a9e165-0d8a-4034-a14f-0bb29877055b" providerId="ADAL" clId="{E4981308-85D0-BD4E-B579-5764B255B7FA}" dt="2025-06-05T11:04:41.382" v="1260" actId="947"/>
          <ac:spMkLst>
            <pc:docMk/>
            <pc:sldMk cId="531959542" sldId="266"/>
            <ac:spMk id="171" creationId="{869BE36F-952D-F4E0-1D17-8A1DCC7CCEF2}"/>
          </ac:spMkLst>
        </pc:spChg>
        <pc:spChg chg="mod">
          <ac:chgData name="Benedicte Aas Glad" userId="55a9e165-0d8a-4034-a14f-0bb29877055b" providerId="ADAL" clId="{E4981308-85D0-BD4E-B579-5764B255B7FA}" dt="2025-06-05T11:04:41.382" v="1258" actId="947"/>
          <ac:spMkLst>
            <pc:docMk/>
            <pc:sldMk cId="531959542" sldId="266"/>
            <ac:spMk id="172" creationId="{5C1170B6-F7E9-6BC4-02D2-92AC1EAC18DB}"/>
          </ac:spMkLst>
        </pc:spChg>
        <pc:spChg chg="mod">
          <ac:chgData name="Benedicte Aas Glad" userId="55a9e165-0d8a-4034-a14f-0bb29877055b" providerId="ADAL" clId="{E4981308-85D0-BD4E-B579-5764B255B7FA}" dt="2025-06-05T11:04:41.381" v="1256" actId="947"/>
          <ac:spMkLst>
            <pc:docMk/>
            <pc:sldMk cId="531959542" sldId="266"/>
            <ac:spMk id="173" creationId="{611283AC-5901-B861-405F-5EB0C20794E7}"/>
          </ac:spMkLst>
        </pc:spChg>
        <pc:spChg chg="mod">
          <ac:chgData name="Benedicte Aas Glad" userId="55a9e165-0d8a-4034-a14f-0bb29877055b" providerId="ADAL" clId="{E4981308-85D0-BD4E-B579-5764B255B7FA}" dt="2025-06-05T11:04:41.380" v="1254" actId="947"/>
          <ac:spMkLst>
            <pc:docMk/>
            <pc:sldMk cId="531959542" sldId="266"/>
            <ac:spMk id="174" creationId="{D64EE57C-8220-1BF3-34D0-50829DAE8E9C}"/>
          </ac:spMkLst>
        </pc:spChg>
        <pc:spChg chg="mod">
          <ac:chgData name="Benedicte Aas Glad" userId="55a9e165-0d8a-4034-a14f-0bb29877055b" providerId="ADAL" clId="{E4981308-85D0-BD4E-B579-5764B255B7FA}" dt="2025-06-05T11:04:41.380" v="1252" actId="947"/>
          <ac:spMkLst>
            <pc:docMk/>
            <pc:sldMk cId="531959542" sldId="266"/>
            <ac:spMk id="175" creationId="{E6846825-7891-0E1C-0928-D43F0391C7E0}"/>
          </ac:spMkLst>
        </pc:spChg>
        <pc:spChg chg="mod">
          <ac:chgData name="Benedicte Aas Glad" userId="55a9e165-0d8a-4034-a14f-0bb29877055b" providerId="ADAL" clId="{E4981308-85D0-BD4E-B579-5764B255B7FA}" dt="2025-06-05T11:04:41.379" v="1250" actId="947"/>
          <ac:spMkLst>
            <pc:docMk/>
            <pc:sldMk cId="531959542" sldId="266"/>
            <ac:spMk id="176" creationId="{F017ECB3-BD73-4912-DFB4-8BFE8F9A9C71}"/>
          </ac:spMkLst>
        </pc:spChg>
        <pc:spChg chg="mod">
          <ac:chgData name="Benedicte Aas Glad" userId="55a9e165-0d8a-4034-a14f-0bb29877055b" providerId="ADAL" clId="{E4981308-85D0-BD4E-B579-5764B255B7FA}" dt="2025-06-05T11:04:41.378" v="1248" actId="947"/>
          <ac:spMkLst>
            <pc:docMk/>
            <pc:sldMk cId="531959542" sldId="266"/>
            <ac:spMk id="177" creationId="{6C5F339C-1DDA-7144-DAC2-AC3EB7D25791}"/>
          </ac:spMkLst>
        </pc:spChg>
        <pc:spChg chg="mod">
          <ac:chgData name="Benedicte Aas Glad" userId="55a9e165-0d8a-4034-a14f-0bb29877055b" providerId="ADAL" clId="{E4981308-85D0-BD4E-B579-5764B255B7FA}" dt="2025-06-05T11:04:41.378" v="1246" actId="947"/>
          <ac:spMkLst>
            <pc:docMk/>
            <pc:sldMk cId="531959542" sldId="266"/>
            <ac:spMk id="178" creationId="{8996A1D7-4D2A-78C3-C1E9-1739B446968E}"/>
          </ac:spMkLst>
        </pc:spChg>
        <pc:spChg chg="mod">
          <ac:chgData name="Benedicte Aas Glad" userId="55a9e165-0d8a-4034-a14f-0bb29877055b" providerId="ADAL" clId="{E4981308-85D0-BD4E-B579-5764B255B7FA}" dt="2025-06-05T11:04:41.377" v="1244" actId="947"/>
          <ac:spMkLst>
            <pc:docMk/>
            <pc:sldMk cId="531959542" sldId="266"/>
            <ac:spMk id="179" creationId="{26AFB68F-C647-0374-F3DE-EBDF843D4050}"/>
          </ac:spMkLst>
        </pc:spChg>
        <pc:spChg chg="mod">
          <ac:chgData name="Benedicte Aas Glad" userId="55a9e165-0d8a-4034-a14f-0bb29877055b" providerId="ADAL" clId="{E4981308-85D0-BD4E-B579-5764B255B7FA}" dt="2025-06-05T11:04:41.377" v="1242" actId="947"/>
          <ac:spMkLst>
            <pc:docMk/>
            <pc:sldMk cId="531959542" sldId="266"/>
            <ac:spMk id="180" creationId="{B9C0003A-B269-3425-B849-96FC33BB58CC}"/>
          </ac:spMkLst>
        </pc:spChg>
        <pc:spChg chg="mod">
          <ac:chgData name="Benedicte Aas Glad" userId="55a9e165-0d8a-4034-a14f-0bb29877055b" providerId="ADAL" clId="{E4981308-85D0-BD4E-B579-5764B255B7FA}" dt="2025-06-05T11:04:41.376" v="1240" actId="947"/>
          <ac:spMkLst>
            <pc:docMk/>
            <pc:sldMk cId="531959542" sldId="266"/>
            <ac:spMk id="181" creationId="{CE934C5E-9D8D-ABB2-E83E-A2430D80489E}"/>
          </ac:spMkLst>
        </pc:spChg>
        <pc:spChg chg="mod">
          <ac:chgData name="Benedicte Aas Glad" userId="55a9e165-0d8a-4034-a14f-0bb29877055b" providerId="ADAL" clId="{E4981308-85D0-BD4E-B579-5764B255B7FA}" dt="2025-06-05T11:04:41.375" v="1238" actId="947"/>
          <ac:spMkLst>
            <pc:docMk/>
            <pc:sldMk cId="531959542" sldId="266"/>
            <ac:spMk id="182" creationId="{F918D897-06B2-277F-C48A-443D1E8DB351}"/>
          </ac:spMkLst>
        </pc:spChg>
        <pc:spChg chg="mod">
          <ac:chgData name="Benedicte Aas Glad" userId="55a9e165-0d8a-4034-a14f-0bb29877055b" providerId="ADAL" clId="{E4981308-85D0-BD4E-B579-5764B255B7FA}" dt="2025-06-05T11:04:41.375" v="1236" actId="947"/>
          <ac:spMkLst>
            <pc:docMk/>
            <pc:sldMk cId="531959542" sldId="266"/>
            <ac:spMk id="183" creationId="{5F47AAC2-8B32-B910-05D5-9BC5B525CD87}"/>
          </ac:spMkLst>
        </pc:spChg>
        <pc:spChg chg="mod">
          <ac:chgData name="Benedicte Aas Glad" userId="55a9e165-0d8a-4034-a14f-0bb29877055b" providerId="ADAL" clId="{E4981308-85D0-BD4E-B579-5764B255B7FA}" dt="2025-06-05T11:04:41.374" v="1234" actId="947"/>
          <ac:spMkLst>
            <pc:docMk/>
            <pc:sldMk cId="531959542" sldId="266"/>
            <ac:spMk id="184" creationId="{15BE7204-57EF-D769-3207-2C326764B600}"/>
          </ac:spMkLst>
        </pc:spChg>
        <pc:spChg chg="mod">
          <ac:chgData name="Benedicte Aas Glad" userId="55a9e165-0d8a-4034-a14f-0bb29877055b" providerId="ADAL" clId="{E4981308-85D0-BD4E-B579-5764B255B7FA}" dt="2025-06-05T11:04:41.373" v="1232" actId="947"/>
          <ac:spMkLst>
            <pc:docMk/>
            <pc:sldMk cId="531959542" sldId="266"/>
            <ac:spMk id="185" creationId="{BF80F05D-2890-A392-1A5E-44EA28F3DE70}"/>
          </ac:spMkLst>
        </pc:spChg>
        <pc:spChg chg="mod">
          <ac:chgData name="Benedicte Aas Glad" userId="55a9e165-0d8a-4034-a14f-0bb29877055b" providerId="ADAL" clId="{E4981308-85D0-BD4E-B579-5764B255B7FA}" dt="2025-06-05T11:04:41.373" v="1230" actId="947"/>
          <ac:spMkLst>
            <pc:docMk/>
            <pc:sldMk cId="531959542" sldId="266"/>
            <ac:spMk id="186" creationId="{01C41114-457D-A37E-D9E7-26DB07B32B8F}"/>
          </ac:spMkLst>
        </pc:spChg>
        <pc:spChg chg="mod">
          <ac:chgData name="Benedicte Aas Glad" userId="55a9e165-0d8a-4034-a14f-0bb29877055b" providerId="ADAL" clId="{E4981308-85D0-BD4E-B579-5764B255B7FA}" dt="2025-06-05T11:04:41.372" v="1228" actId="947"/>
          <ac:spMkLst>
            <pc:docMk/>
            <pc:sldMk cId="531959542" sldId="266"/>
            <ac:spMk id="187" creationId="{283D5F46-E866-3176-FA1E-4AAB791973D1}"/>
          </ac:spMkLst>
        </pc:spChg>
        <pc:spChg chg="mod">
          <ac:chgData name="Benedicte Aas Glad" userId="55a9e165-0d8a-4034-a14f-0bb29877055b" providerId="ADAL" clId="{E4981308-85D0-BD4E-B579-5764B255B7FA}" dt="2025-06-05T11:04:41.372" v="1226" actId="947"/>
          <ac:spMkLst>
            <pc:docMk/>
            <pc:sldMk cId="531959542" sldId="266"/>
            <ac:spMk id="188" creationId="{A3FFFE27-E435-F426-8931-641FF013C37D}"/>
          </ac:spMkLst>
        </pc:spChg>
        <pc:spChg chg="mod">
          <ac:chgData name="Benedicte Aas Glad" userId="55a9e165-0d8a-4034-a14f-0bb29877055b" providerId="ADAL" clId="{E4981308-85D0-BD4E-B579-5764B255B7FA}" dt="2025-06-05T11:04:41.371" v="1224" actId="947"/>
          <ac:spMkLst>
            <pc:docMk/>
            <pc:sldMk cId="531959542" sldId="266"/>
            <ac:spMk id="189" creationId="{7BD8407B-1244-EFD3-2BC4-7E6343DD7428}"/>
          </ac:spMkLst>
        </pc:spChg>
        <pc:spChg chg="mod">
          <ac:chgData name="Benedicte Aas Glad" userId="55a9e165-0d8a-4034-a14f-0bb29877055b" providerId="ADAL" clId="{E4981308-85D0-BD4E-B579-5764B255B7FA}" dt="2025-06-05T11:04:41.370" v="1222" actId="947"/>
          <ac:spMkLst>
            <pc:docMk/>
            <pc:sldMk cId="531959542" sldId="266"/>
            <ac:spMk id="190" creationId="{34997090-625D-16C7-2320-69B426030F3E}"/>
          </ac:spMkLst>
        </pc:spChg>
        <pc:spChg chg="mod">
          <ac:chgData name="Benedicte Aas Glad" userId="55a9e165-0d8a-4034-a14f-0bb29877055b" providerId="ADAL" clId="{E4981308-85D0-BD4E-B579-5764B255B7FA}" dt="2025-06-05T11:04:41.370" v="1220" actId="947"/>
          <ac:spMkLst>
            <pc:docMk/>
            <pc:sldMk cId="531959542" sldId="266"/>
            <ac:spMk id="191" creationId="{A964E455-073D-ECDB-F96E-91319D76C907}"/>
          </ac:spMkLst>
        </pc:spChg>
        <pc:spChg chg="mod">
          <ac:chgData name="Benedicte Aas Glad" userId="55a9e165-0d8a-4034-a14f-0bb29877055b" providerId="ADAL" clId="{E4981308-85D0-BD4E-B579-5764B255B7FA}" dt="2025-06-05T11:04:41.369" v="1218" actId="947"/>
          <ac:spMkLst>
            <pc:docMk/>
            <pc:sldMk cId="531959542" sldId="266"/>
            <ac:spMk id="192" creationId="{25BF08E7-1A92-E44F-457B-87A3908BD5C1}"/>
          </ac:spMkLst>
        </pc:spChg>
        <pc:spChg chg="mod">
          <ac:chgData name="Benedicte Aas Glad" userId="55a9e165-0d8a-4034-a14f-0bb29877055b" providerId="ADAL" clId="{E4981308-85D0-BD4E-B579-5764B255B7FA}" dt="2025-06-05T11:04:41.368" v="1216" actId="947"/>
          <ac:spMkLst>
            <pc:docMk/>
            <pc:sldMk cId="531959542" sldId="266"/>
            <ac:spMk id="193" creationId="{979A4BCE-D2B7-4090-26DE-D52048E75859}"/>
          </ac:spMkLst>
        </pc:spChg>
        <pc:spChg chg="mod">
          <ac:chgData name="Benedicte Aas Glad" userId="55a9e165-0d8a-4034-a14f-0bb29877055b" providerId="ADAL" clId="{E4981308-85D0-BD4E-B579-5764B255B7FA}" dt="2025-06-05T11:04:41.368" v="1214" actId="947"/>
          <ac:spMkLst>
            <pc:docMk/>
            <pc:sldMk cId="531959542" sldId="266"/>
            <ac:spMk id="194" creationId="{A21C3A53-6471-9BCF-F697-FBE8C187B9E6}"/>
          </ac:spMkLst>
        </pc:spChg>
        <pc:spChg chg="mod">
          <ac:chgData name="Benedicte Aas Glad" userId="55a9e165-0d8a-4034-a14f-0bb29877055b" providerId="ADAL" clId="{E4981308-85D0-BD4E-B579-5764B255B7FA}" dt="2025-06-05T11:04:41.367" v="1212" actId="947"/>
          <ac:spMkLst>
            <pc:docMk/>
            <pc:sldMk cId="531959542" sldId="266"/>
            <ac:spMk id="195" creationId="{898A3152-A99C-461C-97DC-7EBCFFCC17F6}"/>
          </ac:spMkLst>
        </pc:spChg>
        <pc:spChg chg="mod">
          <ac:chgData name="Benedicte Aas Glad" userId="55a9e165-0d8a-4034-a14f-0bb29877055b" providerId="ADAL" clId="{E4981308-85D0-BD4E-B579-5764B255B7FA}" dt="2025-06-06T08:41:05.173" v="3145" actId="2711"/>
          <ac:spMkLst>
            <pc:docMk/>
            <pc:sldMk cId="531959542" sldId="266"/>
            <ac:spMk id="196" creationId="{94215C77-5A42-FFEE-CBF4-8523CF636CED}"/>
          </ac:spMkLst>
        </pc:spChg>
        <pc:spChg chg="mod">
          <ac:chgData name="Benedicte Aas Glad" userId="55a9e165-0d8a-4034-a14f-0bb29877055b" providerId="ADAL" clId="{E4981308-85D0-BD4E-B579-5764B255B7FA}" dt="2025-06-05T11:04:41.366" v="1208" actId="947"/>
          <ac:spMkLst>
            <pc:docMk/>
            <pc:sldMk cId="531959542" sldId="266"/>
            <ac:spMk id="197" creationId="{40FE5BBB-AD61-14D2-1001-466637A4702F}"/>
          </ac:spMkLst>
        </pc:spChg>
        <pc:spChg chg="mod">
          <ac:chgData name="Benedicte Aas Glad" userId="55a9e165-0d8a-4034-a14f-0bb29877055b" providerId="ADAL" clId="{E4981308-85D0-BD4E-B579-5764B255B7FA}" dt="2025-06-05T11:04:41.365" v="1206" actId="947"/>
          <ac:spMkLst>
            <pc:docMk/>
            <pc:sldMk cId="531959542" sldId="266"/>
            <ac:spMk id="198" creationId="{2FA19175-2E3B-2616-0E88-04BB655D8F7F}"/>
          </ac:spMkLst>
        </pc:spChg>
        <pc:spChg chg="mod">
          <ac:chgData name="Benedicte Aas Glad" userId="55a9e165-0d8a-4034-a14f-0bb29877055b" providerId="ADAL" clId="{E4981308-85D0-BD4E-B579-5764B255B7FA}" dt="2025-06-05T11:04:41.364" v="1204" actId="947"/>
          <ac:spMkLst>
            <pc:docMk/>
            <pc:sldMk cId="531959542" sldId="266"/>
            <ac:spMk id="199" creationId="{BACBAFBE-DB3F-8BEE-4B95-9E8FE4AFDF7D}"/>
          </ac:spMkLst>
        </pc:spChg>
        <pc:spChg chg="mod">
          <ac:chgData name="Benedicte Aas Glad" userId="55a9e165-0d8a-4034-a14f-0bb29877055b" providerId="ADAL" clId="{E4981308-85D0-BD4E-B579-5764B255B7FA}" dt="2025-06-05T11:04:41.364" v="1202" actId="947"/>
          <ac:spMkLst>
            <pc:docMk/>
            <pc:sldMk cId="531959542" sldId="266"/>
            <ac:spMk id="200" creationId="{94198A78-67C3-BDE7-63F6-20678FDBD0AD}"/>
          </ac:spMkLst>
        </pc:spChg>
        <pc:spChg chg="mod">
          <ac:chgData name="Benedicte Aas Glad" userId="55a9e165-0d8a-4034-a14f-0bb29877055b" providerId="ADAL" clId="{E4981308-85D0-BD4E-B579-5764B255B7FA}" dt="2025-06-05T11:04:41.363" v="1200" actId="947"/>
          <ac:spMkLst>
            <pc:docMk/>
            <pc:sldMk cId="531959542" sldId="266"/>
            <ac:spMk id="201" creationId="{E794CE9C-1764-C694-3FFA-5AD0EA851F34}"/>
          </ac:spMkLst>
        </pc:spChg>
        <pc:spChg chg="mod">
          <ac:chgData name="Benedicte Aas Glad" userId="55a9e165-0d8a-4034-a14f-0bb29877055b" providerId="ADAL" clId="{E4981308-85D0-BD4E-B579-5764B255B7FA}" dt="2025-06-05T11:04:41.363" v="1198" actId="947"/>
          <ac:spMkLst>
            <pc:docMk/>
            <pc:sldMk cId="531959542" sldId="266"/>
            <ac:spMk id="202" creationId="{60740CA2-617D-007D-3AD0-A74C6F4B4445}"/>
          </ac:spMkLst>
        </pc:spChg>
        <pc:spChg chg="mod">
          <ac:chgData name="Benedicte Aas Glad" userId="55a9e165-0d8a-4034-a14f-0bb29877055b" providerId="ADAL" clId="{E4981308-85D0-BD4E-B579-5764B255B7FA}" dt="2025-06-05T11:04:41.362" v="1196" actId="947"/>
          <ac:spMkLst>
            <pc:docMk/>
            <pc:sldMk cId="531959542" sldId="266"/>
            <ac:spMk id="203" creationId="{C53319E9-EE26-5153-16FA-53CEE93907EA}"/>
          </ac:spMkLst>
        </pc:spChg>
        <pc:spChg chg="mod">
          <ac:chgData name="Benedicte Aas Glad" userId="55a9e165-0d8a-4034-a14f-0bb29877055b" providerId="ADAL" clId="{E4981308-85D0-BD4E-B579-5764B255B7FA}" dt="2025-06-05T11:04:41.361" v="1194" actId="947"/>
          <ac:spMkLst>
            <pc:docMk/>
            <pc:sldMk cId="531959542" sldId="266"/>
            <ac:spMk id="204" creationId="{A460DC7D-4887-E071-7FC3-055578A86EF8}"/>
          </ac:spMkLst>
        </pc:spChg>
        <pc:spChg chg="mod">
          <ac:chgData name="Benedicte Aas Glad" userId="55a9e165-0d8a-4034-a14f-0bb29877055b" providerId="ADAL" clId="{E4981308-85D0-BD4E-B579-5764B255B7FA}" dt="2025-06-05T11:04:41.361" v="1192" actId="947"/>
          <ac:spMkLst>
            <pc:docMk/>
            <pc:sldMk cId="531959542" sldId="266"/>
            <ac:spMk id="205" creationId="{234A5DDF-1AF6-7575-B903-2D96D7F28575}"/>
          </ac:spMkLst>
        </pc:spChg>
        <pc:spChg chg="mod">
          <ac:chgData name="Benedicte Aas Glad" userId="55a9e165-0d8a-4034-a14f-0bb29877055b" providerId="ADAL" clId="{E4981308-85D0-BD4E-B579-5764B255B7FA}" dt="2025-06-05T11:04:41.360" v="1190" actId="947"/>
          <ac:spMkLst>
            <pc:docMk/>
            <pc:sldMk cId="531959542" sldId="266"/>
            <ac:spMk id="206" creationId="{F2217281-119C-EB41-F768-0AE16FF4BE03}"/>
          </ac:spMkLst>
        </pc:spChg>
        <pc:spChg chg="mod">
          <ac:chgData name="Benedicte Aas Glad" userId="55a9e165-0d8a-4034-a14f-0bb29877055b" providerId="ADAL" clId="{E4981308-85D0-BD4E-B579-5764B255B7FA}" dt="2025-06-05T11:04:41.359" v="1188" actId="947"/>
          <ac:spMkLst>
            <pc:docMk/>
            <pc:sldMk cId="531959542" sldId="266"/>
            <ac:spMk id="207" creationId="{EADC361F-1E80-C117-2769-5D31100F0549}"/>
          </ac:spMkLst>
        </pc:spChg>
        <pc:spChg chg="mod">
          <ac:chgData name="Benedicte Aas Glad" userId="55a9e165-0d8a-4034-a14f-0bb29877055b" providerId="ADAL" clId="{E4981308-85D0-BD4E-B579-5764B255B7FA}" dt="2025-06-05T11:04:41.359" v="1186" actId="947"/>
          <ac:spMkLst>
            <pc:docMk/>
            <pc:sldMk cId="531959542" sldId="266"/>
            <ac:spMk id="208" creationId="{0CC00A05-F384-7963-8BC0-424F850B21AA}"/>
          </ac:spMkLst>
        </pc:spChg>
        <pc:spChg chg="mod">
          <ac:chgData name="Benedicte Aas Glad" userId="55a9e165-0d8a-4034-a14f-0bb29877055b" providerId="ADAL" clId="{E4981308-85D0-BD4E-B579-5764B255B7FA}" dt="2025-06-05T11:04:41.358" v="1184" actId="947"/>
          <ac:spMkLst>
            <pc:docMk/>
            <pc:sldMk cId="531959542" sldId="266"/>
            <ac:spMk id="209" creationId="{010D18D6-351A-DF2F-177E-B3F1E5FB759A}"/>
          </ac:spMkLst>
        </pc:spChg>
        <pc:spChg chg="mod">
          <ac:chgData name="Benedicte Aas Glad" userId="55a9e165-0d8a-4034-a14f-0bb29877055b" providerId="ADAL" clId="{E4981308-85D0-BD4E-B579-5764B255B7FA}" dt="2025-06-05T11:04:41.357" v="1182" actId="947"/>
          <ac:spMkLst>
            <pc:docMk/>
            <pc:sldMk cId="531959542" sldId="266"/>
            <ac:spMk id="210" creationId="{34CF2FF2-85A3-070E-C3BA-69CE6F110E8C}"/>
          </ac:spMkLst>
        </pc:spChg>
        <pc:spChg chg="mod">
          <ac:chgData name="Benedicte Aas Glad" userId="55a9e165-0d8a-4034-a14f-0bb29877055b" providerId="ADAL" clId="{E4981308-85D0-BD4E-B579-5764B255B7FA}" dt="2025-06-05T11:04:41.357" v="1180" actId="947"/>
          <ac:spMkLst>
            <pc:docMk/>
            <pc:sldMk cId="531959542" sldId="266"/>
            <ac:spMk id="211" creationId="{AEC0A23F-E049-E214-A5C7-AC9AA1263D9A}"/>
          </ac:spMkLst>
        </pc:spChg>
        <pc:spChg chg="mod">
          <ac:chgData name="Benedicte Aas Glad" userId="55a9e165-0d8a-4034-a14f-0bb29877055b" providerId="ADAL" clId="{E4981308-85D0-BD4E-B579-5764B255B7FA}" dt="2025-06-05T11:04:41.356" v="1178" actId="947"/>
          <ac:spMkLst>
            <pc:docMk/>
            <pc:sldMk cId="531959542" sldId="266"/>
            <ac:spMk id="212" creationId="{2E9C2B1C-4DC0-6691-2A08-D5AAEC74636E}"/>
          </ac:spMkLst>
        </pc:spChg>
        <pc:spChg chg="mod">
          <ac:chgData name="Benedicte Aas Glad" userId="55a9e165-0d8a-4034-a14f-0bb29877055b" providerId="ADAL" clId="{E4981308-85D0-BD4E-B579-5764B255B7FA}" dt="2025-06-05T11:04:41.356" v="1176" actId="947"/>
          <ac:spMkLst>
            <pc:docMk/>
            <pc:sldMk cId="531959542" sldId="266"/>
            <ac:spMk id="213" creationId="{36229B04-9EFD-C013-9C36-58FBA614ADE1}"/>
          </ac:spMkLst>
        </pc:spChg>
        <pc:spChg chg="mod">
          <ac:chgData name="Benedicte Aas Glad" userId="55a9e165-0d8a-4034-a14f-0bb29877055b" providerId="ADAL" clId="{E4981308-85D0-BD4E-B579-5764B255B7FA}" dt="2025-06-05T11:04:41.355" v="1174" actId="947"/>
          <ac:spMkLst>
            <pc:docMk/>
            <pc:sldMk cId="531959542" sldId="266"/>
            <ac:spMk id="214" creationId="{85E87A7D-6518-2A6F-29DD-DC50076402EA}"/>
          </ac:spMkLst>
        </pc:spChg>
        <pc:spChg chg="mod">
          <ac:chgData name="Benedicte Aas Glad" userId="55a9e165-0d8a-4034-a14f-0bb29877055b" providerId="ADAL" clId="{E4981308-85D0-BD4E-B579-5764B255B7FA}" dt="2025-06-05T11:04:41.354" v="1172" actId="947"/>
          <ac:spMkLst>
            <pc:docMk/>
            <pc:sldMk cId="531959542" sldId="266"/>
            <ac:spMk id="215" creationId="{785DCFF0-D73D-B9FE-9C95-7D1BB8AC031E}"/>
          </ac:spMkLst>
        </pc:spChg>
        <pc:spChg chg="mod">
          <ac:chgData name="Benedicte Aas Glad" userId="55a9e165-0d8a-4034-a14f-0bb29877055b" providerId="ADAL" clId="{E4981308-85D0-BD4E-B579-5764B255B7FA}" dt="2025-06-06T08:41:05.173" v="3145" actId="2711"/>
          <ac:spMkLst>
            <pc:docMk/>
            <pc:sldMk cId="531959542" sldId="266"/>
            <ac:spMk id="216" creationId="{92FD8176-7920-F372-F40C-FA19F74E07EB}"/>
          </ac:spMkLst>
        </pc:spChg>
        <pc:spChg chg="mod">
          <ac:chgData name="Benedicte Aas Glad" userId="55a9e165-0d8a-4034-a14f-0bb29877055b" providerId="ADAL" clId="{E4981308-85D0-BD4E-B579-5764B255B7FA}" dt="2025-06-05T11:04:41.353" v="1168" actId="947"/>
          <ac:spMkLst>
            <pc:docMk/>
            <pc:sldMk cId="531959542" sldId="266"/>
            <ac:spMk id="217" creationId="{79065A27-AAE9-B2FC-9519-684DFFE81BDE}"/>
          </ac:spMkLst>
        </pc:spChg>
        <pc:spChg chg="mod">
          <ac:chgData name="Benedicte Aas Glad" userId="55a9e165-0d8a-4034-a14f-0bb29877055b" providerId="ADAL" clId="{E4981308-85D0-BD4E-B579-5764B255B7FA}" dt="2025-06-05T11:04:41.352" v="1166" actId="947"/>
          <ac:spMkLst>
            <pc:docMk/>
            <pc:sldMk cId="531959542" sldId="266"/>
            <ac:spMk id="218" creationId="{4F7CB002-5FC5-4DD8-20D7-066CDCF291D6}"/>
          </ac:spMkLst>
        </pc:spChg>
        <pc:spChg chg="mod">
          <ac:chgData name="Benedicte Aas Glad" userId="55a9e165-0d8a-4034-a14f-0bb29877055b" providerId="ADAL" clId="{E4981308-85D0-BD4E-B579-5764B255B7FA}" dt="2025-06-05T11:04:41.352" v="1164" actId="947"/>
          <ac:spMkLst>
            <pc:docMk/>
            <pc:sldMk cId="531959542" sldId="266"/>
            <ac:spMk id="219" creationId="{3C6B2E16-D5AC-4E71-7E1D-EBC8AB8E559C}"/>
          </ac:spMkLst>
        </pc:spChg>
        <pc:spChg chg="mod">
          <ac:chgData name="Benedicte Aas Glad" userId="55a9e165-0d8a-4034-a14f-0bb29877055b" providerId="ADAL" clId="{E4981308-85D0-BD4E-B579-5764B255B7FA}" dt="2025-06-05T11:04:41.351" v="1162" actId="947"/>
          <ac:spMkLst>
            <pc:docMk/>
            <pc:sldMk cId="531959542" sldId="266"/>
            <ac:spMk id="220" creationId="{376A218B-E116-9DFA-3DA2-A240986AB99E}"/>
          </ac:spMkLst>
        </pc:spChg>
        <pc:spChg chg="mod">
          <ac:chgData name="Benedicte Aas Glad" userId="55a9e165-0d8a-4034-a14f-0bb29877055b" providerId="ADAL" clId="{E4981308-85D0-BD4E-B579-5764B255B7FA}" dt="2025-06-05T11:04:41.350" v="1160" actId="947"/>
          <ac:spMkLst>
            <pc:docMk/>
            <pc:sldMk cId="531959542" sldId="266"/>
            <ac:spMk id="221" creationId="{1C156DB9-5C79-FC94-34DB-EA9E44039934}"/>
          </ac:spMkLst>
        </pc:spChg>
        <pc:spChg chg="mod">
          <ac:chgData name="Benedicte Aas Glad" userId="55a9e165-0d8a-4034-a14f-0bb29877055b" providerId="ADAL" clId="{E4981308-85D0-BD4E-B579-5764B255B7FA}" dt="2025-06-05T11:04:41.350" v="1158" actId="947"/>
          <ac:spMkLst>
            <pc:docMk/>
            <pc:sldMk cId="531959542" sldId="266"/>
            <ac:spMk id="222" creationId="{F1646E79-307E-B085-15CE-D45F1E99FA02}"/>
          </ac:spMkLst>
        </pc:spChg>
        <pc:spChg chg="mod">
          <ac:chgData name="Benedicte Aas Glad" userId="55a9e165-0d8a-4034-a14f-0bb29877055b" providerId="ADAL" clId="{E4981308-85D0-BD4E-B579-5764B255B7FA}" dt="2025-06-05T11:04:41.349" v="1156" actId="947"/>
          <ac:spMkLst>
            <pc:docMk/>
            <pc:sldMk cId="531959542" sldId="266"/>
            <ac:spMk id="223" creationId="{1817FB5B-FFD9-8D37-C123-AB2D5DAE2DD1}"/>
          </ac:spMkLst>
        </pc:spChg>
        <pc:spChg chg="mod">
          <ac:chgData name="Benedicte Aas Glad" userId="55a9e165-0d8a-4034-a14f-0bb29877055b" providerId="ADAL" clId="{E4981308-85D0-BD4E-B579-5764B255B7FA}" dt="2025-06-05T11:04:41.349" v="1154" actId="947"/>
          <ac:spMkLst>
            <pc:docMk/>
            <pc:sldMk cId="531959542" sldId="266"/>
            <ac:spMk id="224" creationId="{1C4648B8-46EC-7A57-8B7C-607E8AB27F27}"/>
          </ac:spMkLst>
        </pc:spChg>
        <pc:spChg chg="mod">
          <ac:chgData name="Benedicte Aas Glad" userId="55a9e165-0d8a-4034-a14f-0bb29877055b" providerId="ADAL" clId="{E4981308-85D0-BD4E-B579-5764B255B7FA}" dt="2025-06-05T11:04:41.348" v="1152" actId="947"/>
          <ac:spMkLst>
            <pc:docMk/>
            <pc:sldMk cId="531959542" sldId="266"/>
            <ac:spMk id="225" creationId="{08D4522B-4372-95C5-7E5F-2513A96FD4AD}"/>
          </ac:spMkLst>
        </pc:spChg>
        <pc:spChg chg="mod">
          <ac:chgData name="Benedicte Aas Glad" userId="55a9e165-0d8a-4034-a14f-0bb29877055b" providerId="ADAL" clId="{E4981308-85D0-BD4E-B579-5764B255B7FA}" dt="2025-06-05T11:04:41.347" v="1150" actId="947"/>
          <ac:spMkLst>
            <pc:docMk/>
            <pc:sldMk cId="531959542" sldId="266"/>
            <ac:spMk id="226" creationId="{48DB6774-9A21-7085-0930-758D0271620C}"/>
          </ac:spMkLst>
        </pc:spChg>
        <pc:spChg chg="mod">
          <ac:chgData name="Benedicte Aas Glad" userId="55a9e165-0d8a-4034-a14f-0bb29877055b" providerId="ADAL" clId="{E4981308-85D0-BD4E-B579-5764B255B7FA}" dt="2025-06-05T11:04:41.347" v="1148" actId="947"/>
          <ac:spMkLst>
            <pc:docMk/>
            <pc:sldMk cId="531959542" sldId="266"/>
            <ac:spMk id="227" creationId="{C4CB2994-AFB9-EA8E-5CA1-0C84C3BF40A6}"/>
          </ac:spMkLst>
        </pc:spChg>
        <pc:spChg chg="mod">
          <ac:chgData name="Benedicte Aas Glad" userId="55a9e165-0d8a-4034-a14f-0bb29877055b" providerId="ADAL" clId="{E4981308-85D0-BD4E-B579-5764B255B7FA}" dt="2025-06-05T11:04:41.346" v="1146" actId="947"/>
          <ac:spMkLst>
            <pc:docMk/>
            <pc:sldMk cId="531959542" sldId="266"/>
            <ac:spMk id="228" creationId="{C622A916-FB4C-A8AE-E76F-378AA94E5D05}"/>
          </ac:spMkLst>
        </pc:spChg>
        <pc:spChg chg="mod">
          <ac:chgData name="Benedicte Aas Glad" userId="55a9e165-0d8a-4034-a14f-0bb29877055b" providerId="ADAL" clId="{E4981308-85D0-BD4E-B579-5764B255B7FA}" dt="2025-06-05T11:04:41.346" v="1144" actId="947"/>
          <ac:spMkLst>
            <pc:docMk/>
            <pc:sldMk cId="531959542" sldId="266"/>
            <ac:spMk id="229" creationId="{C11A622E-CDD6-C3D8-87CB-8E5ED98E3429}"/>
          </ac:spMkLst>
        </pc:spChg>
        <pc:spChg chg="mod">
          <ac:chgData name="Benedicte Aas Glad" userId="55a9e165-0d8a-4034-a14f-0bb29877055b" providerId="ADAL" clId="{E4981308-85D0-BD4E-B579-5764B255B7FA}" dt="2025-06-05T11:04:41.345" v="1142" actId="947"/>
          <ac:spMkLst>
            <pc:docMk/>
            <pc:sldMk cId="531959542" sldId="266"/>
            <ac:spMk id="230" creationId="{0F762A24-711D-BCB5-C00D-47EA6F6D87DC}"/>
          </ac:spMkLst>
        </pc:spChg>
        <pc:spChg chg="mod">
          <ac:chgData name="Benedicte Aas Glad" userId="55a9e165-0d8a-4034-a14f-0bb29877055b" providerId="ADAL" clId="{E4981308-85D0-BD4E-B579-5764B255B7FA}" dt="2025-06-05T11:04:41.344" v="1140" actId="947"/>
          <ac:spMkLst>
            <pc:docMk/>
            <pc:sldMk cId="531959542" sldId="266"/>
            <ac:spMk id="231" creationId="{AC238457-6B68-FF88-E6BC-7BB6D3713954}"/>
          </ac:spMkLst>
        </pc:spChg>
        <pc:spChg chg="mod">
          <ac:chgData name="Benedicte Aas Glad" userId="55a9e165-0d8a-4034-a14f-0bb29877055b" providerId="ADAL" clId="{E4981308-85D0-BD4E-B579-5764B255B7FA}" dt="2025-06-05T11:04:41.344" v="1138" actId="947"/>
          <ac:spMkLst>
            <pc:docMk/>
            <pc:sldMk cId="531959542" sldId="266"/>
            <ac:spMk id="232" creationId="{3EDD5C57-5A85-76DD-3CFC-8620C0E1DF05}"/>
          </ac:spMkLst>
        </pc:spChg>
        <pc:spChg chg="mod">
          <ac:chgData name="Benedicte Aas Glad" userId="55a9e165-0d8a-4034-a14f-0bb29877055b" providerId="ADAL" clId="{E4981308-85D0-BD4E-B579-5764B255B7FA}" dt="2025-06-05T11:04:41.343" v="1136" actId="947"/>
          <ac:spMkLst>
            <pc:docMk/>
            <pc:sldMk cId="531959542" sldId="266"/>
            <ac:spMk id="233" creationId="{5D6BBF3B-641D-5A77-07BE-4E690D4ADCC4}"/>
          </ac:spMkLst>
        </pc:spChg>
        <pc:spChg chg="mod">
          <ac:chgData name="Benedicte Aas Glad" userId="55a9e165-0d8a-4034-a14f-0bb29877055b" providerId="ADAL" clId="{E4981308-85D0-BD4E-B579-5764B255B7FA}" dt="2025-06-05T11:04:41.342" v="1134" actId="947"/>
          <ac:spMkLst>
            <pc:docMk/>
            <pc:sldMk cId="531959542" sldId="266"/>
            <ac:spMk id="234" creationId="{EDDA4E23-6FE0-E16D-CBF5-CB805BB85B1F}"/>
          </ac:spMkLst>
        </pc:spChg>
        <pc:spChg chg="mod">
          <ac:chgData name="Benedicte Aas Glad" userId="55a9e165-0d8a-4034-a14f-0bb29877055b" providerId="ADAL" clId="{E4981308-85D0-BD4E-B579-5764B255B7FA}" dt="2025-06-05T11:04:41.342" v="1132" actId="947"/>
          <ac:spMkLst>
            <pc:docMk/>
            <pc:sldMk cId="531959542" sldId="266"/>
            <ac:spMk id="235" creationId="{D4906043-0E50-8CF3-F703-5BC1D8CBEB9F}"/>
          </ac:spMkLst>
        </pc:spChg>
        <pc:spChg chg="mod">
          <ac:chgData name="Benedicte Aas Glad" userId="55a9e165-0d8a-4034-a14f-0bb29877055b" providerId="ADAL" clId="{E4981308-85D0-BD4E-B579-5764B255B7FA}" dt="2025-06-05T11:04:41.341" v="1130" actId="947"/>
          <ac:spMkLst>
            <pc:docMk/>
            <pc:sldMk cId="531959542" sldId="266"/>
            <ac:spMk id="236" creationId="{3D2C8729-5347-1AD5-3E45-45E179605076}"/>
          </ac:spMkLst>
        </pc:spChg>
        <pc:spChg chg="mod">
          <ac:chgData name="Benedicte Aas Glad" userId="55a9e165-0d8a-4034-a14f-0bb29877055b" providerId="ADAL" clId="{E4981308-85D0-BD4E-B579-5764B255B7FA}" dt="2025-06-05T11:04:41.340" v="1128" actId="947"/>
          <ac:spMkLst>
            <pc:docMk/>
            <pc:sldMk cId="531959542" sldId="266"/>
            <ac:spMk id="237" creationId="{0E63D751-07AC-A621-EE4D-4E8CA511EDCD}"/>
          </ac:spMkLst>
        </pc:spChg>
        <pc:spChg chg="mod">
          <ac:chgData name="Benedicte Aas Glad" userId="55a9e165-0d8a-4034-a14f-0bb29877055b" providerId="ADAL" clId="{E4981308-85D0-BD4E-B579-5764B255B7FA}" dt="2025-06-05T11:04:41.340" v="1126" actId="947"/>
          <ac:spMkLst>
            <pc:docMk/>
            <pc:sldMk cId="531959542" sldId="266"/>
            <ac:spMk id="238" creationId="{692B8FE3-4224-46D2-0142-DDB4C0F001DC}"/>
          </ac:spMkLst>
        </pc:spChg>
        <pc:spChg chg="mod">
          <ac:chgData name="Benedicte Aas Glad" userId="55a9e165-0d8a-4034-a14f-0bb29877055b" providerId="ADAL" clId="{E4981308-85D0-BD4E-B579-5764B255B7FA}" dt="2025-06-05T11:04:41.339" v="1124" actId="947"/>
          <ac:spMkLst>
            <pc:docMk/>
            <pc:sldMk cId="531959542" sldId="266"/>
            <ac:spMk id="239" creationId="{3498472B-7DCF-A493-0D80-8F1B6C722DDF}"/>
          </ac:spMkLst>
        </pc:spChg>
        <pc:spChg chg="mod">
          <ac:chgData name="Benedicte Aas Glad" userId="55a9e165-0d8a-4034-a14f-0bb29877055b" providerId="ADAL" clId="{E4981308-85D0-BD4E-B579-5764B255B7FA}" dt="2025-06-05T11:04:41.339" v="1122" actId="947"/>
          <ac:spMkLst>
            <pc:docMk/>
            <pc:sldMk cId="531959542" sldId="266"/>
            <ac:spMk id="240" creationId="{454ABF48-AD4E-6A71-9525-E8FA5B7DDEA9}"/>
          </ac:spMkLst>
        </pc:spChg>
        <pc:spChg chg="mod">
          <ac:chgData name="Benedicte Aas Glad" userId="55a9e165-0d8a-4034-a14f-0bb29877055b" providerId="ADAL" clId="{E4981308-85D0-BD4E-B579-5764B255B7FA}" dt="2025-06-05T11:04:41.338" v="1120" actId="947"/>
          <ac:spMkLst>
            <pc:docMk/>
            <pc:sldMk cId="531959542" sldId="266"/>
            <ac:spMk id="241" creationId="{26856534-D9D3-D466-843F-8FE963AA621D}"/>
          </ac:spMkLst>
        </pc:spChg>
        <pc:spChg chg="mod">
          <ac:chgData name="Benedicte Aas Glad" userId="55a9e165-0d8a-4034-a14f-0bb29877055b" providerId="ADAL" clId="{E4981308-85D0-BD4E-B579-5764B255B7FA}" dt="2025-06-05T11:04:41.337" v="1118" actId="947"/>
          <ac:spMkLst>
            <pc:docMk/>
            <pc:sldMk cId="531959542" sldId="266"/>
            <ac:spMk id="242" creationId="{FB1D1506-8118-CFA2-7ADC-6E984DA49FF2}"/>
          </ac:spMkLst>
        </pc:spChg>
        <pc:spChg chg="mod">
          <ac:chgData name="Benedicte Aas Glad" userId="55a9e165-0d8a-4034-a14f-0bb29877055b" providerId="ADAL" clId="{E4981308-85D0-BD4E-B579-5764B255B7FA}" dt="2025-06-05T11:04:41.337" v="1116" actId="947"/>
          <ac:spMkLst>
            <pc:docMk/>
            <pc:sldMk cId="531959542" sldId="266"/>
            <ac:spMk id="243" creationId="{A4A1774E-88D2-626A-93B4-1E44289624DF}"/>
          </ac:spMkLst>
        </pc:spChg>
        <pc:spChg chg="mod">
          <ac:chgData name="Benedicte Aas Glad" userId="55a9e165-0d8a-4034-a14f-0bb29877055b" providerId="ADAL" clId="{E4981308-85D0-BD4E-B579-5764B255B7FA}" dt="2025-06-05T11:04:41.336" v="1114" actId="947"/>
          <ac:spMkLst>
            <pc:docMk/>
            <pc:sldMk cId="531959542" sldId="266"/>
            <ac:spMk id="244" creationId="{0FD47295-A3AA-54C2-CD42-16993AC3C08A}"/>
          </ac:spMkLst>
        </pc:spChg>
        <pc:spChg chg="mod">
          <ac:chgData name="Benedicte Aas Glad" userId="55a9e165-0d8a-4034-a14f-0bb29877055b" providerId="ADAL" clId="{E4981308-85D0-BD4E-B579-5764B255B7FA}" dt="2025-06-05T11:04:41.336" v="1112" actId="947"/>
          <ac:spMkLst>
            <pc:docMk/>
            <pc:sldMk cId="531959542" sldId="266"/>
            <ac:spMk id="245" creationId="{E44023B5-B96B-FBEA-C8E9-223331F9D5BF}"/>
          </ac:spMkLst>
        </pc:spChg>
        <pc:spChg chg="mod">
          <ac:chgData name="Benedicte Aas Glad" userId="55a9e165-0d8a-4034-a14f-0bb29877055b" providerId="ADAL" clId="{E4981308-85D0-BD4E-B579-5764B255B7FA}" dt="2025-06-05T11:04:41.335" v="1110" actId="947"/>
          <ac:spMkLst>
            <pc:docMk/>
            <pc:sldMk cId="531959542" sldId="266"/>
            <ac:spMk id="246" creationId="{54D6675B-8F65-BCC8-9B69-319CC72D8149}"/>
          </ac:spMkLst>
        </pc:spChg>
        <pc:spChg chg="mod">
          <ac:chgData name="Benedicte Aas Glad" userId="55a9e165-0d8a-4034-a14f-0bb29877055b" providerId="ADAL" clId="{E4981308-85D0-BD4E-B579-5764B255B7FA}" dt="2025-06-05T11:04:41.334" v="1108" actId="947"/>
          <ac:spMkLst>
            <pc:docMk/>
            <pc:sldMk cId="531959542" sldId="266"/>
            <ac:spMk id="247" creationId="{AA03065D-2C89-B053-ED30-9DA8CEB411E3}"/>
          </ac:spMkLst>
        </pc:spChg>
        <pc:spChg chg="mod">
          <ac:chgData name="Benedicte Aas Glad" userId="55a9e165-0d8a-4034-a14f-0bb29877055b" providerId="ADAL" clId="{E4981308-85D0-BD4E-B579-5764B255B7FA}" dt="2025-06-05T11:04:41.334" v="1106" actId="947"/>
          <ac:spMkLst>
            <pc:docMk/>
            <pc:sldMk cId="531959542" sldId="266"/>
            <ac:spMk id="248" creationId="{4306DA56-5B9E-FBE9-EF3B-67C696074FCC}"/>
          </ac:spMkLst>
        </pc:spChg>
        <pc:spChg chg="mod">
          <ac:chgData name="Benedicte Aas Glad" userId="55a9e165-0d8a-4034-a14f-0bb29877055b" providerId="ADAL" clId="{E4981308-85D0-BD4E-B579-5764B255B7FA}" dt="2025-06-05T11:04:41.333" v="1104" actId="947"/>
          <ac:spMkLst>
            <pc:docMk/>
            <pc:sldMk cId="531959542" sldId="266"/>
            <ac:spMk id="249" creationId="{36D05790-C42D-46B9-3C49-487FD2FFB29F}"/>
          </ac:spMkLst>
        </pc:spChg>
        <pc:spChg chg="mod">
          <ac:chgData name="Benedicte Aas Glad" userId="55a9e165-0d8a-4034-a14f-0bb29877055b" providerId="ADAL" clId="{E4981308-85D0-BD4E-B579-5764B255B7FA}" dt="2025-06-05T11:04:41.332" v="1102" actId="947"/>
          <ac:spMkLst>
            <pc:docMk/>
            <pc:sldMk cId="531959542" sldId="266"/>
            <ac:spMk id="250" creationId="{B0D663FA-A3AB-77F8-8DF1-D620FB234273}"/>
          </ac:spMkLst>
        </pc:spChg>
        <pc:spChg chg="mod">
          <ac:chgData name="Benedicte Aas Glad" userId="55a9e165-0d8a-4034-a14f-0bb29877055b" providerId="ADAL" clId="{E4981308-85D0-BD4E-B579-5764B255B7FA}" dt="2025-06-05T11:04:41.332" v="1100" actId="947"/>
          <ac:spMkLst>
            <pc:docMk/>
            <pc:sldMk cId="531959542" sldId="266"/>
            <ac:spMk id="251" creationId="{745B20C7-B49C-FF89-D49A-BE384AD72DB5}"/>
          </ac:spMkLst>
        </pc:spChg>
        <pc:spChg chg="mod">
          <ac:chgData name="Benedicte Aas Glad" userId="55a9e165-0d8a-4034-a14f-0bb29877055b" providerId="ADAL" clId="{E4981308-85D0-BD4E-B579-5764B255B7FA}" dt="2025-06-05T11:04:41.331" v="1098" actId="947"/>
          <ac:spMkLst>
            <pc:docMk/>
            <pc:sldMk cId="531959542" sldId="266"/>
            <ac:spMk id="252" creationId="{698FA6BF-6378-F0E6-D070-E3486FB0485B}"/>
          </ac:spMkLst>
        </pc:spChg>
        <pc:spChg chg="mod">
          <ac:chgData name="Benedicte Aas Glad" userId="55a9e165-0d8a-4034-a14f-0bb29877055b" providerId="ADAL" clId="{E4981308-85D0-BD4E-B579-5764B255B7FA}" dt="2025-06-05T11:04:41.331" v="1096" actId="947"/>
          <ac:spMkLst>
            <pc:docMk/>
            <pc:sldMk cId="531959542" sldId="266"/>
            <ac:spMk id="253" creationId="{B79095C6-1002-9950-B44F-19995CD3336D}"/>
          </ac:spMkLst>
        </pc:spChg>
        <pc:spChg chg="mod">
          <ac:chgData name="Benedicte Aas Glad" userId="55a9e165-0d8a-4034-a14f-0bb29877055b" providerId="ADAL" clId="{E4981308-85D0-BD4E-B579-5764B255B7FA}" dt="2025-06-05T11:04:41.330" v="1094" actId="947"/>
          <ac:spMkLst>
            <pc:docMk/>
            <pc:sldMk cId="531959542" sldId="266"/>
            <ac:spMk id="254" creationId="{9D903389-CAA2-E601-C0EC-7FD04BDC06AB}"/>
          </ac:spMkLst>
        </pc:spChg>
        <pc:spChg chg="mod">
          <ac:chgData name="Benedicte Aas Glad" userId="55a9e165-0d8a-4034-a14f-0bb29877055b" providerId="ADAL" clId="{E4981308-85D0-BD4E-B579-5764B255B7FA}" dt="2025-06-05T11:04:41.329" v="1092" actId="947"/>
          <ac:spMkLst>
            <pc:docMk/>
            <pc:sldMk cId="531959542" sldId="266"/>
            <ac:spMk id="255" creationId="{D57ABCDB-B1B6-7162-6E57-F603362F3147}"/>
          </ac:spMkLst>
        </pc:spChg>
        <pc:spChg chg="mod">
          <ac:chgData name="Benedicte Aas Glad" userId="55a9e165-0d8a-4034-a14f-0bb29877055b" providerId="ADAL" clId="{E4981308-85D0-BD4E-B579-5764B255B7FA}" dt="2025-06-05T11:04:41.329" v="1090" actId="947"/>
          <ac:spMkLst>
            <pc:docMk/>
            <pc:sldMk cId="531959542" sldId="266"/>
            <ac:spMk id="256" creationId="{87B51669-7852-3BFC-93A8-15942DDE6DBF}"/>
          </ac:spMkLst>
        </pc:spChg>
        <pc:spChg chg="mod">
          <ac:chgData name="Benedicte Aas Glad" userId="55a9e165-0d8a-4034-a14f-0bb29877055b" providerId="ADAL" clId="{E4981308-85D0-BD4E-B579-5764B255B7FA}" dt="2025-06-05T11:04:41.328" v="1088" actId="947"/>
          <ac:spMkLst>
            <pc:docMk/>
            <pc:sldMk cId="531959542" sldId="266"/>
            <ac:spMk id="257" creationId="{41C7C41B-934D-7269-4CA1-83EB07BDF476}"/>
          </ac:spMkLst>
        </pc:spChg>
        <pc:spChg chg="mod">
          <ac:chgData name="Benedicte Aas Glad" userId="55a9e165-0d8a-4034-a14f-0bb29877055b" providerId="ADAL" clId="{E4981308-85D0-BD4E-B579-5764B255B7FA}" dt="2025-06-05T11:04:41.328" v="1086" actId="947"/>
          <ac:spMkLst>
            <pc:docMk/>
            <pc:sldMk cId="531959542" sldId="266"/>
            <ac:spMk id="258" creationId="{D9A11112-FA0F-A825-D504-9E7E42857E25}"/>
          </ac:spMkLst>
        </pc:spChg>
        <pc:spChg chg="mod">
          <ac:chgData name="Benedicte Aas Glad" userId="55a9e165-0d8a-4034-a14f-0bb29877055b" providerId="ADAL" clId="{E4981308-85D0-BD4E-B579-5764B255B7FA}" dt="2025-06-05T11:04:41.327" v="1084" actId="947"/>
          <ac:spMkLst>
            <pc:docMk/>
            <pc:sldMk cId="531959542" sldId="266"/>
            <ac:spMk id="259" creationId="{8B284D15-62F0-E829-8436-A36B4251BA1D}"/>
          </ac:spMkLst>
        </pc:spChg>
        <pc:spChg chg="mod">
          <ac:chgData name="Benedicte Aas Glad" userId="55a9e165-0d8a-4034-a14f-0bb29877055b" providerId="ADAL" clId="{E4981308-85D0-BD4E-B579-5764B255B7FA}" dt="2025-06-05T11:04:41.326" v="1082" actId="947"/>
          <ac:spMkLst>
            <pc:docMk/>
            <pc:sldMk cId="531959542" sldId="266"/>
            <ac:spMk id="260" creationId="{D9C91845-8B6E-3AC3-68CB-99804BDB038B}"/>
          </ac:spMkLst>
        </pc:spChg>
        <pc:spChg chg="mod">
          <ac:chgData name="Benedicte Aas Glad" userId="55a9e165-0d8a-4034-a14f-0bb29877055b" providerId="ADAL" clId="{E4981308-85D0-BD4E-B579-5764B255B7FA}" dt="2025-06-05T11:04:41.326" v="1080" actId="947"/>
          <ac:spMkLst>
            <pc:docMk/>
            <pc:sldMk cId="531959542" sldId="266"/>
            <ac:spMk id="261" creationId="{111355BD-33A9-1D3B-42AA-3E5E4A8C6C89}"/>
          </ac:spMkLst>
        </pc:spChg>
        <pc:spChg chg="mod">
          <ac:chgData name="Benedicte Aas Glad" userId="55a9e165-0d8a-4034-a14f-0bb29877055b" providerId="ADAL" clId="{E4981308-85D0-BD4E-B579-5764B255B7FA}" dt="2025-06-05T11:04:41.325" v="1078" actId="947"/>
          <ac:spMkLst>
            <pc:docMk/>
            <pc:sldMk cId="531959542" sldId="266"/>
            <ac:spMk id="262" creationId="{59388005-9E35-85F6-9143-868E3C09D428}"/>
          </ac:spMkLst>
        </pc:spChg>
        <pc:spChg chg="mod">
          <ac:chgData name="Benedicte Aas Glad" userId="55a9e165-0d8a-4034-a14f-0bb29877055b" providerId="ADAL" clId="{E4981308-85D0-BD4E-B579-5764B255B7FA}" dt="2025-06-05T11:04:41.324" v="1076" actId="947"/>
          <ac:spMkLst>
            <pc:docMk/>
            <pc:sldMk cId="531959542" sldId="266"/>
            <ac:spMk id="263" creationId="{7E9B0C94-E98A-A706-6A29-0CC0195ADF81}"/>
          </ac:spMkLst>
        </pc:spChg>
        <pc:spChg chg="mod">
          <ac:chgData name="Benedicte Aas Glad" userId="55a9e165-0d8a-4034-a14f-0bb29877055b" providerId="ADAL" clId="{E4981308-85D0-BD4E-B579-5764B255B7FA}" dt="2025-06-05T11:04:41.324" v="1074" actId="947"/>
          <ac:spMkLst>
            <pc:docMk/>
            <pc:sldMk cId="531959542" sldId="266"/>
            <ac:spMk id="264" creationId="{590BEA6C-9822-2B1F-CDE0-D7A9CE770A42}"/>
          </ac:spMkLst>
        </pc:spChg>
        <pc:spChg chg="mod">
          <ac:chgData name="Benedicte Aas Glad" userId="55a9e165-0d8a-4034-a14f-0bb29877055b" providerId="ADAL" clId="{E4981308-85D0-BD4E-B579-5764B255B7FA}" dt="2025-06-05T11:04:41.323" v="1072" actId="947"/>
          <ac:spMkLst>
            <pc:docMk/>
            <pc:sldMk cId="531959542" sldId="266"/>
            <ac:spMk id="265" creationId="{2C9929D1-E590-8A05-CDB8-3335E098817C}"/>
          </ac:spMkLst>
        </pc:spChg>
        <pc:spChg chg="mod">
          <ac:chgData name="Benedicte Aas Glad" userId="55a9e165-0d8a-4034-a14f-0bb29877055b" providerId="ADAL" clId="{E4981308-85D0-BD4E-B579-5764B255B7FA}" dt="2025-06-05T11:04:41.322" v="1070" actId="947"/>
          <ac:spMkLst>
            <pc:docMk/>
            <pc:sldMk cId="531959542" sldId="266"/>
            <ac:spMk id="266" creationId="{8484C7F3-CF30-967A-BDC5-24695835D3F3}"/>
          </ac:spMkLst>
        </pc:spChg>
        <pc:spChg chg="mod">
          <ac:chgData name="Benedicte Aas Glad" userId="55a9e165-0d8a-4034-a14f-0bb29877055b" providerId="ADAL" clId="{E4981308-85D0-BD4E-B579-5764B255B7FA}" dt="2025-06-05T11:04:41.322" v="1068" actId="947"/>
          <ac:spMkLst>
            <pc:docMk/>
            <pc:sldMk cId="531959542" sldId="266"/>
            <ac:spMk id="267" creationId="{EB9EA8E6-99B8-1698-1088-6692A37E2EBB}"/>
          </ac:spMkLst>
        </pc:spChg>
        <pc:spChg chg="mod">
          <ac:chgData name="Benedicte Aas Glad" userId="55a9e165-0d8a-4034-a14f-0bb29877055b" providerId="ADAL" clId="{E4981308-85D0-BD4E-B579-5764B255B7FA}" dt="2025-06-05T11:04:41.321" v="1066" actId="947"/>
          <ac:spMkLst>
            <pc:docMk/>
            <pc:sldMk cId="531959542" sldId="266"/>
            <ac:spMk id="268" creationId="{30F700F0-3696-8DCB-C2C5-A0B249E66B4B}"/>
          </ac:spMkLst>
        </pc:spChg>
        <pc:spChg chg="mod">
          <ac:chgData name="Benedicte Aas Glad" userId="55a9e165-0d8a-4034-a14f-0bb29877055b" providerId="ADAL" clId="{E4981308-85D0-BD4E-B579-5764B255B7FA}" dt="2025-06-05T11:04:41.321" v="1064" actId="947"/>
          <ac:spMkLst>
            <pc:docMk/>
            <pc:sldMk cId="531959542" sldId="266"/>
            <ac:spMk id="269" creationId="{97DBBE04-76D1-F29B-D442-236EAAB7F11A}"/>
          </ac:spMkLst>
        </pc:spChg>
        <pc:spChg chg="mod">
          <ac:chgData name="Benedicte Aas Glad" userId="55a9e165-0d8a-4034-a14f-0bb29877055b" providerId="ADAL" clId="{E4981308-85D0-BD4E-B579-5764B255B7FA}" dt="2025-06-05T11:04:41.320" v="1062" actId="947"/>
          <ac:spMkLst>
            <pc:docMk/>
            <pc:sldMk cId="531959542" sldId="266"/>
            <ac:spMk id="270" creationId="{96066900-1A34-539C-F07D-94EA9608C723}"/>
          </ac:spMkLst>
        </pc:spChg>
        <pc:spChg chg="mod">
          <ac:chgData name="Benedicte Aas Glad" userId="55a9e165-0d8a-4034-a14f-0bb29877055b" providerId="ADAL" clId="{E4981308-85D0-BD4E-B579-5764B255B7FA}" dt="2025-06-05T11:04:41.319" v="1060" actId="947"/>
          <ac:spMkLst>
            <pc:docMk/>
            <pc:sldMk cId="531959542" sldId="266"/>
            <ac:spMk id="271" creationId="{06E92FB9-C4E4-3E01-DD94-F889AEC8F62D}"/>
          </ac:spMkLst>
        </pc:spChg>
        <pc:spChg chg="mod">
          <ac:chgData name="Benedicte Aas Glad" userId="55a9e165-0d8a-4034-a14f-0bb29877055b" providerId="ADAL" clId="{E4981308-85D0-BD4E-B579-5764B255B7FA}" dt="2025-06-05T11:04:41.319" v="1058" actId="947"/>
          <ac:spMkLst>
            <pc:docMk/>
            <pc:sldMk cId="531959542" sldId="266"/>
            <ac:spMk id="272" creationId="{AE1E39ED-866E-E391-2029-C648FF948C0F}"/>
          </ac:spMkLst>
        </pc:spChg>
        <pc:spChg chg="mod">
          <ac:chgData name="Benedicte Aas Glad" userId="55a9e165-0d8a-4034-a14f-0bb29877055b" providerId="ADAL" clId="{E4981308-85D0-BD4E-B579-5764B255B7FA}" dt="2025-06-05T11:04:41.318" v="1056" actId="947"/>
          <ac:spMkLst>
            <pc:docMk/>
            <pc:sldMk cId="531959542" sldId="266"/>
            <ac:spMk id="273" creationId="{02A14FD8-D9CD-B0B1-0D88-095FD3B35260}"/>
          </ac:spMkLst>
        </pc:spChg>
        <pc:spChg chg="mod">
          <ac:chgData name="Benedicte Aas Glad" userId="55a9e165-0d8a-4034-a14f-0bb29877055b" providerId="ADAL" clId="{E4981308-85D0-BD4E-B579-5764B255B7FA}" dt="2025-06-05T11:04:41.317" v="1054" actId="947"/>
          <ac:spMkLst>
            <pc:docMk/>
            <pc:sldMk cId="531959542" sldId="266"/>
            <ac:spMk id="274" creationId="{4CBF9AAD-9AAE-C898-F956-DC1C670519FB}"/>
          </ac:spMkLst>
        </pc:spChg>
        <pc:spChg chg="mod">
          <ac:chgData name="Benedicte Aas Glad" userId="55a9e165-0d8a-4034-a14f-0bb29877055b" providerId="ADAL" clId="{E4981308-85D0-BD4E-B579-5764B255B7FA}" dt="2025-06-05T11:04:41.317" v="1052" actId="947"/>
          <ac:spMkLst>
            <pc:docMk/>
            <pc:sldMk cId="531959542" sldId="266"/>
            <ac:spMk id="275" creationId="{F8597CC5-B0EB-91A0-34D0-5C1DE8372DB7}"/>
          </ac:spMkLst>
        </pc:spChg>
        <pc:spChg chg="mod">
          <ac:chgData name="Benedicte Aas Glad" userId="55a9e165-0d8a-4034-a14f-0bb29877055b" providerId="ADAL" clId="{E4981308-85D0-BD4E-B579-5764B255B7FA}" dt="2025-06-05T11:04:41.316" v="1050" actId="947"/>
          <ac:spMkLst>
            <pc:docMk/>
            <pc:sldMk cId="531959542" sldId="266"/>
            <ac:spMk id="276" creationId="{BD961CE6-4207-0A8C-F2FF-5AF1B2050A5D}"/>
          </ac:spMkLst>
        </pc:spChg>
        <pc:spChg chg="mod">
          <ac:chgData name="Benedicte Aas Glad" userId="55a9e165-0d8a-4034-a14f-0bb29877055b" providerId="ADAL" clId="{E4981308-85D0-BD4E-B579-5764B255B7FA}" dt="2025-06-05T11:04:41.315" v="1048" actId="947"/>
          <ac:spMkLst>
            <pc:docMk/>
            <pc:sldMk cId="531959542" sldId="266"/>
            <ac:spMk id="277" creationId="{31D52557-1720-98A9-18B4-7E16D465940C}"/>
          </ac:spMkLst>
        </pc:spChg>
        <pc:spChg chg="mod">
          <ac:chgData name="Benedicte Aas Glad" userId="55a9e165-0d8a-4034-a14f-0bb29877055b" providerId="ADAL" clId="{E4981308-85D0-BD4E-B579-5764B255B7FA}" dt="2025-06-05T11:04:41.315" v="1046" actId="947"/>
          <ac:spMkLst>
            <pc:docMk/>
            <pc:sldMk cId="531959542" sldId="266"/>
            <ac:spMk id="278" creationId="{85E2F0B8-4240-9444-3D71-07C05365DCB5}"/>
          </ac:spMkLst>
        </pc:spChg>
        <pc:spChg chg="mod">
          <ac:chgData name="Benedicte Aas Glad" userId="55a9e165-0d8a-4034-a14f-0bb29877055b" providerId="ADAL" clId="{E4981308-85D0-BD4E-B579-5764B255B7FA}" dt="2025-06-05T11:04:41.314" v="1044" actId="947"/>
          <ac:spMkLst>
            <pc:docMk/>
            <pc:sldMk cId="531959542" sldId="266"/>
            <ac:spMk id="279" creationId="{17E2988B-8A49-93A8-0D12-CC15CA7FCFAA}"/>
          </ac:spMkLst>
        </pc:spChg>
        <pc:spChg chg="mod">
          <ac:chgData name="Benedicte Aas Glad" userId="55a9e165-0d8a-4034-a14f-0bb29877055b" providerId="ADAL" clId="{E4981308-85D0-BD4E-B579-5764B255B7FA}" dt="2025-06-05T11:04:41.313" v="1042" actId="947"/>
          <ac:spMkLst>
            <pc:docMk/>
            <pc:sldMk cId="531959542" sldId="266"/>
            <ac:spMk id="280" creationId="{5ED51EC4-2A56-E022-B22A-5CBE9034AF1A}"/>
          </ac:spMkLst>
        </pc:spChg>
        <pc:spChg chg="mod">
          <ac:chgData name="Benedicte Aas Glad" userId="55a9e165-0d8a-4034-a14f-0bb29877055b" providerId="ADAL" clId="{E4981308-85D0-BD4E-B579-5764B255B7FA}" dt="2025-06-05T11:04:41.313" v="1040" actId="947"/>
          <ac:spMkLst>
            <pc:docMk/>
            <pc:sldMk cId="531959542" sldId="266"/>
            <ac:spMk id="281" creationId="{ED329F3F-A7C3-B468-99FA-F5109301376B}"/>
          </ac:spMkLst>
        </pc:spChg>
        <pc:spChg chg="mod">
          <ac:chgData name="Benedicte Aas Glad" userId="55a9e165-0d8a-4034-a14f-0bb29877055b" providerId="ADAL" clId="{E4981308-85D0-BD4E-B579-5764B255B7FA}" dt="2025-06-05T11:04:41.312" v="1038" actId="947"/>
          <ac:spMkLst>
            <pc:docMk/>
            <pc:sldMk cId="531959542" sldId="266"/>
            <ac:spMk id="282" creationId="{8D68D051-F9C4-1CD0-1C40-E2C536D6EEF9}"/>
          </ac:spMkLst>
        </pc:spChg>
        <pc:spChg chg="mod">
          <ac:chgData name="Benedicte Aas Glad" userId="55a9e165-0d8a-4034-a14f-0bb29877055b" providerId="ADAL" clId="{E4981308-85D0-BD4E-B579-5764B255B7FA}" dt="2025-06-05T11:04:41.312" v="1036" actId="947"/>
          <ac:spMkLst>
            <pc:docMk/>
            <pc:sldMk cId="531959542" sldId="266"/>
            <ac:spMk id="283" creationId="{E0CD232A-515D-BA71-E78C-26F97C23B5FF}"/>
          </ac:spMkLst>
        </pc:spChg>
        <pc:spChg chg="mod">
          <ac:chgData name="Benedicte Aas Glad" userId="55a9e165-0d8a-4034-a14f-0bb29877055b" providerId="ADAL" clId="{E4981308-85D0-BD4E-B579-5764B255B7FA}" dt="2025-06-05T11:04:41.311" v="1034" actId="947"/>
          <ac:spMkLst>
            <pc:docMk/>
            <pc:sldMk cId="531959542" sldId="266"/>
            <ac:spMk id="284" creationId="{C99301B3-CEA6-F4F3-4760-237120830AB0}"/>
          </ac:spMkLst>
        </pc:spChg>
        <pc:spChg chg="mod">
          <ac:chgData name="Benedicte Aas Glad" userId="55a9e165-0d8a-4034-a14f-0bb29877055b" providerId="ADAL" clId="{E4981308-85D0-BD4E-B579-5764B255B7FA}" dt="2025-06-05T11:04:41.310" v="1032" actId="947"/>
          <ac:spMkLst>
            <pc:docMk/>
            <pc:sldMk cId="531959542" sldId="266"/>
            <ac:spMk id="285" creationId="{3ED6E918-AFDC-C69B-4D21-4C0802784B00}"/>
          </ac:spMkLst>
        </pc:spChg>
        <pc:spChg chg="mod">
          <ac:chgData name="Benedicte Aas Glad" userId="55a9e165-0d8a-4034-a14f-0bb29877055b" providerId="ADAL" clId="{E4981308-85D0-BD4E-B579-5764B255B7FA}" dt="2025-06-05T11:04:41.310" v="1030" actId="947"/>
          <ac:spMkLst>
            <pc:docMk/>
            <pc:sldMk cId="531959542" sldId="266"/>
            <ac:spMk id="286" creationId="{D73A1611-E9BB-8C64-DE50-8EB5E31CA913}"/>
          </ac:spMkLst>
        </pc:spChg>
        <pc:spChg chg="mod">
          <ac:chgData name="Benedicte Aas Glad" userId="55a9e165-0d8a-4034-a14f-0bb29877055b" providerId="ADAL" clId="{E4981308-85D0-BD4E-B579-5764B255B7FA}" dt="2025-06-05T11:04:41.309" v="1028" actId="947"/>
          <ac:spMkLst>
            <pc:docMk/>
            <pc:sldMk cId="531959542" sldId="266"/>
            <ac:spMk id="287" creationId="{7BBCE3E3-FAE7-8126-D6B4-E9B947ACAD0E}"/>
          </ac:spMkLst>
        </pc:spChg>
        <pc:spChg chg="mod">
          <ac:chgData name="Benedicte Aas Glad" userId="55a9e165-0d8a-4034-a14f-0bb29877055b" providerId="ADAL" clId="{E4981308-85D0-BD4E-B579-5764B255B7FA}" dt="2025-06-05T11:04:41.308" v="1026" actId="947"/>
          <ac:spMkLst>
            <pc:docMk/>
            <pc:sldMk cId="531959542" sldId="266"/>
            <ac:spMk id="288" creationId="{1B303441-3116-1D72-5627-3056E70FAB7C}"/>
          </ac:spMkLst>
        </pc:spChg>
        <pc:spChg chg="mod">
          <ac:chgData name="Benedicte Aas Glad" userId="55a9e165-0d8a-4034-a14f-0bb29877055b" providerId="ADAL" clId="{E4981308-85D0-BD4E-B579-5764B255B7FA}" dt="2025-06-05T11:04:41.308" v="1024" actId="947"/>
          <ac:spMkLst>
            <pc:docMk/>
            <pc:sldMk cId="531959542" sldId="266"/>
            <ac:spMk id="289" creationId="{311B8ED6-8442-8624-BBFD-842F12C6790D}"/>
          </ac:spMkLst>
        </pc:spChg>
        <pc:spChg chg="mod">
          <ac:chgData name="Benedicte Aas Glad" userId="55a9e165-0d8a-4034-a14f-0bb29877055b" providerId="ADAL" clId="{E4981308-85D0-BD4E-B579-5764B255B7FA}" dt="2025-06-05T11:04:41.307" v="1022" actId="947"/>
          <ac:spMkLst>
            <pc:docMk/>
            <pc:sldMk cId="531959542" sldId="266"/>
            <ac:spMk id="290" creationId="{A5CC10F2-32D8-0AC1-883B-6C8CCF4DC1C6}"/>
          </ac:spMkLst>
        </pc:spChg>
        <pc:spChg chg="mod">
          <ac:chgData name="Benedicte Aas Glad" userId="55a9e165-0d8a-4034-a14f-0bb29877055b" providerId="ADAL" clId="{E4981308-85D0-BD4E-B579-5764B255B7FA}" dt="2025-06-05T11:04:41.306" v="1020" actId="947"/>
          <ac:spMkLst>
            <pc:docMk/>
            <pc:sldMk cId="531959542" sldId="266"/>
            <ac:spMk id="291" creationId="{C0346DEF-2477-2833-6F8E-960D2D4904D0}"/>
          </ac:spMkLst>
        </pc:spChg>
        <pc:spChg chg="mod">
          <ac:chgData name="Benedicte Aas Glad" userId="55a9e165-0d8a-4034-a14f-0bb29877055b" providerId="ADAL" clId="{E4981308-85D0-BD4E-B579-5764B255B7FA}" dt="2025-06-05T11:04:41.306" v="1018" actId="947"/>
          <ac:spMkLst>
            <pc:docMk/>
            <pc:sldMk cId="531959542" sldId="266"/>
            <ac:spMk id="292" creationId="{7E0E274E-8207-5267-B1F5-ECEB5FD9EE41}"/>
          </ac:spMkLst>
        </pc:spChg>
        <pc:spChg chg="mod">
          <ac:chgData name="Benedicte Aas Glad" userId="55a9e165-0d8a-4034-a14f-0bb29877055b" providerId="ADAL" clId="{E4981308-85D0-BD4E-B579-5764B255B7FA}" dt="2025-06-05T11:04:41.305" v="1016" actId="947"/>
          <ac:spMkLst>
            <pc:docMk/>
            <pc:sldMk cId="531959542" sldId="266"/>
            <ac:spMk id="293" creationId="{4967F171-278E-D6C9-65BE-C09E96929181}"/>
          </ac:spMkLst>
        </pc:spChg>
        <pc:spChg chg="mod">
          <ac:chgData name="Benedicte Aas Glad" userId="55a9e165-0d8a-4034-a14f-0bb29877055b" providerId="ADAL" clId="{E4981308-85D0-BD4E-B579-5764B255B7FA}" dt="2025-06-05T11:04:41.304" v="1014" actId="947"/>
          <ac:spMkLst>
            <pc:docMk/>
            <pc:sldMk cId="531959542" sldId="266"/>
            <ac:spMk id="294" creationId="{56F52617-92F3-A589-B38B-E09A62299BE0}"/>
          </ac:spMkLst>
        </pc:spChg>
        <pc:spChg chg="mod">
          <ac:chgData name="Benedicte Aas Glad" userId="55a9e165-0d8a-4034-a14f-0bb29877055b" providerId="ADAL" clId="{E4981308-85D0-BD4E-B579-5764B255B7FA}" dt="2025-06-05T11:04:41.574" v="1900" actId="947"/>
          <ac:spMkLst>
            <pc:docMk/>
            <pc:sldMk cId="531959542" sldId="266"/>
            <ac:spMk id="297" creationId="{9E85B7CD-6CC4-D5CE-0D6E-36ABF7ED049C}"/>
          </ac:spMkLst>
        </pc:spChg>
        <pc:spChg chg="mod">
          <ac:chgData name="Benedicte Aas Glad" userId="55a9e165-0d8a-4034-a14f-0bb29877055b" providerId="ADAL" clId="{E4981308-85D0-BD4E-B579-5764B255B7FA}" dt="2025-06-05T11:04:41.573" v="1898" actId="947"/>
          <ac:spMkLst>
            <pc:docMk/>
            <pc:sldMk cId="531959542" sldId="266"/>
            <ac:spMk id="298" creationId="{CAEA852B-BCB7-1D27-E0E5-A10CC86152A7}"/>
          </ac:spMkLst>
        </pc:spChg>
        <pc:spChg chg="mod">
          <ac:chgData name="Benedicte Aas Glad" userId="55a9e165-0d8a-4034-a14f-0bb29877055b" providerId="ADAL" clId="{E4981308-85D0-BD4E-B579-5764B255B7FA}" dt="2025-06-05T11:04:41.573" v="1896" actId="947"/>
          <ac:spMkLst>
            <pc:docMk/>
            <pc:sldMk cId="531959542" sldId="266"/>
            <ac:spMk id="299" creationId="{29BC2FF2-E5CB-F7F9-52CF-3083AECD0109}"/>
          </ac:spMkLst>
        </pc:spChg>
        <pc:spChg chg="mod">
          <ac:chgData name="Benedicte Aas Glad" userId="55a9e165-0d8a-4034-a14f-0bb29877055b" providerId="ADAL" clId="{E4981308-85D0-BD4E-B579-5764B255B7FA}" dt="2025-06-05T11:04:41.572" v="1894" actId="947"/>
          <ac:spMkLst>
            <pc:docMk/>
            <pc:sldMk cId="531959542" sldId="266"/>
            <ac:spMk id="300" creationId="{36FF6615-65D8-C58D-9DF6-42E609ABB8B0}"/>
          </ac:spMkLst>
        </pc:spChg>
        <pc:spChg chg="mod">
          <ac:chgData name="Benedicte Aas Glad" userId="55a9e165-0d8a-4034-a14f-0bb29877055b" providerId="ADAL" clId="{E4981308-85D0-BD4E-B579-5764B255B7FA}" dt="2025-06-05T11:04:41.571" v="1892" actId="947"/>
          <ac:spMkLst>
            <pc:docMk/>
            <pc:sldMk cId="531959542" sldId="266"/>
            <ac:spMk id="301" creationId="{8C75C86B-4373-34D8-E3EE-7DD8E333F2ED}"/>
          </ac:spMkLst>
        </pc:spChg>
        <pc:spChg chg="mod">
          <ac:chgData name="Benedicte Aas Glad" userId="55a9e165-0d8a-4034-a14f-0bb29877055b" providerId="ADAL" clId="{E4981308-85D0-BD4E-B579-5764B255B7FA}" dt="2025-06-05T11:04:41.571" v="1890" actId="947"/>
          <ac:spMkLst>
            <pc:docMk/>
            <pc:sldMk cId="531959542" sldId="266"/>
            <ac:spMk id="302" creationId="{EF40C730-6C71-1422-9091-BC09DF184D9E}"/>
          </ac:spMkLst>
        </pc:spChg>
        <pc:spChg chg="mod">
          <ac:chgData name="Benedicte Aas Glad" userId="55a9e165-0d8a-4034-a14f-0bb29877055b" providerId="ADAL" clId="{E4981308-85D0-BD4E-B579-5764B255B7FA}" dt="2025-06-05T11:04:41.570" v="1888" actId="947"/>
          <ac:spMkLst>
            <pc:docMk/>
            <pc:sldMk cId="531959542" sldId="266"/>
            <ac:spMk id="303" creationId="{AE844DDD-D5C2-1DE3-8ADF-977D915FD973}"/>
          </ac:spMkLst>
        </pc:spChg>
        <pc:spChg chg="mod">
          <ac:chgData name="Benedicte Aas Glad" userId="55a9e165-0d8a-4034-a14f-0bb29877055b" providerId="ADAL" clId="{E4981308-85D0-BD4E-B579-5764B255B7FA}" dt="2025-06-05T11:04:41.570" v="1886" actId="947"/>
          <ac:spMkLst>
            <pc:docMk/>
            <pc:sldMk cId="531959542" sldId="266"/>
            <ac:spMk id="304" creationId="{B2486C02-F0A3-1A39-36FC-485B7A21B36A}"/>
          </ac:spMkLst>
        </pc:spChg>
        <pc:spChg chg="mod">
          <ac:chgData name="Benedicte Aas Glad" userId="55a9e165-0d8a-4034-a14f-0bb29877055b" providerId="ADAL" clId="{E4981308-85D0-BD4E-B579-5764B255B7FA}" dt="2025-06-05T11:04:41.569" v="1884" actId="947"/>
          <ac:spMkLst>
            <pc:docMk/>
            <pc:sldMk cId="531959542" sldId="266"/>
            <ac:spMk id="305" creationId="{C98724D3-CF6E-9ADC-F508-79901099B79D}"/>
          </ac:spMkLst>
        </pc:spChg>
        <pc:spChg chg="mod">
          <ac:chgData name="Benedicte Aas Glad" userId="55a9e165-0d8a-4034-a14f-0bb29877055b" providerId="ADAL" clId="{E4981308-85D0-BD4E-B579-5764B255B7FA}" dt="2025-06-05T11:04:41.568" v="1882" actId="947"/>
          <ac:spMkLst>
            <pc:docMk/>
            <pc:sldMk cId="531959542" sldId="266"/>
            <ac:spMk id="306" creationId="{AF07E2AB-C889-7653-DA9C-CCF8781C5A11}"/>
          </ac:spMkLst>
        </pc:spChg>
        <pc:spChg chg="mod">
          <ac:chgData name="Benedicte Aas Glad" userId="55a9e165-0d8a-4034-a14f-0bb29877055b" providerId="ADAL" clId="{E4981308-85D0-BD4E-B579-5764B255B7FA}" dt="2025-06-05T11:04:41.568" v="1880" actId="947"/>
          <ac:spMkLst>
            <pc:docMk/>
            <pc:sldMk cId="531959542" sldId="266"/>
            <ac:spMk id="307" creationId="{F888E8A1-32C7-2869-ABDA-A09A7B38FE3A}"/>
          </ac:spMkLst>
        </pc:spChg>
        <pc:spChg chg="mod">
          <ac:chgData name="Benedicte Aas Glad" userId="55a9e165-0d8a-4034-a14f-0bb29877055b" providerId="ADAL" clId="{E4981308-85D0-BD4E-B579-5764B255B7FA}" dt="2025-06-05T11:04:41.567" v="1878" actId="947"/>
          <ac:spMkLst>
            <pc:docMk/>
            <pc:sldMk cId="531959542" sldId="266"/>
            <ac:spMk id="308" creationId="{44CF8F3F-391A-BD3A-5777-9F2E5ECA589F}"/>
          </ac:spMkLst>
        </pc:spChg>
        <pc:spChg chg="mod">
          <ac:chgData name="Benedicte Aas Glad" userId="55a9e165-0d8a-4034-a14f-0bb29877055b" providerId="ADAL" clId="{E4981308-85D0-BD4E-B579-5764B255B7FA}" dt="2025-06-05T11:04:41.567" v="1876" actId="947"/>
          <ac:spMkLst>
            <pc:docMk/>
            <pc:sldMk cId="531959542" sldId="266"/>
            <ac:spMk id="309" creationId="{B41448EE-8827-629B-21FA-D6A98157C001}"/>
          </ac:spMkLst>
        </pc:spChg>
        <pc:spChg chg="mod">
          <ac:chgData name="Benedicte Aas Glad" userId="55a9e165-0d8a-4034-a14f-0bb29877055b" providerId="ADAL" clId="{E4981308-85D0-BD4E-B579-5764B255B7FA}" dt="2025-06-05T11:04:41.566" v="1874" actId="947"/>
          <ac:spMkLst>
            <pc:docMk/>
            <pc:sldMk cId="531959542" sldId="266"/>
            <ac:spMk id="310" creationId="{8F726FAD-1AD3-C2B5-FF6A-EC67B7F5199D}"/>
          </ac:spMkLst>
        </pc:spChg>
        <pc:spChg chg="mod">
          <ac:chgData name="Benedicte Aas Glad" userId="55a9e165-0d8a-4034-a14f-0bb29877055b" providerId="ADAL" clId="{E4981308-85D0-BD4E-B579-5764B255B7FA}" dt="2025-06-06T08:41:05.173" v="3145" actId="2711"/>
          <ac:spMkLst>
            <pc:docMk/>
            <pc:sldMk cId="531959542" sldId="266"/>
            <ac:spMk id="311" creationId="{6089D3E2-ADB2-37CA-1F51-80AB2596A733}"/>
          </ac:spMkLst>
        </pc:spChg>
        <pc:spChg chg="mod">
          <ac:chgData name="Benedicte Aas Glad" userId="55a9e165-0d8a-4034-a14f-0bb29877055b" providerId="ADAL" clId="{E4981308-85D0-BD4E-B579-5764B255B7FA}" dt="2025-06-05T11:04:41.565" v="1870" actId="947"/>
          <ac:spMkLst>
            <pc:docMk/>
            <pc:sldMk cId="531959542" sldId="266"/>
            <ac:spMk id="312" creationId="{EBFECDC5-C0E6-C35E-CF1D-5D4CCF368EA8}"/>
          </ac:spMkLst>
        </pc:spChg>
        <pc:spChg chg="mod">
          <ac:chgData name="Benedicte Aas Glad" userId="55a9e165-0d8a-4034-a14f-0bb29877055b" providerId="ADAL" clId="{E4981308-85D0-BD4E-B579-5764B255B7FA}" dt="2025-06-05T11:04:41.564" v="1868" actId="947"/>
          <ac:spMkLst>
            <pc:docMk/>
            <pc:sldMk cId="531959542" sldId="266"/>
            <ac:spMk id="313" creationId="{F065B7D1-F431-7346-4F64-586D795B31BA}"/>
          </ac:spMkLst>
        </pc:spChg>
        <pc:spChg chg="mod">
          <ac:chgData name="Benedicte Aas Glad" userId="55a9e165-0d8a-4034-a14f-0bb29877055b" providerId="ADAL" clId="{E4981308-85D0-BD4E-B579-5764B255B7FA}" dt="2025-06-05T11:04:41.564" v="1866" actId="947"/>
          <ac:spMkLst>
            <pc:docMk/>
            <pc:sldMk cId="531959542" sldId="266"/>
            <ac:spMk id="314" creationId="{80181A3C-5D90-4CDC-C834-D67793D5F85D}"/>
          </ac:spMkLst>
        </pc:spChg>
        <pc:spChg chg="mod">
          <ac:chgData name="Benedicte Aas Glad" userId="55a9e165-0d8a-4034-a14f-0bb29877055b" providerId="ADAL" clId="{E4981308-85D0-BD4E-B579-5764B255B7FA}" dt="2025-06-05T11:04:41.563" v="1864" actId="947"/>
          <ac:spMkLst>
            <pc:docMk/>
            <pc:sldMk cId="531959542" sldId="266"/>
            <ac:spMk id="315" creationId="{1C2AEB52-3475-DA15-927F-5A4FFAC44C9B}"/>
          </ac:spMkLst>
        </pc:spChg>
        <pc:spChg chg="mod">
          <ac:chgData name="Benedicte Aas Glad" userId="55a9e165-0d8a-4034-a14f-0bb29877055b" providerId="ADAL" clId="{E4981308-85D0-BD4E-B579-5764B255B7FA}" dt="2025-06-05T11:04:41.563" v="1862" actId="947"/>
          <ac:spMkLst>
            <pc:docMk/>
            <pc:sldMk cId="531959542" sldId="266"/>
            <ac:spMk id="316" creationId="{BAB3D757-2E1E-4D8D-A292-843FAE9DFB06}"/>
          </ac:spMkLst>
        </pc:spChg>
        <pc:spChg chg="mod">
          <ac:chgData name="Benedicte Aas Glad" userId="55a9e165-0d8a-4034-a14f-0bb29877055b" providerId="ADAL" clId="{E4981308-85D0-BD4E-B579-5764B255B7FA}" dt="2025-06-05T11:04:41.562" v="1860" actId="947"/>
          <ac:spMkLst>
            <pc:docMk/>
            <pc:sldMk cId="531959542" sldId="266"/>
            <ac:spMk id="317" creationId="{2E535CF9-055B-3C9F-43ED-CF336440C7E6}"/>
          </ac:spMkLst>
        </pc:spChg>
        <pc:spChg chg="mod">
          <ac:chgData name="Benedicte Aas Glad" userId="55a9e165-0d8a-4034-a14f-0bb29877055b" providerId="ADAL" clId="{E4981308-85D0-BD4E-B579-5764B255B7FA}" dt="2025-06-05T11:04:41.561" v="1858" actId="947"/>
          <ac:spMkLst>
            <pc:docMk/>
            <pc:sldMk cId="531959542" sldId="266"/>
            <ac:spMk id="318" creationId="{5236004E-65BE-19D3-262C-102400F0FE76}"/>
          </ac:spMkLst>
        </pc:spChg>
        <pc:spChg chg="mod">
          <ac:chgData name="Benedicte Aas Glad" userId="55a9e165-0d8a-4034-a14f-0bb29877055b" providerId="ADAL" clId="{E4981308-85D0-BD4E-B579-5764B255B7FA}" dt="2025-06-05T11:04:41.561" v="1856" actId="947"/>
          <ac:spMkLst>
            <pc:docMk/>
            <pc:sldMk cId="531959542" sldId="266"/>
            <ac:spMk id="319" creationId="{7B060F34-9148-E96B-45D4-DB17A574E7CC}"/>
          </ac:spMkLst>
        </pc:spChg>
        <pc:spChg chg="mod">
          <ac:chgData name="Benedicte Aas Glad" userId="55a9e165-0d8a-4034-a14f-0bb29877055b" providerId="ADAL" clId="{E4981308-85D0-BD4E-B579-5764B255B7FA}" dt="2025-06-05T11:04:41.560" v="1854" actId="947"/>
          <ac:spMkLst>
            <pc:docMk/>
            <pc:sldMk cId="531959542" sldId="266"/>
            <ac:spMk id="320" creationId="{E831C643-8FBD-221D-0BA4-34663BA349E4}"/>
          </ac:spMkLst>
        </pc:spChg>
        <pc:spChg chg="mod">
          <ac:chgData name="Benedicte Aas Glad" userId="55a9e165-0d8a-4034-a14f-0bb29877055b" providerId="ADAL" clId="{E4981308-85D0-BD4E-B579-5764B255B7FA}" dt="2025-06-05T11:04:41.560" v="1852" actId="947"/>
          <ac:spMkLst>
            <pc:docMk/>
            <pc:sldMk cId="531959542" sldId="266"/>
            <ac:spMk id="321" creationId="{FBC10B33-F378-D523-ED5B-B38FE69A6D1F}"/>
          </ac:spMkLst>
        </pc:spChg>
        <pc:spChg chg="mod">
          <ac:chgData name="Benedicte Aas Glad" userId="55a9e165-0d8a-4034-a14f-0bb29877055b" providerId="ADAL" clId="{E4981308-85D0-BD4E-B579-5764B255B7FA}" dt="2025-06-05T11:04:41.559" v="1850" actId="947"/>
          <ac:spMkLst>
            <pc:docMk/>
            <pc:sldMk cId="531959542" sldId="266"/>
            <ac:spMk id="322" creationId="{9BDBA5F5-BD03-D1CB-900E-AF8C516B58B5}"/>
          </ac:spMkLst>
        </pc:spChg>
        <pc:spChg chg="mod">
          <ac:chgData name="Benedicte Aas Glad" userId="55a9e165-0d8a-4034-a14f-0bb29877055b" providerId="ADAL" clId="{E4981308-85D0-BD4E-B579-5764B255B7FA}" dt="2025-06-05T11:04:41.559" v="1848" actId="947"/>
          <ac:spMkLst>
            <pc:docMk/>
            <pc:sldMk cId="531959542" sldId="266"/>
            <ac:spMk id="323" creationId="{D870B229-4F64-B171-EA79-DBB5D1425812}"/>
          </ac:spMkLst>
        </pc:spChg>
        <pc:spChg chg="mod">
          <ac:chgData name="Benedicte Aas Glad" userId="55a9e165-0d8a-4034-a14f-0bb29877055b" providerId="ADAL" clId="{E4981308-85D0-BD4E-B579-5764B255B7FA}" dt="2025-06-05T11:04:41.558" v="1846" actId="947"/>
          <ac:spMkLst>
            <pc:docMk/>
            <pc:sldMk cId="531959542" sldId="266"/>
            <ac:spMk id="324" creationId="{26AA747F-C105-DFA7-9233-8FE2DC3C4CC5}"/>
          </ac:spMkLst>
        </pc:spChg>
        <pc:spChg chg="mod">
          <ac:chgData name="Benedicte Aas Glad" userId="55a9e165-0d8a-4034-a14f-0bb29877055b" providerId="ADAL" clId="{E4981308-85D0-BD4E-B579-5764B255B7FA}" dt="2025-06-05T11:04:41.557" v="1844" actId="947"/>
          <ac:spMkLst>
            <pc:docMk/>
            <pc:sldMk cId="531959542" sldId="266"/>
            <ac:spMk id="325" creationId="{5E14053E-6D4D-DE44-45B3-2D9E22DDDC20}"/>
          </ac:spMkLst>
        </pc:spChg>
        <pc:spChg chg="mod">
          <ac:chgData name="Benedicte Aas Glad" userId="55a9e165-0d8a-4034-a14f-0bb29877055b" providerId="ADAL" clId="{E4981308-85D0-BD4E-B579-5764B255B7FA}" dt="2025-06-05T11:04:41.557" v="1842" actId="947"/>
          <ac:spMkLst>
            <pc:docMk/>
            <pc:sldMk cId="531959542" sldId="266"/>
            <ac:spMk id="326" creationId="{0ECDF776-1CDE-C140-547A-DB2DBE1216C9}"/>
          </ac:spMkLst>
        </pc:spChg>
        <pc:spChg chg="mod">
          <ac:chgData name="Benedicte Aas Glad" userId="55a9e165-0d8a-4034-a14f-0bb29877055b" providerId="ADAL" clId="{E4981308-85D0-BD4E-B579-5764B255B7FA}" dt="2025-06-05T11:04:41.556" v="1840" actId="947"/>
          <ac:spMkLst>
            <pc:docMk/>
            <pc:sldMk cId="531959542" sldId="266"/>
            <ac:spMk id="327" creationId="{9BB156D9-5F20-57BF-471D-A30DFD9F5004}"/>
          </ac:spMkLst>
        </pc:spChg>
        <pc:spChg chg="mod">
          <ac:chgData name="Benedicte Aas Glad" userId="55a9e165-0d8a-4034-a14f-0bb29877055b" providerId="ADAL" clId="{E4981308-85D0-BD4E-B579-5764B255B7FA}" dt="2025-06-05T11:04:41.556" v="1838" actId="947"/>
          <ac:spMkLst>
            <pc:docMk/>
            <pc:sldMk cId="531959542" sldId="266"/>
            <ac:spMk id="328" creationId="{098CE94D-5410-6F83-C28D-8AA66DAEA1F6}"/>
          </ac:spMkLst>
        </pc:spChg>
        <pc:spChg chg="mod">
          <ac:chgData name="Benedicte Aas Glad" userId="55a9e165-0d8a-4034-a14f-0bb29877055b" providerId="ADAL" clId="{E4981308-85D0-BD4E-B579-5764B255B7FA}" dt="2025-06-05T11:04:41.555" v="1836" actId="947"/>
          <ac:spMkLst>
            <pc:docMk/>
            <pc:sldMk cId="531959542" sldId="266"/>
            <ac:spMk id="329" creationId="{F46588D1-A129-1208-9C0D-E91C14D008E7}"/>
          </ac:spMkLst>
        </pc:spChg>
        <pc:spChg chg="mod">
          <ac:chgData name="Benedicte Aas Glad" userId="55a9e165-0d8a-4034-a14f-0bb29877055b" providerId="ADAL" clId="{E4981308-85D0-BD4E-B579-5764B255B7FA}" dt="2025-06-05T11:04:41.554" v="1834" actId="947"/>
          <ac:spMkLst>
            <pc:docMk/>
            <pc:sldMk cId="531959542" sldId="266"/>
            <ac:spMk id="330" creationId="{76A0579B-ABA6-D0B9-686D-F45D03490B9B}"/>
          </ac:spMkLst>
        </pc:spChg>
        <pc:spChg chg="mod">
          <ac:chgData name="Benedicte Aas Glad" userId="55a9e165-0d8a-4034-a14f-0bb29877055b" providerId="ADAL" clId="{E4981308-85D0-BD4E-B579-5764B255B7FA}" dt="2025-06-05T11:04:41.554" v="1832" actId="947"/>
          <ac:spMkLst>
            <pc:docMk/>
            <pc:sldMk cId="531959542" sldId="266"/>
            <ac:spMk id="331" creationId="{AD5FBB59-158E-C135-8958-DEEF5F65D6B0}"/>
          </ac:spMkLst>
        </pc:spChg>
        <pc:spChg chg="mod">
          <ac:chgData name="Benedicte Aas Glad" userId="55a9e165-0d8a-4034-a14f-0bb29877055b" providerId="ADAL" clId="{E4981308-85D0-BD4E-B579-5764B255B7FA}" dt="2025-06-05T11:04:41.553" v="1830" actId="947"/>
          <ac:spMkLst>
            <pc:docMk/>
            <pc:sldMk cId="531959542" sldId="266"/>
            <ac:spMk id="332" creationId="{6A5127AD-6C5B-1851-F1A1-BF3C5E30CEF3}"/>
          </ac:spMkLst>
        </pc:spChg>
        <pc:spChg chg="mod">
          <ac:chgData name="Benedicte Aas Glad" userId="55a9e165-0d8a-4034-a14f-0bb29877055b" providerId="ADAL" clId="{E4981308-85D0-BD4E-B579-5764B255B7FA}" dt="2025-06-05T11:04:41.553" v="1828" actId="947"/>
          <ac:spMkLst>
            <pc:docMk/>
            <pc:sldMk cId="531959542" sldId="266"/>
            <ac:spMk id="333" creationId="{658C0408-854C-3DFA-327F-50316A9CFD43}"/>
          </ac:spMkLst>
        </pc:spChg>
        <pc:spChg chg="mod">
          <ac:chgData name="Benedicte Aas Glad" userId="55a9e165-0d8a-4034-a14f-0bb29877055b" providerId="ADAL" clId="{E4981308-85D0-BD4E-B579-5764B255B7FA}" dt="2025-06-05T11:04:41.552" v="1826" actId="947"/>
          <ac:spMkLst>
            <pc:docMk/>
            <pc:sldMk cId="531959542" sldId="266"/>
            <ac:spMk id="334" creationId="{E9504966-011B-E7EA-8F3B-A8D511B117CE}"/>
          </ac:spMkLst>
        </pc:spChg>
        <pc:spChg chg="mod">
          <ac:chgData name="Benedicte Aas Glad" userId="55a9e165-0d8a-4034-a14f-0bb29877055b" providerId="ADAL" clId="{E4981308-85D0-BD4E-B579-5764B255B7FA}" dt="2025-06-05T11:04:41.551" v="1824" actId="947"/>
          <ac:spMkLst>
            <pc:docMk/>
            <pc:sldMk cId="531959542" sldId="266"/>
            <ac:spMk id="335" creationId="{A84BAE38-57D8-49BB-0A6F-49468D34A777}"/>
          </ac:spMkLst>
        </pc:spChg>
        <pc:spChg chg="mod">
          <ac:chgData name="Benedicte Aas Glad" userId="55a9e165-0d8a-4034-a14f-0bb29877055b" providerId="ADAL" clId="{E4981308-85D0-BD4E-B579-5764B255B7FA}" dt="2025-06-05T11:04:41.551" v="1822" actId="947"/>
          <ac:spMkLst>
            <pc:docMk/>
            <pc:sldMk cId="531959542" sldId="266"/>
            <ac:spMk id="336" creationId="{57BC2F86-7820-3471-9B83-110D8685592A}"/>
          </ac:spMkLst>
        </pc:spChg>
        <pc:spChg chg="mod">
          <ac:chgData name="Benedicte Aas Glad" userId="55a9e165-0d8a-4034-a14f-0bb29877055b" providerId="ADAL" clId="{E4981308-85D0-BD4E-B579-5764B255B7FA}" dt="2025-06-05T11:04:41.550" v="1820" actId="947"/>
          <ac:spMkLst>
            <pc:docMk/>
            <pc:sldMk cId="531959542" sldId="266"/>
            <ac:spMk id="337" creationId="{3A50255E-62B7-6702-50E8-C40803992079}"/>
          </ac:spMkLst>
        </pc:spChg>
        <pc:spChg chg="mod">
          <ac:chgData name="Benedicte Aas Glad" userId="55a9e165-0d8a-4034-a14f-0bb29877055b" providerId="ADAL" clId="{E4981308-85D0-BD4E-B579-5764B255B7FA}" dt="2025-06-05T11:04:41.550" v="1818" actId="947"/>
          <ac:spMkLst>
            <pc:docMk/>
            <pc:sldMk cId="531959542" sldId="266"/>
            <ac:spMk id="338" creationId="{428E8F6D-54E5-84E3-B17E-4B52B346F556}"/>
          </ac:spMkLst>
        </pc:spChg>
        <pc:spChg chg="mod">
          <ac:chgData name="Benedicte Aas Glad" userId="55a9e165-0d8a-4034-a14f-0bb29877055b" providerId="ADAL" clId="{E4981308-85D0-BD4E-B579-5764B255B7FA}" dt="2025-06-05T11:04:41.549" v="1816" actId="947"/>
          <ac:spMkLst>
            <pc:docMk/>
            <pc:sldMk cId="531959542" sldId="266"/>
            <ac:spMk id="339" creationId="{47FB1D65-97E1-F2E3-03E3-478AFCE3BD2E}"/>
          </ac:spMkLst>
        </pc:spChg>
        <pc:spChg chg="mod">
          <ac:chgData name="Benedicte Aas Glad" userId="55a9e165-0d8a-4034-a14f-0bb29877055b" providerId="ADAL" clId="{E4981308-85D0-BD4E-B579-5764B255B7FA}" dt="2025-06-05T11:04:41.549" v="1814" actId="947"/>
          <ac:spMkLst>
            <pc:docMk/>
            <pc:sldMk cId="531959542" sldId="266"/>
            <ac:spMk id="340" creationId="{B0B80B96-86FF-9449-EAA6-398D6D06C565}"/>
          </ac:spMkLst>
        </pc:spChg>
        <pc:spChg chg="mod">
          <ac:chgData name="Benedicte Aas Glad" userId="55a9e165-0d8a-4034-a14f-0bb29877055b" providerId="ADAL" clId="{E4981308-85D0-BD4E-B579-5764B255B7FA}" dt="2025-06-05T11:04:41.548" v="1812" actId="947"/>
          <ac:spMkLst>
            <pc:docMk/>
            <pc:sldMk cId="531959542" sldId="266"/>
            <ac:spMk id="341" creationId="{973A30D8-C70D-3A76-0E65-ABA3E4F47D75}"/>
          </ac:spMkLst>
        </pc:spChg>
        <pc:spChg chg="mod">
          <ac:chgData name="Benedicte Aas Glad" userId="55a9e165-0d8a-4034-a14f-0bb29877055b" providerId="ADAL" clId="{E4981308-85D0-BD4E-B579-5764B255B7FA}" dt="2025-06-05T11:04:41.547" v="1810" actId="947"/>
          <ac:spMkLst>
            <pc:docMk/>
            <pc:sldMk cId="531959542" sldId="266"/>
            <ac:spMk id="342" creationId="{2083BA45-65B5-A226-AE75-4B2F3E7AC4AE}"/>
          </ac:spMkLst>
        </pc:spChg>
        <pc:spChg chg="mod">
          <ac:chgData name="Benedicte Aas Glad" userId="55a9e165-0d8a-4034-a14f-0bb29877055b" providerId="ADAL" clId="{E4981308-85D0-BD4E-B579-5764B255B7FA}" dt="2025-06-05T11:04:41.547" v="1808" actId="947"/>
          <ac:spMkLst>
            <pc:docMk/>
            <pc:sldMk cId="531959542" sldId="266"/>
            <ac:spMk id="343" creationId="{75C16120-06B0-C2AF-38A3-AA9F2AFA5BA3}"/>
          </ac:spMkLst>
        </pc:spChg>
        <pc:spChg chg="mod">
          <ac:chgData name="Benedicte Aas Glad" userId="55a9e165-0d8a-4034-a14f-0bb29877055b" providerId="ADAL" clId="{E4981308-85D0-BD4E-B579-5764B255B7FA}" dt="2025-06-05T11:04:41.546" v="1806" actId="947"/>
          <ac:spMkLst>
            <pc:docMk/>
            <pc:sldMk cId="531959542" sldId="266"/>
            <ac:spMk id="344" creationId="{DD54BC41-3C98-8303-7859-EBBC96B47EFC}"/>
          </ac:spMkLst>
        </pc:spChg>
        <pc:spChg chg="mod">
          <ac:chgData name="Benedicte Aas Glad" userId="55a9e165-0d8a-4034-a14f-0bb29877055b" providerId="ADAL" clId="{E4981308-85D0-BD4E-B579-5764B255B7FA}" dt="2025-06-05T11:04:41.546" v="1804" actId="947"/>
          <ac:spMkLst>
            <pc:docMk/>
            <pc:sldMk cId="531959542" sldId="266"/>
            <ac:spMk id="345" creationId="{76A0F314-8E3B-1661-279A-71FA1053EBF1}"/>
          </ac:spMkLst>
        </pc:spChg>
        <pc:spChg chg="mod">
          <ac:chgData name="Benedicte Aas Glad" userId="55a9e165-0d8a-4034-a14f-0bb29877055b" providerId="ADAL" clId="{E4981308-85D0-BD4E-B579-5764B255B7FA}" dt="2025-06-05T11:04:41.545" v="1802" actId="947"/>
          <ac:spMkLst>
            <pc:docMk/>
            <pc:sldMk cId="531959542" sldId="266"/>
            <ac:spMk id="346" creationId="{5AFC0E49-3D06-45F3-F131-2CD1C0A01407}"/>
          </ac:spMkLst>
        </pc:spChg>
        <pc:spChg chg="mod">
          <ac:chgData name="Benedicte Aas Glad" userId="55a9e165-0d8a-4034-a14f-0bb29877055b" providerId="ADAL" clId="{E4981308-85D0-BD4E-B579-5764B255B7FA}" dt="2025-06-05T11:04:41.544" v="1800" actId="947"/>
          <ac:spMkLst>
            <pc:docMk/>
            <pc:sldMk cId="531959542" sldId="266"/>
            <ac:spMk id="347" creationId="{6D05D2BA-DA5E-19D0-B7BF-B51B059B7AAC}"/>
          </ac:spMkLst>
        </pc:spChg>
        <pc:spChg chg="mod">
          <ac:chgData name="Benedicte Aas Glad" userId="55a9e165-0d8a-4034-a14f-0bb29877055b" providerId="ADAL" clId="{E4981308-85D0-BD4E-B579-5764B255B7FA}" dt="2025-06-05T11:04:41.544" v="1798" actId="947"/>
          <ac:spMkLst>
            <pc:docMk/>
            <pc:sldMk cId="531959542" sldId="266"/>
            <ac:spMk id="348" creationId="{23137786-3CBD-E36A-38C2-9651482ABA4F}"/>
          </ac:spMkLst>
        </pc:spChg>
        <pc:spChg chg="mod">
          <ac:chgData name="Benedicte Aas Glad" userId="55a9e165-0d8a-4034-a14f-0bb29877055b" providerId="ADAL" clId="{E4981308-85D0-BD4E-B579-5764B255B7FA}" dt="2025-06-05T11:04:41.543" v="1796" actId="947"/>
          <ac:spMkLst>
            <pc:docMk/>
            <pc:sldMk cId="531959542" sldId="266"/>
            <ac:spMk id="349" creationId="{4C1BB9B6-140B-26AF-815B-24721AD6F9A1}"/>
          </ac:spMkLst>
        </pc:spChg>
        <pc:spChg chg="mod">
          <ac:chgData name="Benedicte Aas Glad" userId="55a9e165-0d8a-4034-a14f-0bb29877055b" providerId="ADAL" clId="{E4981308-85D0-BD4E-B579-5764B255B7FA}" dt="2025-06-05T11:04:41.543" v="1794" actId="947"/>
          <ac:spMkLst>
            <pc:docMk/>
            <pc:sldMk cId="531959542" sldId="266"/>
            <ac:spMk id="350" creationId="{72CF2F84-B884-7AA9-6D37-0B8C4AB1E6D4}"/>
          </ac:spMkLst>
        </pc:spChg>
        <pc:spChg chg="mod">
          <ac:chgData name="Benedicte Aas Glad" userId="55a9e165-0d8a-4034-a14f-0bb29877055b" providerId="ADAL" clId="{E4981308-85D0-BD4E-B579-5764B255B7FA}" dt="2025-06-06T08:41:05.173" v="3145" actId="2711"/>
          <ac:spMkLst>
            <pc:docMk/>
            <pc:sldMk cId="531959542" sldId="266"/>
            <ac:spMk id="351" creationId="{33CBAEA9-5A2D-B4A9-24F7-CBD57363A227}"/>
          </ac:spMkLst>
        </pc:spChg>
        <pc:spChg chg="mod">
          <ac:chgData name="Benedicte Aas Glad" userId="55a9e165-0d8a-4034-a14f-0bb29877055b" providerId="ADAL" clId="{E4981308-85D0-BD4E-B579-5764B255B7FA}" dt="2025-06-05T11:04:41.542" v="1790" actId="947"/>
          <ac:spMkLst>
            <pc:docMk/>
            <pc:sldMk cId="531959542" sldId="266"/>
            <ac:spMk id="352" creationId="{8EE968D4-8BAB-14BC-7018-5C7DA7952453}"/>
          </ac:spMkLst>
        </pc:spChg>
        <pc:spChg chg="mod">
          <ac:chgData name="Benedicte Aas Glad" userId="55a9e165-0d8a-4034-a14f-0bb29877055b" providerId="ADAL" clId="{E4981308-85D0-BD4E-B579-5764B255B7FA}" dt="2025-06-05T11:04:41.541" v="1788" actId="947"/>
          <ac:spMkLst>
            <pc:docMk/>
            <pc:sldMk cId="531959542" sldId="266"/>
            <ac:spMk id="353" creationId="{EB73DDC0-0735-CF64-36A3-433089BF2B31}"/>
          </ac:spMkLst>
        </pc:spChg>
        <pc:spChg chg="mod">
          <ac:chgData name="Benedicte Aas Glad" userId="55a9e165-0d8a-4034-a14f-0bb29877055b" providerId="ADAL" clId="{E4981308-85D0-BD4E-B579-5764B255B7FA}" dt="2025-06-05T11:04:41.540" v="1786" actId="947"/>
          <ac:spMkLst>
            <pc:docMk/>
            <pc:sldMk cId="531959542" sldId="266"/>
            <ac:spMk id="354" creationId="{5A64E1E0-9B3B-D30B-A12E-D26BB71F3A2D}"/>
          </ac:spMkLst>
        </pc:spChg>
        <pc:spChg chg="mod">
          <ac:chgData name="Benedicte Aas Glad" userId="55a9e165-0d8a-4034-a14f-0bb29877055b" providerId="ADAL" clId="{E4981308-85D0-BD4E-B579-5764B255B7FA}" dt="2025-06-05T11:04:41.540" v="1784" actId="947"/>
          <ac:spMkLst>
            <pc:docMk/>
            <pc:sldMk cId="531959542" sldId="266"/>
            <ac:spMk id="355" creationId="{3DEF8068-D008-EBFE-737B-1AD05818C587}"/>
          </ac:spMkLst>
        </pc:spChg>
        <pc:spChg chg="mod">
          <ac:chgData name="Benedicte Aas Glad" userId="55a9e165-0d8a-4034-a14f-0bb29877055b" providerId="ADAL" clId="{E4981308-85D0-BD4E-B579-5764B255B7FA}" dt="2025-06-05T11:04:41.539" v="1782" actId="947"/>
          <ac:spMkLst>
            <pc:docMk/>
            <pc:sldMk cId="531959542" sldId="266"/>
            <ac:spMk id="356" creationId="{24C71CA7-E916-85F1-149C-F94F084DE41D}"/>
          </ac:spMkLst>
        </pc:spChg>
        <pc:spChg chg="mod">
          <ac:chgData name="Benedicte Aas Glad" userId="55a9e165-0d8a-4034-a14f-0bb29877055b" providerId="ADAL" clId="{E4981308-85D0-BD4E-B579-5764B255B7FA}" dt="2025-06-05T11:04:41.539" v="1780" actId="947"/>
          <ac:spMkLst>
            <pc:docMk/>
            <pc:sldMk cId="531959542" sldId="266"/>
            <ac:spMk id="357" creationId="{B21B1741-F9CA-F222-8501-7FA885977C3D}"/>
          </ac:spMkLst>
        </pc:spChg>
        <pc:spChg chg="mod">
          <ac:chgData name="Benedicte Aas Glad" userId="55a9e165-0d8a-4034-a14f-0bb29877055b" providerId="ADAL" clId="{E4981308-85D0-BD4E-B579-5764B255B7FA}" dt="2025-06-05T11:04:41.538" v="1778" actId="947"/>
          <ac:spMkLst>
            <pc:docMk/>
            <pc:sldMk cId="531959542" sldId="266"/>
            <ac:spMk id="358" creationId="{55FAA843-D415-2518-E43D-26204C4F88A5}"/>
          </ac:spMkLst>
        </pc:spChg>
        <pc:spChg chg="mod">
          <ac:chgData name="Benedicte Aas Glad" userId="55a9e165-0d8a-4034-a14f-0bb29877055b" providerId="ADAL" clId="{E4981308-85D0-BD4E-B579-5764B255B7FA}" dt="2025-06-05T11:04:41.537" v="1776" actId="947"/>
          <ac:spMkLst>
            <pc:docMk/>
            <pc:sldMk cId="531959542" sldId="266"/>
            <ac:spMk id="359" creationId="{5F492ECB-5778-460D-62A3-C5D4920FFA50}"/>
          </ac:spMkLst>
        </pc:spChg>
        <pc:spChg chg="mod">
          <ac:chgData name="Benedicte Aas Glad" userId="55a9e165-0d8a-4034-a14f-0bb29877055b" providerId="ADAL" clId="{E4981308-85D0-BD4E-B579-5764B255B7FA}" dt="2025-06-05T11:04:41.537" v="1774" actId="947"/>
          <ac:spMkLst>
            <pc:docMk/>
            <pc:sldMk cId="531959542" sldId="266"/>
            <ac:spMk id="360" creationId="{9B206B30-F2B2-F7D1-0636-7831C82ACD6A}"/>
          </ac:spMkLst>
        </pc:spChg>
        <pc:spChg chg="mod">
          <ac:chgData name="Benedicte Aas Glad" userId="55a9e165-0d8a-4034-a14f-0bb29877055b" providerId="ADAL" clId="{E4981308-85D0-BD4E-B579-5764B255B7FA}" dt="2025-06-05T11:04:41.536" v="1772" actId="947"/>
          <ac:spMkLst>
            <pc:docMk/>
            <pc:sldMk cId="531959542" sldId="266"/>
            <ac:spMk id="361" creationId="{15310E93-08DC-FFFF-B136-FA7609B84194}"/>
          </ac:spMkLst>
        </pc:spChg>
        <pc:spChg chg="mod">
          <ac:chgData name="Benedicte Aas Glad" userId="55a9e165-0d8a-4034-a14f-0bb29877055b" providerId="ADAL" clId="{E4981308-85D0-BD4E-B579-5764B255B7FA}" dt="2025-06-05T11:04:41.536" v="1770" actId="947"/>
          <ac:spMkLst>
            <pc:docMk/>
            <pc:sldMk cId="531959542" sldId="266"/>
            <ac:spMk id="362" creationId="{49FDCAEC-2229-3205-51E7-6793B976BA7E}"/>
          </ac:spMkLst>
        </pc:spChg>
        <pc:spChg chg="mod">
          <ac:chgData name="Benedicte Aas Glad" userId="55a9e165-0d8a-4034-a14f-0bb29877055b" providerId="ADAL" clId="{E4981308-85D0-BD4E-B579-5764B255B7FA}" dt="2025-06-05T11:04:41.535" v="1768" actId="947"/>
          <ac:spMkLst>
            <pc:docMk/>
            <pc:sldMk cId="531959542" sldId="266"/>
            <ac:spMk id="363" creationId="{3E254D81-27B7-D9D8-A9E1-D5D1250E5A9C}"/>
          </ac:spMkLst>
        </pc:spChg>
        <pc:spChg chg="mod">
          <ac:chgData name="Benedicte Aas Glad" userId="55a9e165-0d8a-4034-a14f-0bb29877055b" providerId="ADAL" clId="{E4981308-85D0-BD4E-B579-5764B255B7FA}" dt="2025-06-05T11:04:41.534" v="1766" actId="947"/>
          <ac:spMkLst>
            <pc:docMk/>
            <pc:sldMk cId="531959542" sldId="266"/>
            <ac:spMk id="364" creationId="{8D3078EB-4E13-3FDE-52B3-5ECE788CAD5A}"/>
          </ac:spMkLst>
        </pc:spChg>
        <pc:spChg chg="mod">
          <ac:chgData name="Benedicte Aas Glad" userId="55a9e165-0d8a-4034-a14f-0bb29877055b" providerId="ADAL" clId="{E4981308-85D0-BD4E-B579-5764B255B7FA}" dt="2025-06-05T11:04:41.534" v="1764" actId="947"/>
          <ac:spMkLst>
            <pc:docMk/>
            <pc:sldMk cId="531959542" sldId="266"/>
            <ac:spMk id="365" creationId="{6AD5AC28-4172-954F-C863-C2BBE0525CBF}"/>
          </ac:spMkLst>
        </pc:spChg>
        <pc:spChg chg="mod">
          <ac:chgData name="Benedicte Aas Glad" userId="55a9e165-0d8a-4034-a14f-0bb29877055b" providerId="ADAL" clId="{E4981308-85D0-BD4E-B579-5764B255B7FA}" dt="2025-06-05T11:04:41.533" v="1762" actId="947"/>
          <ac:spMkLst>
            <pc:docMk/>
            <pc:sldMk cId="531959542" sldId="266"/>
            <ac:spMk id="366" creationId="{2B8EADEC-FDF8-E925-D4E8-F92129AF632D}"/>
          </ac:spMkLst>
        </pc:spChg>
        <pc:spChg chg="mod">
          <ac:chgData name="Benedicte Aas Glad" userId="55a9e165-0d8a-4034-a14f-0bb29877055b" providerId="ADAL" clId="{E4981308-85D0-BD4E-B579-5764B255B7FA}" dt="2025-06-05T11:04:41.533" v="1760" actId="947"/>
          <ac:spMkLst>
            <pc:docMk/>
            <pc:sldMk cId="531959542" sldId="266"/>
            <ac:spMk id="367" creationId="{AD6D4116-8F35-FCF5-C1E9-9116AD978BFD}"/>
          </ac:spMkLst>
        </pc:spChg>
        <pc:spChg chg="mod">
          <ac:chgData name="Benedicte Aas Glad" userId="55a9e165-0d8a-4034-a14f-0bb29877055b" providerId="ADAL" clId="{E4981308-85D0-BD4E-B579-5764B255B7FA}" dt="2025-06-05T11:04:41.532" v="1758" actId="947"/>
          <ac:spMkLst>
            <pc:docMk/>
            <pc:sldMk cId="531959542" sldId="266"/>
            <ac:spMk id="368" creationId="{3BBA9BB5-5900-5883-CE2B-23E6D945D7B6}"/>
          </ac:spMkLst>
        </pc:spChg>
        <pc:spChg chg="mod">
          <ac:chgData name="Benedicte Aas Glad" userId="55a9e165-0d8a-4034-a14f-0bb29877055b" providerId="ADAL" clId="{E4981308-85D0-BD4E-B579-5764B255B7FA}" dt="2025-06-05T11:04:41.531" v="1756" actId="947"/>
          <ac:spMkLst>
            <pc:docMk/>
            <pc:sldMk cId="531959542" sldId="266"/>
            <ac:spMk id="369" creationId="{2E01F229-93CB-E111-6186-C4C385F94288}"/>
          </ac:spMkLst>
        </pc:spChg>
        <pc:spChg chg="mod">
          <ac:chgData name="Benedicte Aas Glad" userId="55a9e165-0d8a-4034-a14f-0bb29877055b" providerId="ADAL" clId="{E4981308-85D0-BD4E-B579-5764B255B7FA}" dt="2025-06-05T11:04:41.531" v="1754" actId="947"/>
          <ac:spMkLst>
            <pc:docMk/>
            <pc:sldMk cId="531959542" sldId="266"/>
            <ac:spMk id="370" creationId="{E2532BB2-0353-6335-EF4B-42FBEB1D15ED}"/>
          </ac:spMkLst>
        </pc:spChg>
        <pc:spChg chg="mod">
          <ac:chgData name="Benedicte Aas Glad" userId="55a9e165-0d8a-4034-a14f-0bb29877055b" providerId="ADAL" clId="{E4981308-85D0-BD4E-B579-5764B255B7FA}" dt="2025-06-05T11:04:41.530" v="1752" actId="947"/>
          <ac:spMkLst>
            <pc:docMk/>
            <pc:sldMk cId="531959542" sldId="266"/>
            <ac:spMk id="371" creationId="{30C1579D-DBED-7526-FC58-D6B89D6AD2B0}"/>
          </ac:spMkLst>
        </pc:spChg>
        <pc:spChg chg="mod">
          <ac:chgData name="Benedicte Aas Glad" userId="55a9e165-0d8a-4034-a14f-0bb29877055b" providerId="ADAL" clId="{E4981308-85D0-BD4E-B579-5764B255B7FA}" dt="2025-06-05T11:04:41.529" v="1750" actId="947"/>
          <ac:spMkLst>
            <pc:docMk/>
            <pc:sldMk cId="531959542" sldId="266"/>
            <ac:spMk id="372" creationId="{316E7B12-3295-39E4-052B-D889EC969729}"/>
          </ac:spMkLst>
        </pc:spChg>
        <pc:spChg chg="mod">
          <ac:chgData name="Benedicte Aas Glad" userId="55a9e165-0d8a-4034-a14f-0bb29877055b" providerId="ADAL" clId="{E4981308-85D0-BD4E-B579-5764B255B7FA}" dt="2025-06-05T11:04:41.529" v="1748" actId="947"/>
          <ac:spMkLst>
            <pc:docMk/>
            <pc:sldMk cId="531959542" sldId="266"/>
            <ac:spMk id="373" creationId="{12494E6C-2394-29CE-ADCC-B6AD28060B45}"/>
          </ac:spMkLst>
        </pc:spChg>
        <pc:spChg chg="mod">
          <ac:chgData name="Benedicte Aas Glad" userId="55a9e165-0d8a-4034-a14f-0bb29877055b" providerId="ADAL" clId="{E4981308-85D0-BD4E-B579-5764B255B7FA}" dt="2025-06-05T11:04:41.528" v="1746" actId="947"/>
          <ac:spMkLst>
            <pc:docMk/>
            <pc:sldMk cId="531959542" sldId="266"/>
            <ac:spMk id="374" creationId="{A755F569-FB94-D09E-2B44-9DEC70709D45}"/>
          </ac:spMkLst>
        </pc:spChg>
        <pc:spChg chg="mod">
          <ac:chgData name="Benedicte Aas Glad" userId="55a9e165-0d8a-4034-a14f-0bb29877055b" providerId="ADAL" clId="{E4981308-85D0-BD4E-B579-5764B255B7FA}" dt="2025-06-05T11:04:41.528" v="1744" actId="947"/>
          <ac:spMkLst>
            <pc:docMk/>
            <pc:sldMk cId="531959542" sldId="266"/>
            <ac:spMk id="375" creationId="{46010FE2-E57A-9AAA-F799-0A12D2382E71}"/>
          </ac:spMkLst>
        </pc:spChg>
        <pc:spChg chg="mod">
          <ac:chgData name="Benedicte Aas Glad" userId="55a9e165-0d8a-4034-a14f-0bb29877055b" providerId="ADAL" clId="{E4981308-85D0-BD4E-B579-5764B255B7FA}" dt="2025-06-05T11:04:41.527" v="1742" actId="947"/>
          <ac:spMkLst>
            <pc:docMk/>
            <pc:sldMk cId="531959542" sldId="266"/>
            <ac:spMk id="376" creationId="{5790483A-6B4D-D8B8-E49A-9CCFEF4165AC}"/>
          </ac:spMkLst>
        </pc:spChg>
        <pc:spChg chg="mod">
          <ac:chgData name="Benedicte Aas Glad" userId="55a9e165-0d8a-4034-a14f-0bb29877055b" providerId="ADAL" clId="{E4981308-85D0-BD4E-B579-5764B255B7FA}" dt="2025-06-05T11:04:41.526" v="1740" actId="947"/>
          <ac:spMkLst>
            <pc:docMk/>
            <pc:sldMk cId="531959542" sldId="266"/>
            <ac:spMk id="377" creationId="{29AA209D-542B-A97C-712D-67F9F45D72D2}"/>
          </ac:spMkLst>
        </pc:spChg>
        <pc:spChg chg="mod">
          <ac:chgData name="Benedicte Aas Glad" userId="55a9e165-0d8a-4034-a14f-0bb29877055b" providerId="ADAL" clId="{E4981308-85D0-BD4E-B579-5764B255B7FA}" dt="2025-06-05T11:04:41.526" v="1738" actId="947"/>
          <ac:spMkLst>
            <pc:docMk/>
            <pc:sldMk cId="531959542" sldId="266"/>
            <ac:spMk id="378" creationId="{278A5F8E-9C86-E243-070D-FC3A57D71463}"/>
          </ac:spMkLst>
        </pc:spChg>
        <pc:spChg chg="mod">
          <ac:chgData name="Benedicte Aas Glad" userId="55a9e165-0d8a-4034-a14f-0bb29877055b" providerId="ADAL" clId="{E4981308-85D0-BD4E-B579-5764B255B7FA}" dt="2025-06-05T11:04:41.525" v="1736" actId="947"/>
          <ac:spMkLst>
            <pc:docMk/>
            <pc:sldMk cId="531959542" sldId="266"/>
            <ac:spMk id="379" creationId="{3436D2B3-B0F8-0A62-9465-004D50EB2372}"/>
          </ac:spMkLst>
        </pc:spChg>
        <pc:spChg chg="mod">
          <ac:chgData name="Benedicte Aas Glad" userId="55a9e165-0d8a-4034-a14f-0bb29877055b" providerId="ADAL" clId="{E4981308-85D0-BD4E-B579-5764B255B7FA}" dt="2025-06-05T11:04:41.525" v="1734" actId="947"/>
          <ac:spMkLst>
            <pc:docMk/>
            <pc:sldMk cId="531959542" sldId="266"/>
            <ac:spMk id="380" creationId="{4C8EC5C7-010C-041F-A1B4-71FB16C2F0FA}"/>
          </ac:spMkLst>
        </pc:spChg>
        <pc:spChg chg="mod">
          <ac:chgData name="Benedicte Aas Glad" userId="55a9e165-0d8a-4034-a14f-0bb29877055b" providerId="ADAL" clId="{E4981308-85D0-BD4E-B579-5764B255B7FA}" dt="2025-06-05T11:04:41.524" v="1732" actId="947"/>
          <ac:spMkLst>
            <pc:docMk/>
            <pc:sldMk cId="531959542" sldId="266"/>
            <ac:spMk id="381" creationId="{8A0669E6-A3ED-F38A-D33E-8A5F4BE23A4F}"/>
          </ac:spMkLst>
        </pc:spChg>
        <pc:spChg chg="mod">
          <ac:chgData name="Benedicte Aas Glad" userId="55a9e165-0d8a-4034-a14f-0bb29877055b" providerId="ADAL" clId="{E4981308-85D0-BD4E-B579-5764B255B7FA}" dt="2025-06-05T11:04:41.523" v="1730" actId="947"/>
          <ac:spMkLst>
            <pc:docMk/>
            <pc:sldMk cId="531959542" sldId="266"/>
            <ac:spMk id="382" creationId="{4BBF42A0-36FA-4FD1-7991-3CE297088583}"/>
          </ac:spMkLst>
        </pc:spChg>
        <pc:spChg chg="mod">
          <ac:chgData name="Benedicte Aas Glad" userId="55a9e165-0d8a-4034-a14f-0bb29877055b" providerId="ADAL" clId="{E4981308-85D0-BD4E-B579-5764B255B7FA}" dt="2025-06-05T11:04:41.523" v="1728" actId="947"/>
          <ac:spMkLst>
            <pc:docMk/>
            <pc:sldMk cId="531959542" sldId="266"/>
            <ac:spMk id="383" creationId="{F31FFA32-DF26-044B-5B7C-ED8CD73822AE}"/>
          </ac:spMkLst>
        </pc:spChg>
        <pc:spChg chg="mod">
          <ac:chgData name="Benedicte Aas Glad" userId="55a9e165-0d8a-4034-a14f-0bb29877055b" providerId="ADAL" clId="{E4981308-85D0-BD4E-B579-5764B255B7FA}" dt="2025-06-05T11:04:41.522" v="1726" actId="947"/>
          <ac:spMkLst>
            <pc:docMk/>
            <pc:sldMk cId="531959542" sldId="266"/>
            <ac:spMk id="384" creationId="{7164F66A-58FE-F3B2-727E-89B8E7F32D3B}"/>
          </ac:spMkLst>
        </pc:spChg>
        <pc:spChg chg="mod">
          <ac:chgData name="Benedicte Aas Glad" userId="55a9e165-0d8a-4034-a14f-0bb29877055b" providerId="ADAL" clId="{E4981308-85D0-BD4E-B579-5764B255B7FA}" dt="2025-06-05T11:04:41.522" v="1724" actId="947"/>
          <ac:spMkLst>
            <pc:docMk/>
            <pc:sldMk cId="531959542" sldId="266"/>
            <ac:spMk id="385" creationId="{338D588B-6185-18D5-357B-18B88B309DCA}"/>
          </ac:spMkLst>
        </pc:spChg>
        <pc:spChg chg="mod">
          <ac:chgData name="Benedicte Aas Glad" userId="55a9e165-0d8a-4034-a14f-0bb29877055b" providerId="ADAL" clId="{E4981308-85D0-BD4E-B579-5764B255B7FA}" dt="2025-06-05T11:04:41.521" v="1722" actId="947"/>
          <ac:spMkLst>
            <pc:docMk/>
            <pc:sldMk cId="531959542" sldId="266"/>
            <ac:spMk id="386" creationId="{38304C93-0715-CCC8-AB1B-F7FA3B8DD193}"/>
          </ac:spMkLst>
        </pc:spChg>
        <pc:spChg chg="mod">
          <ac:chgData name="Benedicte Aas Glad" userId="55a9e165-0d8a-4034-a14f-0bb29877055b" providerId="ADAL" clId="{E4981308-85D0-BD4E-B579-5764B255B7FA}" dt="2025-06-05T11:04:41.520" v="1720" actId="947"/>
          <ac:spMkLst>
            <pc:docMk/>
            <pc:sldMk cId="531959542" sldId="266"/>
            <ac:spMk id="387" creationId="{329FE634-73C1-DA5C-ADBF-100336127A82}"/>
          </ac:spMkLst>
        </pc:spChg>
        <pc:spChg chg="mod">
          <ac:chgData name="Benedicte Aas Glad" userId="55a9e165-0d8a-4034-a14f-0bb29877055b" providerId="ADAL" clId="{E4981308-85D0-BD4E-B579-5764B255B7FA}" dt="2025-06-05T11:04:41.520" v="1718" actId="947"/>
          <ac:spMkLst>
            <pc:docMk/>
            <pc:sldMk cId="531959542" sldId="266"/>
            <ac:spMk id="388" creationId="{F7FF2300-29C6-11FE-0B00-39C574EED5ED}"/>
          </ac:spMkLst>
        </pc:spChg>
        <pc:spChg chg="mod">
          <ac:chgData name="Benedicte Aas Glad" userId="55a9e165-0d8a-4034-a14f-0bb29877055b" providerId="ADAL" clId="{E4981308-85D0-BD4E-B579-5764B255B7FA}" dt="2025-06-05T11:04:41.519" v="1716" actId="947"/>
          <ac:spMkLst>
            <pc:docMk/>
            <pc:sldMk cId="531959542" sldId="266"/>
            <ac:spMk id="389" creationId="{6A621FA1-54FD-3471-7CC5-F20AF4790BC5}"/>
          </ac:spMkLst>
        </pc:spChg>
        <pc:spChg chg="mod">
          <ac:chgData name="Benedicte Aas Glad" userId="55a9e165-0d8a-4034-a14f-0bb29877055b" providerId="ADAL" clId="{E4981308-85D0-BD4E-B579-5764B255B7FA}" dt="2025-06-05T11:04:41.519" v="1714" actId="947"/>
          <ac:spMkLst>
            <pc:docMk/>
            <pc:sldMk cId="531959542" sldId="266"/>
            <ac:spMk id="390" creationId="{6FA6AA0C-162E-9630-301D-1B5E36AA7B4A}"/>
          </ac:spMkLst>
        </pc:spChg>
        <pc:spChg chg="mod">
          <ac:chgData name="Benedicte Aas Glad" userId="55a9e165-0d8a-4034-a14f-0bb29877055b" providerId="ADAL" clId="{E4981308-85D0-BD4E-B579-5764B255B7FA}" dt="2025-06-05T11:04:41.518" v="1712" actId="947"/>
          <ac:spMkLst>
            <pc:docMk/>
            <pc:sldMk cId="531959542" sldId="266"/>
            <ac:spMk id="391" creationId="{44CD8CAB-652D-1DDD-600F-65F4164218A7}"/>
          </ac:spMkLst>
        </pc:spChg>
        <pc:spChg chg="mod">
          <ac:chgData name="Benedicte Aas Glad" userId="55a9e165-0d8a-4034-a14f-0bb29877055b" providerId="ADAL" clId="{E4981308-85D0-BD4E-B579-5764B255B7FA}" dt="2025-06-05T11:04:41.517" v="1710" actId="947"/>
          <ac:spMkLst>
            <pc:docMk/>
            <pc:sldMk cId="531959542" sldId="266"/>
            <ac:spMk id="392" creationId="{BD5A8DC3-EBE0-7372-5529-930DAEDDF914}"/>
          </ac:spMkLst>
        </pc:spChg>
        <pc:spChg chg="mod">
          <ac:chgData name="Benedicte Aas Glad" userId="55a9e165-0d8a-4034-a14f-0bb29877055b" providerId="ADAL" clId="{E4981308-85D0-BD4E-B579-5764B255B7FA}" dt="2025-06-05T11:04:41.517" v="1708" actId="947"/>
          <ac:spMkLst>
            <pc:docMk/>
            <pc:sldMk cId="531959542" sldId="266"/>
            <ac:spMk id="393" creationId="{D5960D27-899D-B4C4-E887-F2D72E5A82DC}"/>
          </ac:spMkLst>
        </pc:spChg>
        <pc:spChg chg="mod">
          <ac:chgData name="Benedicte Aas Glad" userId="55a9e165-0d8a-4034-a14f-0bb29877055b" providerId="ADAL" clId="{E4981308-85D0-BD4E-B579-5764B255B7FA}" dt="2025-06-05T11:04:41.516" v="1706" actId="947"/>
          <ac:spMkLst>
            <pc:docMk/>
            <pc:sldMk cId="531959542" sldId="266"/>
            <ac:spMk id="394" creationId="{1F6CAC91-7704-D80C-D539-D4813D060A08}"/>
          </ac:spMkLst>
        </pc:spChg>
        <pc:spChg chg="mod">
          <ac:chgData name="Benedicte Aas Glad" userId="55a9e165-0d8a-4034-a14f-0bb29877055b" providerId="ADAL" clId="{E4981308-85D0-BD4E-B579-5764B255B7FA}" dt="2025-06-05T11:04:41.516" v="1704" actId="947"/>
          <ac:spMkLst>
            <pc:docMk/>
            <pc:sldMk cId="531959542" sldId="266"/>
            <ac:spMk id="395" creationId="{FA092011-278E-F86F-A222-F8E6F4489C2A}"/>
          </ac:spMkLst>
        </pc:spChg>
        <pc:spChg chg="mod">
          <ac:chgData name="Benedicte Aas Glad" userId="55a9e165-0d8a-4034-a14f-0bb29877055b" providerId="ADAL" clId="{E4981308-85D0-BD4E-B579-5764B255B7FA}" dt="2025-06-05T11:04:41.515" v="1702" actId="947"/>
          <ac:spMkLst>
            <pc:docMk/>
            <pc:sldMk cId="531959542" sldId="266"/>
            <ac:spMk id="396" creationId="{9C3DA252-6978-B9A2-2360-2A4ADA905212}"/>
          </ac:spMkLst>
        </pc:spChg>
        <pc:spChg chg="mod">
          <ac:chgData name="Benedicte Aas Glad" userId="55a9e165-0d8a-4034-a14f-0bb29877055b" providerId="ADAL" clId="{E4981308-85D0-BD4E-B579-5764B255B7FA}" dt="2025-06-05T11:04:41.514" v="1700" actId="947"/>
          <ac:spMkLst>
            <pc:docMk/>
            <pc:sldMk cId="531959542" sldId="266"/>
            <ac:spMk id="397" creationId="{961A28BA-9FA5-BB00-BF3D-FA0CEF073065}"/>
          </ac:spMkLst>
        </pc:spChg>
        <pc:spChg chg="mod">
          <ac:chgData name="Benedicte Aas Glad" userId="55a9e165-0d8a-4034-a14f-0bb29877055b" providerId="ADAL" clId="{E4981308-85D0-BD4E-B579-5764B255B7FA}" dt="2025-06-05T11:04:41.514" v="1698" actId="947"/>
          <ac:spMkLst>
            <pc:docMk/>
            <pc:sldMk cId="531959542" sldId="266"/>
            <ac:spMk id="398" creationId="{99312E50-3DBD-E49A-ECD5-35B961D8BBD1}"/>
          </ac:spMkLst>
        </pc:spChg>
        <pc:spChg chg="mod">
          <ac:chgData name="Benedicte Aas Glad" userId="55a9e165-0d8a-4034-a14f-0bb29877055b" providerId="ADAL" clId="{E4981308-85D0-BD4E-B579-5764B255B7FA}" dt="2025-06-05T11:04:41.513" v="1696" actId="947"/>
          <ac:spMkLst>
            <pc:docMk/>
            <pc:sldMk cId="531959542" sldId="266"/>
            <ac:spMk id="399" creationId="{CD450AD1-E7D8-09AF-9982-DA02202B3D49}"/>
          </ac:spMkLst>
        </pc:spChg>
        <pc:spChg chg="mod">
          <ac:chgData name="Benedicte Aas Glad" userId="55a9e165-0d8a-4034-a14f-0bb29877055b" providerId="ADAL" clId="{E4981308-85D0-BD4E-B579-5764B255B7FA}" dt="2025-06-05T11:04:41.512" v="1694" actId="947"/>
          <ac:spMkLst>
            <pc:docMk/>
            <pc:sldMk cId="531959542" sldId="266"/>
            <ac:spMk id="400" creationId="{20510463-1615-9792-49F8-0D84FEAC5D90}"/>
          </ac:spMkLst>
        </pc:spChg>
        <pc:spChg chg="mod">
          <ac:chgData name="Benedicte Aas Glad" userId="55a9e165-0d8a-4034-a14f-0bb29877055b" providerId="ADAL" clId="{E4981308-85D0-BD4E-B579-5764B255B7FA}" dt="2025-06-05T11:04:41.512" v="1692" actId="947"/>
          <ac:spMkLst>
            <pc:docMk/>
            <pc:sldMk cId="531959542" sldId="266"/>
            <ac:spMk id="401" creationId="{61A836B5-9CF9-CE46-9BDD-61FDE56ED47B}"/>
          </ac:spMkLst>
        </pc:spChg>
        <pc:spChg chg="mod">
          <ac:chgData name="Benedicte Aas Glad" userId="55a9e165-0d8a-4034-a14f-0bb29877055b" providerId="ADAL" clId="{E4981308-85D0-BD4E-B579-5764B255B7FA}" dt="2025-06-05T11:04:41.511" v="1690" actId="947"/>
          <ac:spMkLst>
            <pc:docMk/>
            <pc:sldMk cId="531959542" sldId="266"/>
            <ac:spMk id="402" creationId="{913AC8F4-ED49-9EED-7C3D-EBBABCE09A72}"/>
          </ac:spMkLst>
        </pc:spChg>
        <pc:spChg chg="mod">
          <ac:chgData name="Benedicte Aas Glad" userId="55a9e165-0d8a-4034-a14f-0bb29877055b" providerId="ADAL" clId="{E4981308-85D0-BD4E-B579-5764B255B7FA}" dt="2025-06-05T11:04:41.510" v="1688" actId="947"/>
          <ac:spMkLst>
            <pc:docMk/>
            <pc:sldMk cId="531959542" sldId="266"/>
            <ac:spMk id="403" creationId="{A0310066-6459-86A8-52BE-844033813714}"/>
          </ac:spMkLst>
        </pc:spChg>
        <pc:spChg chg="mod">
          <ac:chgData name="Benedicte Aas Glad" userId="55a9e165-0d8a-4034-a14f-0bb29877055b" providerId="ADAL" clId="{E4981308-85D0-BD4E-B579-5764B255B7FA}" dt="2025-06-05T11:04:41.510" v="1686" actId="947"/>
          <ac:spMkLst>
            <pc:docMk/>
            <pc:sldMk cId="531959542" sldId="266"/>
            <ac:spMk id="404" creationId="{915747C2-6DC5-B232-1EDC-242CE166E784}"/>
          </ac:spMkLst>
        </pc:spChg>
        <pc:spChg chg="mod">
          <ac:chgData name="Benedicte Aas Glad" userId="55a9e165-0d8a-4034-a14f-0bb29877055b" providerId="ADAL" clId="{E4981308-85D0-BD4E-B579-5764B255B7FA}" dt="2025-06-05T11:04:41.509" v="1684" actId="947"/>
          <ac:spMkLst>
            <pc:docMk/>
            <pc:sldMk cId="531959542" sldId="266"/>
            <ac:spMk id="405" creationId="{0B3A34B8-813C-9A55-AC25-6604DDABD6FF}"/>
          </ac:spMkLst>
        </pc:spChg>
        <pc:spChg chg="mod">
          <ac:chgData name="Benedicte Aas Glad" userId="55a9e165-0d8a-4034-a14f-0bb29877055b" providerId="ADAL" clId="{E4981308-85D0-BD4E-B579-5764B255B7FA}" dt="2025-06-05T11:04:41.508" v="1682" actId="947"/>
          <ac:spMkLst>
            <pc:docMk/>
            <pc:sldMk cId="531959542" sldId="266"/>
            <ac:spMk id="406" creationId="{DEB71BE5-2149-B23F-A4E3-B22A53E51B4F}"/>
          </ac:spMkLst>
        </pc:spChg>
        <pc:spChg chg="mod">
          <ac:chgData name="Benedicte Aas Glad" userId="55a9e165-0d8a-4034-a14f-0bb29877055b" providerId="ADAL" clId="{E4981308-85D0-BD4E-B579-5764B255B7FA}" dt="2025-06-05T11:04:41.508" v="1680" actId="947"/>
          <ac:spMkLst>
            <pc:docMk/>
            <pc:sldMk cId="531959542" sldId="266"/>
            <ac:spMk id="407" creationId="{10BDF48E-5F34-84A0-9277-25E39253FE3C}"/>
          </ac:spMkLst>
        </pc:spChg>
        <pc:spChg chg="mod">
          <ac:chgData name="Benedicte Aas Glad" userId="55a9e165-0d8a-4034-a14f-0bb29877055b" providerId="ADAL" clId="{E4981308-85D0-BD4E-B579-5764B255B7FA}" dt="2025-06-05T11:04:41.507" v="1678" actId="947"/>
          <ac:spMkLst>
            <pc:docMk/>
            <pc:sldMk cId="531959542" sldId="266"/>
            <ac:spMk id="408" creationId="{83B0DA03-863E-3AD9-E445-9F740DFFFA93}"/>
          </ac:spMkLst>
        </pc:spChg>
        <pc:spChg chg="mod">
          <ac:chgData name="Benedicte Aas Glad" userId="55a9e165-0d8a-4034-a14f-0bb29877055b" providerId="ADAL" clId="{E4981308-85D0-BD4E-B579-5764B255B7FA}" dt="2025-06-05T11:04:41.507" v="1676" actId="947"/>
          <ac:spMkLst>
            <pc:docMk/>
            <pc:sldMk cId="531959542" sldId="266"/>
            <ac:spMk id="409" creationId="{26B715E1-B892-45AE-D1E5-D4ABCEE89AD1}"/>
          </ac:spMkLst>
        </pc:spChg>
        <pc:spChg chg="mod">
          <ac:chgData name="Benedicte Aas Glad" userId="55a9e165-0d8a-4034-a14f-0bb29877055b" providerId="ADAL" clId="{E4981308-85D0-BD4E-B579-5764B255B7FA}" dt="2025-06-05T11:04:41.506" v="1674" actId="947"/>
          <ac:spMkLst>
            <pc:docMk/>
            <pc:sldMk cId="531959542" sldId="266"/>
            <ac:spMk id="410" creationId="{80B5CFDF-2907-F7A9-0262-6D8CFA3E6A12}"/>
          </ac:spMkLst>
        </pc:spChg>
        <pc:spChg chg="mod">
          <ac:chgData name="Benedicte Aas Glad" userId="55a9e165-0d8a-4034-a14f-0bb29877055b" providerId="ADAL" clId="{E4981308-85D0-BD4E-B579-5764B255B7FA}" dt="2025-06-05T11:04:41.505" v="1672" actId="947"/>
          <ac:spMkLst>
            <pc:docMk/>
            <pc:sldMk cId="531959542" sldId="266"/>
            <ac:spMk id="411" creationId="{43F7F564-5597-C874-0FD7-2FAD1517DFE1}"/>
          </ac:spMkLst>
        </pc:spChg>
        <pc:spChg chg="mod">
          <ac:chgData name="Benedicte Aas Glad" userId="55a9e165-0d8a-4034-a14f-0bb29877055b" providerId="ADAL" clId="{E4981308-85D0-BD4E-B579-5764B255B7FA}" dt="2025-06-05T11:04:41.505" v="1670" actId="947"/>
          <ac:spMkLst>
            <pc:docMk/>
            <pc:sldMk cId="531959542" sldId="266"/>
            <ac:spMk id="412" creationId="{9EFBCC36-F495-71FE-2728-39A919AD461A}"/>
          </ac:spMkLst>
        </pc:spChg>
        <pc:spChg chg="mod">
          <ac:chgData name="Benedicte Aas Glad" userId="55a9e165-0d8a-4034-a14f-0bb29877055b" providerId="ADAL" clId="{E4981308-85D0-BD4E-B579-5764B255B7FA}" dt="2025-06-05T11:04:41.504" v="1668" actId="947"/>
          <ac:spMkLst>
            <pc:docMk/>
            <pc:sldMk cId="531959542" sldId="266"/>
            <ac:spMk id="413" creationId="{3A232792-8B63-447A-3135-5D5C6BD19ADD}"/>
          </ac:spMkLst>
        </pc:spChg>
        <pc:spChg chg="mod">
          <ac:chgData name="Benedicte Aas Glad" userId="55a9e165-0d8a-4034-a14f-0bb29877055b" providerId="ADAL" clId="{E4981308-85D0-BD4E-B579-5764B255B7FA}" dt="2025-06-05T11:04:41.504" v="1666" actId="947"/>
          <ac:spMkLst>
            <pc:docMk/>
            <pc:sldMk cId="531959542" sldId="266"/>
            <ac:spMk id="414" creationId="{CE9E8C62-20FA-BBD4-37E3-E03D3046F68D}"/>
          </ac:spMkLst>
        </pc:spChg>
        <pc:spChg chg="mod">
          <ac:chgData name="Benedicte Aas Glad" userId="55a9e165-0d8a-4034-a14f-0bb29877055b" providerId="ADAL" clId="{E4981308-85D0-BD4E-B579-5764B255B7FA}" dt="2025-06-05T11:04:41.503" v="1664" actId="947"/>
          <ac:spMkLst>
            <pc:docMk/>
            <pc:sldMk cId="531959542" sldId="266"/>
            <ac:spMk id="415" creationId="{256A5418-C801-8EEA-CD90-5C78AC8F551C}"/>
          </ac:spMkLst>
        </pc:spChg>
        <pc:spChg chg="mod">
          <ac:chgData name="Benedicte Aas Glad" userId="55a9e165-0d8a-4034-a14f-0bb29877055b" providerId="ADAL" clId="{E4981308-85D0-BD4E-B579-5764B255B7FA}" dt="2025-06-05T11:04:41.502" v="1662" actId="947"/>
          <ac:spMkLst>
            <pc:docMk/>
            <pc:sldMk cId="531959542" sldId="266"/>
            <ac:spMk id="416" creationId="{34F45A23-2A04-5859-5007-3B43FE48A9F5}"/>
          </ac:spMkLst>
        </pc:spChg>
        <pc:spChg chg="mod">
          <ac:chgData name="Benedicte Aas Glad" userId="55a9e165-0d8a-4034-a14f-0bb29877055b" providerId="ADAL" clId="{E4981308-85D0-BD4E-B579-5764B255B7FA}" dt="2025-06-05T11:04:41.502" v="1660" actId="947"/>
          <ac:spMkLst>
            <pc:docMk/>
            <pc:sldMk cId="531959542" sldId="266"/>
            <ac:spMk id="417" creationId="{79535130-6DC3-CFAC-3437-91A585B76A9A}"/>
          </ac:spMkLst>
        </pc:spChg>
        <pc:spChg chg="mod">
          <ac:chgData name="Benedicte Aas Glad" userId="55a9e165-0d8a-4034-a14f-0bb29877055b" providerId="ADAL" clId="{E4981308-85D0-BD4E-B579-5764B255B7FA}" dt="2025-06-05T11:04:41.501" v="1658" actId="947"/>
          <ac:spMkLst>
            <pc:docMk/>
            <pc:sldMk cId="531959542" sldId="266"/>
            <ac:spMk id="418" creationId="{76CD2B81-E7C0-1050-92FD-32D1A1479E6B}"/>
          </ac:spMkLst>
        </pc:spChg>
        <pc:spChg chg="mod">
          <ac:chgData name="Benedicte Aas Glad" userId="55a9e165-0d8a-4034-a14f-0bb29877055b" providerId="ADAL" clId="{E4981308-85D0-BD4E-B579-5764B255B7FA}" dt="2025-06-05T11:04:41.501" v="1656" actId="947"/>
          <ac:spMkLst>
            <pc:docMk/>
            <pc:sldMk cId="531959542" sldId="266"/>
            <ac:spMk id="419" creationId="{473CA821-7BF8-2F9A-21F4-BBA661FD14C6}"/>
          </ac:spMkLst>
        </pc:spChg>
        <pc:spChg chg="mod">
          <ac:chgData name="Benedicte Aas Glad" userId="55a9e165-0d8a-4034-a14f-0bb29877055b" providerId="ADAL" clId="{E4981308-85D0-BD4E-B579-5764B255B7FA}" dt="2025-06-05T11:04:41.500" v="1654" actId="947"/>
          <ac:spMkLst>
            <pc:docMk/>
            <pc:sldMk cId="531959542" sldId="266"/>
            <ac:spMk id="420" creationId="{5FB20ECA-FDA4-6990-751D-5C2A00E7170B}"/>
          </ac:spMkLst>
        </pc:spChg>
        <pc:spChg chg="mod">
          <ac:chgData name="Benedicte Aas Glad" userId="55a9e165-0d8a-4034-a14f-0bb29877055b" providerId="ADAL" clId="{E4981308-85D0-BD4E-B579-5764B255B7FA}" dt="2025-06-05T11:04:41.500" v="1652" actId="947"/>
          <ac:spMkLst>
            <pc:docMk/>
            <pc:sldMk cId="531959542" sldId="266"/>
            <ac:spMk id="421" creationId="{FBBEE64E-5B2A-C280-CFE5-7DF0C69D3A0E}"/>
          </ac:spMkLst>
        </pc:spChg>
        <pc:spChg chg="mod">
          <ac:chgData name="Benedicte Aas Glad" userId="55a9e165-0d8a-4034-a14f-0bb29877055b" providerId="ADAL" clId="{E4981308-85D0-BD4E-B579-5764B255B7FA}" dt="2025-06-05T11:04:41.499" v="1650" actId="947"/>
          <ac:spMkLst>
            <pc:docMk/>
            <pc:sldMk cId="531959542" sldId="266"/>
            <ac:spMk id="422" creationId="{967AA75A-58A8-A3C3-7272-DB2E641749E1}"/>
          </ac:spMkLst>
        </pc:spChg>
        <pc:spChg chg="mod">
          <ac:chgData name="Benedicte Aas Glad" userId="55a9e165-0d8a-4034-a14f-0bb29877055b" providerId="ADAL" clId="{E4981308-85D0-BD4E-B579-5764B255B7FA}" dt="2025-06-05T11:04:41.498" v="1648" actId="947"/>
          <ac:spMkLst>
            <pc:docMk/>
            <pc:sldMk cId="531959542" sldId="266"/>
            <ac:spMk id="423" creationId="{C5CDDA28-6A29-FE40-F196-0914FBB8B4C9}"/>
          </ac:spMkLst>
        </pc:spChg>
        <pc:spChg chg="mod">
          <ac:chgData name="Benedicte Aas Glad" userId="55a9e165-0d8a-4034-a14f-0bb29877055b" providerId="ADAL" clId="{E4981308-85D0-BD4E-B579-5764B255B7FA}" dt="2025-06-05T11:04:41.498" v="1646" actId="947"/>
          <ac:spMkLst>
            <pc:docMk/>
            <pc:sldMk cId="531959542" sldId="266"/>
            <ac:spMk id="424" creationId="{8A4B042E-76FB-5D95-B07B-021421B3E5BF}"/>
          </ac:spMkLst>
        </pc:spChg>
        <pc:spChg chg="mod">
          <ac:chgData name="Benedicte Aas Glad" userId="55a9e165-0d8a-4034-a14f-0bb29877055b" providerId="ADAL" clId="{E4981308-85D0-BD4E-B579-5764B255B7FA}" dt="2025-06-05T11:04:41.497" v="1644" actId="947"/>
          <ac:spMkLst>
            <pc:docMk/>
            <pc:sldMk cId="531959542" sldId="266"/>
            <ac:spMk id="425" creationId="{68D196DD-55A3-66DC-17B2-4A4B29C67618}"/>
          </ac:spMkLst>
        </pc:spChg>
        <pc:spChg chg="mod">
          <ac:chgData name="Benedicte Aas Glad" userId="55a9e165-0d8a-4034-a14f-0bb29877055b" providerId="ADAL" clId="{E4981308-85D0-BD4E-B579-5764B255B7FA}" dt="2025-06-05T11:04:41.497" v="1642" actId="947"/>
          <ac:spMkLst>
            <pc:docMk/>
            <pc:sldMk cId="531959542" sldId="266"/>
            <ac:spMk id="426" creationId="{9EAD985C-6E04-D909-E9C6-513CAD8CD4A9}"/>
          </ac:spMkLst>
        </pc:spChg>
        <pc:spChg chg="mod">
          <ac:chgData name="Benedicte Aas Glad" userId="55a9e165-0d8a-4034-a14f-0bb29877055b" providerId="ADAL" clId="{E4981308-85D0-BD4E-B579-5764B255B7FA}" dt="2025-06-05T11:04:41.496" v="1640" actId="947"/>
          <ac:spMkLst>
            <pc:docMk/>
            <pc:sldMk cId="531959542" sldId="266"/>
            <ac:spMk id="427" creationId="{1C756BD9-8F5D-B506-AA17-E4561E15ECC8}"/>
          </ac:spMkLst>
        </pc:spChg>
        <pc:spChg chg="mod">
          <ac:chgData name="Benedicte Aas Glad" userId="55a9e165-0d8a-4034-a14f-0bb29877055b" providerId="ADAL" clId="{E4981308-85D0-BD4E-B579-5764B255B7FA}" dt="2025-06-05T11:04:41.495" v="1638" actId="947"/>
          <ac:spMkLst>
            <pc:docMk/>
            <pc:sldMk cId="531959542" sldId="266"/>
            <ac:spMk id="428" creationId="{7C272C81-52B6-5630-4B21-241DBBB8C545}"/>
          </ac:spMkLst>
        </pc:spChg>
        <pc:spChg chg="mod">
          <ac:chgData name="Benedicte Aas Glad" userId="55a9e165-0d8a-4034-a14f-0bb29877055b" providerId="ADAL" clId="{E4981308-85D0-BD4E-B579-5764B255B7FA}" dt="2025-06-05T11:04:41.495" v="1636" actId="947"/>
          <ac:spMkLst>
            <pc:docMk/>
            <pc:sldMk cId="531959542" sldId="266"/>
            <ac:spMk id="429" creationId="{DA2D6B44-D2CD-1D8D-C3AA-1073A1BF3368}"/>
          </ac:spMkLst>
        </pc:spChg>
        <pc:spChg chg="mod">
          <ac:chgData name="Benedicte Aas Glad" userId="55a9e165-0d8a-4034-a14f-0bb29877055b" providerId="ADAL" clId="{E4981308-85D0-BD4E-B579-5764B255B7FA}" dt="2025-06-05T11:04:41.494" v="1634" actId="947"/>
          <ac:spMkLst>
            <pc:docMk/>
            <pc:sldMk cId="531959542" sldId="266"/>
            <ac:spMk id="430" creationId="{ECC0184A-B524-5668-DFA2-B7088FA41094}"/>
          </ac:spMkLst>
        </pc:spChg>
        <pc:spChg chg="mod">
          <ac:chgData name="Benedicte Aas Glad" userId="55a9e165-0d8a-4034-a14f-0bb29877055b" providerId="ADAL" clId="{E4981308-85D0-BD4E-B579-5764B255B7FA}" dt="2025-06-05T11:04:41.494" v="1632" actId="947"/>
          <ac:spMkLst>
            <pc:docMk/>
            <pc:sldMk cId="531959542" sldId="266"/>
            <ac:spMk id="431" creationId="{B4018194-930D-DAC0-F64A-3D3147B9ECEA}"/>
          </ac:spMkLst>
        </pc:spChg>
        <pc:spChg chg="mod">
          <ac:chgData name="Benedicte Aas Glad" userId="55a9e165-0d8a-4034-a14f-0bb29877055b" providerId="ADAL" clId="{E4981308-85D0-BD4E-B579-5764B255B7FA}" dt="2025-06-05T11:04:41.493" v="1630" actId="947"/>
          <ac:spMkLst>
            <pc:docMk/>
            <pc:sldMk cId="531959542" sldId="266"/>
            <ac:spMk id="432" creationId="{055C6257-7599-9D36-3FAC-1753D3CE8B88}"/>
          </ac:spMkLst>
        </pc:spChg>
        <pc:spChg chg="mod">
          <ac:chgData name="Benedicte Aas Glad" userId="55a9e165-0d8a-4034-a14f-0bb29877055b" providerId="ADAL" clId="{E4981308-85D0-BD4E-B579-5764B255B7FA}" dt="2025-06-05T11:04:41.493" v="1628" actId="947"/>
          <ac:spMkLst>
            <pc:docMk/>
            <pc:sldMk cId="531959542" sldId="266"/>
            <ac:spMk id="433" creationId="{9C7A20A7-9397-DA58-7083-C565B1983690}"/>
          </ac:spMkLst>
        </pc:spChg>
        <pc:spChg chg="mod">
          <ac:chgData name="Benedicte Aas Glad" userId="55a9e165-0d8a-4034-a14f-0bb29877055b" providerId="ADAL" clId="{E4981308-85D0-BD4E-B579-5764B255B7FA}" dt="2025-06-05T11:04:41.492" v="1626" actId="947"/>
          <ac:spMkLst>
            <pc:docMk/>
            <pc:sldMk cId="531959542" sldId="266"/>
            <ac:spMk id="434" creationId="{BA0D8E0A-CD7B-FE5A-32A5-BCF65F410A9B}"/>
          </ac:spMkLst>
        </pc:spChg>
        <pc:spChg chg="mod">
          <ac:chgData name="Benedicte Aas Glad" userId="55a9e165-0d8a-4034-a14f-0bb29877055b" providerId="ADAL" clId="{E4981308-85D0-BD4E-B579-5764B255B7FA}" dt="2025-06-05T11:04:41.491" v="1624" actId="947"/>
          <ac:spMkLst>
            <pc:docMk/>
            <pc:sldMk cId="531959542" sldId="266"/>
            <ac:spMk id="435" creationId="{C59F10F1-AC07-4538-0982-1BD3CBF421EC}"/>
          </ac:spMkLst>
        </pc:spChg>
        <pc:spChg chg="mod">
          <ac:chgData name="Benedicte Aas Glad" userId="55a9e165-0d8a-4034-a14f-0bb29877055b" providerId="ADAL" clId="{E4981308-85D0-BD4E-B579-5764B255B7FA}" dt="2025-06-05T11:04:41.491" v="1622" actId="947"/>
          <ac:spMkLst>
            <pc:docMk/>
            <pc:sldMk cId="531959542" sldId="266"/>
            <ac:spMk id="436" creationId="{F32AEABC-98F2-C830-F644-D119369A1D55}"/>
          </ac:spMkLst>
        </pc:spChg>
        <pc:spChg chg="mod">
          <ac:chgData name="Benedicte Aas Glad" userId="55a9e165-0d8a-4034-a14f-0bb29877055b" providerId="ADAL" clId="{E4981308-85D0-BD4E-B579-5764B255B7FA}" dt="2025-06-05T11:04:41.490" v="1620" actId="947"/>
          <ac:spMkLst>
            <pc:docMk/>
            <pc:sldMk cId="531959542" sldId="266"/>
            <ac:spMk id="437" creationId="{9881647C-064C-831F-C3DB-9141EC33D5FA}"/>
          </ac:spMkLst>
        </pc:spChg>
        <pc:spChg chg="mod">
          <ac:chgData name="Benedicte Aas Glad" userId="55a9e165-0d8a-4034-a14f-0bb29877055b" providerId="ADAL" clId="{E4981308-85D0-BD4E-B579-5764B255B7FA}" dt="2025-06-05T11:04:41.490" v="1618" actId="947"/>
          <ac:spMkLst>
            <pc:docMk/>
            <pc:sldMk cId="531959542" sldId="266"/>
            <ac:spMk id="438" creationId="{FA85FA8C-628F-375D-EA7A-02CE6F4912EC}"/>
          </ac:spMkLst>
        </pc:spChg>
        <pc:spChg chg="mod">
          <ac:chgData name="Benedicte Aas Glad" userId="55a9e165-0d8a-4034-a14f-0bb29877055b" providerId="ADAL" clId="{E4981308-85D0-BD4E-B579-5764B255B7FA}" dt="2025-06-05T11:04:41.489" v="1616" actId="947"/>
          <ac:spMkLst>
            <pc:docMk/>
            <pc:sldMk cId="531959542" sldId="266"/>
            <ac:spMk id="439" creationId="{AC2C66CF-02DE-925C-0357-4C0E1BD497C1}"/>
          </ac:spMkLst>
        </pc:spChg>
        <pc:spChg chg="mod">
          <ac:chgData name="Benedicte Aas Glad" userId="55a9e165-0d8a-4034-a14f-0bb29877055b" providerId="ADAL" clId="{E4981308-85D0-BD4E-B579-5764B255B7FA}" dt="2025-06-05T11:04:41.488" v="1614" actId="947"/>
          <ac:spMkLst>
            <pc:docMk/>
            <pc:sldMk cId="531959542" sldId="266"/>
            <ac:spMk id="440" creationId="{5C88D79B-23D8-99FD-263D-38C6ACD7499D}"/>
          </ac:spMkLst>
        </pc:spChg>
        <pc:spChg chg="mod">
          <ac:chgData name="Benedicte Aas Glad" userId="55a9e165-0d8a-4034-a14f-0bb29877055b" providerId="ADAL" clId="{E4981308-85D0-BD4E-B579-5764B255B7FA}" dt="2025-06-05T11:04:41.488" v="1612" actId="947"/>
          <ac:spMkLst>
            <pc:docMk/>
            <pc:sldMk cId="531959542" sldId="266"/>
            <ac:spMk id="441" creationId="{217EA44F-5D6B-DF14-EEA8-5974D8BDD489}"/>
          </ac:spMkLst>
        </pc:spChg>
        <pc:spChg chg="mod">
          <ac:chgData name="Benedicte Aas Glad" userId="55a9e165-0d8a-4034-a14f-0bb29877055b" providerId="ADAL" clId="{E4981308-85D0-BD4E-B579-5764B255B7FA}" dt="2025-06-05T11:04:41.487" v="1610" actId="947"/>
          <ac:spMkLst>
            <pc:docMk/>
            <pc:sldMk cId="531959542" sldId="266"/>
            <ac:spMk id="442" creationId="{5E8E3B55-7546-6C87-7DAE-7A4BE2518AA2}"/>
          </ac:spMkLst>
        </pc:spChg>
        <pc:spChg chg="mod">
          <ac:chgData name="Benedicte Aas Glad" userId="55a9e165-0d8a-4034-a14f-0bb29877055b" providerId="ADAL" clId="{E4981308-85D0-BD4E-B579-5764B255B7FA}" dt="2025-06-05T11:04:41.487" v="1608" actId="947"/>
          <ac:spMkLst>
            <pc:docMk/>
            <pc:sldMk cId="531959542" sldId="266"/>
            <ac:spMk id="443" creationId="{478A1414-8206-2974-CF7B-B56982CA1400}"/>
          </ac:spMkLst>
        </pc:spChg>
        <pc:spChg chg="mod">
          <ac:chgData name="Benedicte Aas Glad" userId="55a9e165-0d8a-4034-a14f-0bb29877055b" providerId="ADAL" clId="{E4981308-85D0-BD4E-B579-5764B255B7FA}" dt="2025-06-06T08:41:05.173" v="3145" actId="2711"/>
          <ac:spMkLst>
            <pc:docMk/>
            <pc:sldMk cId="531959542" sldId="266"/>
            <ac:spMk id="444" creationId="{AB4A0B16-9892-34DF-9602-D4C76947936D}"/>
          </ac:spMkLst>
        </pc:spChg>
        <pc:spChg chg="mod">
          <ac:chgData name="Benedicte Aas Glad" userId="55a9e165-0d8a-4034-a14f-0bb29877055b" providerId="ADAL" clId="{E4981308-85D0-BD4E-B579-5764B255B7FA}" dt="2025-06-05T11:04:41.486" v="1604" actId="947"/>
          <ac:spMkLst>
            <pc:docMk/>
            <pc:sldMk cId="531959542" sldId="266"/>
            <ac:spMk id="445" creationId="{595A5C21-135E-A69D-EAF4-3B3EF86F9FC3}"/>
          </ac:spMkLst>
        </pc:spChg>
        <pc:spChg chg="mod">
          <ac:chgData name="Benedicte Aas Glad" userId="55a9e165-0d8a-4034-a14f-0bb29877055b" providerId="ADAL" clId="{E4981308-85D0-BD4E-B579-5764B255B7FA}" dt="2025-06-05T11:04:41.485" v="1602" actId="947"/>
          <ac:spMkLst>
            <pc:docMk/>
            <pc:sldMk cId="531959542" sldId="266"/>
            <ac:spMk id="446" creationId="{2F668885-3215-00FE-14CA-ACAB7FB81DC6}"/>
          </ac:spMkLst>
        </pc:spChg>
        <pc:spChg chg="mod">
          <ac:chgData name="Benedicte Aas Glad" userId="55a9e165-0d8a-4034-a14f-0bb29877055b" providerId="ADAL" clId="{E4981308-85D0-BD4E-B579-5764B255B7FA}" dt="2025-06-05T11:04:41.484" v="1600" actId="947"/>
          <ac:spMkLst>
            <pc:docMk/>
            <pc:sldMk cId="531959542" sldId="266"/>
            <ac:spMk id="447" creationId="{8EE8093E-E047-697A-C2DD-BC2F5497E66F}"/>
          </ac:spMkLst>
        </pc:spChg>
        <pc:spChg chg="mod">
          <ac:chgData name="Benedicte Aas Glad" userId="55a9e165-0d8a-4034-a14f-0bb29877055b" providerId="ADAL" clId="{E4981308-85D0-BD4E-B579-5764B255B7FA}" dt="2025-06-05T11:04:41.484" v="1598" actId="947"/>
          <ac:spMkLst>
            <pc:docMk/>
            <pc:sldMk cId="531959542" sldId="266"/>
            <ac:spMk id="448" creationId="{B81F10A7-EA8D-678F-D2EE-105903DE591F}"/>
          </ac:spMkLst>
        </pc:spChg>
        <pc:spChg chg="mod">
          <ac:chgData name="Benedicte Aas Glad" userId="55a9e165-0d8a-4034-a14f-0bb29877055b" providerId="ADAL" clId="{E4981308-85D0-BD4E-B579-5764B255B7FA}" dt="2025-06-05T11:04:41.483" v="1596" actId="947"/>
          <ac:spMkLst>
            <pc:docMk/>
            <pc:sldMk cId="531959542" sldId="266"/>
            <ac:spMk id="449" creationId="{82D65BA7-2E69-B66D-3666-A65A68AE8DBD}"/>
          </ac:spMkLst>
        </pc:spChg>
        <pc:spChg chg="mod">
          <ac:chgData name="Benedicte Aas Glad" userId="55a9e165-0d8a-4034-a14f-0bb29877055b" providerId="ADAL" clId="{E4981308-85D0-BD4E-B579-5764B255B7FA}" dt="2025-06-05T11:04:41.483" v="1594" actId="947"/>
          <ac:spMkLst>
            <pc:docMk/>
            <pc:sldMk cId="531959542" sldId="266"/>
            <ac:spMk id="450" creationId="{A194F3D4-BD0A-1934-D5F6-4DCA2EA32253}"/>
          </ac:spMkLst>
        </pc:spChg>
        <pc:spChg chg="mod">
          <ac:chgData name="Benedicte Aas Glad" userId="55a9e165-0d8a-4034-a14f-0bb29877055b" providerId="ADAL" clId="{E4981308-85D0-BD4E-B579-5764B255B7FA}" dt="2025-06-05T11:04:41.482" v="1592" actId="947"/>
          <ac:spMkLst>
            <pc:docMk/>
            <pc:sldMk cId="531959542" sldId="266"/>
            <ac:spMk id="451" creationId="{B47749CA-3076-AD79-A7BE-3BD1B2016B12}"/>
          </ac:spMkLst>
        </pc:spChg>
        <pc:spChg chg="mod">
          <ac:chgData name="Benedicte Aas Glad" userId="55a9e165-0d8a-4034-a14f-0bb29877055b" providerId="ADAL" clId="{E4981308-85D0-BD4E-B579-5764B255B7FA}" dt="2025-06-05T11:04:41.481" v="1590" actId="947"/>
          <ac:spMkLst>
            <pc:docMk/>
            <pc:sldMk cId="531959542" sldId="266"/>
            <ac:spMk id="452" creationId="{9004F06B-185D-07A4-AEE5-169824A05560}"/>
          </ac:spMkLst>
        </pc:spChg>
        <pc:spChg chg="mod">
          <ac:chgData name="Benedicte Aas Glad" userId="55a9e165-0d8a-4034-a14f-0bb29877055b" providerId="ADAL" clId="{E4981308-85D0-BD4E-B579-5764B255B7FA}" dt="2025-06-05T11:04:41.481" v="1588" actId="947"/>
          <ac:spMkLst>
            <pc:docMk/>
            <pc:sldMk cId="531959542" sldId="266"/>
            <ac:spMk id="453" creationId="{1D4C5F83-35AB-B5A6-3919-92075000F1B7}"/>
          </ac:spMkLst>
        </pc:spChg>
        <pc:spChg chg="mod">
          <ac:chgData name="Benedicte Aas Glad" userId="55a9e165-0d8a-4034-a14f-0bb29877055b" providerId="ADAL" clId="{E4981308-85D0-BD4E-B579-5764B255B7FA}" dt="2025-06-05T11:04:41.480" v="1586" actId="947"/>
          <ac:spMkLst>
            <pc:docMk/>
            <pc:sldMk cId="531959542" sldId="266"/>
            <ac:spMk id="454" creationId="{B87F5457-C638-E944-C3F2-7384FE9A7242}"/>
          </ac:spMkLst>
        </pc:spChg>
        <pc:spChg chg="mod">
          <ac:chgData name="Benedicte Aas Glad" userId="55a9e165-0d8a-4034-a14f-0bb29877055b" providerId="ADAL" clId="{E4981308-85D0-BD4E-B579-5764B255B7FA}" dt="2025-06-05T11:04:41.480" v="1584" actId="947"/>
          <ac:spMkLst>
            <pc:docMk/>
            <pc:sldMk cId="531959542" sldId="266"/>
            <ac:spMk id="455" creationId="{B2CD252F-AE2C-54A4-7AD3-DBD5FC3217E0}"/>
          </ac:spMkLst>
        </pc:spChg>
        <pc:spChg chg="mod">
          <ac:chgData name="Benedicte Aas Glad" userId="55a9e165-0d8a-4034-a14f-0bb29877055b" providerId="ADAL" clId="{E4981308-85D0-BD4E-B579-5764B255B7FA}" dt="2025-06-05T11:04:41.479" v="1582" actId="947"/>
          <ac:spMkLst>
            <pc:docMk/>
            <pc:sldMk cId="531959542" sldId="266"/>
            <ac:spMk id="456" creationId="{73F6FDE5-E689-9238-95DF-9A1B59972B94}"/>
          </ac:spMkLst>
        </pc:spChg>
        <pc:spChg chg="mod">
          <ac:chgData name="Benedicte Aas Glad" userId="55a9e165-0d8a-4034-a14f-0bb29877055b" providerId="ADAL" clId="{E4981308-85D0-BD4E-B579-5764B255B7FA}" dt="2025-06-05T11:04:41.478" v="1580" actId="947"/>
          <ac:spMkLst>
            <pc:docMk/>
            <pc:sldMk cId="531959542" sldId="266"/>
            <ac:spMk id="457" creationId="{8E438575-2C09-870A-ED82-DF281EC36E7E}"/>
          </ac:spMkLst>
        </pc:spChg>
        <pc:spChg chg="mod">
          <ac:chgData name="Benedicte Aas Glad" userId="55a9e165-0d8a-4034-a14f-0bb29877055b" providerId="ADAL" clId="{E4981308-85D0-BD4E-B579-5764B255B7FA}" dt="2025-06-05T11:04:41.478" v="1578" actId="947"/>
          <ac:spMkLst>
            <pc:docMk/>
            <pc:sldMk cId="531959542" sldId="266"/>
            <ac:spMk id="458" creationId="{C543494A-4522-519A-5A3D-E63D61D49453}"/>
          </ac:spMkLst>
        </pc:spChg>
        <pc:spChg chg="mod">
          <ac:chgData name="Benedicte Aas Glad" userId="55a9e165-0d8a-4034-a14f-0bb29877055b" providerId="ADAL" clId="{E4981308-85D0-BD4E-B579-5764B255B7FA}" dt="2025-06-05T11:04:41.477" v="1576" actId="947"/>
          <ac:spMkLst>
            <pc:docMk/>
            <pc:sldMk cId="531959542" sldId="266"/>
            <ac:spMk id="459" creationId="{424C8D71-CF16-C533-EA4A-BC2C7E20316D}"/>
          </ac:spMkLst>
        </pc:spChg>
        <pc:spChg chg="mod">
          <ac:chgData name="Benedicte Aas Glad" userId="55a9e165-0d8a-4034-a14f-0bb29877055b" providerId="ADAL" clId="{E4981308-85D0-BD4E-B579-5764B255B7FA}" dt="2025-06-05T11:04:41.477" v="1574" actId="947"/>
          <ac:spMkLst>
            <pc:docMk/>
            <pc:sldMk cId="531959542" sldId="266"/>
            <ac:spMk id="460" creationId="{C7C37CB3-A620-BA5D-377B-F534D7F35A1D}"/>
          </ac:spMkLst>
        </pc:spChg>
        <pc:spChg chg="mod">
          <ac:chgData name="Benedicte Aas Glad" userId="55a9e165-0d8a-4034-a14f-0bb29877055b" providerId="ADAL" clId="{E4981308-85D0-BD4E-B579-5764B255B7FA}" dt="2025-06-05T11:04:41.476" v="1572" actId="947"/>
          <ac:spMkLst>
            <pc:docMk/>
            <pc:sldMk cId="531959542" sldId="266"/>
            <ac:spMk id="461" creationId="{6D272CA1-2A0E-3E9C-52DF-8F6B0C92551A}"/>
          </ac:spMkLst>
        </pc:spChg>
        <pc:spChg chg="mod">
          <ac:chgData name="Benedicte Aas Glad" userId="55a9e165-0d8a-4034-a14f-0bb29877055b" providerId="ADAL" clId="{E4981308-85D0-BD4E-B579-5764B255B7FA}" dt="2025-06-05T11:04:41.475" v="1570" actId="947"/>
          <ac:spMkLst>
            <pc:docMk/>
            <pc:sldMk cId="531959542" sldId="266"/>
            <ac:spMk id="462" creationId="{301386EC-E2DE-CE98-C510-9BAA1BF6A805}"/>
          </ac:spMkLst>
        </pc:spChg>
        <pc:spChg chg="mod">
          <ac:chgData name="Benedicte Aas Glad" userId="55a9e165-0d8a-4034-a14f-0bb29877055b" providerId="ADAL" clId="{E4981308-85D0-BD4E-B579-5764B255B7FA}" dt="2025-06-05T11:04:41.475" v="1568" actId="947"/>
          <ac:spMkLst>
            <pc:docMk/>
            <pc:sldMk cId="531959542" sldId="266"/>
            <ac:spMk id="463" creationId="{0A0F12F6-6789-0D61-55B6-C72EE18F0934}"/>
          </ac:spMkLst>
        </pc:spChg>
        <pc:spChg chg="mod">
          <ac:chgData name="Benedicte Aas Glad" userId="55a9e165-0d8a-4034-a14f-0bb29877055b" providerId="ADAL" clId="{E4981308-85D0-BD4E-B579-5764B255B7FA}" dt="2025-06-06T08:41:05.173" v="3145" actId="2711"/>
          <ac:spMkLst>
            <pc:docMk/>
            <pc:sldMk cId="531959542" sldId="266"/>
            <ac:spMk id="464" creationId="{AE3727FB-FF0B-F7A9-9489-22CE0FE62344}"/>
          </ac:spMkLst>
        </pc:spChg>
        <pc:spChg chg="mod">
          <ac:chgData name="Benedicte Aas Glad" userId="55a9e165-0d8a-4034-a14f-0bb29877055b" providerId="ADAL" clId="{E4981308-85D0-BD4E-B579-5764B255B7FA}" dt="2025-06-05T11:04:41.474" v="1564" actId="947"/>
          <ac:spMkLst>
            <pc:docMk/>
            <pc:sldMk cId="531959542" sldId="266"/>
            <ac:spMk id="465" creationId="{1411E310-4A0E-506D-9AD4-4DE050F4F2C1}"/>
          </ac:spMkLst>
        </pc:spChg>
        <pc:spChg chg="mod">
          <ac:chgData name="Benedicte Aas Glad" userId="55a9e165-0d8a-4034-a14f-0bb29877055b" providerId="ADAL" clId="{E4981308-85D0-BD4E-B579-5764B255B7FA}" dt="2025-06-05T11:04:41.473" v="1562" actId="947"/>
          <ac:spMkLst>
            <pc:docMk/>
            <pc:sldMk cId="531959542" sldId="266"/>
            <ac:spMk id="466" creationId="{70F8BBED-4EFA-57FF-CD81-5EDD81258695}"/>
          </ac:spMkLst>
        </pc:spChg>
        <pc:spChg chg="mod">
          <ac:chgData name="Benedicte Aas Glad" userId="55a9e165-0d8a-4034-a14f-0bb29877055b" providerId="ADAL" clId="{E4981308-85D0-BD4E-B579-5764B255B7FA}" dt="2025-06-05T11:04:41.473" v="1560" actId="947"/>
          <ac:spMkLst>
            <pc:docMk/>
            <pc:sldMk cId="531959542" sldId="266"/>
            <ac:spMk id="467" creationId="{9FDBDCCA-99F2-7491-5EDB-A6158572A396}"/>
          </ac:spMkLst>
        </pc:spChg>
        <pc:spChg chg="mod">
          <ac:chgData name="Benedicte Aas Glad" userId="55a9e165-0d8a-4034-a14f-0bb29877055b" providerId="ADAL" clId="{E4981308-85D0-BD4E-B579-5764B255B7FA}" dt="2025-06-05T11:04:41.472" v="1558" actId="947"/>
          <ac:spMkLst>
            <pc:docMk/>
            <pc:sldMk cId="531959542" sldId="266"/>
            <ac:spMk id="468" creationId="{AA6FF98B-13F5-F731-D1A8-9581DB390F2F}"/>
          </ac:spMkLst>
        </pc:spChg>
        <pc:spChg chg="mod">
          <ac:chgData name="Benedicte Aas Glad" userId="55a9e165-0d8a-4034-a14f-0bb29877055b" providerId="ADAL" clId="{E4981308-85D0-BD4E-B579-5764B255B7FA}" dt="2025-06-05T11:04:41.471" v="1556" actId="947"/>
          <ac:spMkLst>
            <pc:docMk/>
            <pc:sldMk cId="531959542" sldId="266"/>
            <ac:spMk id="469" creationId="{8EC42C3C-3B81-981A-7FE1-95B4135E78A0}"/>
          </ac:spMkLst>
        </pc:spChg>
        <pc:spChg chg="mod">
          <ac:chgData name="Benedicte Aas Glad" userId="55a9e165-0d8a-4034-a14f-0bb29877055b" providerId="ADAL" clId="{E4981308-85D0-BD4E-B579-5764B255B7FA}" dt="2025-06-05T11:04:41.471" v="1554" actId="947"/>
          <ac:spMkLst>
            <pc:docMk/>
            <pc:sldMk cId="531959542" sldId="266"/>
            <ac:spMk id="470" creationId="{62344557-338E-5FD8-74C6-41E95F4489EF}"/>
          </ac:spMkLst>
        </pc:spChg>
        <pc:spChg chg="mod">
          <ac:chgData name="Benedicte Aas Glad" userId="55a9e165-0d8a-4034-a14f-0bb29877055b" providerId="ADAL" clId="{E4981308-85D0-BD4E-B579-5764B255B7FA}" dt="2025-06-05T11:04:41.470" v="1552" actId="947"/>
          <ac:spMkLst>
            <pc:docMk/>
            <pc:sldMk cId="531959542" sldId="266"/>
            <ac:spMk id="471" creationId="{3D89A988-8293-529F-5389-E74C0D06DFDF}"/>
          </ac:spMkLst>
        </pc:spChg>
        <pc:spChg chg="mod">
          <ac:chgData name="Benedicte Aas Glad" userId="55a9e165-0d8a-4034-a14f-0bb29877055b" providerId="ADAL" clId="{E4981308-85D0-BD4E-B579-5764B255B7FA}" dt="2025-06-05T11:04:41.470" v="1550" actId="947"/>
          <ac:spMkLst>
            <pc:docMk/>
            <pc:sldMk cId="531959542" sldId="266"/>
            <ac:spMk id="472" creationId="{D1DEA095-0B0A-F407-0626-D068DA68356F}"/>
          </ac:spMkLst>
        </pc:spChg>
        <pc:spChg chg="mod">
          <ac:chgData name="Benedicte Aas Glad" userId="55a9e165-0d8a-4034-a14f-0bb29877055b" providerId="ADAL" clId="{E4981308-85D0-BD4E-B579-5764B255B7FA}" dt="2025-06-05T11:04:41.469" v="1548" actId="947"/>
          <ac:spMkLst>
            <pc:docMk/>
            <pc:sldMk cId="531959542" sldId="266"/>
            <ac:spMk id="473" creationId="{521E34D0-E3E4-83DD-65F0-F3D586F8F752}"/>
          </ac:spMkLst>
        </pc:spChg>
        <pc:spChg chg="mod">
          <ac:chgData name="Benedicte Aas Glad" userId="55a9e165-0d8a-4034-a14f-0bb29877055b" providerId="ADAL" clId="{E4981308-85D0-BD4E-B579-5764B255B7FA}" dt="2025-06-05T11:04:41.469" v="1546" actId="947"/>
          <ac:spMkLst>
            <pc:docMk/>
            <pc:sldMk cId="531959542" sldId="266"/>
            <ac:spMk id="474" creationId="{86ADF400-77F4-C686-8878-273C84F9152F}"/>
          </ac:spMkLst>
        </pc:spChg>
        <pc:spChg chg="mod">
          <ac:chgData name="Benedicte Aas Glad" userId="55a9e165-0d8a-4034-a14f-0bb29877055b" providerId="ADAL" clId="{E4981308-85D0-BD4E-B579-5764B255B7FA}" dt="2025-06-05T11:04:41.468" v="1544" actId="947"/>
          <ac:spMkLst>
            <pc:docMk/>
            <pc:sldMk cId="531959542" sldId="266"/>
            <ac:spMk id="475" creationId="{A4C9F836-8ABE-C3C4-D0F9-480DBD8C0A16}"/>
          </ac:spMkLst>
        </pc:spChg>
        <pc:spChg chg="mod">
          <ac:chgData name="Benedicte Aas Glad" userId="55a9e165-0d8a-4034-a14f-0bb29877055b" providerId="ADAL" clId="{E4981308-85D0-BD4E-B579-5764B255B7FA}" dt="2025-06-05T11:04:41.467" v="1542" actId="947"/>
          <ac:spMkLst>
            <pc:docMk/>
            <pc:sldMk cId="531959542" sldId="266"/>
            <ac:spMk id="476" creationId="{5E02DF62-41D9-966E-69EA-252C083F8C65}"/>
          </ac:spMkLst>
        </pc:spChg>
        <pc:spChg chg="mod">
          <ac:chgData name="Benedicte Aas Glad" userId="55a9e165-0d8a-4034-a14f-0bb29877055b" providerId="ADAL" clId="{E4981308-85D0-BD4E-B579-5764B255B7FA}" dt="2025-06-05T11:04:41.467" v="1540" actId="947"/>
          <ac:spMkLst>
            <pc:docMk/>
            <pc:sldMk cId="531959542" sldId="266"/>
            <ac:spMk id="477" creationId="{7534C289-B389-3A89-6703-86BAFC6D8704}"/>
          </ac:spMkLst>
        </pc:spChg>
        <pc:spChg chg="mod">
          <ac:chgData name="Benedicte Aas Glad" userId="55a9e165-0d8a-4034-a14f-0bb29877055b" providerId="ADAL" clId="{E4981308-85D0-BD4E-B579-5764B255B7FA}" dt="2025-06-05T11:04:41.466" v="1538" actId="947"/>
          <ac:spMkLst>
            <pc:docMk/>
            <pc:sldMk cId="531959542" sldId="266"/>
            <ac:spMk id="478" creationId="{74AC7D55-1917-D018-2A26-3B1694A04C49}"/>
          </ac:spMkLst>
        </pc:spChg>
        <pc:spChg chg="mod">
          <ac:chgData name="Benedicte Aas Glad" userId="55a9e165-0d8a-4034-a14f-0bb29877055b" providerId="ADAL" clId="{E4981308-85D0-BD4E-B579-5764B255B7FA}" dt="2025-06-05T11:04:41.466" v="1536" actId="947"/>
          <ac:spMkLst>
            <pc:docMk/>
            <pc:sldMk cId="531959542" sldId="266"/>
            <ac:spMk id="479" creationId="{EA1CBF47-E15B-8541-D4BC-F53387A7F16A}"/>
          </ac:spMkLst>
        </pc:spChg>
        <pc:spChg chg="mod">
          <ac:chgData name="Benedicte Aas Glad" userId="55a9e165-0d8a-4034-a14f-0bb29877055b" providerId="ADAL" clId="{E4981308-85D0-BD4E-B579-5764B255B7FA}" dt="2025-06-05T11:04:41.465" v="1534" actId="947"/>
          <ac:spMkLst>
            <pc:docMk/>
            <pc:sldMk cId="531959542" sldId="266"/>
            <ac:spMk id="480" creationId="{D85196BD-223A-F4C7-018D-2CC35A5C7CE9}"/>
          </ac:spMkLst>
        </pc:spChg>
        <pc:spChg chg="mod">
          <ac:chgData name="Benedicte Aas Glad" userId="55a9e165-0d8a-4034-a14f-0bb29877055b" providerId="ADAL" clId="{E4981308-85D0-BD4E-B579-5764B255B7FA}" dt="2025-06-05T11:04:41.464" v="1532" actId="947"/>
          <ac:spMkLst>
            <pc:docMk/>
            <pc:sldMk cId="531959542" sldId="266"/>
            <ac:spMk id="481" creationId="{3108643F-47B7-6D8A-CDDB-A68F9AEB39DC}"/>
          </ac:spMkLst>
        </pc:spChg>
        <pc:spChg chg="mod">
          <ac:chgData name="Benedicte Aas Glad" userId="55a9e165-0d8a-4034-a14f-0bb29877055b" providerId="ADAL" clId="{E4981308-85D0-BD4E-B579-5764B255B7FA}" dt="2025-06-05T11:04:41.464" v="1530" actId="947"/>
          <ac:spMkLst>
            <pc:docMk/>
            <pc:sldMk cId="531959542" sldId="266"/>
            <ac:spMk id="482" creationId="{A448CA9A-E8B6-F957-7723-AF4178D47F67}"/>
          </ac:spMkLst>
        </pc:spChg>
        <pc:spChg chg="mod">
          <ac:chgData name="Benedicte Aas Glad" userId="55a9e165-0d8a-4034-a14f-0bb29877055b" providerId="ADAL" clId="{E4981308-85D0-BD4E-B579-5764B255B7FA}" dt="2025-06-05T11:04:41.463" v="1528" actId="947"/>
          <ac:spMkLst>
            <pc:docMk/>
            <pc:sldMk cId="531959542" sldId="266"/>
            <ac:spMk id="483" creationId="{049C298A-7DEB-E729-0134-88BB8752B406}"/>
          </ac:spMkLst>
        </pc:spChg>
        <pc:spChg chg="mod">
          <ac:chgData name="Benedicte Aas Glad" userId="55a9e165-0d8a-4034-a14f-0bb29877055b" providerId="ADAL" clId="{E4981308-85D0-BD4E-B579-5764B255B7FA}" dt="2025-06-05T11:04:41.463" v="1526" actId="947"/>
          <ac:spMkLst>
            <pc:docMk/>
            <pc:sldMk cId="531959542" sldId="266"/>
            <ac:spMk id="484" creationId="{79133955-C0F1-BA92-0926-8947B367F00C}"/>
          </ac:spMkLst>
        </pc:spChg>
        <pc:spChg chg="mod">
          <ac:chgData name="Benedicte Aas Glad" userId="55a9e165-0d8a-4034-a14f-0bb29877055b" providerId="ADAL" clId="{E4981308-85D0-BD4E-B579-5764B255B7FA}" dt="2025-06-05T11:04:41.462" v="1524" actId="947"/>
          <ac:spMkLst>
            <pc:docMk/>
            <pc:sldMk cId="531959542" sldId="266"/>
            <ac:spMk id="485" creationId="{F0EA0D97-23B2-E969-20F6-DD94D8E59C6C}"/>
          </ac:spMkLst>
        </pc:spChg>
        <pc:spChg chg="mod">
          <ac:chgData name="Benedicte Aas Glad" userId="55a9e165-0d8a-4034-a14f-0bb29877055b" providerId="ADAL" clId="{E4981308-85D0-BD4E-B579-5764B255B7FA}" dt="2025-06-05T11:04:41.461" v="1522" actId="947"/>
          <ac:spMkLst>
            <pc:docMk/>
            <pc:sldMk cId="531959542" sldId="266"/>
            <ac:spMk id="486" creationId="{7B6BF168-04A7-ECE2-735C-185A71E4A9CB}"/>
          </ac:spMkLst>
        </pc:spChg>
        <pc:spChg chg="mod">
          <ac:chgData name="Benedicte Aas Glad" userId="55a9e165-0d8a-4034-a14f-0bb29877055b" providerId="ADAL" clId="{E4981308-85D0-BD4E-B579-5764B255B7FA}" dt="2025-06-05T11:04:41.461" v="1520" actId="947"/>
          <ac:spMkLst>
            <pc:docMk/>
            <pc:sldMk cId="531959542" sldId="266"/>
            <ac:spMk id="487" creationId="{BA1510B7-B8B2-A030-47D9-57ABFA0A8764}"/>
          </ac:spMkLst>
        </pc:spChg>
        <pc:spChg chg="mod">
          <ac:chgData name="Benedicte Aas Glad" userId="55a9e165-0d8a-4034-a14f-0bb29877055b" providerId="ADAL" clId="{E4981308-85D0-BD4E-B579-5764B255B7FA}" dt="2025-06-05T11:04:41.460" v="1518" actId="947"/>
          <ac:spMkLst>
            <pc:docMk/>
            <pc:sldMk cId="531959542" sldId="266"/>
            <ac:spMk id="488" creationId="{FA3E8F19-CB6F-58F7-0B6F-CF46EE9419EE}"/>
          </ac:spMkLst>
        </pc:spChg>
        <pc:spChg chg="mod">
          <ac:chgData name="Benedicte Aas Glad" userId="55a9e165-0d8a-4034-a14f-0bb29877055b" providerId="ADAL" clId="{E4981308-85D0-BD4E-B579-5764B255B7FA}" dt="2025-06-05T11:04:41.460" v="1516" actId="947"/>
          <ac:spMkLst>
            <pc:docMk/>
            <pc:sldMk cId="531959542" sldId="266"/>
            <ac:spMk id="489" creationId="{CC5133A5-CE72-B677-29DC-900E084C5F95}"/>
          </ac:spMkLst>
        </pc:spChg>
        <pc:spChg chg="mod">
          <ac:chgData name="Benedicte Aas Glad" userId="55a9e165-0d8a-4034-a14f-0bb29877055b" providerId="ADAL" clId="{E4981308-85D0-BD4E-B579-5764B255B7FA}" dt="2025-06-05T11:04:41.459" v="1514" actId="947"/>
          <ac:spMkLst>
            <pc:docMk/>
            <pc:sldMk cId="531959542" sldId="266"/>
            <ac:spMk id="490" creationId="{941DDF11-D0A7-7DCE-2DEF-675CDFA12F25}"/>
          </ac:spMkLst>
        </pc:spChg>
        <pc:spChg chg="mod">
          <ac:chgData name="Benedicte Aas Glad" userId="55a9e165-0d8a-4034-a14f-0bb29877055b" providerId="ADAL" clId="{E4981308-85D0-BD4E-B579-5764B255B7FA}" dt="2025-06-05T11:04:41.459" v="1512" actId="947"/>
          <ac:spMkLst>
            <pc:docMk/>
            <pc:sldMk cId="531959542" sldId="266"/>
            <ac:spMk id="491" creationId="{5154FA26-95F1-C8B5-0F37-18A4D248E4DF}"/>
          </ac:spMkLst>
        </pc:spChg>
        <pc:spChg chg="mod">
          <ac:chgData name="Benedicte Aas Glad" userId="55a9e165-0d8a-4034-a14f-0bb29877055b" providerId="ADAL" clId="{E4981308-85D0-BD4E-B579-5764B255B7FA}" dt="2025-06-05T11:04:41.458" v="1510" actId="947"/>
          <ac:spMkLst>
            <pc:docMk/>
            <pc:sldMk cId="531959542" sldId="266"/>
            <ac:spMk id="492" creationId="{F1E28613-A6A4-6166-9A42-58FF1EEDB597}"/>
          </ac:spMkLst>
        </pc:spChg>
        <pc:spChg chg="mod">
          <ac:chgData name="Benedicte Aas Glad" userId="55a9e165-0d8a-4034-a14f-0bb29877055b" providerId="ADAL" clId="{E4981308-85D0-BD4E-B579-5764B255B7FA}" dt="2025-06-05T11:04:41.457" v="1508" actId="947"/>
          <ac:spMkLst>
            <pc:docMk/>
            <pc:sldMk cId="531959542" sldId="266"/>
            <ac:spMk id="493" creationId="{9630E128-FC2E-79EA-DC0D-EB063AAC0C33}"/>
          </ac:spMkLst>
        </pc:spChg>
        <pc:spChg chg="mod">
          <ac:chgData name="Benedicte Aas Glad" userId="55a9e165-0d8a-4034-a14f-0bb29877055b" providerId="ADAL" clId="{E4981308-85D0-BD4E-B579-5764B255B7FA}" dt="2025-06-05T11:04:41.457" v="1506" actId="947"/>
          <ac:spMkLst>
            <pc:docMk/>
            <pc:sldMk cId="531959542" sldId="266"/>
            <ac:spMk id="494" creationId="{86A815AC-DFFB-7DE1-546E-9A5395D80256}"/>
          </ac:spMkLst>
        </pc:spChg>
        <pc:spChg chg="mod">
          <ac:chgData name="Benedicte Aas Glad" userId="55a9e165-0d8a-4034-a14f-0bb29877055b" providerId="ADAL" clId="{E4981308-85D0-BD4E-B579-5764B255B7FA}" dt="2025-06-05T11:04:41.456" v="1504" actId="947"/>
          <ac:spMkLst>
            <pc:docMk/>
            <pc:sldMk cId="531959542" sldId="266"/>
            <ac:spMk id="495" creationId="{96C61223-A7B5-0484-E6DD-A77C12E73E64}"/>
          </ac:spMkLst>
        </pc:spChg>
        <pc:spChg chg="mod">
          <ac:chgData name="Benedicte Aas Glad" userId="55a9e165-0d8a-4034-a14f-0bb29877055b" providerId="ADAL" clId="{E4981308-85D0-BD4E-B579-5764B255B7FA}" dt="2025-06-05T11:04:41.456" v="1502" actId="947"/>
          <ac:spMkLst>
            <pc:docMk/>
            <pc:sldMk cId="531959542" sldId="266"/>
            <ac:spMk id="496" creationId="{42ADDF00-4662-0A48-968B-DB915FFFFF44}"/>
          </ac:spMkLst>
        </pc:spChg>
        <pc:spChg chg="mod">
          <ac:chgData name="Benedicte Aas Glad" userId="55a9e165-0d8a-4034-a14f-0bb29877055b" providerId="ADAL" clId="{E4981308-85D0-BD4E-B579-5764B255B7FA}" dt="2025-06-05T11:04:41.455" v="1500" actId="947"/>
          <ac:spMkLst>
            <pc:docMk/>
            <pc:sldMk cId="531959542" sldId="266"/>
            <ac:spMk id="497" creationId="{092CD332-C61F-18C2-7C75-F9B4C7BA5836}"/>
          </ac:spMkLst>
        </pc:spChg>
        <pc:spChg chg="mod">
          <ac:chgData name="Benedicte Aas Glad" userId="55a9e165-0d8a-4034-a14f-0bb29877055b" providerId="ADAL" clId="{E4981308-85D0-BD4E-B579-5764B255B7FA}" dt="2025-06-05T11:04:41.454" v="1498" actId="947"/>
          <ac:spMkLst>
            <pc:docMk/>
            <pc:sldMk cId="531959542" sldId="266"/>
            <ac:spMk id="498" creationId="{F8C6B055-01F7-89A5-C8DC-123AB12702F3}"/>
          </ac:spMkLst>
        </pc:spChg>
        <pc:spChg chg="mod">
          <ac:chgData name="Benedicte Aas Glad" userId="55a9e165-0d8a-4034-a14f-0bb29877055b" providerId="ADAL" clId="{E4981308-85D0-BD4E-B579-5764B255B7FA}" dt="2025-06-05T11:04:41.454" v="1496" actId="947"/>
          <ac:spMkLst>
            <pc:docMk/>
            <pc:sldMk cId="531959542" sldId="266"/>
            <ac:spMk id="499" creationId="{0814BBFA-0927-9CD1-63B9-F162DF9A15C3}"/>
          </ac:spMkLst>
        </pc:spChg>
        <pc:spChg chg="mod">
          <ac:chgData name="Benedicte Aas Glad" userId="55a9e165-0d8a-4034-a14f-0bb29877055b" providerId="ADAL" clId="{E4981308-85D0-BD4E-B579-5764B255B7FA}" dt="2025-06-05T11:04:41.453" v="1494" actId="947"/>
          <ac:spMkLst>
            <pc:docMk/>
            <pc:sldMk cId="531959542" sldId="266"/>
            <ac:spMk id="500" creationId="{FF0BB08F-03A4-D3CA-D121-41B9F8ECD742}"/>
          </ac:spMkLst>
        </pc:spChg>
        <pc:spChg chg="mod">
          <ac:chgData name="Benedicte Aas Glad" userId="55a9e165-0d8a-4034-a14f-0bb29877055b" providerId="ADAL" clId="{E4981308-85D0-BD4E-B579-5764B255B7FA}" dt="2025-06-05T11:04:41.453" v="1492" actId="947"/>
          <ac:spMkLst>
            <pc:docMk/>
            <pc:sldMk cId="531959542" sldId="266"/>
            <ac:spMk id="501" creationId="{29A938B9-D028-7654-906E-3B5CA1C5058C}"/>
          </ac:spMkLst>
        </pc:spChg>
        <pc:spChg chg="mod">
          <ac:chgData name="Benedicte Aas Glad" userId="55a9e165-0d8a-4034-a14f-0bb29877055b" providerId="ADAL" clId="{E4981308-85D0-BD4E-B579-5764B255B7FA}" dt="2025-06-05T11:04:41.452" v="1490" actId="947"/>
          <ac:spMkLst>
            <pc:docMk/>
            <pc:sldMk cId="531959542" sldId="266"/>
            <ac:spMk id="502" creationId="{2DD60CFC-D78C-F639-2975-F0E86BCD5944}"/>
          </ac:spMkLst>
        </pc:spChg>
        <pc:spChg chg="mod">
          <ac:chgData name="Benedicte Aas Glad" userId="55a9e165-0d8a-4034-a14f-0bb29877055b" providerId="ADAL" clId="{E4981308-85D0-BD4E-B579-5764B255B7FA}" dt="2025-06-05T11:04:41.452" v="1488" actId="947"/>
          <ac:spMkLst>
            <pc:docMk/>
            <pc:sldMk cId="531959542" sldId="266"/>
            <ac:spMk id="503" creationId="{C7102EFC-9177-3C84-9DE6-568A8DF2ABF1}"/>
          </ac:spMkLst>
        </pc:spChg>
        <pc:spChg chg="mod">
          <ac:chgData name="Benedicte Aas Glad" userId="55a9e165-0d8a-4034-a14f-0bb29877055b" providerId="ADAL" clId="{E4981308-85D0-BD4E-B579-5764B255B7FA}" dt="2025-06-06T08:41:05.173" v="3145" actId="2711"/>
          <ac:spMkLst>
            <pc:docMk/>
            <pc:sldMk cId="531959542" sldId="266"/>
            <ac:spMk id="504" creationId="{7C758BED-E4E5-5C84-D08B-E6E1C81DDAFB}"/>
          </ac:spMkLst>
        </pc:spChg>
        <pc:spChg chg="mod">
          <ac:chgData name="Benedicte Aas Glad" userId="55a9e165-0d8a-4034-a14f-0bb29877055b" providerId="ADAL" clId="{E4981308-85D0-BD4E-B579-5764B255B7FA}" dt="2025-06-05T11:04:41.450" v="1484" actId="947"/>
          <ac:spMkLst>
            <pc:docMk/>
            <pc:sldMk cId="531959542" sldId="266"/>
            <ac:spMk id="505" creationId="{A00CAA88-A85D-D534-30E0-6436A7093C48}"/>
          </ac:spMkLst>
        </pc:spChg>
        <pc:spChg chg="mod">
          <ac:chgData name="Benedicte Aas Glad" userId="55a9e165-0d8a-4034-a14f-0bb29877055b" providerId="ADAL" clId="{E4981308-85D0-BD4E-B579-5764B255B7FA}" dt="2025-06-05T11:04:41.450" v="1482" actId="947"/>
          <ac:spMkLst>
            <pc:docMk/>
            <pc:sldMk cId="531959542" sldId="266"/>
            <ac:spMk id="506" creationId="{6E75A3AA-3183-F338-FC1D-DED474CC2BAC}"/>
          </ac:spMkLst>
        </pc:spChg>
        <pc:spChg chg="mod">
          <ac:chgData name="Benedicte Aas Glad" userId="55a9e165-0d8a-4034-a14f-0bb29877055b" providerId="ADAL" clId="{E4981308-85D0-BD4E-B579-5764B255B7FA}" dt="2025-06-05T11:04:41.449" v="1480" actId="947"/>
          <ac:spMkLst>
            <pc:docMk/>
            <pc:sldMk cId="531959542" sldId="266"/>
            <ac:spMk id="507" creationId="{44A1BECA-8815-9668-038C-7389460855DA}"/>
          </ac:spMkLst>
        </pc:spChg>
        <pc:spChg chg="mod">
          <ac:chgData name="Benedicte Aas Glad" userId="55a9e165-0d8a-4034-a14f-0bb29877055b" providerId="ADAL" clId="{E4981308-85D0-BD4E-B579-5764B255B7FA}" dt="2025-06-05T11:04:41.449" v="1478" actId="947"/>
          <ac:spMkLst>
            <pc:docMk/>
            <pc:sldMk cId="531959542" sldId="266"/>
            <ac:spMk id="508" creationId="{3DF25136-E629-4424-C103-5E93355EEE81}"/>
          </ac:spMkLst>
        </pc:spChg>
        <pc:spChg chg="mod">
          <ac:chgData name="Benedicte Aas Glad" userId="55a9e165-0d8a-4034-a14f-0bb29877055b" providerId="ADAL" clId="{E4981308-85D0-BD4E-B579-5764B255B7FA}" dt="2025-06-05T11:04:41.448" v="1476" actId="947"/>
          <ac:spMkLst>
            <pc:docMk/>
            <pc:sldMk cId="531959542" sldId="266"/>
            <ac:spMk id="509" creationId="{54F521CB-2664-1CAC-85BF-209047A84EB0}"/>
          </ac:spMkLst>
        </pc:spChg>
        <pc:spChg chg="mod">
          <ac:chgData name="Benedicte Aas Glad" userId="55a9e165-0d8a-4034-a14f-0bb29877055b" providerId="ADAL" clId="{E4981308-85D0-BD4E-B579-5764B255B7FA}" dt="2025-06-05T11:04:41.447" v="1474" actId="947"/>
          <ac:spMkLst>
            <pc:docMk/>
            <pc:sldMk cId="531959542" sldId="266"/>
            <ac:spMk id="510" creationId="{E8AF3CD8-0111-B5D2-C6BD-AC157E652B9C}"/>
          </ac:spMkLst>
        </pc:spChg>
        <pc:spChg chg="mod">
          <ac:chgData name="Benedicte Aas Glad" userId="55a9e165-0d8a-4034-a14f-0bb29877055b" providerId="ADAL" clId="{E4981308-85D0-BD4E-B579-5764B255B7FA}" dt="2025-06-05T11:04:41.447" v="1472" actId="947"/>
          <ac:spMkLst>
            <pc:docMk/>
            <pc:sldMk cId="531959542" sldId="266"/>
            <ac:spMk id="511" creationId="{7193E435-4386-C782-A350-E1737D3154DE}"/>
          </ac:spMkLst>
        </pc:spChg>
        <pc:spChg chg="mod">
          <ac:chgData name="Benedicte Aas Glad" userId="55a9e165-0d8a-4034-a14f-0bb29877055b" providerId="ADAL" clId="{E4981308-85D0-BD4E-B579-5764B255B7FA}" dt="2025-06-05T11:04:41.446" v="1470" actId="947"/>
          <ac:spMkLst>
            <pc:docMk/>
            <pc:sldMk cId="531959542" sldId="266"/>
            <ac:spMk id="512" creationId="{6C60C631-D90B-0436-BC82-568A5B759B31}"/>
          </ac:spMkLst>
        </pc:spChg>
        <pc:spChg chg="mod">
          <ac:chgData name="Benedicte Aas Glad" userId="55a9e165-0d8a-4034-a14f-0bb29877055b" providerId="ADAL" clId="{E4981308-85D0-BD4E-B579-5764B255B7FA}" dt="2025-06-05T11:04:41.446" v="1468" actId="947"/>
          <ac:spMkLst>
            <pc:docMk/>
            <pc:sldMk cId="531959542" sldId="266"/>
            <ac:spMk id="513" creationId="{7C09983D-EADE-1F38-50BA-97E8C538D0DF}"/>
          </ac:spMkLst>
        </pc:spChg>
        <pc:spChg chg="mod">
          <ac:chgData name="Benedicte Aas Glad" userId="55a9e165-0d8a-4034-a14f-0bb29877055b" providerId="ADAL" clId="{E4981308-85D0-BD4E-B579-5764B255B7FA}" dt="2025-06-05T11:04:41.445" v="1466" actId="947"/>
          <ac:spMkLst>
            <pc:docMk/>
            <pc:sldMk cId="531959542" sldId="266"/>
            <ac:spMk id="514" creationId="{E0C0F4C5-E4CB-51DE-3C39-C345538D69D4}"/>
          </ac:spMkLst>
        </pc:spChg>
        <pc:spChg chg="mod">
          <ac:chgData name="Benedicte Aas Glad" userId="55a9e165-0d8a-4034-a14f-0bb29877055b" providerId="ADAL" clId="{E4981308-85D0-BD4E-B579-5764B255B7FA}" dt="2025-06-05T11:04:41.445" v="1464" actId="947"/>
          <ac:spMkLst>
            <pc:docMk/>
            <pc:sldMk cId="531959542" sldId="266"/>
            <ac:spMk id="515" creationId="{1959D222-F89C-2CFA-6870-35E493781984}"/>
          </ac:spMkLst>
        </pc:spChg>
        <pc:spChg chg="mod">
          <ac:chgData name="Benedicte Aas Glad" userId="55a9e165-0d8a-4034-a14f-0bb29877055b" providerId="ADAL" clId="{E4981308-85D0-BD4E-B579-5764B255B7FA}" dt="2025-06-05T11:04:41.444" v="1462" actId="947"/>
          <ac:spMkLst>
            <pc:docMk/>
            <pc:sldMk cId="531959542" sldId="266"/>
            <ac:spMk id="516" creationId="{9CED2AD0-4887-7BE6-A002-9B70D0B42CA7}"/>
          </ac:spMkLst>
        </pc:spChg>
        <pc:spChg chg="mod">
          <ac:chgData name="Benedicte Aas Glad" userId="55a9e165-0d8a-4034-a14f-0bb29877055b" providerId="ADAL" clId="{E4981308-85D0-BD4E-B579-5764B255B7FA}" dt="2025-06-05T11:04:41.443" v="1460" actId="947"/>
          <ac:spMkLst>
            <pc:docMk/>
            <pc:sldMk cId="531959542" sldId="266"/>
            <ac:spMk id="517" creationId="{2B4ED255-DD99-3D97-0590-942749CC7DDD}"/>
          </ac:spMkLst>
        </pc:spChg>
        <pc:spChg chg="mod">
          <ac:chgData name="Benedicte Aas Glad" userId="55a9e165-0d8a-4034-a14f-0bb29877055b" providerId="ADAL" clId="{E4981308-85D0-BD4E-B579-5764B255B7FA}" dt="2025-06-05T11:04:41.443" v="1458" actId="947"/>
          <ac:spMkLst>
            <pc:docMk/>
            <pc:sldMk cId="531959542" sldId="266"/>
            <ac:spMk id="518" creationId="{B2290704-91F2-3738-7369-12DF45C86ABB}"/>
          </ac:spMkLst>
        </pc:spChg>
        <pc:spChg chg="mod">
          <ac:chgData name="Benedicte Aas Glad" userId="55a9e165-0d8a-4034-a14f-0bb29877055b" providerId="ADAL" clId="{E4981308-85D0-BD4E-B579-5764B255B7FA}" dt="2025-06-05T11:04:41.442" v="1456" actId="947"/>
          <ac:spMkLst>
            <pc:docMk/>
            <pc:sldMk cId="531959542" sldId="266"/>
            <ac:spMk id="519" creationId="{31101714-0E19-8D70-17D8-1DEE06BD9914}"/>
          </ac:spMkLst>
        </pc:spChg>
        <pc:spChg chg="mod">
          <ac:chgData name="Benedicte Aas Glad" userId="55a9e165-0d8a-4034-a14f-0bb29877055b" providerId="ADAL" clId="{E4981308-85D0-BD4E-B579-5764B255B7FA}" dt="2025-06-05T11:04:41.442" v="1454" actId="947"/>
          <ac:spMkLst>
            <pc:docMk/>
            <pc:sldMk cId="531959542" sldId="266"/>
            <ac:spMk id="520" creationId="{26389602-67E3-63AB-C8B1-924385EB649B}"/>
          </ac:spMkLst>
        </pc:spChg>
        <pc:spChg chg="mod">
          <ac:chgData name="Benedicte Aas Glad" userId="55a9e165-0d8a-4034-a14f-0bb29877055b" providerId="ADAL" clId="{E4981308-85D0-BD4E-B579-5764B255B7FA}" dt="2025-06-05T11:04:41.441" v="1452" actId="947"/>
          <ac:spMkLst>
            <pc:docMk/>
            <pc:sldMk cId="531959542" sldId="266"/>
            <ac:spMk id="521" creationId="{02B32407-AE70-D9B5-8723-04FEF1E3DDD2}"/>
          </ac:spMkLst>
        </pc:spChg>
        <pc:spChg chg="mod">
          <ac:chgData name="Benedicte Aas Glad" userId="55a9e165-0d8a-4034-a14f-0bb29877055b" providerId="ADAL" clId="{E4981308-85D0-BD4E-B579-5764B255B7FA}" dt="2025-06-05T11:04:41.440" v="1450" actId="947"/>
          <ac:spMkLst>
            <pc:docMk/>
            <pc:sldMk cId="531959542" sldId="266"/>
            <ac:spMk id="522" creationId="{E0DB4807-94B4-06D3-5EF9-E3DC46A08794}"/>
          </ac:spMkLst>
        </pc:spChg>
        <pc:spChg chg="mod">
          <ac:chgData name="Benedicte Aas Glad" userId="55a9e165-0d8a-4034-a14f-0bb29877055b" providerId="ADAL" clId="{E4981308-85D0-BD4E-B579-5764B255B7FA}" dt="2025-06-05T11:04:41.440" v="1448" actId="947"/>
          <ac:spMkLst>
            <pc:docMk/>
            <pc:sldMk cId="531959542" sldId="266"/>
            <ac:spMk id="523" creationId="{DC31247F-4336-9900-5DA2-D57B51D6E064}"/>
          </ac:spMkLst>
        </pc:spChg>
        <pc:spChg chg="mod">
          <ac:chgData name="Benedicte Aas Glad" userId="55a9e165-0d8a-4034-a14f-0bb29877055b" providerId="ADAL" clId="{E4981308-85D0-BD4E-B579-5764B255B7FA}" dt="2025-06-05T11:04:41.439" v="1446" actId="947"/>
          <ac:spMkLst>
            <pc:docMk/>
            <pc:sldMk cId="531959542" sldId="266"/>
            <ac:spMk id="524" creationId="{DAAE378C-EE81-ED2C-21DE-A34C838E8417}"/>
          </ac:spMkLst>
        </pc:spChg>
        <pc:spChg chg="mod">
          <ac:chgData name="Benedicte Aas Glad" userId="55a9e165-0d8a-4034-a14f-0bb29877055b" providerId="ADAL" clId="{E4981308-85D0-BD4E-B579-5764B255B7FA}" dt="2025-06-05T11:04:41.439" v="1444" actId="947"/>
          <ac:spMkLst>
            <pc:docMk/>
            <pc:sldMk cId="531959542" sldId="266"/>
            <ac:spMk id="525" creationId="{873E48FB-B59B-5F92-1125-AE96EFC0B7B7}"/>
          </ac:spMkLst>
        </pc:spChg>
        <pc:spChg chg="mod">
          <ac:chgData name="Benedicte Aas Glad" userId="55a9e165-0d8a-4034-a14f-0bb29877055b" providerId="ADAL" clId="{E4981308-85D0-BD4E-B579-5764B255B7FA}" dt="2025-06-05T11:04:41.438" v="1442" actId="947"/>
          <ac:spMkLst>
            <pc:docMk/>
            <pc:sldMk cId="531959542" sldId="266"/>
            <ac:spMk id="526" creationId="{89F47491-2C4E-1DDE-0112-A32F2F160025}"/>
          </ac:spMkLst>
        </pc:spChg>
        <pc:spChg chg="mod">
          <ac:chgData name="Benedicte Aas Glad" userId="55a9e165-0d8a-4034-a14f-0bb29877055b" providerId="ADAL" clId="{E4981308-85D0-BD4E-B579-5764B255B7FA}" dt="2025-06-05T11:04:41.437" v="1440" actId="947"/>
          <ac:spMkLst>
            <pc:docMk/>
            <pc:sldMk cId="531959542" sldId="266"/>
            <ac:spMk id="527" creationId="{FFDA95CD-E250-85BE-E66F-2EF0BA3FF30D}"/>
          </ac:spMkLst>
        </pc:spChg>
        <pc:spChg chg="mod">
          <ac:chgData name="Benedicte Aas Glad" userId="55a9e165-0d8a-4034-a14f-0bb29877055b" providerId="ADAL" clId="{E4981308-85D0-BD4E-B579-5764B255B7FA}" dt="2025-06-05T11:04:41.437" v="1438" actId="947"/>
          <ac:spMkLst>
            <pc:docMk/>
            <pc:sldMk cId="531959542" sldId="266"/>
            <ac:spMk id="528" creationId="{2A2EE0B5-79C4-6C22-9BB6-CA8DD2E1AD59}"/>
          </ac:spMkLst>
        </pc:spChg>
        <pc:spChg chg="mod">
          <ac:chgData name="Benedicte Aas Glad" userId="55a9e165-0d8a-4034-a14f-0bb29877055b" providerId="ADAL" clId="{E4981308-85D0-BD4E-B579-5764B255B7FA}" dt="2025-06-05T11:04:41.436" v="1436" actId="947"/>
          <ac:spMkLst>
            <pc:docMk/>
            <pc:sldMk cId="531959542" sldId="266"/>
            <ac:spMk id="529" creationId="{B947A8BA-A3D6-DD18-225E-918B6FAA0F6D}"/>
          </ac:spMkLst>
        </pc:spChg>
        <pc:spChg chg="mod">
          <ac:chgData name="Benedicte Aas Glad" userId="55a9e165-0d8a-4034-a14f-0bb29877055b" providerId="ADAL" clId="{E4981308-85D0-BD4E-B579-5764B255B7FA}" dt="2025-06-05T11:04:41.436" v="1434" actId="947"/>
          <ac:spMkLst>
            <pc:docMk/>
            <pc:sldMk cId="531959542" sldId="266"/>
            <ac:spMk id="530" creationId="{57FEA73C-BC3B-9502-E92B-741A268A5400}"/>
          </ac:spMkLst>
        </pc:spChg>
        <pc:spChg chg="mod">
          <ac:chgData name="Benedicte Aas Glad" userId="55a9e165-0d8a-4034-a14f-0bb29877055b" providerId="ADAL" clId="{E4981308-85D0-BD4E-B579-5764B255B7FA}" dt="2025-06-05T11:04:41.435" v="1432" actId="947"/>
          <ac:spMkLst>
            <pc:docMk/>
            <pc:sldMk cId="531959542" sldId="266"/>
            <ac:spMk id="531" creationId="{FB04EDD3-9733-AD6B-40DB-E32F30B1C0E7}"/>
          </ac:spMkLst>
        </pc:spChg>
        <pc:spChg chg="mod">
          <ac:chgData name="Benedicte Aas Glad" userId="55a9e165-0d8a-4034-a14f-0bb29877055b" providerId="ADAL" clId="{E4981308-85D0-BD4E-B579-5764B255B7FA}" dt="2025-06-06T08:44:56.092" v="3667" actId="1035"/>
          <ac:spMkLst>
            <pc:docMk/>
            <pc:sldMk cId="531959542" sldId="266"/>
            <ac:spMk id="532" creationId="{76FB9A99-77A1-E31B-48C8-505628D0555B}"/>
          </ac:spMkLst>
        </pc:spChg>
        <pc:spChg chg="mod">
          <ac:chgData name="Benedicte Aas Glad" userId="55a9e165-0d8a-4034-a14f-0bb29877055b" providerId="ADAL" clId="{E4981308-85D0-BD4E-B579-5764B255B7FA}" dt="2025-06-06T08:40:25.876" v="3138" actId="20577"/>
          <ac:spMkLst>
            <pc:docMk/>
            <pc:sldMk cId="531959542" sldId="266"/>
            <ac:spMk id="533" creationId="{B5563979-11C0-20E0-6791-69DC74FFCC0A}"/>
          </ac:spMkLst>
        </pc:spChg>
        <pc:spChg chg="mod">
          <ac:chgData name="Benedicte Aas Glad" userId="55a9e165-0d8a-4034-a14f-0bb29877055b" providerId="ADAL" clId="{E4981308-85D0-BD4E-B579-5764B255B7FA}" dt="2025-06-06T08:44:56.092" v="3667" actId="1035"/>
          <ac:spMkLst>
            <pc:docMk/>
            <pc:sldMk cId="531959542" sldId="266"/>
            <ac:spMk id="535" creationId="{33A7EF87-0810-21D8-7284-0BB998589CCC}"/>
          </ac:spMkLst>
        </pc:spChg>
        <pc:spChg chg="add mod">
          <ac:chgData name="Benedicte Aas Glad" userId="55a9e165-0d8a-4034-a14f-0bb29877055b" providerId="ADAL" clId="{E4981308-85D0-BD4E-B579-5764B255B7FA}" dt="2025-06-06T08:34:33.860" v="2762" actId="20577"/>
          <ac:spMkLst>
            <pc:docMk/>
            <pc:sldMk cId="531959542" sldId="266"/>
            <ac:spMk id="539" creationId="{C57D2543-9616-DF33-1E9E-5E3F2CC692AE}"/>
          </ac:spMkLst>
        </pc:spChg>
        <pc:graphicFrameChg chg="mod">
          <ac:chgData name="Benedicte Aas Glad" userId="55a9e165-0d8a-4034-a14f-0bb29877055b" providerId="ADAL" clId="{E4981308-85D0-BD4E-B579-5764B255B7FA}" dt="2025-06-05T11:04:41.584" v="1912"/>
          <ac:graphicFrameMkLst>
            <pc:docMk/>
            <pc:sldMk cId="531959542" sldId="266"/>
            <ac:graphicFrameMk id="537" creationId="{0574C6C2-EF60-DF62-464A-B8C1A7C4C5C0}"/>
          </ac:graphicFrameMkLst>
        </pc:graphicFrameChg>
        <pc:picChg chg="add mod">
          <ac:chgData name="Benedicte Aas Glad" userId="55a9e165-0d8a-4034-a14f-0bb29877055b" providerId="ADAL" clId="{E4981308-85D0-BD4E-B579-5764B255B7FA}" dt="2025-06-05T11:03:34.473" v="810" actId="1076"/>
          <ac:picMkLst>
            <pc:docMk/>
            <pc:sldMk cId="531959542" sldId="266"/>
            <ac:picMk id="538" creationId="{751E77F8-C6AD-ED3E-29F3-E432EBFF99C8}"/>
          </ac:picMkLst>
        </pc:picChg>
      </pc:sldChg>
      <pc:sldChg chg="add">
        <pc:chgData name="Benedicte Aas Glad" userId="55a9e165-0d8a-4034-a14f-0bb29877055b" providerId="ADAL" clId="{E4981308-85D0-BD4E-B579-5764B255B7FA}" dt="2025-06-03T12:23:56.961" v="2"/>
        <pc:sldMkLst>
          <pc:docMk/>
          <pc:sldMk cId="95824813" sldId="272"/>
        </pc:sldMkLst>
      </pc:sldChg>
      <pc:sldChg chg="add">
        <pc:chgData name="Benedicte Aas Glad" userId="55a9e165-0d8a-4034-a14f-0bb29877055b" providerId="ADAL" clId="{E4981308-85D0-BD4E-B579-5764B255B7FA}" dt="2025-06-03T12:23:56.961" v="2"/>
        <pc:sldMkLst>
          <pc:docMk/>
          <pc:sldMk cId="2367811512" sldId="273"/>
        </pc:sldMkLst>
      </pc:sldChg>
      <pc:sldChg chg="addSp delSp modSp add del mod">
        <pc:chgData name="Benedicte Aas Glad" userId="55a9e165-0d8a-4034-a14f-0bb29877055b" providerId="ADAL" clId="{E4981308-85D0-BD4E-B579-5764B255B7FA}" dt="2025-06-11T19:36:56.392" v="4096" actId="2696"/>
        <pc:sldMkLst>
          <pc:docMk/>
          <pc:sldMk cId="259941495" sldId="275"/>
        </pc:sldMkLst>
      </pc:sldChg>
      <pc:sldChg chg="add">
        <pc:chgData name="Benedicte Aas Glad" userId="55a9e165-0d8a-4034-a14f-0bb29877055b" providerId="ADAL" clId="{E4981308-85D0-BD4E-B579-5764B255B7FA}" dt="2025-06-03T12:23:56.961" v="2"/>
        <pc:sldMkLst>
          <pc:docMk/>
          <pc:sldMk cId="986583842" sldId="278"/>
        </pc:sldMkLst>
      </pc:sldChg>
      <pc:sldChg chg="add ord">
        <pc:chgData name="Benedicte Aas Glad" userId="55a9e165-0d8a-4034-a14f-0bb29877055b" providerId="ADAL" clId="{E4981308-85D0-BD4E-B579-5764B255B7FA}" dt="2025-06-03T12:35:40.026" v="4" actId="20578"/>
        <pc:sldMkLst>
          <pc:docMk/>
          <pc:sldMk cId="3791136380" sldId="2147477928"/>
        </pc:sldMkLst>
      </pc:sldChg>
      <pc:sldChg chg="add ord">
        <pc:chgData name="Benedicte Aas Glad" userId="55a9e165-0d8a-4034-a14f-0bb29877055b" providerId="ADAL" clId="{E4981308-85D0-BD4E-B579-5764B255B7FA}" dt="2025-06-03T12:35:40.026" v="4" actId="20578"/>
        <pc:sldMkLst>
          <pc:docMk/>
          <pc:sldMk cId="881418029" sldId="2147477929"/>
        </pc:sldMkLst>
      </pc:sldChg>
      <pc:sldChg chg="add del ord">
        <pc:chgData name="Benedicte Aas Glad" userId="55a9e165-0d8a-4034-a14f-0bb29877055b" providerId="ADAL" clId="{E4981308-85D0-BD4E-B579-5764B255B7FA}" dt="2025-06-05T09:43:53.348" v="8" actId="2696"/>
        <pc:sldMkLst>
          <pc:docMk/>
          <pc:sldMk cId="121160983" sldId="2147477936"/>
        </pc:sldMkLst>
      </pc:sldChg>
      <pc:sldChg chg="add ord">
        <pc:chgData name="Benedicte Aas Glad" userId="55a9e165-0d8a-4034-a14f-0bb29877055b" providerId="ADAL" clId="{E4981308-85D0-BD4E-B579-5764B255B7FA}" dt="2025-06-03T12:35:40.026" v="4" actId="20578"/>
        <pc:sldMkLst>
          <pc:docMk/>
          <pc:sldMk cId="1445751863" sldId="2147477953"/>
        </pc:sldMkLst>
      </pc:sldChg>
      <pc:sldChg chg="add ord">
        <pc:chgData name="Benedicte Aas Glad" userId="55a9e165-0d8a-4034-a14f-0bb29877055b" providerId="ADAL" clId="{E4981308-85D0-BD4E-B579-5764B255B7FA}" dt="2025-06-03T12:35:40.026" v="4" actId="20578"/>
        <pc:sldMkLst>
          <pc:docMk/>
          <pc:sldMk cId="1305974747" sldId="2147477979"/>
        </pc:sldMkLst>
      </pc:sldChg>
      <pc:sldChg chg="add">
        <pc:chgData name="Benedicte Aas Glad" userId="55a9e165-0d8a-4034-a14f-0bb29877055b" providerId="ADAL" clId="{E4981308-85D0-BD4E-B579-5764B255B7FA}" dt="2025-06-03T12:23:56.961" v="2"/>
        <pc:sldMkLst>
          <pc:docMk/>
          <pc:sldMk cId="3426385363" sldId="2147477986"/>
        </pc:sldMkLst>
      </pc:sldChg>
      <pc:sldChg chg="add del">
        <pc:chgData name="Benedicte Aas Glad" userId="55a9e165-0d8a-4034-a14f-0bb29877055b" providerId="ADAL" clId="{E4981308-85D0-BD4E-B579-5764B255B7FA}" dt="2025-06-12T07:53:36.588" v="5127" actId="2696"/>
        <pc:sldMkLst>
          <pc:docMk/>
          <pc:sldMk cId="3510433400" sldId="2147477999"/>
        </pc:sldMkLst>
      </pc:sldChg>
      <pc:sldChg chg="add ord">
        <pc:chgData name="Benedicte Aas Glad" userId="55a9e165-0d8a-4034-a14f-0bb29877055b" providerId="ADAL" clId="{E4981308-85D0-BD4E-B579-5764B255B7FA}" dt="2025-06-03T12:35:40.026" v="4" actId="20578"/>
        <pc:sldMkLst>
          <pc:docMk/>
          <pc:sldMk cId="2131935477" sldId="2147478002"/>
        </pc:sldMkLst>
      </pc:sldChg>
      <pc:sldChg chg="add ord">
        <pc:chgData name="Benedicte Aas Glad" userId="55a9e165-0d8a-4034-a14f-0bb29877055b" providerId="ADAL" clId="{E4981308-85D0-BD4E-B579-5764B255B7FA}" dt="2025-06-03T12:35:40.026" v="4" actId="20578"/>
        <pc:sldMkLst>
          <pc:docMk/>
          <pc:sldMk cId="3298313846" sldId="2147478004"/>
        </pc:sldMkLst>
      </pc:sldChg>
      <pc:sldChg chg="addSp delSp modSp add mod">
        <pc:chgData name="Benedicte Aas Glad" userId="55a9e165-0d8a-4034-a14f-0bb29877055b" providerId="ADAL" clId="{E4981308-85D0-BD4E-B579-5764B255B7FA}" dt="2025-06-11T11:29:55.096" v="4062" actId="403"/>
        <pc:sldMkLst>
          <pc:docMk/>
          <pc:sldMk cId="59814507" sldId="2147478008"/>
        </pc:sldMkLst>
        <pc:spChg chg="mod">
          <ac:chgData name="Benedicte Aas Glad" userId="55a9e165-0d8a-4034-a14f-0bb29877055b" providerId="ADAL" clId="{E4981308-85D0-BD4E-B579-5764B255B7FA}" dt="2025-06-11T11:29:29.616" v="4060" actId="2085"/>
          <ac:spMkLst>
            <pc:docMk/>
            <pc:sldMk cId="59814507" sldId="2147478008"/>
            <ac:spMk id="2" creationId="{5342932E-C6D4-11B3-2BA3-90E32273E3DC}"/>
          </ac:spMkLst>
        </pc:spChg>
        <pc:spChg chg="mod">
          <ac:chgData name="Benedicte Aas Glad" userId="55a9e165-0d8a-4034-a14f-0bb29877055b" providerId="ADAL" clId="{E4981308-85D0-BD4E-B579-5764B255B7FA}" dt="2025-06-11T11:29:29.616" v="4060" actId="2085"/>
          <ac:spMkLst>
            <pc:docMk/>
            <pc:sldMk cId="59814507" sldId="2147478008"/>
            <ac:spMk id="3" creationId="{9FF34FCB-FBA1-3DAB-DEBC-6222EC64F0F6}"/>
          </ac:spMkLst>
        </pc:spChg>
        <pc:spChg chg="mod">
          <ac:chgData name="Benedicte Aas Glad" userId="55a9e165-0d8a-4034-a14f-0bb29877055b" providerId="ADAL" clId="{E4981308-85D0-BD4E-B579-5764B255B7FA}" dt="2025-06-11T11:29:29.616" v="4060" actId="2085"/>
          <ac:spMkLst>
            <pc:docMk/>
            <pc:sldMk cId="59814507" sldId="2147478008"/>
            <ac:spMk id="4" creationId="{798EE962-E815-CD66-020A-6810732BB072}"/>
          </ac:spMkLst>
        </pc:spChg>
        <pc:spChg chg="mod">
          <ac:chgData name="Benedicte Aas Glad" userId="55a9e165-0d8a-4034-a14f-0bb29877055b" providerId="ADAL" clId="{E4981308-85D0-BD4E-B579-5764B255B7FA}" dt="2025-06-11T11:29:29.616" v="4060" actId="2085"/>
          <ac:spMkLst>
            <pc:docMk/>
            <pc:sldMk cId="59814507" sldId="2147478008"/>
            <ac:spMk id="5" creationId="{B6264CD0-A848-ED18-7687-0FB2A23C1053}"/>
          </ac:spMkLst>
        </pc:spChg>
        <pc:spChg chg="mod">
          <ac:chgData name="Benedicte Aas Glad" userId="55a9e165-0d8a-4034-a14f-0bb29877055b" providerId="ADAL" clId="{E4981308-85D0-BD4E-B579-5764B255B7FA}" dt="2025-06-06T09:50:18.343" v="3785" actId="14100"/>
          <ac:spMkLst>
            <pc:docMk/>
            <pc:sldMk cId="59814507" sldId="2147478008"/>
            <ac:spMk id="8" creationId="{BDD61DA2-D8A2-3B27-D065-A113101C3C07}"/>
          </ac:spMkLst>
        </pc:spChg>
        <pc:spChg chg="mod">
          <ac:chgData name="Benedicte Aas Glad" userId="55a9e165-0d8a-4034-a14f-0bb29877055b" providerId="ADAL" clId="{E4981308-85D0-BD4E-B579-5764B255B7FA}" dt="2025-06-06T09:50:13.122" v="3784" actId="14100"/>
          <ac:spMkLst>
            <pc:docMk/>
            <pc:sldMk cId="59814507" sldId="2147478008"/>
            <ac:spMk id="9" creationId="{868AC4C4-D7C7-DB9A-46C9-34F67F69172C}"/>
          </ac:spMkLst>
        </pc:spChg>
        <pc:spChg chg="mod">
          <ac:chgData name="Benedicte Aas Glad" userId="55a9e165-0d8a-4034-a14f-0bb29877055b" providerId="ADAL" clId="{E4981308-85D0-BD4E-B579-5764B255B7FA}" dt="2025-06-06T09:50:06.962" v="3783" actId="1036"/>
          <ac:spMkLst>
            <pc:docMk/>
            <pc:sldMk cId="59814507" sldId="2147478008"/>
            <ac:spMk id="10" creationId="{6229D1AD-CF07-739F-6FB1-08149ABAA43F}"/>
          </ac:spMkLst>
        </pc:spChg>
        <pc:spChg chg="mod">
          <ac:chgData name="Benedicte Aas Glad" userId="55a9e165-0d8a-4034-a14f-0bb29877055b" providerId="ADAL" clId="{E4981308-85D0-BD4E-B579-5764B255B7FA}" dt="2025-06-06T09:50:22.973" v="3786" actId="1076"/>
          <ac:spMkLst>
            <pc:docMk/>
            <pc:sldMk cId="59814507" sldId="2147478008"/>
            <ac:spMk id="14" creationId="{A8284601-4BF2-34C4-F197-4CA18435918E}"/>
          </ac:spMkLst>
        </pc:spChg>
        <pc:spChg chg="mod">
          <ac:chgData name="Benedicte Aas Glad" userId="55a9e165-0d8a-4034-a14f-0bb29877055b" providerId="ADAL" clId="{E4981308-85D0-BD4E-B579-5764B255B7FA}" dt="2025-06-06T09:50:06.962" v="3783" actId="1036"/>
          <ac:spMkLst>
            <pc:docMk/>
            <pc:sldMk cId="59814507" sldId="2147478008"/>
            <ac:spMk id="15" creationId="{A9B97E62-A54B-6BF5-095F-64750B32D5FA}"/>
          </ac:spMkLst>
        </pc:spChg>
        <pc:spChg chg="add mod">
          <ac:chgData name="Benedicte Aas Glad" userId="55a9e165-0d8a-4034-a14f-0bb29877055b" providerId="ADAL" clId="{E4981308-85D0-BD4E-B579-5764B255B7FA}" dt="2025-06-06T09:50:50.789" v="3791" actId="14100"/>
          <ac:spMkLst>
            <pc:docMk/>
            <pc:sldMk cId="59814507" sldId="2147478008"/>
            <ac:spMk id="18" creationId="{F67CE4A8-AB3A-9F19-1959-F39A8D4A6421}"/>
          </ac:spMkLst>
        </pc:spChg>
        <pc:spChg chg="mod">
          <ac:chgData name="Benedicte Aas Glad" userId="55a9e165-0d8a-4034-a14f-0bb29877055b" providerId="ADAL" clId="{E4981308-85D0-BD4E-B579-5764B255B7FA}" dt="2025-06-11T11:29:29.616" v="4060" actId="2085"/>
          <ac:spMkLst>
            <pc:docMk/>
            <pc:sldMk cId="59814507" sldId="2147478008"/>
            <ac:spMk id="23" creationId="{7FDE2B00-A76B-3EF7-E4E6-FD06EA31FA4A}"/>
          </ac:spMkLst>
        </pc:spChg>
        <pc:spChg chg="mod">
          <ac:chgData name="Benedicte Aas Glad" userId="55a9e165-0d8a-4034-a14f-0bb29877055b" providerId="ADAL" clId="{E4981308-85D0-BD4E-B579-5764B255B7FA}" dt="2025-06-11T11:29:29.616" v="4060" actId="2085"/>
          <ac:spMkLst>
            <pc:docMk/>
            <pc:sldMk cId="59814507" sldId="2147478008"/>
            <ac:spMk id="26" creationId="{5D7D2AC3-BCE8-7085-367E-F6C6AADB1F79}"/>
          </ac:spMkLst>
        </pc:spChg>
        <pc:spChg chg="mod">
          <ac:chgData name="Benedicte Aas Glad" userId="55a9e165-0d8a-4034-a14f-0bb29877055b" providerId="ADAL" clId="{E4981308-85D0-BD4E-B579-5764B255B7FA}" dt="2025-06-11T11:29:55.096" v="4062" actId="403"/>
          <ac:spMkLst>
            <pc:docMk/>
            <pc:sldMk cId="59814507" sldId="2147478008"/>
            <ac:spMk id="28" creationId="{C3EB241B-1854-3A56-5537-F2E43850DBFB}"/>
          </ac:spMkLst>
        </pc:spChg>
        <pc:spChg chg="mod">
          <ac:chgData name="Benedicte Aas Glad" userId="55a9e165-0d8a-4034-a14f-0bb29877055b" providerId="ADAL" clId="{E4981308-85D0-BD4E-B579-5764B255B7FA}" dt="2025-06-11T11:29:29.616" v="4060" actId="2085"/>
          <ac:spMkLst>
            <pc:docMk/>
            <pc:sldMk cId="59814507" sldId="2147478008"/>
            <ac:spMk id="49" creationId="{102D3F94-CA53-3856-F1D7-8CCC1C46FD48}"/>
          </ac:spMkLst>
        </pc:spChg>
        <pc:spChg chg="add mod">
          <ac:chgData name="Benedicte Aas Glad" userId="55a9e165-0d8a-4034-a14f-0bb29877055b" providerId="ADAL" clId="{E4981308-85D0-BD4E-B579-5764B255B7FA}" dt="2025-06-06T09:51:19.908" v="3795" actId="14100"/>
          <ac:spMkLst>
            <pc:docMk/>
            <pc:sldMk cId="59814507" sldId="2147478008"/>
            <ac:spMk id="62" creationId="{1D51A1F9-53F2-1ADE-CC51-36D79066531E}"/>
          </ac:spMkLst>
        </pc:spChg>
        <pc:spChg chg="mod">
          <ac:chgData name="Benedicte Aas Glad" userId="55a9e165-0d8a-4034-a14f-0bb29877055b" providerId="ADAL" clId="{E4981308-85D0-BD4E-B579-5764B255B7FA}" dt="2025-06-11T11:29:29.616" v="4060" actId="2085"/>
          <ac:spMkLst>
            <pc:docMk/>
            <pc:sldMk cId="59814507" sldId="2147478008"/>
            <ac:spMk id="68" creationId="{CDD8F48F-3628-B602-899F-172A9FC919C9}"/>
          </ac:spMkLst>
        </pc:spChg>
        <pc:spChg chg="mod">
          <ac:chgData name="Benedicte Aas Glad" userId="55a9e165-0d8a-4034-a14f-0bb29877055b" providerId="ADAL" clId="{E4981308-85D0-BD4E-B579-5764B255B7FA}" dt="2025-06-11T11:29:29.616" v="4060" actId="2085"/>
          <ac:spMkLst>
            <pc:docMk/>
            <pc:sldMk cId="59814507" sldId="2147478008"/>
            <ac:spMk id="69" creationId="{1581FE4E-4130-3210-0FDC-C3383D377978}"/>
          </ac:spMkLst>
        </pc:spChg>
        <pc:spChg chg="mod">
          <ac:chgData name="Benedicte Aas Glad" userId="55a9e165-0d8a-4034-a14f-0bb29877055b" providerId="ADAL" clId="{E4981308-85D0-BD4E-B579-5764B255B7FA}" dt="2025-06-11T11:29:29.616" v="4060" actId="2085"/>
          <ac:spMkLst>
            <pc:docMk/>
            <pc:sldMk cId="59814507" sldId="2147478008"/>
            <ac:spMk id="77" creationId="{CBEA08D1-7FA5-AAA5-696B-5A70AA647099}"/>
          </ac:spMkLst>
        </pc:spChg>
      </pc:sldChg>
      <pc:sldChg chg="add">
        <pc:chgData name="Benedicte Aas Glad" userId="55a9e165-0d8a-4034-a14f-0bb29877055b" providerId="ADAL" clId="{E4981308-85D0-BD4E-B579-5764B255B7FA}" dt="2025-06-03T12:23:56.961" v="2"/>
        <pc:sldMkLst>
          <pc:docMk/>
          <pc:sldMk cId="2585675529" sldId="2147478011"/>
        </pc:sldMkLst>
      </pc:sldChg>
      <pc:sldChg chg="addSp delSp modSp add del mod ord">
        <pc:chgData name="Benedicte Aas Glad" userId="55a9e165-0d8a-4034-a14f-0bb29877055b" providerId="ADAL" clId="{E4981308-85D0-BD4E-B579-5764B255B7FA}" dt="2025-06-11T20:08:35.800" v="5125" actId="2696"/>
        <pc:sldMkLst>
          <pc:docMk/>
          <pc:sldMk cId="2113800702" sldId="2147478041"/>
        </pc:sldMkLst>
        <pc:spChg chg="mod">
          <ac:chgData name="Benedicte Aas Glad" userId="55a9e165-0d8a-4034-a14f-0bb29877055b" providerId="ADAL" clId="{E4981308-85D0-BD4E-B579-5764B255B7FA}" dt="2025-06-11T19:36:46.333" v="4093"/>
          <ac:spMkLst>
            <pc:docMk/>
            <pc:sldMk cId="2113800702" sldId="2147478041"/>
            <ac:spMk id="24" creationId="{91EFD6DE-F776-C58D-48F7-937E53D3DA45}"/>
          </ac:spMkLst>
        </pc:spChg>
        <pc:spChg chg="mod">
          <ac:chgData name="Benedicte Aas Glad" userId="55a9e165-0d8a-4034-a14f-0bb29877055b" providerId="ADAL" clId="{E4981308-85D0-BD4E-B579-5764B255B7FA}" dt="2025-06-11T19:36:46.333" v="4093"/>
          <ac:spMkLst>
            <pc:docMk/>
            <pc:sldMk cId="2113800702" sldId="2147478041"/>
            <ac:spMk id="32" creationId="{40D882D8-AF1E-AA06-C74D-B37DB5014D27}"/>
          </ac:spMkLst>
        </pc:spChg>
        <pc:spChg chg="mod">
          <ac:chgData name="Benedicte Aas Glad" userId="55a9e165-0d8a-4034-a14f-0bb29877055b" providerId="ADAL" clId="{E4981308-85D0-BD4E-B579-5764B255B7FA}" dt="2025-06-11T19:36:46.333" v="4093"/>
          <ac:spMkLst>
            <pc:docMk/>
            <pc:sldMk cId="2113800702" sldId="2147478041"/>
            <ac:spMk id="562" creationId="{F15F0F68-2662-7E42-CC6C-08DDB1DF5C9B}"/>
          </ac:spMkLst>
        </pc:spChg>
        <pc:spChg chg="mod">
          <ac:chgData name="Benedicte Aas Glad" userId="55a9e165-0d8a-4034-a14f-0bb29877055b" providerId="ADAL" clId="{E4981308-85D0-BD4E-B579-5764B255B7FA}" dt="2025-06-11T19:36:46.333" v="4093"/>
          <ac:spMkLst>
            <pc:docMk/>
            <pc:sldMk cId="2113800702" sldId="2147478041"/>
            <ac:spMk id="563" creationId="{19EB534B-18AA-E8CF-528C-F7BB0932FDFD}"/>
          </ac:spMkLst>
        </pc:spChg>
        <pc:spChg chg="mod">
          <ac:chgData name="Benedicte Aas Glad" userId="55a9e165-0d8a-4034-a14f-0bb29877055b" providerId="ADAL" clId="{E4981308-85D0-BD4E-B579-5764B255B7FA}" dt="2025-06-11T19:36:46.333" v="4093"/>
          <ac:spMkLst>
            <pc:docMk/>
            <pc:sldMk cId="2113800702" sldId="2147478041"/>
            <ac:spMk id="581" creationId="{CAE394EA-79BB-1BFC-B955-8215A8F1605E}"/>
          </ac:spMkLst>
        </pc:spChg>
        <pc:spChg chg="mod">
          <ac:chgData name="Benedicte Aas Glad" userId="55a9e165-0d8a-4034-a14f-0bb29877055b" providerId="ADAL" clId="{E4981308-85D0-BD4E-B579-5764B255B7FA}" dt="2025-06-11T19:36:46.333" v="4093"/>
          <ac:spMkLst>
            <pc:docMk/>
            <pc:sldMk cId="2113800702" sldId="2147478041"/>
            <ac:spMk id="588" creationId="{84703DD1-30C5-A66B-D31D-3769E13FFBD4}"/>
          </ac:spMkLst>
        </pc:spChg>
        <pc:spChg chg="mod">
          <ac:chgData name="Benedicte Aas Glad" userId="55a9e165-0d8a-4034-a14f-0bb29877055b" providerId="ADAL" clId="{E4981308-85D0-BD4E-B579-5764B255B7FA}" dt="2025-06-11T19:36:46.333" v="4093"/>
          <ac:spMkLst>
            <pc:docMk/>
            <pc:sldMk cId="2113800702" sldId="2147478041"/>
            <ac:spMk id="608" creationId="{91A53C7B-20B0-0552-8036-FA7A1CCEA284}"/>
          </ac:spMkLst>
        </pc:spChg>
        <pc:spChg chg="mod">
          <ac:chgData name="Benedicte Aas Glad" userId="55a9e165-0d8a-4034-a14f-0bb29877055b" providerId="ADAL" clId="{E4981308-85D0-BD4E-B579-5764B255B7FA}" dt="2025-06-11T19:36:46.333" v="4093"/>
          <ac:spMkLst>
            <pc:docMk/>
            <pc:sldMk cId="2113800702" sldId="2147478041"/>
            <ac:spMk id="650" creationId="{29A7E44A-585C-3011-9DAD-AA5FE43A0E42}"/>
          </ac:spMkLst>
        </pc:spChg>
        <pc:spChg chg="mod">
          <ac:chgData name="Benedicte Aas Glad" userId="55a9e165-0d8a-4034-a14f-0bb29877055b" providerId="ADAL" clId="{E4981308-85D0-BD4E-B579-5764B255B7FA}" dt="2025-06-11T19:36:46.333" v="4093"/>
          <ac:spMkLst>
            <pc:docMk/>
            <pc:sldMk cId="2113800702" sldId="2147478041"/>
            <ac:spMk id="655" creationId="{797E4BFC-6846-22E3-61C8-2656CB7C0384}"/>
          </ac:spMkLst>
        </pc:spChg>
        <pc:spChg chg="mod">
          <ac:chgData name="Benedicte Aas Glad" userId="55a9e165-0d8a-4034-a14f-0bb29877055b" providerId="ADAL" clId="{E4981308-85D0-BD4E-B579-5764B255B7FA}" dt="2025-06-11T19:36:46.333" v="4093"/>
          <ac:spMkLst>
            <pc:docMk/>
            <pc:sldMk cId="2113800702" sldId="2147478041"/>
            <ac:spMk id="664" creationId="{27487C01-5B04-BE1E-88ED-BE31A146E9F3}"/>
          </ac:spMkLst>
        </pc:spChg>
        <pc:grpChg chg="mod">
          <ac:chgData name="Benedicte Aas Glad" userId="55a9e165-0d8a-4034-a14f-0bb29877055b" providerId="ADAL" clId="{E4981308-85D0-BD4E-B579-5764B255B7FA}" dt="2025-06-11T19:36:52.802" v="4095" actId="1076"/>
          <ac:grpSpMkLst>
            <pc:docMk/>
            <pc:sldMk cId="2113800702" sldId="2147478041"/>
            <ac:grpSpMk id="7" creationId="{E10B863D-AE4E-69C6-1926-CA8E1797737F}"/>
          </ac:grpSpMkLst>
        </pc:grpChg>
        <pc:graphicFrameChg chg="mod">
          <ac:chgData name="Benedicte Aas Glad" userId="55a9e165-0d8a-4034-a14f-0bb29877055b" providerId="ADAL" clId="{E4981308-85D0-BD4E-B579-5764B255B7FA}" dt="2025-06-11T19:37:33.942" v="4098" actId="255"/>
          <ac:graphicFrameMkLst>
            <pc:docMk/>
            <pc:sldMk cId="2113800702" sldId="2147478041"/>
            <ac:graphicFrameMk id="503" creationId="{1BF7A599-9884-A8CE-5AEE-D0EE872BD81F}"/>
          </ac:graphicFrameMkLst>
        </pc:graphicFrameChg>
      </pc:sldChg>
      <pc:sldChg chg="add ord">
        <pc:chgData name="Benedicte Aas Glad" userId="55a9e165-0d8a-4034-a14f-0bb29877055b" providerId="ADAL" clId="{E4981308-85D0-BD4E-B579-5764B255B7FA}" dt="2025-06-05T10:59:24.533" v="675" actId="20578"/>
        <pc:sldMkLst>
          <pc:docMk/>
          <pc:sldMk cId="47930016" sldId="2147478050"/>
        </pc:sldMkLst>
      </pc:sldChg>
      <pc:sldChg chg="add ord">
        <pc:chgData name="Benedicte Aas Glad" userId="55a9e165-0d8a-4034-a14f-0bb29877055b" providerId="ADAL" clId="{E4981308-85D0-BD4E-B579-5764B255B7FA}" dt="2025-06-03T12:36:11.394" v="7" actId="20578"/>
        <pc:sldMkLst>
          <pc:docMk/>
          <pc:sldMk cId="3321981643" sldId="2147478051"/>
        </pc:sldMkLst>
      </pc:sldChg>
      <pc:sldChg chg="addSp delSp modSp add mod ord">
        <pc:chgData name="Benedicte Aas Glad" userId="55a9e165-0d8a-4034-a14f-0bb29877055b" providerId="ADAL" clId="{E4981308-85D0-BD4E-B579-5764B255B7FA}" dt="2025-06-11T07:13:26.956" v="4057" actId="20577"/>
        <pc:sldMkLst>
          <pc:docMk/>
          <pc:sldMk cId="1372717528" sldId="2147478053"/>
        </pc:sldMkLst>
        <pc:spChg chg="mod">
          <ac:chgData name="Benedicte Aas Glad" userId="55a9e165-0d8a-4034-a14f-0bb29877055b" providerId="ADAL" clId="{E4981308-85D0-BD4E-B579-5764B255B7FA}" dt="2025-06-11T07:13:26.956" v="4057" actId="20577"/>
          <ac:spMkLst>
            <pc:docMk/>
            <pc:sldMk cId="1372717528" sldId="2147478053"/>
            <ac:spMk id="4" creationId="{EAD93288-1FD7-340B-7F25-335BFAD335CA}"/>
          </ac:spMkLst>
        </pc:spChg>
        <pc:spChg chg="add mod">
          <ac:chgData name="Benedicte Aas Glad" userId="55a9e165-0d8a-4034-a14f-0bb29877055b" providerId="ADAL" clId="{E4981308-85D0-BD4E-B579-5764B255B7FA}" dt="2025-06-11T07:12:55.824" v="4006" actId="20577"/>
          <ac:spMkLst>
            <pc:docMk/>
            <pc:sldMk cId="1372717528" sldId="2147478053"/>
            <ac:spMk id="5" creationId="{43E58AE3-2D9E-280E-773D-8EBC42082CA0}"/>
          </ac:spMkLst>
        </pc:spChg>
        <pc:spChg chg="mod">
          <ac:chgData name="Benedicte Aas Glad" userId="55a9e165-0d8a-4034-a14f-0bb29877055b" providerId="ADAL" clId="{E4981308-85D0-BD4E-B579-5764B255B7FA}" dt="2025-06-11T07:11:46.196" v="3905" actId="1037"/>
          <ac:spMkLst>
            <pc:docMk/>
            <pc:sldMk cId="1372717528" sldId="2147478053"/>
            <ac:spMk id="12" creationId="{BE1766D9-E6EE-8191-E879-D2CA511ACE0E}"/>
          </ac:spMkLst>
        </pc:spChg>
        <pc:spChg chg="mod">
          <ac:chgData name="Benedicte Aas Glad" userId="55a9e165-0d8a-4034-a14f-0bb29877055b" providerId="ADAL" clId="{E4981308-85D0-BD4E-B579-5764B255B7FA}" dt="2025-06-11T07:11:46.196" v="3905" actId="1037"/>
          <ac:spMkLst>
            <pc:docMk/>
            <pc:sldMk cId="1372717528" sldId="2147478053"/>
            <ac:spMk id="14" creationId="{6F11451E-17DB-7BAD-FCD1-4FE57FB24B84}"/>
          </ac:spMkLst>
        </pc:spChg>
        <pc:picChg chg="mod">
          <ac:chgData name="Benedicte Aas Glad" userId="55a9e165-0d8a-4034-a14f-0bb29877055b" providerId="ADAL" clId="{E4981308-85D0-BD4E-B579-5764B255B7FA}" dt="2025-06-11T07:11:46.196" v="3905" actId="1037"/>
          <ac:picMkLst>
            <pc:docMk/>
            <pc:sldMk cId="1372717528" sldId="2147478053"/>
            <ac:picMk id="15" creationId="{3C4638B2-9133-2AFF-6EA0-6A027B3E131C}"/>
          </ac:picMkLst>
        </pc:picChg>
        <pc:picChg chg="mod">
          <ac:chgData name="Benedicte Aas Glad" userId="55a9e165-0d8a-4034-a14f-0bb29877055b" providerId="ADAL" clId="{E4981308-85D0-BD4E-B579-5764B255B7FA}" dt="2025-06-11T07:11:46.196" v="3905" actId="1037"/>
          <ac:picMkLst>
            <pc:docMk/>
            <pc:sldMk cId="1372717528" sldId="2147478053"/>
            <ac:picMk id="20" creationId="{845FFFFF-3C43-D23F-E278-CB630509A347}"/>
          </ac:picMkLst>
        </pc:picChg>
      </pc:sldChg>
      <pc:sldChg chg="modSp add del mod">
        <pc:chgData name="Benedicte Aas Glad" userId="55a9e165-0d8a-4034-a14f-0bb29877055b" providerId="ADAL" clId="{E4981308-85D0-BD4E-B579-5764B255B7FA}" dt="2025-06-11T19:36:36.624" v="4092" actId="2696"/>
        <pc:sldMkLst>
          <pc:docMk/>
          <pc:sldMk cId="3708839777" sldId="2147478056"/>
        </pc:sldMkLst>
      </pc:sldChg>
      <pc:sldChg chg="modSp add mod ord">
        <pc:chgData name="Benedicte Aas Glad" userId="55a9e165-0d8a-4034-a14f-0bb29877055b" providerId="ADAL" clId="{E4981308-85D0-BD4E-B579-5764B255B7FA}" dt="2025-06-05T11:00:44.009" v="703" actId="20578"/>
        <pc:sldMkLst>
          <pc:docMk/>
          <pc:sldMk cId="3120009181" sldId="2147478057"/>
        </pc:sldMkLst>
        <pc:spChg chg="mod">
          <ac:chgData name="Benedicte Aas Glad" userId="55a9e165-0d8a-4034-a14f-0bb29877055b" providerId="ADAL" clId="{E4981308-85D0-BD4E-B579-5764B255B7FA}" dt="2025-06-05T11:00:02.644" v="702" actId="20577"/>
          <ac:spMkLst>
            <pc:docMk/>
            <pc:sldMk cId="3120009181" sldId="2147478057"/>
            <ac:spMk id="5" creationId="{20BC26A3-DAB7-6082-5A51-B0AADD8823A4}"/>
          </ac:spMkLst>
        </pc:spChg>
      </pc:sldChg>
      <pc:sldChg chg="add">
        <pc:chgData name="Benedicte Aas Glad" userId="55a9e165-0d8a-4034-a14f-0bb29877055b" providerId="ADAL" clId="{E4981308-85D0-BD4E-B579-5764B255B7FA}" dt="2025-06-06T09:58:16.926" v="3796" actId="2890"/>
        <pc:sldMkLst>
          <pc:docMk/>
          <pc:sldMk cId="3391294914" sldId="2147478058"/>
        </pc:sldMkLst>
      </pc:sldChg>
      <pc:sldChg chg="modSp">
        <pc:chgData name="Benedicte Aas Glad" userId="55a9e165-0d8a-4034-a14f-0bb29877055b" providerId="ADAL" clId="{E4981308-85D0-BD4E-B579-5764B255B7FA}" dt="2025-06-11T20:11:57.899" v="5126" actId="2085"/>
        <pc:sldMkLst>
          <pc:docMk/>
          <pc:sldMk cId="4003920697" sldId="2147478060"/>
        </pc:sldMkLst>
        <pc:graphicFrameChg chg="mod">
          <ac:chgData name="Benedicte Aas Glad" userId="55a9e165-0d8a-4034-a14f-0bb29877055b" providerId="ADAL" clId="{E4981308-85D0-BD4E-B579-5764B255B7FA}" dt="2025-06-11T20:11:57.899" v="5126" actId="2085"/>
          <ac:graphicFrameMkLst>
            <pc:docMk/>
            <pc:sldMk cId="4003920697" sldId="2147478060"/>
            <ac:graphicFrameMk id="503" creationId="{98AB6728-1FF5-AF7B-07A9-A57350ECF767}"/>
          </ac:graphicFrameMkLst>
        </pc:graphicFrameChg>
      </pc:sldChg>
      <pc:sldChg chg="addSp delSp modSp del mod modClrScheme chgLayout">
        <pc:chgData name="Benedicte Aas Glad" userId="55a9e165-0d8a-4034-a14f-0bb29877055b" providerId="ADAL" clId="{E4981308-85D0-BD4E-B579-5764B255B7FA}" dt="2025-06-11T19:49:46.535" v="4336" actId="2696"/>
        <pc:sldMkLst>
          <pc:docMk/>
          <pc:sldMk cId="2689959866" sldId="2147478061"/>
        </pc:sldMkLst>
      </pc:sldChg>
      <pc:sldChg chg="addSp delSp modSp mod">
        <pc:chgData name="Benedicte Aas Glad" userId="55a9e165-0d8a-4034-a14f-0bb29877055b" providerId="ADAL" clId="{E4981308-85D0-BD4E-B579-5764B255B7FA}" dt="2025-06-11T11:52:19.807" v="4090" actId="1076"/>
        <pc:sldMkLst>
          <pc:docMk/>
          <pc:sldMk cId="3032819932" sldId="2147478062"/>
        </pc:sldMkLst>
        <pc:spChg chg="mod">
          <ac:chgData name="Benedicte Aas Glad" userId="55a9e165-0d8a-4034-a14f-0bb29877055b" providerId="ADAL" clId="{E4981308-85D0-BD4E-B579-5764B255B7FA}" dt="2025-06-11T11:47:32.526" v="4065" actId="18245"/>
          <ac:spMkLst>
            <pc:docMk/>
            <pc:sldMk cId="3032819932" sldId="2147478062"/>
            <ac:spMk id="5" creationId="{223C66FB-39B5-9D8C-919B-7770A290A442}"/>
          </ac:spMkLst>
        </pc:spChg>
        <pc:spChg chg="mod">
          <ac:chgData name="Benedicte Aas Glad" userId="55a9e165-0d8a-4034-a14f-0bb29877055b" providerId="ADAL" clId="{E4981308-85D0-BD4E-B579-5764B255B7FA}" dt="2025-06-11T11:51:23.022" v="4077" actId="1076"/>
          <ac:spMkLst>
            <pc:docMk/>
            <pc:sldMk cId="3032819932" sldId="2147478062"/>
            <ac:spMk id="7" creationId="{C2976AAC-94D0-3586-DCB5-49AF8309E203}"/>
          </ac:spMkLst>
        </pc:spChg>
        <pc:spChg chg="mod">
          <ac:chgData name="Benedicte Aas Glad" userId="55a9e165-0d8a-4034-a14f-0bb29877055b" providerId="ADAL" clId="{E4981308-85D0-BD4E-B579-5764B255B7FA}" dt="2025-06-11T11:47:32.526" v="4065" actId="18245"/>
          <ac:spMkLst>
            <pc:docMk/>
            <pc:sldMk cId="3032819932" sldId="2147478062"/>
            <ac:spMk id="8" creationId="{588B9D59-F180-DFF8-C25E-F2FA6D7D0C70}"/>
          </ac:spMkLst>
        </pc:spChg>
        <pc:spChg chg="mod">
          <ac:chgData name="Benedicte Aas Glad" userId="55a9e165-0d8a-4034-a14f-0bb29877055b" providerId="ADAL" clId="{E4981308-85D0-BD4E-B579-5764B255B7FA}" dt="2025-06-11T11:47:55.637" v="4067" actId="20577"/>
          <ac:spMkLst>
            <pc:docMk/>
            <pc:sldMk cId="3032819932" sldId="2147478062"/>
            <ac:spMk id="10" creationId="{D260D5BD-B908-1179-E97D-96A84A10C145}"/>
          </ac:spMkLst>
        </pc:spChg>
        <pc:spChg chg="mod">
          <ac:chgData name="Benedicte Aas Glad" userId="55a9e165-0d8a-4034-a14f-0bb29877055b" providerId="ADAL" clId="{E4981308-85D0-BD4E-B579-5764B255B7FA}" dt="2025-06-11T11:47:08.758" v="4064" actId="1076"/>
          <ac:spMkLst>
            <pc:docMk/>
            <pc:sldMk cId="3032819932" sldId="2147478062"/>
            <ac:spMk id="11" creationId="{E9243736-EB94-78CA-6116-857A5817ECA0}"/>
          </ac:spMkLst>
        </pc:spChg>
        <pc:spChg chg="mod">
          <ac:chgData name="Benedicte Aas Glad" userId="55a9e165-0d8a-4034-a14f-0bb29877055b" providerId="ADAL" clId="{E4981308-85D0-BD4E-B579-5764B255B7FA}" dt="2025-06-11T11:47:32.526" v="4065" actId="18245"/>
          <ac:spMkLst>
            <pc:docMk/>
            <pc:sldMk cId="3032819932" sldId="2147478062"/>
            <ac:spMk id="14" creationId="{86625C35-03C3-B7B7-24A3-2B034FC3BA14}"/>
          </ac:spMkLst>
        </pc:spChg>
        <pc:grpChg chg="mod">
          <ac:chgData name="Benedicte Aas Glad" userId="55a9e165-0d8a-4034-a14f-0bb29877055b" providerId="ADAL" clId="{E4981308-85D0-BD4E-B579-5764B255B7FA}" dt="2025-06-11T11:52:11.106" v="4089" actId="1076"/>
          <ac:grpSpMkLst>
            <pc:docMk/>
            <pc:sldMk cId="3032819932" sldId="2147478062"/>
            <ac:grpSpMk id="4" creationId="{5C5C6019-ACD1-8B85-13DF-D47AEF27619D}"/>
          </ac:grpSpMkLst>
        </pc:grpChg>
        <pc:picChg chg="add mod">
          <ac:chgData name="Benedicte Aas Glad" userId="55a9e165-0d8a-4034-a14f-0bb29877055b" providerId="ADAL" clId="{E4981308-85D0-BD4E-B579-5764B255B7FA}" dt="2025-06-11T11:51:33.049" v="4079" actId="1076"/>
          <ac:picMkLst>
            <pc:docMk/>
            <pc:sldMk cId="3032819932" sldId="2147478062"/>
            <ac:picMk id="6" creationId="{6F278D0D-16EC-0321-113E-7CA89E0AFD6D}"/>
          </ac:picMkLst>
        </pc:picChg>
        <pc:picChg chg="add mod">
          <ac:chgData name="Benedicte Aas Glad" userId="55a9e165-0d8a-4034-a14f-0bb29877055b" providerId="ADAL" clId="{E4981308-85D0-BD4E-B579-5764B255B7FA}" dt="2025-06-11T11:52:19.807" v="4090" actId="1076"/>
          <ac:picMkLst>
            <pc:docMk/>
            <pc:sldMk cId="3032819932" sldId="2147478062"/>
            <ac:picMk id="13" creationId="{3C23EBB4-F3F5-2137-B070-4AC800FE3F6C}"/>
          </ac:picMkLst>
        </pc:picChg>
      </pc:sldChg>
      <pc:sldChg chg="addSp delSp modSp add mod ord">
        <pc:chgData name="Benedicte Aas Glad" userId="55a9e165-0d8a-4034-a14f-0bb29877055b" providerId="ADAL" clId="{E4981308-85D0-BD4E-B579-5764B255B7FA}" dt="2025-06-11T19:48:49.452" v="4335" actId="20577"/>
        <pc:sldMkLst>
          <pc:docMk/>
          <pc:sldMk cId="2164493424" sldId="2147478063"/>
        </pc:sldMkLst>
        <pc:spChg chg="mod">
          <ac:chgData name="Benedicte Aas Glad" userId="55a9e165-0d8a-4034-a14f-0bb29877055b" providerId="ADAL" clId="{E4981308-85D0-BD4E-B579-5764B255B7FA}" dt="2025-06-11T19:48:49.452" v="4335" actId="20577"/>
          <ac:spMkLst>
            <pc:docMk/>
            <pc:sldMk cId="2164493424" sldId="2147478063"/>
            <ac:spMk id="3" creationId="{7BBF7804-5F3D-4567-E9C7-9C58D06CDDD6}"/>
          </ac:spMkLst>
        </pc:spChg>
        <pc:spChg chg="mod">
          <ac:chgData name="Benedicte Aas Glad" userId="55a9e165-0d8a-4034-a14f-0bb29877055b" providerId="ADAL" clId="{E4981308-85D0-BD4E-B579-5764B255B7FA}" dt="2025-06-11T19:44:10.041" v="4263" actId="14100"/>
          <ac:spMkLst>
            <pc:docMk/>
            <pc:sldMk cId="2164493424" sldId="2147478063"/>
            <ac:spMk id="4" creationId="{F662038B-7E07-C1BD-76A2-57F3F205467E}"/>
          </ac:spMkLst>
        </pc:spChg>
        <pc:spChg chg="mod">
          <ac:chgData name="Benedicte Aas Glad" userId="55a9e165-0d8a-4034-a14f-0bb29877055b" providerId="ADAL" clId="{E4981308-85D0-BD4E-B579-5764B255B7FA}" dt="2025-06-11T19:44:14.574" v="4264" actId="14100"/>
          <ac:spMkLst>
            <pc:docMk/>
            <pc:sldMk cId="2164493424" sldId="2147478063"/>
            <ac:spMk id="6" creationId="{6B19107C-44F0-5C47-906F-FAAB0E34725E}"/>
          </ac:spMkLst>
        </pc:spChg>
        <pc:spChg chg="mod">
          <ac:chgData name="Benedicte Aas Glad" userId="55a9e165-0d8a-4034-a14f-0bb29877055b" providerId="ADAL" clId="{E4981308-85D0-BD4E-B579-5764B255B7FA}" dt="2025-06-11T19:44:10.041" v="4263" actId="14100"/>
          <ac:spMkLst>
            <pc:docMk/>
            <pc:sldMk cId="2164493424" sldId="2147478063"/>
            <ac:spMk id="7" creationId="{4BDEC64C-2AE8-A535-DE45-98EA2FE77D8F}"/>
          </ac:spMkLst>
        </pc:spChg>
        <pc:spChg chg="mod">
          <ac:chgData name="Benedicte Aas Glad" userId="55a9e165-0d8a-4034-a14f-0bb29877055b" providerId="ADAL" clId="{E4981308-85D0-BD4E-B579-5764B255B7FA}" dt="2025-06-11T19:42:19.095" v="4110" actId="2085"/>
          <ac:spMkLst>
            <pc:docMk/>
            <pc:sldMk cId="2164493424" sldId="2147478063"/>
            <ac:spMk id="8" creationId="{1C50E769-57FC-7967-A261-1C3E981D65A0}"/>
          </ac:spMkLst>
        </pc:spChg>
        <pc:spChg chg="mod">
          <ac:chgData name="Benedicte Aas Glad" userId="55a9e165-0d8a-4034-a14f-0bb29877055b" providerId="ADAL" clId="{E4981308-85D0-BD4E-B579-5764B255B7FA}" dt="2025-06-11T19:44:18.231" v="4265" actId="14100"/>
          <ac:spMkLst>
            <pc:docMk/>
            <pc:sldMk cId="2164493424" sldId="2147478063"/>
            <ac:spMk id="9" creationId="{E5E882EE-997D-F7E3-46D3-D271F24E0D32}"/>
          </ac:spMkLst>
        </pc:spChg>
        <pc:spChg chg="mod">
          <ac:chgData name="Benedicte Aas Glad" userId="55a9e165-0d8a-4034-a14f-0bb29877055b" providerId="ADAL" clId="{E4981308-85D0-BD4E-B579-5764B255B7FA}" dt="2025-06-11T19:44:10.041" v="4263" actId="14100"/>
          <ac:spMkLst>
            <pc:docMk/>
            <pc:sldMk cId="2164493424" sldId="2147478063"/>
            <ac:spMk id="10" creationId="{BD99CB3F-311C-5415-92D9-A6A4A69A3C0E}"/>
          </ac:spMkLst>
        </pc:spChg>
        <pc:spChg chg="mod">
          <ac:chgData name="Benedicte Aas Glad" userId="55a9e165-0d8a-4034-a14f-0bb29877055b" providerId="ADAL" clId="{E4981308-85D0-BD4E-B579-5764B255B7FA}" dt="2025-06-11T19:42:25.906" v="4111" actId="2085"/>
          <ac:spMkLst>
            <pc:docMk/>
            <pc:sldMk cId="2164493424" sldId="2147478063"/>
            <ac:spMk id="11" creationId="{4975FF0D-43B0-0835-AF43-CED4D86D9DA9}"/>
          </ac:spMkLst>
        </pc:spChg>
        <pc:spChg chg="mod">
          <ac:chgData name="Benedicte Aas Glad" userId="55a9e165-0d8a-4034-a14f-0bb29877055b" providerId="ADAL" clId="{E4981308-85D0-BD4E-B579-5764B255B7FA}" dt="2025-06-11T19:42:59.428" v="4162" actId="20577"/>
          <ac:spMkLst>
            <pc:docMk/>
            <pc:sldMk cId="2164493424" sldId="2147478063"/>
            <ac:spMk id="12" creationId="{A52147F8-3AF7-36F0-33A5-EEC19D9EBB0E}"/>
          </ac:spMkLst>
        </pc:spChg>
        <pc:grpChg chg="mod">
          <ac:chgData name="Benedicte Aas Glad" userId="55a9e165-0d8a-4034-a14f-0bb29877055b" providerId="ADAL" clId="{E4981308-85D0-BD4E-B579-5764B255B7FA}" dt="2025-06-11T19:46:00.765" v="4272" actId="1076"/>
          <ac:grpSpMkLst>
            <pc:docMk/>
            <pc:sldMk cId="2164493424" sldId="2147478063"/>
            <ac:grpSpMk id="2" creationId="{43C94758-4039-0857-7243-587B888A2117}"/>
          </ac:grpSpMkLst>
        </pc:grpChg>
        <pc:picChg chg="add mod">
          <ac:chgData name="Benedicte Aas Glad" userId="55a9e165-0d8a-4034-a14f-0bb29877055b" providerId="ADAL" clId="{E4981308-85D0-BD4E-B579-5764B255B7FA}" dt="2025-06-11T19:46:24.021" v="4274" actId="1076"/>
          <ac:picMkLst>
            <pc:docMk/>
            <pc:sldMk cId="2164493424" sldId="2147478063"/>
            <ac:picMk id="14" creationId="{5BDC5FAC-40F1-527F-152F-7E301C6B3CA5}"/>
          </ac:picMkLst>
        </pc:picChg>
      </pc:sldChg>
      <pc:sldChg chg="del">
        <pc:chgData name="Benedicte Aas Glad" userId="55a9e165-0d8a-4034-a14f-0bb29877055b" providerId="ADAL" clId="{E4981308-85D0-BD4E-B579-5764B255B7FA}" dt="2025-06-11T19:37:47.897" v="4099" actId="2696"/>
        <pc:sldMkLst>
          <pc:docMk/>
          <pc:sldMk cId="3043597025" sldId="2147478063"/>
        </pc:sldMkLst>
      </pc:sldChg>
      <pc:sldChg chg="new del">
        <pc:chgData name="Benedicte Aas Glad" userId="55a9e165-0d8a-4034-a14f-0bb29877055b" providerId="ADAL" clId="{E4981308-85D0-BD4E-B579-5764B255B7FA}" dt="2025-06-11T19:49:58.786" v="4338" actId="2696"/>
        <pc:sldMkLst>
          <pc:docMk/>
          <pc:sldMk cId="722000768" sldId="2147478064"/>
        </pc:sldMkLst>
      </pc:sldChg>
      <pc:sldChg chg="addSp delSp modSp new del mod">
        <pc:chgData name="Benedicte Aas Glad" userId="55a9e165-0d8a-4034-a14f-0bb29877055b" providerId="ADAL" clId="{E4981308-85D0-BD4E-B579-5764B255B7FA}" dt="2025-06-11T19:50:35.592" v="4366" actId="2696"/>
        <pc:sldMkLst>
          <pc:docMk/>
          <pc:sldMk cId="956762924" sldId="2147478064"/>
        </pc:sldMkLst>
      </pc:sldChg>
      <pc:sldChg chg="new del">
        <pc:chgData name="Benedicte Aas Glad" userId="55a9e165-0d8a-4034-a14f-0bb29877055b" providerId="ADAL" clId="{E4981308-85D0-BD4E-B579-5764B255B7FA}" dt="2025-06-11T19:51:04.725" v="4369" actId="2696"/>
        <pc:sldMkLst>
          <pc:docMk/>
          <pc:sldMk cId="2791192226" sldId="2147478064"/>
        </pc:sldMkLst>
      </pc:sldChg>
      <pc:sldChg chg="addSp delSp modSp new mod">
        <pc:chgData name="Benedicte Aas Glad" userId="55a9e165-0d8a-4034-a14f-0bb29877055b" providerId="ADAL" clId="{E4981308-85D0-BD4E-B579-5764B255B7FA}" dt="2025-06-11T19:54:31.440" v="5123"/>
        <pc:sldMkLst>
          <pc:docMk/>
          <pc:sldMk cId="1441835590" sldId="2147478065"/>
        </pc:sldMkLst>
        <pc:spChg chg="mod">
          <ac:chgData name="Benedicte Aas Glad" userId="55a9e165-0d8a-4034-a14f-0bb29877055b" providerId="ADAL" clId="{E4981308-85D0-BD4E-B579-5764B255B7FA}" dt="2025-06-11T19:54:31.419" v="5094" actId="948"/>
          <ac:spMkLst>
            <pc:docMk/>
            <pc:sldMk cId="1441835590" sldId="2147478065"/>
            <ac:spMk id="2" creationId="{219F3AC9-8BA4-6801-E3E6-783B4A24AA5D}"/>
          </ac:spMkLst>
        </pc:spChg>
        <pc:graphicFrameChg chg="add mod modVis">
          <ac:chgData name="Benedicte Aas Glad" userId="55a9e165-0d8a-4034-a14f-0bb29877055b" providerId="ADAL" clId="{E4981308-85D0-BD4E-B579-5764B255B7FA}" dt="2025-06-11T19:54:31.440" v="5123"/>
          <ac:graphicFrameMkLst>
            <pc:docMk/>
            <pc:sldMk cId="1441835590" sldId="2147478065"/>
            <ac:graphicFrameMk id="7" creationId="{612A2D17-615D-FD0E-90A3-1AE2CF9F02E0}"/>
          </ac:graphicFrameMkLst>
        </pc:graphicFrameChg>
      </pc:sldChg>
      <pc:sldMasterChg chg="delSldLayout">
        <pc:chgData name="Benedicte Aas Glad" userId="55a9e165-0d8a-4034-a14f-0bb29877055b" providerId="ADAL" clId="{E4981308-85D0-BD4E-B579-5764B255B7FA}" dt="2025-06-12T07:53:36.588" v="5127" actId="2696"/>
        <pc:sldMasterMkLst>
          <pc:docMk/>
          <pc:sldMasterMk cId="1874361919" sldId="2147483648"/>
        </pc:sldMasterMkLst>
        <pc:sldLayoutChg chg="del">
          <pc:chgData name="Benedicte Aas Glad" userId="55a9e165-0d8a-4034-a14f-0bb29877055b" providerId="ADAL" clId="{E4981308-85D0-BD4E-B579-5764B255B7FA}" dt="2025-06-12T07:53:36.588" v="5127" actId="2696"/>
          <pc:sldLayoutMkLst>
            <pc:docMk/>
            <pc:sldMasterMk cId="1874361919" sldId="2147483648"/>
            <pc:sldLayoutMk cId="4136283255" sldId="2147483682"/>
          </pc:sldLayoutMkLst>
        </pc:sldLayoutChg>
      </pc:sldMasterChg>
    </pc:docChg>
  </pc:docChgLst>
</pc:chgInfo>
</file>

<file path=ppt/diagrams/_rels/data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svg"/><Relationship Id="rId1" Type="http://schemas.openxmlformats.org/officeDocument/2006/relationships/image" Target="../media/image20.png"/><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diagrams/_rels/drawing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svg"/><Relationship Id="rId1" Type="http://schemas.openxmlformats.org/officeDocument/2006/relationships/image" Target="../media/image20.png"/><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F43CD26-1356-42EB-B2B1-1C0A3B55822D}" type="doc">
      <dgm:prSet loTypeId="urn:microsoft.com/office/officeart/2005/8/layout/vList2" loCatId="list" qsTypeId="urn:microsoft.com/office/officeart/2005/8/quickstyle/simple2" qsCatId="simple" csTypeId="urn:microsoft.com/office/officeart/2005/8/colors/accent1_2" csCatId="accent1" phldr="1"/>
      <dgm:spPr/>
      <dgm:t>
        <a:bodyPr/>
        <a:lstStyle/>
        <a:p>
          <a:endParaRPr lang="en-US"/>
        </a:p>
      </dgm:t>
    </dgm:pt>
    <dgm:pt modelId="{3E529190-0108-4F8E-A295-8031D76C8EEE}">
      <dgm:prSet custT="1"/>
      <dgm:spPr/>
      <dgm:t>
        <a:bodyPr/>
        <a:lstStyle/>
        <a:p>
          <a:r>
            <a:rPr lang="nb-NO" sz="2800"/>
            <a:t>Innledning og introduksjon</a:t>
          </a:r>
          <a:endParaRPr lang="en-US" sz="2800"/>
        </a:p>
      </dgm:t>
    </dgm:pt>
    <dgm:pt modelId="{1EB66F66-D405-4BE4-958B-1AF9F362C0CE}" type="parTrans" cxnId="{D1537AC7-759F-4C58-B382-9A0B53B64189}">
      <dgm:prSet/>
      <dgm:spPr/>
      <dgm:t>
        <a:bodyPr/>
        <a:lstStyle/>
        <a:p>
          <a:endParaRPr lang="en-US" sz="2800"/>
        </a:p>
      </dgm:t>
    </dgm:pt>
    <dgm:pt modelId="{A7C7754F-44D5-46EF-B87C-1004F5E89E93}" type="sibTrans" cxnId="{D1537AC7-759F-4C58-B382-9A0B53B64189}">
      <dgm:prSet/>
      <dgm:spPr/>
      <dgm:t>
        <a:bodyPr/>
        <a:lstStyle/>
        <a:p>
          <a:endParaRPr lang="en-US" sz="2800"/>
        </a:p>
      </dgm:t>
    </dgm:pt>
    <dgm:pt modelId="{AE4D37DA-98FD-4BF9-B1C6-DE5BB0760D83}">
      <dgm:prSet custT="1"/>
      <dgm:spPr/>
      <dgm:t>
        <a:bodyPr/>
        <a:lstStyle/>
        <a:p>
          <a:r>
            <a:rPr lang="nb-NO" sz="2800"/>
            <a:t>Samfunnsoppdraget og tjenestene </a:t>
          </a:r>
          <a:endParaRPr lang="en-US" sz="2800"/>
        </a:p>
      </dgm:t>
    </dgm:pt>
    <dgm:pt modelId="{EA3E1033-8E8A-49E9-9AB0-2F15A7D3626E}" type="parTrans" cxnId="{1F6CE0AC-6B61-45D6-AAF7-A3B4291BF6C2}">
      <dgm:prSet/>
      <dgm:spPr/>
      <dgm:t>
        <a:bodyPr/>
        <a:lstStyle/>
        <a:p>
          <a:endParaRPr lang="en-US" sz="2800"/>
        </a:p>
      </dgm:t>
    </dgm:pt>
    <dgm:pt modelId="{D5C09FCA-B0A1-4695-8F21-5D6486F94E41}" type="sibTrans" cxnId="{1F6CE0AC-6B61-45D6-AAF7-A3B4291BF6C2}">
      <dgm:prSet/>
      <dgm:spPr/>
      <dgm:t>
        <a:bodyPr/>
        <a:lstStyle/>
        <a:p>
          <a:endParaRPr lang="en-US" sz="2800"/>
        </a:p>
      </dgm:t>
    </dgm:pt>
    <dgm:pt modelId="{1348A31D-7E08-43EF-8774-782C809D8B43}">
      <dgm:prSet custT="1"/>
      <dgm:spPr/>
      <dgm:t>
        <a:bodyPr/>
        <a:lstStyle/>
        <a:p>
          <a:r>
            <a:rPr lang="nb-NO" sz="2800" b="0"/>
            <a:t>Status for arbeidet og planer for veien videre</a:t>
          </a:r>
          <a:endParaRPr lang="en-US" sz="2800" b="0"/>
        </a:p>
      </dgm:t>
    </dgm:pt>
    <dgm:pt modelId="{75977521-26F7-4D6C-89AB-119346547F00}" type="parTrans" cxnId="{B7D0E5A4-67B2-4EEC-BDA5-4C0392C26BCE}">
      <dgm:prSet/>
      <dgm:spPr/>
      <dgm:t>
        <a:bodyPr/>
        <a:lstStyle/>
        <a:p>
          <a:endParaRPr lang="en-US" sz="2800"/>
        </a:p>
      </dgm:t>
    </dgm:pt>
    <dgm:pt modelId="{F25CBF4E-3DD6-4B27-9F70-DED983069442}" type="sibTrans" cxnId="{B7D0E5A4-67B2-4EEC-BDA5-4C0392C26BCE}">
      <dgm:prSet/>
      <dgm:spPr/>
      <dgm:t>
        <a:bodyPr/>
        <a:lstStyle/>
        <a:p>
          <a:endParaRPr lang="en-US" sz="2800"/>
        </a:p>
      </dgm:t>
    </dgm:pt>
    <dgm:pt modelId="{4FE50CF1-4F68-42D4-8671-275BBDF491E7}" type="pres">
      <dgm:prSet presAssocID="{AF43CD26-1356-42EB-B2B1-1C0A3B55822D}" presName="linear" presStyleCnt="0">
        <dgm:presLayoutVars>
          <dgm:animLvl val="lvl"/>
          <dgm:resizeHandles val="exact"/>
        </dgm:presLayoutVars>
      </dgm:prSet>
      <dgm:spPr/>
    </dgm:pt>
    <dgm:pt modelId="{670C612A-9C7D-41C6-ADDC-E6EC8C46EF6A}" type="pres">
      <dgm:prSet presAssocID="{3E529190-0108-4F8E-A295-8031D76C8EEE}" presName="parentText" presStyleLbl="node1" presStyleIdx="0" presStyleCnt="3">
        <dgm:presLayoutVars>
          <dgm:chMax val="0"/>
          <dgm:bulletEnabled val="1"/>
        </dgm:presLayoutVars>
      </dgm:prSet>
      <dgm:spPr/>
    </dgm:pt>
    <dgm:pt modelId="{0BD7DFC9-E432-474D-A3C9-817746543572}" type="pres">
      <dgm:prSet presAssocID="{A7C7754F-44D5-46EF-B87C-1004F5E89E93}" presName="spacer" presStyleCnt="0"/>
      <dgm:spPr/>
    </dgm:pt>
    <dgm:pt modelId="{7D878911-9BB1-442E-A2E8-2E3B8C9675A0}" type="pres">
      <dgm:prSet presAssocID="{AE4D37DA-98FD-4BF9-B1C6-DE5BB0760D83}" presName="parentText" presStyleLbl="node1" presStyleIdx="1" presStyleCnt="3">
        <dgm:presLayoutVars>
          <dgm:chMax val="0"/>
          <dgm:bulletEnabled val="1"/>
        </dgm:presLayoutVars>
      </dgm:prSet>
      <dgm:spPr/>
    </dgm:pt>
    <dgm:pt modelId="{EC4A8701-1908-45AE-B2E8-64E7606556FC}" type="pres">
      <dgm:prSet presAssocID="{D5C09FCA-B0A1-4695-8F21-5D6486F94E41}" presName="spacer" presStyleCnt="0"/>
      <dgm:spPr/>
    </dgm:pt>
    <dgm:pt modelId="{574F01DF-E0AF-46E5-A4EF-9F65A9864BF6}" type="pres">
      <dgm:prSet presAssocID="{1348A31D-7E08-43EF-8774-782C809D8B43}" presName="parentText" presStyleLbl="node1" presStyleIdx="2" presStyleCnt="3">
        <dgm:presLayoutVars>
          <dgm:chMax val="0"/>
          <dgm:bulletEnabled val="1"/>
        </dgm:presLayoutVars>
      </dgm:prSet>
      <dgm:spPr/>
    </dgm:pt>
  </dgm:ptLst>
  <dgm:cxnLst>
    <dgm:cxn modelId="{EBC2A33F-D5C2-4D91-AC8F-0F494CC75541}" type="presOf" srcId="{AE4D37DA-98FD-4BF9-B1C6-DE5BB0760D83}" destId="{7D878911-9BB1-442E-A2E8-2E3B8C9675A0}" srcOrd="0" destOrd="0" presId="urn:microsoft.com/office/officeart/2005/8/layout/vList2"/>
    <dgm:cxn modelId="{5206787B-2F6A-4BA4-9A19-61EDEA5CE84F}" type="presOf" srcId="{1348A31D-7E08-43EF-8774-782C809D8B43}" destId="{574F01DF-E0AF-46E5-A4EF-9F65A9864BF6}" srcOrd="0" destOrd="0" presId="urn:microsoft.com/office/officeart/2005/8/layout/vList2"/>
    <dgm:cxn modelId="{B7D0E5A4-67B2-4EEC-BDA5-4C0392C26BCE}" srcId="{AF43CD26-1356-42EB-B2B1-1C0A3B55822D}" destId="{1348A31D-7E08-43EF-8774-782C809D8B43}" srcOrd="2" destOrd="0" parTransId="{75977521-26F7-4D6C-89AB-119346547F00}" sibTransId="{F25CBF4E-3DD6-4B27-9F70-DED983069442}"/>
    <dgm:cxn modelId="{B6F4BAA5-C5F5-43B8-870D-D36A62A19373}" type="presOf" srcId="{3E529190-0108-4F8E-A295-8031D76C8EEE}" destId="{670C612A-9C7D-41C6-ADDC-E6EC8C46EF6A}" srcOrd="0" destOrd="0" presId="urn:microsoft.com/office/officeart/2005/8/layout/vList2"/>
    <dgm:cxn modelId="{1F6CE0AC-6B61-45D6-AAF7-A3B4291BF6C2}" srcId="{AF43CD26-1356-42EB-B2B1-1C0A3B55822D}" destId="{AE4D37DA-98FD-4BF9-B1C6-DE5BB0760D83}" srcOrd="1" destOrd="0" parTransId="{EA3E1033-8E8A-49E9-9AB0-2F15A7D3626E}" sibTransId="{D5C09FCA-B0A1-4695-8F21-5D6486F94E41}"/>
    <dgm:cxn modelId="{D1537AC7-759F-4C58-B382-9A0B53B64189}" srcId="{AF43CD26-1356-42EB-B2B1-1C0A3B55822D}" destId="{3E529190-0108-4F8E-A295-8031D76C8EEE}" srcOrd="0" destOrd="0" parTransId="{1EB66F66-D405-4BE4-958B-1AF9F362C0CE}" sibTransId="{A7C7754F-44D5-46EF-B87C-1004F5E89E93}"/>
    <dgm:cxn modelId="{18C3A2CE-D323-44F0-A579-221F2B9815C7}" type="presOf" srcId="{AF43CD26-1356-42EB-B2B1-1C0A3B55822D}" destId="{4FE50CF1-4F68-42D4-8671-275BBDF491E7}" srcOrd="0" destOrd="0" presId="urn:microsoft.com/office/officeart/2005/8/layout/vList2"/>
    <dgm:cxn modelId="{13954C47-0BD6-4A88-AE3B-1F94421EA9E5}" type="presParOf" srcId="{4FE50CF1-4F68-42D4-8671-275BBDF491E7}" destId="{670C612A-9C7D-41C6-ADDC-E6EC8C46EF6A}" srcOrd="0" destOrd="0" presId="urn:microsoft.com/office/officeart/2005/8/layout/vList2"/>
    <dgm:cxn modelId="{C8D30D26-E638-479C-81EA-552290AB6CAA}" type="presParOf" srcId="{4FE50CF1-4F68-42D4-8671-275BBDF491E7}" destId="{0BD7DFC9-E432-474D-A3C9-817746543572}" srcOrd="1" destOrd="0" presId="urn:microsoft.com/office/officeart/2005/8/layout/vList2"/>
    <dgm:cxn modelId="{444C6DCF-0988-4FEA-A3A3-39CCFC777553}" type="presParOf" srcId="{4FE50CF1-4F68-42D4-8671-275BBDF491E7}" destId="{7D878911-9BB1-442E-A2E8-2E3B8C9675A0}" srcOrd="2" destOrd="0" presId="urn:microsoft.com/office/officeart/2005/8/layout/vList2"/>
    <dgm:cxn modelId="{E8332EE9-4BD6-4063-A0A6-289D7334DC2B}" type="presParOf" srcId="{4FE50CF1-4F68-42D4-8671-275BBDF491E7}" destId="{EC4A8701-1908-45AE-B2E8-64E7606556FC}" srcOrd="3" destOrd="0" presId="urn:microsoft.com/office/officeart/2005/8/layout/vList2"/>
    <dgm:cxn modelId="{8A17CBB5-5FDD-4C60-A1F4-0837F8570649}" type="presParOf" srcId="{4FE50CF1-4F68-42D4-8671-275BBDF491E7}" destId="{574F01DF-E0AF-46E5-A4EF-9F65A9864BF6}"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CB2012-1E35-4FE5-B4B7-218B318038F9}"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22E2A6B1-00B1-49A0-B22A-F91C403BF337}">
      <dgm:prSet/>
      <dgm:spPr/>
      <dgm:t>
        <a:bodyPr/>
        <a:lstStyle/>
        <a:p>
          <a:pPr>
            <a:lnSpc>
              <a:spcPct val="100000"/>
            </a:lnSpc>
          </a:pPr>
          <a:r>
            <a:rPr lang="nb-NO"/>
            <a:t>Informasjonsmøter ca. annenhver måned</a:t>
          </a:r>
          <a:endParaRPr lang="en-US"/>
        </a:p>
      </dgm:t>
    </dgm:pt>
    <dgm:pt modelId="{8EFF73EA-BCBC-4195-87CA-9039C218208E}" type="parTrans" cxnId="{E9000808-1DF7-4BB5-A02E-D75D9FD9590B}">
      <dgm:prSet/>
      <dgm:spPr/>
      <dgm:t>
        <a:bodyPr/>
        <a:lstStyle/>
        <a:p>
          <a:endParaRPr lang="en-US"/>
        </a:p>
      </dgm:t>
    </dgm:pt>
    <dgm:pt modelId="{84967B97-8174-4B9E-A14A-5AED12615474}" type="sibTrans" cxnId="{E9000808-1DF7-4BB5-A02E-D75D9FD9590B}">
      <dgm:prSet/>
      <dgm:spPr/>
      <dgm:t>
        <a:bodyPr/>
        <a:lstStyle/>
        <a:p>
          <a:endParaRPr lang="en-US"/>
        </a:p>
      </dgm:t>
    </dgm:pt>
    <dgm:pt modelId="{0C21804B-9CD1-497C-BAB6-E11D1959D6C1}">
      <dgm:prSet/>
      <dgm:spPr/>
      <dgm:t>
        <a:bodyPr/>
        <a:lstStyle/>
        <a:p>
          <a:pPr>
            <a:lnSpc>
              <a:spcPct val="100000"/>
            </a:lnSpc>
          </a:pPr>
          <a:r>
            <a:rPr lang="nb-NO"/>
            <a:t>Sharepoint vil bli laget for deling av informasjon</a:t>
          </a:r>
          <a:endParaRPr lang="en-US"/>
        </a:p>
      </dgm:t>
    </dgm:pt>
    <dgm:pt modelId="{05F97522-748F-4E76-ADBB-1C7058764931}" type="parTrans" cxnId="{E23BB2B0-6A81-4424-B7C3-4F94818B9FAA}">
      <dgm:prSet/>
      <dgm:spPr/>
      <dgm:t>
        <a:bodyPr/>
        <a:lstStyle/>
        <a:p>
          <a:endParaRPr lang="en-US"/>
        </a:p>
      </dgm:t>
    </dgm:pt>
    <dgm:pt modelId="{8ECC2E6B-7A64-4490-885D-60864CB7875A}" type="sibTrans" cxnId="{E23BB2B0-6A81-4424-B7C3-4F94818B9FAA}">
      <dgm:prSet/>
      <dgm:spPr/>
      <dgm:t>
        <a:bodyPr/>
        <a:lstStyle/>
        <a:p>
          <a:endParaRPr lang="en-US"/>
        </a:p>
      </dgm:t>
    </dgm:pt>
    <dgm:pt modelId="{296F33D9-C1E8-409B-A0C1-0A69DC363522}">
      <dgm:prSet/>
      <dgm:spPr/>
      <dgm:t>
        <a:bodyPr/>
        <a:lstStyle/>
        <a:p>
          <a:pPr>
            <a:lnSpc>
              <a:spcPct val="100000"/>
            </a:lnSpc>
          </a:pPr>
          <a:r>
            <a:rPr lang="nb-NO"/>
            <a:t>Referansegrupper</a:t>
          </a:r>
          <a:endParaRPr lang="en-US"/>
        </a:p>
      </dgm:t>
    </dgm:pt>
    <dgm:pt modelId="{42F61D74-D892-410E-8DBE-7374B6C34D18}" type="parTrans" cxnId="{642DA755-6558-4EF2-9169-964E035D51DB}">
      <dgm:prSet/>
      <dgm:spPr/>
      <dgm:t>
        <a:bodyPr/>
        <a:lstStyle/>
        <a:p>
          <a:endParaRPr lang="en-US"/>
        </a:p>
      </dgm:t>
    </dgm:pt>
    <dgm:pt modelId="{BEFAAE6C-C8EA-43C0-80FA-B50172DAF011}" type="sibTrans" cxnId="{642DA755-6558-4EF2-9169-964E035D51DB}">
      <dgm:prSet/>
      <dgm:spPr/>
      <dgm:t>
        <a:bodyPr/>
        <a:lstStyle/>
        <a:p>
          <a:endParaRPr lang="en-US"/>
        </a:p>
      </dgm:t>
    </dgm:pt>
    <dgm:pt modelId="{6B1A4447-9CD1-409C-BC62-ECD5260E80FD}" type="pres">
      <dgm:prSet presAssocID="{26CB2012-1E35-4FE5-B4B7-218B318038F9}" presName="root" presStyleCnt="0">
        <dgm:presLayoutVars>
          <dgm:dir/>
          <dgm:resizeHandles val="exact"/>
        </dgm:presLayoutVars>
      </dgm:prSet>
      <dgm:spPr/>
    </dgm:pt>
    <dgm:pt modelId="{4C8D3F78-B3EE-4537-A048-C1C2D05A190A}" type="pres">
      <dgm:prSet presAssocID="{22E2A6B1-00B1-49A0-B22A-F91C403BF337}" presName="compNode" presStyleCnt="0"/>
      <dgm:spPr/>
    </dgm:pt>
    <dgm:pt modelId="{2ECC968F-2921-4CB2-9180-6711DEDF1202}" type="pres">
      <dgm:prSet presAssocID="{22E2A6B1-00B1-49A0-B22A-F91C403BF337}" presName="bgRect" presStyleLbl="bgShp" presStyleIdx="0" presStyleCnt="3"/>
      <dgm:spPr>
        <a:solidFill>
          <a:schemeClr val="bg2"/>
        </a:solidFill>
      </dgm:spPr>
    </dgm:pt>
    <dgm:pt modelId="{914DEFB6-EA96-4CF8-A818-68141EB2FAD3}" type="pres">
      <dgm:prSet presAssocID="{22E2A6B1-00B1-49A0-B22A-F91C403BF337}" presName="iconRect" presStyleLbl="nod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Informasjon med heldekkende fyll"/>
        </a:ext>
      </dgm:extLst>
    </dgm:pt>
    <dgm:pt modelId="{92DA8135-3209-4973-89AA-9E50FAD98DFC}" type="pres">
      <dgm:prSet presAssocID="{22E2A6B1-00B1-49A0-B22A-F91C403BF337}" presName="spaceRect" presStyleCnt="0"/>
      <dgm:spPr/>
    </dgm:pt>
    <dgm:pt modelId="{2DEC910F-1FA1-4318-A4A9-20C4ADD4C566}" type="pres">
      <dgm:prSet presAssocID="{22E2A6B1-00B1-49A0-B22A-F91C403BF337}" presName="parTx" presStyleLbl="revTx" presStyleIdx="0" presStyleCnt="3">
        <dgm:presLayoutVars>
          <dgm:chMax val="0"/>
          <dgm:chPref val="0"/>
        </dgm:presLayoutVars>
      </dgm:prSet>
      <dgm:spPr/>
    </dgm:pt>
    <dgm:pt modelId="{36E0A227-A9A8-482D-BD21-925D62A11E02}" type="pres">
      <dgm:prSet presAssocID="{84967B97-8174-4B9E-A14A-5AED12615474}" presName="sibTrans" presStyleCnt="0"/>
      <dgm:spPr/>
    </dgm:pt>
    <dgm:pt modelId="{FDCA089B-D30E-4141-8585-CE84301A97E8}" type="pres">
      <dgm:prSet presAssocID="{0C21804B-9CD1-497C-BAB6-E11D1959D6C1}" presName="compNode" presStyleCnt="0"/>
      <dgm:spPr/>
    </dgm:pt>
    <dgm:pt modelId="{E3CC0CF5-7055-4A01-8128-75442B3E809B}" type="pres">
      <dgm:prSet presAssocID="{0C21804B-9CD1-497C-BAB6-E11D1959D6C1}" presName="bgRect" presStyleLbl="bgShp" presStyleIdx="1" presStyleCnt="3"/>
      <dgm:spPr>
        <a:solidFill>
          <a:schemeClr val="bg2"/>
        </a:solidFill>
      </dgm:spPr>
    </dgm:pt>
    <dgm:pt modelId="{D0B57464-22E2-4EDB-897F-E7D08AA8A25C}" type="pres">
      <dgm:prSet presAssocID="{0C21804B-9CD1-497C-BAB6-E11D1959D6C1}"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Dele med heldekkende fyll"/>
        </a:ext>
      </dgm:extLst>
    </dgm:pt>
    <dgm:pt modelId="{966F5FDB-2B7A-4949-82AA-CAA6E19D2EEF}" type="pres">
      <dgm:prSet presAssocID="{0C21804B-9CD1-497C-BAB6-E11D1959D6C1}" presName="spaceRect" presStyleCnt="0"/>
      <dgm:spPr/>
    </dgm:pt>
    <dgm:pt modelId="{EEFE6069-312C-49BB-87D4-F98190DDE946}" type="pres">
      <dgm:prSet presAssocID="{0C21804B-9CD1-497C-BAB6-E11D1959D6C1}" presName="parTx" presStyleLbl="revTx" presStyleIdx="1" presStyleCnt="3">
        <dgm:presLayoutVars>
          <dgm:chMax val="0"/>
          <dgm:chPref val="0"/>
        </dgm:presLayoutVars>
      </dgm:prSet>
      <dgm:spPr/>
    </dgm:pt>
    <dgm:pt modelId="{2B6ABA6F-75F7-420F-83B6-506CC4367D07}" type="pres">
      <dgm:prSet presAssocID="{8ECC2E6B-7A64-4490-885D-60864CB7875A}" presName="sibTrans" presStyleCnt="0"/>
      <dgm:spPr/>
    </dgm:pt>
    <dgm:pt modelId="{611DDC61-C0EC-4145-8B0C-2A2C469C578E}" type="pres">
      <dgm:prSet presAssocID="{296F33D9-C1E8-409B-A0C1-0A69DC363522}" presName="compNode" presStyleCnt="0"/>
      <dgm:spPr/>
    </dgm:pt>
    <dgm:pt modelId="{124A43BA-81F3-434F-B5CF-EFE0556020A3}" type="pres">
      <dgm:prSet presAssocID="{296F33D9-C1E8-409B-A0C1-0A69DC363522}" presName="bgRect" presStyleLbl="bgShp" presStyleIdx="2" presStyleCnt="3"/>
      <dgm:spPr>
        <a:solidFill>
          <a:schemeClr val="bg2"/>
        </a:solidFill>
        <a:ln>
          <a:noFill/>
        </a:ln>
      </dgm:spPr>
    </dgm:pt>
    <dgm:pt modelId="{320D09FF-F576-41E5-BB55-656E1DE7D196}" type="pres">
      <dgm:prSet presAssocID="{296F33D9-C1E8-409B-A0C1-0A69DC363522}" presName="iconRect" presStyleLbl="nod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Gruppe idédugnad med heldekkende fyll"/>
        </a:ext>
      </dgm:extLst>
    </dgm:pt>
    <dgm:pt modelId="{5B2F55FF-739C-40B0-907A-C9559BCD98CE}" type="pres">
      <dgm:prSet presAssocID="{296F33D9-C1E8-409B-A0C1-0A69DC363522}" presName="spaceRect" presStyleCnt="0"/>
      <dgm:spPr/>
    </dgm:pt>
    <dgm:pt modelId="{F63A4B72-84EB-4F19-A393-8229924103A4}" type="pres">
      <dgm:prSet presAssocID="{296F33D9-C1E8-409B-A0C1-0A69DC363522}" presName="parTx" presStyleLbl="revTx" presStyleIdx="2" presStyleCnt="3">
        <dgm:presLayoutVars>
          <dgm:chMax val="0"/>
          <dgm:chPref val="0"/>
        </dgm:presLayoutVars>
      </dgm:prSet>
      <dgm:spPr/>
    </dgm:pt>
  </dgm:ptLst>
  <dgm:cxnLst>
    <dgm:cxn modelId="{E9000808-1DF7-4BB5-A02E-D75D9FD9590B}" srcId="{26CB2012-1E35-4FE5-B4B7-218B318038F9}" destId="{22E2A6B1-00B1-49A0-B22A-F91C403BF337}" srcOrd="0" destOrd="0" parTransId="{8EFF73EA-BCBC-4195-87CA-9039C218208E}" sibTransId="{84967B97-8174-4B9E-A14A-5AED12615474}"/>
    <dgm:cxn modelId="{642DA755-6558-4EF2-9169-964E035D51DB}" srcId="{26CB2012-1E35-4FE5-B4B7-218B318038F9}" destId="{296F33D9-C1E8-409B-A0C1-0A69DC363522}" srcOrd="2" destOrd="0" parTransId="{42F61D74-D892-410E-8DBE-7374B6C34D18}" sibTransId="{BEFAAE6C-C8EA-43C0-80FA-B50172DAF011}"/>
    <dgm:cxn modelId="{9ADBFD6D-A99B-45B1-B3E1-B4D87C9098B9}" type="presOf" srcId="{296F33D9-C1E8-409B-A0C1-0A69DC363522}" destId="{F63A4B72-84EB-4F19-A393-8229924103A4}" srcOrd="0" destOrd="0" presId="urn:microsoft.com/office/officeart/2018/2/layout/IconVerticalSolidList"/>
    <dgm:cxn modelId="{6C55D780-2BFD-4C79-8C6A-71642B554665}" type="presOf" srcId="{26CB2012-1E35-4FE5-B4B7-218B318038F9}" destId="{6B1A4447-9CD1-409C-BC62-ECD5260E80FD}" srcOrd="0" destOrd="0" presId="urn:microsoft.com/office/officeart/2018/2/layout/IconVerticalSolidList"/>
    <dgm:cxn modelId="{B904E29B-630F-4312-8DAC-7D6D310B14E6}" type="presOf" srcId="{0C21804B-9CD1-497C-BAB6-E11D1959D6C1}" destId="{EEFE6069-312C-49BB-87D4-F98190DDE946}" srcOrd="0" destOrd="0" presId="urn:microsoft.com/office/officeart/2018/2/layout/IconVerticalSolidList"/>
    <dgm:cxn modelId="{E23BB2B0-6A81-4424-B7C3-4F94818B9FAA}" srcId="{26CB2012-1E35-4FE5-B4B7-218B318038F9}" destId="{0C21804B-9CD1-497C-BAB6-E11D1959D6C1}" srcOrd="1" destOrd="0" parTransId="{05F97522-748F-4E76-ADBB-1C7058764931}" sibTransId="{8ECC2E6B-7A64-4490-885D-60864CB7875A}"/>
    <dgm:cxn modelId="{794473B1-2B27-4DC3-9822-DE863F37CF89}" type="presOf" srcId="{22E2A6B1-00B1-49A0-B22A-F91C403BF337}" destId="{2DEC910F-1FA1-4318-A4A9-20C4ADD4C566}" srcOrd="0" destOrd="0" presId="urn:microsoft.com/office/officeart/2018/2/layout/IconVerticalSolidList"/>
    <dgm:cxn modelId="{446EE6E3-F74A-43BC-8AB0-8593FAEADB73}" type="presParOf" srcId="{6B1A4447-9CD1-409C-BC62-ECD5260E80FD}" destId="{4C8D3F78-B3EE-4537-A048-C1C2D05A190A}" srcOrd="0" destOrd="0" presId="urn:microsoft.com/office/officeart/2018/2/layout/IconVerticalSolidList"/>
    <dgm:cxn modelId="{0774A001-7268-4B8E-9A00-2BE208B33574}" type="presParOf" srcId="{4C8D3F78-B3EE-4537-A048-C1C2D05A190A}" destId="{2ECC968F-2921-4CB2-9180-6711DEDF1202}" srcOrd="0" destOrd="0" presId="urn:microsoft.com/office/officeart/2018/2/layout/IconVerticalSolidList"/>
    <dgm:cxn modelId="{8708508B-59CC-4B1A-9B56-C548E2200C85}" type="presParOf" srcId="{4C8D3F78-B3EE-4537-A048-C1C2D05A190A}" destId="{914DEFB6-EA96-4CF8-A818-68141EB2FAD3}" srcOrd="1" destOrd="0" presId="urn:microsoft.com/office/officeart/2018/2/layout/IconVerticalSolidList"/>
    <dgm:cxn modelId="{7E48C06F-F87E-4737-8D4F-E6D016A78863}" type="presParOf" srcId="{4C8D3F78-B3EE-4537-A048-C1C2D05A190A}" destId="{92DA8135-3209-4973-89AA-9E50FAD98DFC}" srcOrd="2" destOrd="0" presId="urn:microsoft.com/office/officeart/2018/2/layout/IconVerticalSolidList"/>
    <dgm:cxn modelId="{437CE0E4-1A73-4CAC-8293-DF16C7502256}" type="presParOf" srcId="{4C8D3F78-B3EE-4537-A048-C1C2D05A190A}" destId="{2DEC910F-1FA1-4318-A4A9-20C4ADD4C566}" srcOrd="3" destOrd="0" presId="urn:microsoft.com/office/officeart/2018/2/layout/IconVerticalSolidList"/>
    <dgm:cxn modelId="{1F78C4FC-435F-4F3A-B6E6-45B66BAC3A78}" type="presParOf" srcId="{6B1A4447-9CD1-409C-BC62-ECD5260E80FD}" destId="{36E0A227-A9A8-482D-BD21-925D62A11E02}" srcOrd="1" destOrd="0" presId="urn:microsoft.com/office/officeart/2018/2/layout/IconVerticalSolidList"/>
    <dgm:cxn modelId="{9C6ADF3C-E7A8-4F64-B483-4BF15C0FB226}" type="presParOf" srcId="{6B1A4447-9CD1-409C-BC62-ECD5260E80FD}" destId="{FDCA089B-D30E-4141-8585-CE84301A97E8}" srcOrd="2" destOrd="0" presId="urn:microsoft.com/office/officeart/2018/2/layout/IconVerticalSolidList"/>
    <dgm:cxn modelId="{C18BAAB2-2DBE-482D-AFC2-75EDA0AE7589}" type="presParOf" srcId="{FDCA089B-D30E-4141-8585-CE84301A97E8}" destId="{E3CC0CF5-7055-4A01-8128-75442B3E809B}" srcOrd="0" destOrd="0" presId="urn:microsoft.com/office/officeart/2018/2/layout/IconVerticalSolidList"/>
    <dgm:cxn modelId="{3233149D-4033-4FD5-BE5C-570C02A57CD0}" type="presParOf" srcId="{FDCA089B-D30E-4141-8585-CE84301A97E8}" destId="{D0B57464-22E2-4EDB-897F-E7D08AA8A25C}" srcOrd="1" destOrd="0" presId="urn:microsoft.com/office/officeart/2018/2/layout/IconVerticalSolidList"/>
    <dgm:cxn modelId="{C64171EF-F937-4636-B259-B6BB7BDEBA6F}" type="presParOf" srcId="{FDCA089B-D30E-4141-8585-CE84301A97E8}" destId="{966F5FDB-2B7A-4949-82AA-CAA6E19D2EEF}" srcOrd="2" destOrd="0" presId="urn:microsoft.com/office/officeart/2018/2/layout/IconVerticalSolidList"/>
    <dgm:cxn modelId="{E10E7BF6-82BC-4C44-83E4-FAA20C6DD5D9}" type="presParOf" srcId="{FDCA089B-D30E-4141-8585-CE84301A97E8}" destId="{EEFE6069-312C-49BB-87D4-F98190DDE946}" srcOrd="3" destOrd="0" presId="urn:microsoft.com/office/officeart/2018/2/layout/IconVerticalSolidList"/>
    <dgm:cxn modelId="{2CEE3671-ACEE-4D21-81E8-7FF31B292765}" type="presParOf" srcId="{6B1A4447-9CD1-409C-BC62-ECD5260E80FD}" destId="{2B6ABA6F-75F7-420F-83B6-506CC4367D07}" srcOrd="3" destOrd="0" presId="urn:microsoft.com/office/officeart/2018/2/layout/IconVerticalSolidList"/>
    <dgm:cxn modelId="{D067E21A-C424-4A27-8B99-C08C2831D5E0}" type="presParOf" srcId="{6B1A4447-9CD1-409C-BC62-ECD5260E80FD}" destId="{611DDC61-C0EC-4145-8B0C-2A2C469C578E}" srcOrd="4" destOrd="0" presId="urn:microsoft.com/office/officeart/2018/2/layout/IconVerticalSolidList"/>
    <dgm:cxn modelId="{C239D7FB-E71B-4971-B067-EB42CE2DB4B7}" type="presParOf" srcId="{611DDC61-C0EC-4145-8B0C-2A2C469C578E}" destId="{124A43BA-81F3-434F-B5CF-EFE0556020A3}" srcOrd="0" destOrd="0" presId="urn:microsoft.com/office/officeart/2018/2/layout/IconVerticalSolidList"/>
    <dgm:cxn modelId="{5DB3F7E7-148E-43A8-97ED-2B22DDB9E6F0}" type="presParOf" srcId="{611DDC61-C0EC-4145-8B0C-2A2C469C578E}" destId="{320D09FF-F576-41E5-BB55-656E1DE7D196}" srcOrd="1" destOrd="0" presId="urn:microsoft.com/office/officeart/2018/2/layout/IconVerticalSolidList"/>
    <dgm:cxn modelId="{27421D44-ACCA-4A05-A52E-0BFAB3EC03A0}" type="presParOf" srcId="{611DDC61-C0EC-4145-8B0C-2A2C469C578E}" destId="{5B2F55FF-739C-40B0-907A-C9559BCD98CE}" srcOrd="2" destOrd="0" presId="urn:microsoft.com/office/officeart/2018/2/layout/IconVerticalSolidList"/>
    <dgm:cxn modelId="{3A7A48AE-EB5C-43F3-988B-ACDD06FF0214}" type="presParOf" srcId="{611DDC61-C0EC-4145-8B0C-2A2C469C578E}" destId="{F63A4B72-84EB-4F19-A393-8229924103A4}"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0C612A-9C7D-41C6-ADDC-E6EC8C46EF6A}">
      <dsp:nvSpPr>
        <dsp:cNvPr id="0" name=""/>
        <dsp:cNvSpPr/>
      </dsp:nvSpPr>
      <dsp:spPr>
        <a:xfrm>
          <a:off x="0" y="128105"/>
          <a:ext cx="7621588" cy="1216800"/>
        </a:xfrm>
        <a:prstGeom prst="roundRect">
          <a:avLst/>
        </a:prstGeom>
        <a:solidFill>
          <a:schemeClr val="accent1">
            <a:hueOff val="0"/>
            <a:satOff val="0"/>
            <a:lumOff val="0"/>
            <a:alphaOff val="0"/>
          </a:schemeClr>
        </a:solidFill>
        <a:ln w="0" cap="flat" cmpd="sng" algn="ctr">
          <a:noFill/>
        </a:ln>
        <a:effectLst>
          <a:blur/>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nb-NO" sz="2800" kern="1200"/>
            <a:t>Innledning og introduksjon</a:t>
          </a:r>
          <a:endParaRPr lang="en-US" sz="2800" kern="1200"/>
        </a:p>
      </dsp:txBody>
      <dsp:txXfrm>
        <a:off x="59399" y="187504"/>
        <a:ext cx="7502790" cy="1098002"/>
      </dsp:txXfrm>
    </dsp:sp>
    <dsp:sp modelId="{7D878911-9BB1-442E-A2E8-2E3B8C9675A0}">
      <dsp:nvSpPr>
        <dsp:cNvPr id="0" name=""/>
        <dsp:cNvSpPr/>
      </dsp:nvSpPr>
      <dsp:spPr>
        <a:xfrm>
          <a:off x="0" y="1532106"/>
          <a:ext cx="7621588" cy="1216800"/>
        </a:xfrm>
        <a:prstGeom prst="roundRect">
          <a:avLst/>
        </a:prstGeom>
        <a:solidFill>
          <a:schemeClr val="accent1">
            <a:hueOff val="0"/>
            <a:satOff val="0"/>
            <a:lumOff val="0"/>
            <a:alphaOff val="0"/>
          </a:schemeClr>
        </a:solidFill>
        <a:ln w="0" cap="flat" cmpd="sng" algn="ctr">
          <a:noFill/>
        </a:ln>
        <a:effectLst>
          <a:blur/>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nb-NO" sz="2800" kern="1200"/>
            <a:t>Samfunnsoppdraget og tjenestene </a:t>
          </a:r>
          <a:endParaRPr lang="en-US" sz="2800" kern="1200"/>
        </a:p>
      </dsp:txBody>
      <dsp:txXfrm>
        <a:off x="59399" y="1591505"/>
        <a:ext cx="7502790" cy="1098002"/>
      </dsp:txXfrm>
    </dsp:sp>
    <dsp:sp modelId="{574F01DF-E0AF-46E5-A4EF-9F65A9864BF6}">
      <dsp:nvSpPr>
        <dsp:cNvPr id="0" name=""/>
        <dsp:cNvSpPr/>
      </dsp:nvSpPr>
      <dsp:spPr>
        <a:xfrm>
          <a:off x="0" y="2936106"/>
          <a:ext cx="7621588" cy="1216800"/>
        </a:xfrm>
        <a:prstGeom prst="roundRect">
          <a:avLst/>
        </a:prstGeom>
        <a:solidFill>
          <a:schemeClr val="accent1">
            <a:hueOff val="0"/>
            <a:satOff val="0"/>
            <a:lumOff val="0"/>
            <a:alphaOff val="0"/>
          </a:schemeClr>
        </a:solidFill>
        <a:ln w="0" cap="flat" cmpd="sng" algn="ctr">
          <a:noFill/>
        </a:ln>
        <a:effectLst>
          <a:blur/>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nb-NO" sz="2800" b="0" kern="1200"/>
            <a:t>Status for arbeidet og planer for veien videre</a:t>
          </a:r>
          <a:endParaRPr lang="en-US" sz="2800" b="0" kern="1200"/>
        </a:p>
      </dsp:txBody>
      <dsp:txXfrm>
        <a:off x="59399" y="2995505"/>
        <a:ext cx="7502790" cy="10980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CC968F-2921-4CB2-9180-6711DEDF1202}">
      <dsp:nvSpPr>
        <dsp:cNvPr id="0" name=""/>
        <dsp:cNvSpPr/>
      </dsp:nvSpPr>
      <dsp:spPr>
        <a:xfrm>
          <a:off x="0" y="522"/>
          <a:ext cx="7621588" cy="1222847"/>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914DEFB6-EA96-4CF8-A818-68141EB2FAD3}">
      <dsp:nvSpPr>
        <dsp:cNvPr id="0" name=""/>
        <dsp:cNvSpPr/>
      </dsp:nvSpPr>
      <dsp:spPr>
        <a:xfrm>
          <a:off x="369911" y="275663"/>
          <a:ext cx="672566" cy="672566"/>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31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DEC910F-1FA1-4318-A4A9-20C4ADD4C566}">
      <dsp:nvSpPr>
        <dsp:cNvPr id="0" name=""/>
        <dsp:cNvSpPr/>
      </dsp:nvSpPr>
      <dsp:spPr>
        <a:xfrm>
          <a:off x="1412389" y="522"/>
          <a:ext cx="6209198" cy="12228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418" tIns="129418" rIns="129418" bIns="129418" numCol="1" spcCol="1270" anchor="ctr" anchorCtr="0">
          <a:noAutofit/>
        </a:bodyPr>
        <a:lstStyle/>
        <a:p>
          <a:pPr marL="0" lvl="0" indent="0" algn="l" defTabSz="1111250">
            <a:lnSpc>
              <a:spcPct val="100000"/>
            </a:lnSpc>
            <a:spcBef>
              <a:spcPct val="0"/>
            </a:spcBef>
            <a:spcAft>
              <a:spcPct val="35000"/>
            </a:spcAft>
            <a:buNone/>
          </a:pPr>
          <a:r>
            <a:rPr lang="nb-NO" sz="2500" kern="1200"/>
            <a:t>Informasjonsmøter ca. annenhver måned</a:t>
          </a:r>
          <a:endParaRPr lang="en-US" sz="2500" kern="1200"/>
        </a:p>
      </dsp:txBody>
      <dsp:txXfrm>
        <a:off x="1412389" y="522"/>
        <a:ext cx="6209198" cy="1222847"/>
      </dsp:txXfrm>
    </dsp:sp>
    <dsp:sp modelId="{E3CC0CF5-7055-4A01-8128-75442B3E809B}">
      <dsp:nvSpPr>
        <dsp:cNvPr id="0" name=""/>
        <dsp:cNvSpPr/>
      </dsp:nvSpPr>
      <dsp:spPr>
        <a:xfrm>
          <a:off x="0" y="1529082"/>
          <a:ext cx="7621588" cy="1222847"/>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D0B57464-22E2-4EDB-897F-E7D08AA8A25C}">
      <dsp:nvSpPr>
        <dsp:cNvPr id="0" name=""/>
        <dsp:cNvSpPr/>
      </dsp:nvSpPr>
      <dsp:spPr>
        <a:xfrm>
          <a:off x="369911" y="1804222"/>
          <a:ext cx="672566" cy="672566"/>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31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EFE6069-312C-49BB-87D4-F98190DDE946}">
      <dsp:nvSpPr>
        <dsp:cNvPr id="0" name=""/>
        <dsp:cNvSpPr/>
      </dsp:nvSpPr>
      <dsp:spPr>
        <a:xfrm>
          <a:off x="1412389" y="1529082"/>
          <a:ext cx="6209198" cy="12228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418" tIns="129418" rIns="129418" bIns="129418" numCol="1" spcCol="1270" anchor="ctr" anchorCtr="0">
          <a:noAutofit/>
        </a:bodyPr>
        <a:lstStyle/>
        <a:p>
          <a:pPr marL="0" lvl="0" indent="0" algn="l" defTabSz="1111250">
            <a:lnSpc>
              <a:spcPct val="100000"/>
            </a:lnSpc>
            <a:spcBef>
              <a:spcPct val="0"/>
            </a:spcBef>
            <a:spcAft>
              <a:spcPct val="35000"/>
            </a:spcAft>
            <a:buNone/>
          </a:pPr>
          <a:r>
            <a:rPr lang="nb-NO" sz="2500" kern="1200"/>
            <a:t>Sharepoint vil bli laget for deling av informasjon</a:t>
          </a:r>
          <a:endParaRPr lang="en-US" sz="2500" kern="1200"/>
        </a:p>
      </dsp:txBody>
      <dsp:txXfrm>
        <a:off x="1412389" y="1529082"/>
        <a:ext cx="6209198" cy="1222847"/>
      </dsp:txXfrm>
    </dsp:sp>
    <dsp:sp modelId="{124A43BA-81F3-434F-B5CF-EFE0556020A3}">
      <dsp:nvSpPr>
        <dsp:cNvPr id="0" name=""/>
        <dsp:cNvSpPr/>
      </dsp:nvSpPr>
      <dsp:spPr>
        <a:xfrm>
          <a:off x="0" y="3057641"/>
          <a:ext cx="7621588" cy="1222847"/>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320D09FF-F576-41E5-BB55-656E1DE7D196}">
      <dsp:nvSpPr>
        <dsp:cNvPr id="0" name=""/>
        <dsp:cNvSpPr/>
      </dsp:nvSpPr>
      <dsp:spPr>
        <a:xfrm>
          <a:off x="369911" y="3332782"/>
          <a:ext cx="672566" cy="672566"/>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31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63A4B72-84EB-4F19-A393-8229924103A4}">
      <dsp:nvSpPr>
        <dsp:cNvPr id="0" name=""/>
        <dsp:cNvSpPr/>
      </dsp:nvSpPr>
      <dsp:spPr>
        <a:xfrm>
          <a:off x="1412389" y="3057641"/>
          <a:ext cx="6209198" cy="12228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418" tIns="129418" rIns="129418" bIns="129418" numCol="1" spcCol="1270" anchor="ctr" anchorCtr="0">
          <a:noAutofit/>
        </a:bodyPr>
        <a:lstStyle/>
        <a:p>
          <a:pPr marL="0" lvl="0" indent="0" algn="l" defTabSz="1111250">
            <a:lnSpc>
              <a:spcPct val="100000"/>
            </a:lnSpc>
            <a:spcBef>
              <a:spcPct val="0"/>
            </a:spcBef>
            <a:spcAft>
              <a:spcPct val="35000"/>
            </a:spcAft>
            <a:buNone/>
          </a:pPr>
          <a:r>
            <a:rPr lang="nb-NO" sz="2500" kern="1200"/>
            <a:t>Referansegrupper</a:t>
          </a:r>
          <a:endParaRPr lang="en-US" sz="2500" kern="1200"/>
        </a:p>
      </dsp:txBody>
      <dsp:txXfrm>
        <a:off x="1412389" y="3057641"/>
        <a:ext cx="6209198" cy="122284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B26E778-E5B7-409B-98F7-D952300A0896}" type="datetimeFigureOut">
              <a:rPr lang="nb-NO" smtClean="0"/>
              <a:t>13.06.2025</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E0436F-993E-42FF-BB8C-7983559F6164}" type="slidenum">
              <a:rPr lang="nb-NO" smtClean="0"/>
              <a:t>‹#›</a:t>
            </a:fld>
            <a:endParaRPr lang="nb-NO"/>
          </a:p>
        </p:txBody>
      </p:sp>
    </p:spTree>
    <p:extLst>
      <p:ext uri="{BB962C8B-B14F-4D97-AF65-F5344CB8AC3E}">
        <p14:creationId xmlns:p14="http://schemas.microsoft.com/office/powerpoint/2010/main" val="1355403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4BE0436F-993E-42FF-BB8C-7983559F6164}" type="slidenum">
              <a:rPr lang="nb-NO" smtClean="0"/>
              <a:t>3</a:t>
            </a:fld>
            <a:endParaRPr lang="nb-NO"/>
          </a:p>
        </p:txBody>
      </p:sp>
    </p:spTree>
    <p:extLst>
      <p:ext uri="{BB962C8B-B14F-4D97-AF65-F5344CB8AC3E}">
        <p14:creationId xmlns:p14="http://schemas.microsoft.com/office/powerpoint/2010/main" val="405265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28D2EC-7C09-D8B3-CEB4-4410F3CFFC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835165-1AE8-A028-3F98-10C70332C3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9869C9-425B-CF1A-2BCD-33FA53F87EF0}"/>
              </a:ext>
            </a:extLst>
          </p:cNvPr>
          <p:cNvSpPr>
            <a:spLocks noGrp="1"/>
          </p:cNvSpPr>
          <p:nvPr>
            <p:ph type="body" idx="1"/>
          </p:nvPr>
        </p:nvSpPr>
        <p:spPr/>
        <p:txBody>
          <a:bodyPr/>
          <a:lstStyle/>
          <a:p>
            <a:r>
              <a:rPr lang="nb-NO"/>
              <a:t>Juridisk kvalitetssikring</a:t>
            </a:r>
          </a:p>
        </p:txBody>
      </p:sp>
      <p:sp>
        <p:nvSpPr>
          <p:cNvPr id="4" name="Slide Number Placeholder 3">
            <a:extLst>
              <a:ext uri="{FF2B5EF4-FFF2-40B4-BE49-F238E27FC236}">
                <a16:creationId xmlns:a16="http://schemas.microsoft.com/office/drawing/2014/main" id="{59732042-E401-4524-EEBF-45D2BA07E33B}"/>
              </a:ext>
            </a:extLst>
          </p:cNvPr>
          <p:cNvSpPr>
            <a:spLocks noGrp="1"/>
          </p:cNvSpPr>
          <p:nvPr>
            <p:ph type="sldNum" sz="quarter" idx="5"/>
          </p:nvPr>
        </p:nvSpPr>
        <p:spPr/>
        <p:txBody>
          <a:bodyPr/>
          <a:lstStyle/>
          <a:p>
            <a:fld id="{4BE0436F-993E-42FF-BB8C-7983559F6164}" type="slidenum">
              <a:rPr lang="nb-NO" smtClean="0"/>
              <a:pPr/>
              <a:t>14</a:t>
            </a:fld>
            <a:endParaRPr lang="nb-NO"/>
          </a:p>
        </p:txBody>
      </p:sp>
    </p:spTree>
    <p:extLst>
      <p:ext uri="{BB962C8B-B14F-4D97-AF65-F5344CB8AC3E}">
        <p14:creationId xmlns:p14="http://schemas.microsoft.com/office/powerpoint/2010/main" val="918483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29256B-A295-ABB6-7C47-DB74888076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1EC6B1-3439-33E3-E746-3C099E311B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16EC17-84F8-6AF2-E7D5-1B7A90BF86D5}"/>
              </a:ext>
            </a:extLst>
          </p:cNvPr>
          <p:cNvSpPr>
            <a:spLocks noGrp="1"/>
          </p:cNvSpPr>
          <p:nvPr>
            <p:ph type="body" idx="1"/>
          </p:nvPr>
        </p:nvSpPr>
        <p:spPr/>
        <p:txBody>
          <a:bodyPr/>
          <a:lstStyle/>
          <a:p>
            <a:endParaRPr lang="nb-NO"/>
          </a:p>
        </p:txBody>
      </p:sp>
      <p:sp>
        <p:nvSpPr>
          <p:cNvPr id="4" name="Slide Number Placeholder 3">
            <a:extLst>
              <a:ext uri="{FF2B5EF4-FFF2-40B4-BE49-F238E27FC236}">
                <a16:creationId xmlns:a16="http://schemas.microsoft.com/office/drawing/2014/main" id="{7526CB1D-38DC-1C71-E89F-37AB39D8ACF4}"/>
              </a:ext>
            </a:extLst>
          </p:cNvPr>
          <p:cNvSpPr>
            <a:spLocks noGrp="1"/>
          </p:cNvSpPr>
          <p:nvPr>
            <p:ph type="sldNum" sz="quarter" idx="5"/>
          </p:nvPr>
        </p:nvSpPr>
        <p:spPr/>
        <p:txBody>
          <a:bodyPr/>
          <a:lstStyle/>
          <a:p>
            <a:fld id="{4BE0436F-993E-42FF-BB8C-7983559F6164}" type="slidenum">
              <a:rPr lang="nb-NO" smtClean="0"/>
              <a:pPr/>
              <a:t>15</a:t>
            </a:fld>
            <a:endParaRPr lang="nb-NO"/>
          </a:p>
        </p:txBody>
      </p:sp>
    </p:spTree>
    <p:extLst>
      <p:ext uri="{BB962C8B-B14F-4D97-AF65-F5344CB8AC3E}">
        <p14:creationId xmlns:p14="http://schemas.microsoft.com/office/powerpoint/2010/main" val="9691123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4BE0436F-993E-42FF-BB8C-7983559F6164}" type="slidenum">
              <a:rPr lang="nb-NO" smtClean="0"/>
              <a:pPr/>
              <a:t>17</a:t>
            </a:fld>
            <a:endParaRPr lang="nb-NO"/>
          </a:p>
        </p:txBody>
      </p:sp>
    </p:spTree>
    <p:extLst>
      <p:ext uri="{BB962C8B-B14F-4D97-AF65-F5344CB8AC3E}">
        <p14:creationId xmlns:p14="http://schemas.microsoft.com/office/powerpoint/2010/main" val="23617768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4BE0436F-993E-42FF-BB8C-7983559F6164}" type="slidenum">
              <a:rPr lang="nb-NO" smtClean="0"/>
              <a:pPr/>
              <a:t>18</a:t>
            </a:fld>
            <a:endParaRPr lang="nb-NO"/>
          </a:p>
        </p:txBody>
      </p:sp>
    </p:spTree>
    <p:extLst>
      <p:ext uri="{BB962C8B-B14F-4D97-AF65-F5344CB8AC3E}">
        <p14:creationId xmlns:p14="http://schemas.microsoft.com/office/powerpoint/2010/main" val="34196191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81D683-74D6-9BDE-E612-C6DDB9FC68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D00AA5-4A0A-44DE-B1EB-162B3B8742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15687A-9C8C-C5D0-C14E-A69AD69D4E36}"/>
              </a:ext>
            </a:extLst>
          </p:cNvPr>
          <p:cNvSpPr>
            <a:spLocks noGrp="1"/>
          </p:cNvSpPr>
          <p:nvPr>
            <p:ph type="body" idx="1"/>
          </p:nvPr>
        </p:nvSpPr>
        <p:spPr/>
        <p:txBody>
          <a:bodyPr/>
          <a:lstStyle/>
          <a:p>
            <a:endParaRPr lang="nb-NO"/>
          </a:p>
        </p:txBody>
      </p:sp>
      <p:sp>
        <p:nvSpPr>
          <p:cNvPr id="4" name="Slide Number Placeholder 3">
            <a:extLst>
              <a:ext uri="{FF2B5EF4-FFF2-40B4-BE49-F238E27FC236}">
                <a16:creationId xmlns:a16="http://schemas.microsoft.com/office/drawing/2014/main" id="{258247EF-AD67-649E-D8B0-941DCB89BE49}"/>
              </a:ext>
            </a:extLst>
          </p:cNvPr>
          <p:cNvSpPr>
            <a:spLocks noGrp="1"/>
          </p:cNvSpPr>
          <p:nvPr>
            <p:ph type="sldNum" sz="quarter" idx="5"/>
          </p:nvPr>
        </p:nvSpPr>
        <p:spPr/>
        <p:txBody>
          <a:bodyPr/>
          <a:lstStyle/>
          <a:p>
            <a:fld id="{4BE0436F-993E-42FF-BB8C-7983559F6164}" type="slidenum">
              <a:rPr lang="nb-NO" smtClean="0"/>
              <a:pPr/>
              <a:t>20</a:t>
            </a:fld>
            <a:endParaRPr lang="nb-NO"/>
          </a:p>
        </p:txBody>
      </p:sp>
    </p:spTree>
    <p:extLst>
      <p:ext uri="{BB962C8B-B14F-4D97-AF65-F5344CB8AC3E}">
        <p14:creationId xmlns:p14="http://schemas.microsoft.com/office/powerpoint/2010/main" val="22297770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887CC4-C076-D21D-ABE8-378C9A1DC0DB}"/>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624AFC6F-BC1B-C17B-642A-62DA4033412E}"/>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B05D4283-97D2-7B31-2C90-33B56478EDDA}"/>
              </a:ext>
            </a:extLst>
          </p:cNvPr>
          <p:cNvSpPr>
            <a:spLocks noGrp="1"/>
          </p:cNvSpPr>
          <p:nvPr>
            <p:ph type="body" idx="1"/>
          </p:nvPr>
        </p:nvSpPr>
        <p:spPr/>
        <p:txBody>
          <a:bodyPr/>
          <a:lstStyle/>
          <a:p>
            <a:endParaRPr lang="nb-NO"/>
          </a:p>
        </p:txBody>
      </p:sp>
      <p:sp>
        <p:nvSpPr>
          <p:cNvPr id="4" name="Plassholder for lysbildenummer 3">
            <a:extLst>
              <a:ext uri="{FF2B5EF4-FFF2-40B4-BE49-F238E27FC236}">
                <a16:creationId xmlns:a16="http://schemas.microsoft.com/office/drawing/2014/main" id="{DBA86C31-DFE3-C179-DE52-C64535586CE1}"/>
              </a:ext>
            </a:extLst>
          </p:cNvPr>
          <p:cNvSpPr>
            <a:spLocks noGrp="1"/>
          </p:cNvSpPr>
          <p:nvPr>
            <p:ph type="sldNum" sz="quarter" idx="5"/>
          </p:nvPr>
        </p:nvSpPr>
        <p:spPr/>
        <p:txBody>
          <a:bodyPr/>
          <a:lstStyle/>
          <a:p>
            <a:fld id="{4BE0436F-993E-42FF-BB8C-7983559F6164}" type="slidenum">
              <a:rPr lang="nb-NO" smtClean="0"/>
              <a:pPr/>
              <a:t>22</a:t>
            </a:fld>
            <a:endParaRPr lang="nb-NO"/>
          </a:p>
        </p:txBody>
      </p:sp>
    </p:spTree>
    <p:extLst>
      <p:ext uri="{BB962C8B-B14F-4D97-AF65-F5344CB8AC3E}">
        <p14:creationId xmlns:p14="http://schemas.microsoft.com/office/powerpoint/2010/main" val="41957013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gn="l"/>
            <a:r>
              <a:rPr lang="nb-NO">
                <a:solidFill>
                  <a:schemeClr val="accent1"/>
                </a:solidFill>
              </a:rPr>
              <a:t>Hvorfor informerer vi?</a:t>
            </a:r>
          </a:p>
          <a:p>
            <a:pPr algn="l"/>
            <a:r>
              <a:rPr lang="nb-NO">
                <a:solidFill>
                  <a:schemeClr val="accent1"/>
                </a:solidFill>
              </a:rPr>
              <a:t>Hva skal vi snakke om i dag?</a:t>
            </a:r>
          </a:p>
          <a:p>
            <a:pPr algn="l"/>
            <a:r>
              <a:rPr lang="nb-NO">
                <a:solidFill>
                  <a:schemeClr val="accent1"/>
                </a:solidFill>
              </a:rPr>
              <a:t>Hvor langt har vi kommet med arbeidet (kort om at dette arbeidet har pågått i ett år. </a:t>
            </a:r>
          </a:p>
          <a:p>
            <a:pPr algn="l"/>
            <a:r>
              <a:rPr lang="nb-NO">
                <a:solidFill>
                  <a:schemeClr val="accent1"/>
                </a:solidFill>
              </a:rPr>
              <a:t>Metodisk tilnærming til funksjonelle behov?</a:t>
            </a:r>
          </a:p>
          <a:p>
            <a:endParaRPr lang="nb-NO"/>
          </a:p>
        </p:txBody>
      </p:sp>
      <p:sp>
        <p:nvSpPr>
          <p:cNvPr id="4" name="Plassholder for lysbildenummer 3"/>
          <p:cNvSpPr>
            <a:spLocks noGrp="1"/>
          </p:cNvSpPr>
          <p:nvPr>
            <p:ph type="sldNum" sz="quarter" idx="5"/>
          </p:nvPr>
        </p:nvSpPr>
        <p:spPr/>
        <p:txBody>
          <a:bodyPr/>
          <a:lstStyle/>
          <a:p>
            <a:fld id="{4BE0436F-993E-42FF-BB8C-7983559F6164}" type="slidenum">
              <a:rPr lang="nb-NO" smtClean="0"/>
              <a:t>5</a:t>
            </a:fld>
            <a:endParaRPr lang="nb-NO"/>
          </a:p>
        </p:txBody>
      </p:sp>
    </p:spTree>
    <p:extLst>
      <p:ext uri="{BB962C8B-B14F-4D97-AF65-F5344CB8AC3E}">
        <p14:creationId xmlns:p14="http://schemas.microsoft.com/office/powerpoint/2010/main" val="18649469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4BE0436F-993E-42FF-BB8C-7983559F6164}" type="slidenum">
              <a:rPr lang="nb-NO" smtClean="0"/>
              <a:t>6</a:t>
            </a:fld>
            <a:endParaRPr lang="nb-NO"/>
          </a:p>
        </p:txBody>
      </p:sp>
    </p:spTree>
    <p:extLst>
      <p:ext uri="{BB962C8B-B14F-4D97-AF65-F5344CB8AC3E}">
        <p14:creationId xmlns:p14="http://schemas.microsoft.com/office/powerpoint/2010/main" val="19558591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4BE0436F-993E-42FF-BB8C-7983559F6164}" type="slidenum">
              <a:rPr lang="nb-NO" smtClean="0"/>
              <a:pPr/>
              <a:t>7</a:t>
            </a:fld>
            <a:endParaRPr lang="nb-NO"/>
          </a:p>
        </p:txBody>
      </p:sp>
    </p:spTree>
    <p:extLst>
      <p:ext uri="{BB962C8B-B14F-4D97-AF65-F5344CB8AC3E}">
        <p14:creationId xmlns:p14="http://schemas.microsoft.com/office/powerpoint/2010/main" val="5054516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4BE0436F-993E-42FF-BB8C-7983559F6164}" type="slidenum">
              <a:rPr lang="nb-NO" smtClean="0"/>
              <a:pPr/>
              <a:t>9</a:t>
            </a:fld>
            <a:endParaRPr lang="nb-NO"/>
          </a:p>
        </p:txBody>
      </p:sp>
    </p:spTree>
    <p:extLst>
      <p:ext uri="{BB962C8B-B14F-4D97-AF65-F5344CB8AC3E}">
        <p14:creationId xmlns:p14="http://schemas.microsoft.com/office/powerpoint/2010/main" val="3555101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4BE0436F-993E-42FF-BB8C-7983559F6164}" type="slidenum">
              <a:rPr lang="nb-NO" smtClean="0"/>
              <a:pPr/>
              <a:t>10</a:t>
            </a:fld>
            <a:endParaRPr lang="nb-NO"/>
          </a:p>
        </p:txBody>
      </p:sp>
    </p:spTree>
    <p:extLst>
      <p:ext uri="{BB962C8B-B14F-4D97-AF65-F5344CB8AC3E}">
        <p14:creationId xmlns:p14="http://schemas.microsoft.com/office/powerpoint/2010/main" val="14056672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4BE0436F-993E-42FF-BB8C-7983559F6164}" type="slidenum">
              <a:rPr lang="nb-NO" smtClean="0"/>
              <a:pPr/>
              <a:t>11</a:t>
            </a:fld>
            <a:endParaRPr lang="nb-NO"/>
          </a:p>
        </p:txBody>
      </p:sp>
    </p:spTree>
    <p:extLst>
      <p:ext uri="{BB962C8B-B14F-4D97-AF65-F5344CB8AC3E}">
        <p14:creationId xmlns:p14="http://schemas.microsoft.com/office/powerpoint/2010/main" val="37334229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4BE0436F-993E-42FF-BB8C-7983559F6164}" type="slidenum">
              <a:rPr lang="nb-NO" smtClean="0"/>
              <a:pPr/>
              <a:t>12</a:t>
            </a:fld>
            <a:endParaRPr lang="nb-NO"/>
          </a:p>
        </p:txBody>
      </p:sp>
    </p:spTree>
    <p:extLst>
      <p:ext uri="{BB962C8B-B14F-4D97-AF65-F5344CB8AC3E}">
        <p14:creationId xmlns:p14="http://schemas.microsoft.com/office/powerpoint/2010/main" val="24781392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8EBC3B-4725-273C-A491-AE2ED24A60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3EDDFD-84E6-19BF-DBA3-455867D4D1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541B6A-F3A2-6820-B803-BF5F287CA575}"/>
              </a:ext>
            </a:extLst>
          </p:cNvPr>
          <p:cNvSpPr>
            <a:spLocks noGrp="1"/>
          </p:cNvSpPr>
          <p:nvPr>
            <p:ph type="body" idx="1"/>
          </p:nvPr>
        </p:nvSpPr>
        <p:spPr/>
        <p:txBody>
          <a:bodyPr/>
          <a:lstStyle/>
          <a:p>
            <a:endParaRPr lang="nb-NO"/>
          </a:p>
        </p:txBody>
      </p:sp>
      <p:sp>
        <p:nvSpPr>
          <p:cNvPr id="4" name="Slide Number Placeholder 3">
            <a:extLst>
              <a:ext uri="{FF2B5EF4-FFF2-40B4-BE49-F238E27FC236}">
                <a16:creationId xmlns:a16="http://schemas.microsoft.com/office/drawing/2014/main" id="{2C6026CB-7868-F988-51A0-63E3F7311333}"/>
              </a:ext>
            </a:extLst>
          </p:cNvPr>
          <p:cNvSpPr>
            <a:spLocks noGrp="1"/>
          </p:cNvSpPr>
          <p:nvPr>
            <p:ph type="sldNum" sz="quarter" idx="5"/>
          </p:nvPr>
        </p:nvSpPr>
        <p:spPr/>
        <p:txBody>
          <a:bodyPr/>
          <a:lstStyle/>
          <a:p>
            <a:fld id="{4BE0436F-993E-42FF-BB8C-7983559F6164}" type="slidenum">
              <a:rPr lang="nb-NO" smtClean="0"/>
              <a:pPr/>
              <a:t>13</a:t>
            </a:fld>
            <a:endParaRPr lang="nb-NO"/>
          </a:p>
        </p:txBody>
      </p:sp>
    </p:spTree>
    <p:extLst>
      <p:ext uri="{BB962C8B-B14F-4D97-AF65-F5344CB8AC3E}">
        <p14:creationId xmlns:p14="http://schemas.microsoft.com/office/powerpoint/2010/main" val="27423235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Forside A">
    <p:bg>
      <p:bgPr>
        <a:solidFill>
          <a:schemeClr val="bg2"/>
        </a:solidFill>
        <a:effectLst/>
      </p:bgPr>
    </p:bg>
    <p:spTree>
      <p:nvGrpSpPr>
        <p:cNvPr id="1" name=""/>
        <p:cNvGrpSpPr/>
        <p:nvPr/>
      </p:nvGrpSpPr>
      <p:grpSpPr>
        <a:xfrm>
          <a:off x="0" y="0"/>
          <a:ext cx="0" cy="0"/>
          <a:chOff x="0" y="0"/>
          <a:chExt cx="0" cy="0"/>
        </a:xfrm>
      </p:grpSpPr>
      <p:sp>
        <p:nvSpPr>
          <p:cNvPr id="7" name="form">
            <a:extLst>
              <a:ext uri="{FF2B5EF4-FFF2-40B4-BE49-F238E27FC236}">
                <a16:creationId xmlns:a16="http://schemas.microsoft.com/office/drawing/2014/main" id="{468A1974-2205-8109-9C6D-43A808783050}"/>
              </a:ext>
              <a:ext uri="{C183D7F6-B498-43B3-948B-1728B52AA6E4}">
                <adec:decorative xmlns:adec="http://schemas.microsoft.com/office/drawing/2017/decorative" val="1"/>
              </a:ext>
            </a:extLst>
          </p:cNvPr>
          <p:cNvSpPr/>
          <p:nvPr/>
        </p:nvSpPr>
        <p:spPr>
          <a:xfrm>
            <a:off x="3288505" y="817511"/>
            <a:ext cx="8392253" cy="5226407"/>
          </a:xfrm>
          <a:custGeom>
            <a:avLst/>
            <a:gdLst>
              <a:gd name="connsiteX0" fmla="*/ 4200920 w 8392253"/>
              <a:gd name="connsiteY0" fmla="*/ 2611966 h 5226407"/>
              <a:gd name="connsiteX1" fmla="*/ 5124519 w 8392253"/>
              <a:gd name="connsiteY1" fmla="*/ 2611966 h 5226407"/>
              <a:gd name="connsiteX2" fmla="*/ 2562260 w 8392253"/>
              <a:gd name="connsiteY2" fmla="*/ 0 h 5226407"/>
              <a:gd name="connsiteX3" fmla="*/ 0 w 8392253"/>
              <a:gd name="connsiteY3" fmla="*/ 2611966 h 5226407"/>
              <a:gd name="connsiteX4" fmla="*/ 0 w 8392253"/>
              <a:gd name="connsiteY4" fmla="*/ 5206665 h 5226407"/>
              <a:gd name="connsiteX5" fmla="*/ 923599 w 8392253"/>
              <a:gd name="connsiteY5" fmla="*/ 5206665 h 5226407"/>
              <a:gd name="connsiteX6" fmla="*/ 923599 w 8392253"/>
              <a:gd name="connsiteY6" fmla="*/ 2611966 h 5226407"/>
              <a:gd name="connsiteX7" fmla="*/ 2562260 w 8392253"/>
              <a:gd name="connsiteY7" fmla="*/ 941565 h 5226407"/>
              <a:gd name="connsiteX8" fmla="*/ 4200920 w 8392253"/>
              <a:gd name="connsiteY8" fmla="*/ 2611966 h 5226407"/>
              <a:gd name="connsiteX9" fmla="*/ 8392253 w 8392253"/>
              <a:gd name="connsiteY9" fmla="*/ 2614506 h 5226407"/>
              <a:gd name="connsiteX10" fmla="*/ 5829994 w 8392253"/>
              <a:gd name="connsiteY10" fmla="*/ 2539 h 5226407"/>
              <a:gd name="connsiteX11" fmla="*/ 5829994 w 8392253"/>
              <a:gd name="connsiteY11" fmla="*/ 944041 h 5226407"/>
              <a:gd name="connsiteX12" fmla="*/ 7468655 w 8392253"/>
              <a:gd name="connsiteY12" fmla="*/ 2614442 h 5226407"/>
              <a:gd name="connsiteX13" fmla="*/ 5829994 w 8392253"/>
              <a:gd name="connsiteY13" fmla="*/ 4284843 h 5226407"/>
              <a:gd name="connsiteX14" fmla="*/ 4191397 w 8392253"/>
              <a:gd name="connsiteY14" fmla="*/ 2614442 h 5226407"/>
              <a:gd name="connsiteX15" fmla="*/ 3267798 w 8392253"/>
              <a:gd name="connsiteY15" fmla="*/ 2614442 h 5226407"/>
              <a:gd name="connsiteX16" fmla="*/ 5829994 w 8392253"/>
              <a:gd name="connsiteY16" fmla="*/ 5226408 h 5226407"/>
              <a:gd name="connsiteX17" fmla="*/ 8392253 w 8392253"/>
              <a:gd name="connsiteY17" fmla="*/ 2614442 h 5226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392253" h="5226407">
                <a:moveTo>
                  <a:pt x="4200920" y="2611966"/>
                </a:moveTo>
                <a:lnTo>
                  <a:pt x="5124519" y="2611966"/>
                </a:lnTo>
                <a:cubicBezTo>
                  <a:pt x="5124519" y="1171750"/>
                  <a:pt x="3975051" y="0"/>
                  <a:pt x="2562260" y="0"/>
                </a:cubicBezTo>
                <a:cubicBezTo>
                  <a:pt x="1149468" y="0"/>
                  <a:pt x="0" y="1171750"/>
                  <a:pt x="0" y="2611966"/>
                </a:cubicBezTo>
                <a:lnTo>
                  <a:pt x="0" y="5206665"/>
                </a:lnTo>
                <a:lnTo>
                  <a:pt x="923599" y="5206665"/>
                </a:lnTo>
                <a:lnTo>
                  <a:pt x="923599" y="2611966"/>
                </a:lnTo>
                <a:cubicBezTo>
                  <a:pt x="923599" y="1690906"/>
                  <a:pt x="1658721" y="941565"/>
                  <a:pt x="2562260" y="941565"/>
                </a:cubicBezTo>
                <a:cubicBezTo>
                  <a:pt x="3465799" y="941565"/>
                  <a:pt x="4200920" y="1690906"/>
                  <a:pt x="4200920" y="2611966"/>
                </a:cubicBezTo>
                <a:moveTo>
                  <a:pt x="8392253" y="2614506"/>
                </a:moveTo>
                <a:cubicBezTo>
                  <a:pt x="8392253" y="1174226"/>
                  <a:pt x="7242849" y="2539"/>
                  <a:pt x="5829994" y="2539"/>
                </a:cubicBezTo>
                <a:lnTo>
                  <a:pt x="5829994" y="944041"/>
                </a:lnTo>
                <a:cubicBezTo>
                  <a:pt x="6733533" y="944041"/>
                  <a:pt x="7468655" y="1693318"/>
                  <a:pt x="7468655" y="2614442"/>
                </a:cubicBezTo>
                <a:cubicBezTo>
                  <a:pt x="7468655" y="3535566"/>
                  <a:pt x="6733533" y="4284843"/>
                  <a:pt x="5829994" y="4284843"/>
                </a:cubicBezTo>
                <a:cubicBezTo>
                  <a:pt x="4926455" y="4284843"/>
                  <a:pt x="4191397" y="3535502"/>
                  <a:pt x="4191397" y="2614442"/>
                </a:cubicBezTo>
                <a:lnTo>
                  <a:pt x="3267798" y="2614442"/>
                </a:lnTo>
                <a:cubicBezTo>
                  <a:pt x="3267798" y="4054658"/>
                  <a:pt x="4417203" y="5226408"/>
                  <a:pt x="5829994" y="5226408"/>
                </a:cubicBezTo>
                <a:cubicBezTo>
                  <a:pt x="7242786" y="5226408"/>
                  <a:pt x="8392253" y="4054658"/>
                  <a:pt x="8392253" y="2614442"/>
                </a:cubicBezTo>
              </a:path>
            </a:pathLst>
          </a:custGeom>
          <a:solidFill>
            <a:srgbClr val="EFD8B8"/>
          </a:solidFill>
          <a:ln w="6348" cap="flat">
            <a:noFill/>
            <a:prstDash val="solid"/>
            <a:miter/>
          </a:ln>
        </p:spPr>
        <p:txBody>
          <a:bodyPr rtlCol="0" anchor="ctr"/>
          <a:lstStyle/>
          <a:p>
            <a:endParaRPr lang="nb-NO"/>
          </a:p>
        </p:txBody>
      </p:sp>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029494" y="2120633"/>
            <a:ext cx="7621588" cy="1846659"/>
          </a:xfrm>
        </p:spPr>
        <p:txBody>
          <a:bodyPr anchor="t" anchorCtr="0">
            <a:noAutofit/>
          </a:bodyPr>
          <a:lstStyle>
            <a:lvl1pPr algn="l">
              <a:defRPr sz="6000" spc="-100" baseline="0">
                <a:solidFill>
                  <a:schemeClr val="accent1"/>
                </a:solidFill>
                <a:latin typeface="Brockmann" pitchFamily="50" charset="0"/>
              </a:defRPr>
            </a:lvl1pPr>
          </a:lstStyle>
          <a:p>
            <a:r>
              <a:rPr lang="nb-NO"/>
              <a:t>Klikk for å redigere tittelstil</a:t>
            </a:r>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hasCustomPrompt="1"/>
          </p:nvPr>
        </p:nvSpPr>
        <p:spPr>
          <a:xfrm>
            <a:off x="1029494" y="824705"/>
            <a:ext cx="4684714" cy="384721"/>
          </a:xfrm>
        </p:spPr>
        <p:txBody>
          <a:bodyPr lIns="10800">
            <a:noAutofit/>
          </a:bodyPr>
          <a:lstStyle>
            <a:lvl1pPr marL="0" indent="0" algn="l">
              <a:lnSpc>
                <a:spcPct val="100000"/>
              </a:lnSpc>
              <a:buNone/>
              <a:defRPr sz="125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Dato / sted / Navn</a:t>
            </a:r>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p:txBody>
          <a:bodyPr/>
          <a:lstStyle>
            <a:lvl1pPr>
              <a:defRPr>
                <a:noFill/>
              </a:defRPr>
            </a:lvl1pPr>
          </a:lstStyle>
          <a:p>
            <a:fld id="{FB0A549C-84E1-413E-ABC9-553840A9BD1D}" type="datetime1">
              <a:rPr lang="nb-NO" smtClean="0"/>
              <a:t>13.06.2025</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p:txBody>
          <a:bodyPr/>
          <a:lstStyle>
            <a:lvl1pPr>
              <a:defRPr>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p:txBody>
          <a:bodyPr/>
          <a:lstStyle>
            <a:lvl1pPr>
              <a:defRPr>
                <a:noFill/>
              </a:defRPr>
            </a:lvl1pPr>
          </a:lstStyle>
          <a:p>
            <a:fld id="{BE2ACD00-28B2-4D17-A930-2C9F8441C7CA}" type="slidenum">
              <a:rPr lang="nb-NO" smtClean="0"/>
              <a:pPr/>
              <a:t>‹#›</a:t>
            </a:fld>
            <a:endParaRPr lang="nb-NO"/>
          </a:p>
        </p:txBody>
      </p:sp>
      <p:pic>
        <p:nvPicPr>
          <p:cNvPr id="14" name="Logo" descr="Novari logo">
            <a:extLst>
              <a:ext uri="{FF2B5EF4-FFF2-40B4-BE49-F238E27FC236}">
                <a16:creationId xmlns:a16="http://schemas.microsoft.com/office/drawing/2014/main" id="{96853129-5723-AD08-EE93-D2216DB708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8228" y="5755162"/>
            <a:ext cx="1393028" cy="284014"/>
          </a:xfrm>
          <a:prstGeom prst="rect">
            <a:avLst/>
          </a:prstGeom>
        </p:spPr>
      </p:pic>
    </p:spTree>
    <p:extLst>
      <p:ext uri="{BB962C8B-B14F-4D97-AF65-F5344CB8AC3E}">
        <p14:creationId xmlns:p14="http://schemas.microsoft.com/office/powerpoint/2010/main" val="784046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deside, fritt oppsett">
    <p:bg>
      <p:bgPr>
        <a:solidFill>
          <a:schemeClr val="bg2"/>
        </a:solidFill>
        <a:effectLst/>
      </p:bgPr>
    </p:bg>
    <p:spTree>
      <p:nvGrpSpPr>
        <p:cNvPr id="1" name=""/>
        <p:cNvGrpSpPr/>
        <p:nvPr/>
      </p:nvGrpSpPr>
      <p:grpSpPr>
        <a:xfrm>
          <a:off x="0" y="0"/>
          <a:ext cx="0" cy="0"/>
          <a:chOff x="0" y="0"/>
          <a:chExt cx="0" cy="0"/>
        </a:xfrm>
      </p:grpSpPr>
      <p:sp>
        <p:nvSpPr>
          <p:cNvPr id="9" name="Tittel 1">
            <a:extLst>
              <a:ext uri="{FF2B5EF4-FFF2-40B4-BE49-F238E27FC236}">
                <a16:creationId xmlns:a16="http://schemas.microsoft.com/office/drawing/2014/main" id="{EF4F0400-7217-7379-BA1E-AC3E5AD48EC2}"/>
              </a:ext>
            </a:extLst>
          </p:cNvPr>
          <p:cNvSpPr>
            <a:spLocks noGrp="1"/>
          </p:cNvSpPr>
          <p:nvPr>
            <p:ph type="title" hasCustomPrompt="1"/>
          </p:nvPr>
        </p:nvSpPr>
        <p:spPr>
          <a:xfrm>
            <a:off x="838200" y="-675159"/>
            <a:ext cx="10515600" cy="462434"/>
          </a:xfrm>
        </p:spPr>
        <p:txBody>
          <a:bodyPr anchor="b" anchorCtr="0">
            <a:normAutofit/>
          </a:bodyPr>
          <a:lstStyle>
            <a:lvl1pPr>
              <a:defRPr sz="2600"/>
            </a:lvl1pPr>
          </a:lstStyle>
          <a:p>
            <a:r>
              <a:rPr lang="nb-NO"/>
              <a:t>Tittel for universell utforming</a:t>
            </a:r>
          </a:p>
        </p:txBody>
      </p:sp>
      <p:sp>
        <p:nvSpPr>
          <p:cNvPr id="8" name="Plassholder for stikktittel">
            <a:extLst>
              <a:ext uri="{FF2B5EF4-FFF2-40B4-BE49-F238E27FC236}">
                <a16:creationId xmlns:a16="http://schemas.microsoft.com/office/drawing/2014/main" id="{4BA77D5D-02BF-5ECF-E9CC-34542FBB210E}"/>
              </a:ext>
            </a:extLst>
          </p:cNvPr>
          <p:cNvSpPr>
            <a:spLocks noGrp="1"/>
          </p:cNvSpPr>
          <p:nvPr>
            <p:ph type="body" sz="quarter" idx="13" hasCustomPrompt="1"/>
          </p:nvPr>
        </p:nvSpPr>
        <p:spPr>
          <a:xfrm>
            <a:off x="1033200" y="630000"/>
            <a:ext cx="2657779" cy="245373"/>
          </a:xfrm>
          <a:blipFill>
            <a:blip r:embed="rId2">
              <a:extLst>
                <a:ext uri="{96DAC541-7B7A-43D3-8B79-37D633B846F1}">
                  <asvg:svgBlip xmlns:asvg="http://schemas.microsoft.com/office/drawing/2016/SVG/main" r:embed="rId3"/>
                </a:ext>
              </a:extLst>
            </a:blip>
            <a:stretch>
              <a:fillRect/>
            </a:stretch>
          </a:blipFill>
          <a:ln>
            <a:noFill/>
          </a:ln>
        </p:spPr>
        <p:txBody>
          <a:bodyPr wrap="none" bIns="14400">
            <a:spAutoFit/>
          </a:bodyPr>
          <a:lstStyle>
            <a:lvl1pPr marL="0" indent="0">
              <a:lnSpc>
                <a:spcPct val="100000"/>
              </a:lnSpc>
              <a:buNone/>
              <a:defRPr u="none">
                <a:solidFill>
                  <a:schemeClr val="accent6"/>
                </a:solidFill>
                <a:latin typeface="+mj-lt"/>
              </a:defRPr>
            </a:lvl1pPr>
            <a:lvl2pPr marL="158844" indent="0">
              <a:buNone/>
              <a:defRPr/>
            </a:lvl2pPr>
          </a:lstStyle>
          <a:p>
            <a:pPr lvl="0"/>
            <a:r>
              <a:rPr lang="nb-NO"/>
              <a:t>Klikk for å skrive en stikktittel</a:t>
            </a:r>
          </a:p>
        </p:txBody>
      </p:sp>
      <p:sp>
        <p:nvSpPr>
          <p:cNvPr id="12" name="Plassholder for innhold 11">
            <a:extLst>
              <a:ext uri="{FF2B5EF4-FFF2-40B4-BE49-F238E27FC236}">
                <a16:creationId xmlns:a16="http://schemas.microsoft.com/office/drawing/2014/main" id="{7545EDA6-1C04-1340-204F-A03868A7696F}"/>
              </a:ext>
            </a:extLst>
          </p:cNvPr>
          <p:cNvSpPr>
            <a:spLocks noGrp="1"/>
          </p:cNvSpPr>
          <p:nvPr>
            <p:ph sz="quarter" idx="16" hasCustomPrompt="1"/>
          </p:nvPr>
        </p:nvSpPr>
        <p:spPr>
          <a:xfrm>
            <a:off x="1033729" y="1464469"/>
            <a:ext cx="4199942" cy="3920096"/>
          </a:xfrm>
        </p:spPr>
        <p:txBody>
          <a:bodyPr anchor="t" anchorCtr="1"/>
          <a:lstStyle>
            <a:lvl1pPr marL="0" indent="0">
              <a:buNone/>
              <a:defRPr sz="900">
                <a:solidFill>
                  <a:schemeClr val="tx1">
                    <a:lumMod val="75000"/>
                    <a:lumOff val="25000"/>
                  </a:schemeClr>
                </a:solidFill>
              </a:defRPr>
            </a:lvl1pPr>
          </a:lstStyle>
          <a:p>
            <a:pPr lvl="0"/>
            <a:r>
              <a:rPr lang="nb-NO"/>
              <a:t>Klikk på et ikon for å legge til bilde/utklipp, tabell eller graf</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560AB3DF-8B8E-4FE0-BB9C-DAD5FB434DCE}" type="datetime1">
              <a:rPr lang="nb-NO" smtClean="0"/>
              <a:t>13.06.2025</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7" name="Plassholder for innhold 11">
            <a:extLst>
              <a:ext uri="{FF2B5EF4-FFF2-40B4-BE49-F238E27FC236}">
                <a16:creationId xmlns:a16="http://schemas.microsoft.com/office/drawing/2014/main" id="{663F0987-3403-380B-A9F6-4CB2FDB95389}"/>
              </a:ext>
            </a:extLst>
          </p:cNvPr>
          <p:cNvSpPr>
            <a:spLocks noGrp="1"/>
          </p:cNvSpPr>
          <p:nvPr>
            <p:ph sz="quarter" idx="17" hasCustomPrompt="1"/>
          </p:nvPr>
        </p:nvSpPr>
        <p:spPr>
          <a:xfrm>
            <a:off x="5710238" y="1464470"/>
            <a:ext cx="4974886" cy="3369520"/>
          </a:xfrm>
        </p:spPr>
        <p:txBody>
          <a:bodyPr anchor="t" anchorCtr="1"/>
          <a:lstStyle>
            <a:lvl1pPr marL="0" indent="0">
              <a:buNone/>
              <a:defRPr sz="900">
                <a:solidFill>
                  <a:schemeClr val="tx1">
                    <a:lumMod val="75000"/>
                    <a:lumOff val="25000"/>
                  </a:schemeClr>
                </a:solidFill>
              </a:defRPr>
            </a:lvl1pPr>
          </a:lstStyle>
          <a:p>
            <a:pPr lvl="0"/>
            <a:r>
              <a:rPr lang="nb-NO"/>
              <a:t>Klikk på et ikon for å legge til bilde/utklipp, tabell eller graf</a:t>
            </a:r>
          </a:p>
        </p:txBody>
      </p:sp>
    </p:spTree>
    <p:extLst>
      <p:ext uri="{BB962C8B-B14F-4D97-AF65-F5344CB8AC3E}">
        <p14:creationId xmlns:p14="http://schemas.microsoft.com/office/powerpoint/2010/main" val="26519204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eside, 3 bilder">
    <p:bg>
      <p:bgPr>
        <a:solidFill>
          <a:schemeClr val="bg2"/>
        </a:solidFill>
        <a:effectLst/>
      </p:bgPr>
    </p:bg>
    <p:spTree>
      <p:nvGrpSpPr>
        <p:cNvPr id="1" name=""/>
        <p:cNvGrpSpPr/>
        <p:nvPr/>
      </p:nvGrpSpPr>
      <p:grpSpPr>
        <a:xfrm>
          <a:off x="0" y="0"/>
          <a:ext cx="0" cy="0"/>
          <a:chOff x="0" y="0"/>
          <a:chExt cx="0" cy="0"/>
        </a:xfrm>
      </p:grpSpPr>
      <p:sp>
        <p:nvSpPr>
          <p:cNvPr id="9" name="Tittel 1">
            <a:extLst>
              <a:ext uri="{FF2B5EF4-FFF2-40B4-BE49-F238E27FC236}">
                <a16:creationId xmlns:a16="http://schemas.microsoft.com/office/drawing/2014/main" id="{EF4F0400-7217-7379-BA1E-AC3E5AD48EC2}"/>
              </a:ext>
            </a:extLst>
          </p:cNvPr>
          <p:cNvSpPr>
            <a:spLocks noGrp="1"/>
          </p:cNvSpPr>
          <p:nvPr>
            <p:ph type="title" hasCustomPrompt="1"/>
          </p:nvPr>
        </p:nvSpPr>
        <p:spPr>
          <a:xfrm>
            <a:off x="838200" y="-675159"/>
            <a:ext cx="10515600" cy="462434"/>
          </a:xfrm>
        </p:spPr>
        <p:txBody>
          <a:bodyPr anchor="b" anchorCtr="0">
            <a:normAutofit/>
          </a:bodyPr>
          <a:lstStyle>
            <a:lvl1pPr>
              <a:defRPr sz="2600"/>
            </a:lvl1pPr>
          </a:lstStyle>
          <a:p>
            <a:r>
              <a:rPr lang="nb-NO"/>
              <a:t>Tittel for universell utforming</a:t>
            </a:r>
          </a:p>
        </p:txBody>
      </p:sp>
      <p:sp>
        <p:nvSpPr>
          <p:cNvPr id="8" name="Plassholder for bilde 10">
            <a:extLst>
              <a:ext uri="{FF2B5EF4-FFF2-40B4-BE49-F238E27FC236}">
                <a16:creationId xmlns:a16="http://schemas.microsoft.com/office/drawing/2014/main" id="{89FFB911-7972-201F-0C32-D6741C6C5ECD}"/>
              </a:ext>
            </a:extLst>
          </p:cNvPr>
          <p:cNvSpPr>
            <a:spLocks noGrp="1"/>
          </p:cNvSpPr>
          <p:nvPr>
            <p:ph type="pic" sz="quarter" idx="14" hasCustomPrompt="1"/>
          </p:nvPr>
        </p:nvSpPr>
        <p:spPr>
          <a:xfrm>
            <a:off x="1029494" y="1464469"/>
            <a:ext cx="6234906" cy="4576762"/>
          </a:xfrm>
        </p:spPr>
        <p:txBody>
          <a:bodyPr anchor="t" anchorCtr="1"/>
          <a:lstStyle>
            <a:lvl1pPr marL="0" indent="0">
              <a:buNone/>
              <a:defRPr sz="900">
                <a:solidFill>
                  <a:schemeClr val="tx1">
                    <a:lumMod val="65000"/>
                    <a:lumOff val="35000"/>
                  </a:schemeClr>
                </a:solidFill>
              </a:defRPr>
            </a:lvl1pPr>
          </a:lstStyle>
          <a:p>
            <a:r>
              <a:rPr lang="nb-NO" noProof="0"/>
              <a:t>Klikk på ikonet eller dra inn en bildefil for å legge til et bilde. </a:t>
            </a:r>
            <a:br>
              <a:rPr lang="nb-NO" noProof="0"/>
            </a:br>
            <a:r>
              <a:rPr lang="nb-NO" noProof="0"/>
              <a:t>Juster utsnittet på Bildeformat-fanen &gt; Beskjær.</a:t>
            </a:r>
          </a:p>
        </p:txBody>
      </p:sp>
      <p:sp>
        <p:nvSpPr>
          <p:cNvPr id="10" name="Plassholder for bilde 10">
            <a:extLst>
              <a:ext uri="{FF2B5EF4-FFF2-40B4-BE49-F238E27FC236}">
                <a16:creationId xmlns:a16="http://schemas.microsoft.com/office/drawing/2014/main" id="{BEB3354C-66D1-65E3-E360-A3BF3B88B30D}"/>
              </a:ext>
            </a:extLst>
          </p:cNvPr>
          <p:cNvSpPr>
            <a:spLocks noGrp="1"/>
          </p:cNvSpPr>
          <p:nvPr>
            <p:ph type="pic" sz="quarter" idx="15" hasCustomPrompt="1"/>
          </p:nvPr>
        </p:nvSpPr>
        <p:spPr>
          <a:xfrm>
            <a:off x="8527257" y="770467"/>
            <a:ext cx="1953929" cy="2658534"/>
          </a:xfrm>
        </p:spPr>
        <p:txBody>
          <a:bodyPr anchor="t" anchorCtr="1"/>
          <a:lstStyle>
            <a:lvl1pPr marL="0" indent="0">
              <a:buNone/>
              <a:defRPr sz="900">
                <a:solidFill>
                  <a:schemeClr val="tx1">
                    <a:lumMod val="65000"/>
                    <a:lumOff val="35000"/>
                  </a:schemeClr>
                </a:solidFill>
              </a:defRPr>
            </a:lvl1pPr>
          </a:lstStyle>
          <a:p>
            <a:r>
              <a:rPr lang="nb-NO" noProof="0"/>
              <a:t>Klikk på ikonet eller dra inn en bildefil for å legge til et bilde. </a:t>
            </a:r>
            <a:br>
              <a:rPr lang="nb-NO" noProof="0"/>
            </a:br>
            <a:r>
              <a:rPr lang="nb-NO" noProof="0"/>
              <a:t>Juster utsnittet på Bildeformat-fanen &gt; Beskjær.</a:t>
            </a:r>
          </a:p>
        </p:txBody>
      </p:sp>
      <p:sp>
        <p:nvSpPr>
          <p:cNvPr id="11" name="Plassholder for bilde 10">
            <a:extLst>
              <a:ext uri="{FF2B5EF4-FFF2-40B4-BE49-F238E27FC236}">
                <a16:creationId xmlns:a16="http://schemas.microsoft.com/office/drawing/2014/main" id="{C88CBE2F-3953-8378-F52D-63DF193C920A}"/>
              </a:ext>
            </a:extLst>
          </p:cNvPr>
          <p:cNvSpPr>
            <a:spLocks noGrp="1"/>
          </p:cNvSpPr>
          <p:nvPr>
            <p:ph type="pic" sz="quarter" idx="16" hasCustomPrompt="1"/>
          </p:nvPr>
        </p:nvSpPr>
        <p:spPr>
          <a:xfrm>
            <a:off x="8527257" y="4079081"/>
            <a:ext cx="2656681" cy="1962150"/>
          </a:xfrm>
        </p:spPr>
        <p:txBody>
          <a:bodyPr anchor="t" anchorCtr="1"/>
          <a:lstStyle>
            <a:lvl1pPr marL="0" indent="0">
              <a:buNone/>
              <a:defRPr sz="900">
                <a:solidFill>
                  <a:schemeClr val="tx1">
                    <a:lumMod val="65000"/>
                    <a:lumOff val="35000"/>
                  </a:schemeClr>
                </a:solidFill>
              </a:defRPr>
            </a:lvl1pPr>
          </a:lstStyle>
          <a:p>
            <a:r>
              <a:rPr lang="nb-NO" noProof="0"/>
              <a:t>Klikk på ikonet eller dra inn en bildefil for å legge til et bilde. </a:t>
            </a:r>
            <a:br>
              <a:rPr lang="nb-NO" noProof="0"/>
            </a:br>
            <a:r>
              <a:rPr lang="nb-NO" noProof="0"/>
              <a:t>Juster utsnittet på Bildeformat-fanen &gt; Beskjær.</a:t>
            </a:r>
          </a:p>
        </p:txBody>
      </p:sp>
      <p:sp>
        <p:nvSpPr>
          <p:cNvPr id="12" name="Plassholder for stikktittel">
            <a:extLst>
              <a:ext uri="{FF2B5EF4-FFF2-40B4-BE49-F238E27FC236}">
                <a16:creationId xmlns:a16="http://schemas.microsoft.com/office/drawing/2014/main" id="{E1A44C09-CDE3-65EC-4691-DE5C54FA0AF7}"/>
              </a:ext>
            </a:extLst>
          </p:cNvPr>
          <p:cNvSpPr>
            <a:spLocks noGrp="1"/>
          </p:cNvSpPr>
          <p:nvPr>
            <p:ph type="body" sz="quarter" idx="13" hasCustomPrompt="1"/>
          </p:nvPr>
        </p:nvSpPr>
        <p:spPr>
          <a:xfrm>
            <a:off x="1033200" y="630000"/>
            <a:ext cx="2657779" cy="245373"/>
          </a:xfrm>
          <a:blipFill>
            <a:blip r:embed="rId2">
              <a:extLst>
                <a:ext uri="{96DAC541-7B7A-43D3-8B79-37D633B846F1}">
                  <asvg:svgBlip xmlns:asvg="http://schemas.microsoft.com/office/drawing/2016/SVG/main" r:embed="rId3"/>
                </a:ext>
              </a:extLst>
            </a:blip>
            <a:stretch>
              <a:fillRect/>
            </a:stretch>
          </a:blipFill>
          <a:ln>
            <a:noFill/>
          </a:ln>
        </p:spPr>
        <p:txBody>
          <a:bodyPr wrap="none" bIns="14400">
            <a:spAutoFit/>
          </a:bodyPr>
          <a:lstStyle>
            <a:lvl1pPr marL="0" indent="0">
              <a:lnSpc>
                <a:spcPct val="100000"/>
              </a:lnSpc>
              <a:buNone/>
              <a:defRPr u="none">
                <a:solidFill>
                  <a:schemeClr val="accent6"/>
                </a:solidFill>
                <a:latin typeface="+mj-lt"/>
              </a:defRPr>
            </a:lvl1pPr>
            <a:lvl2pPr marL="158844" indent="0">
              <a:buNone/>
              <a:defRPr/>
            </a:lvl2pPr>
          </a:lstStyle>
          <a:p>
            <a:pPr lvl="0"/>
            <a:r>
              <a:rPr lang="nb-NO"/>
              <a:t>Klikk for å skrive en stikktittel</a:t>
            </a:r>
          </a:p>
        </p:txBody>
      </p:sp>
      <p:sp>
        <p:nvSpPr>
          <p:cNvPr id="16" name="Plassholder for dato 15">
            <a:extLst>
              <a:ext uri="{FF2B5EF4-FFF2-40B4-BE49-F238E27FC236}">
                <a16:creationId xmlns:a16="http://schemas.microsoft.com/office/drawing/2014/main" id="{A60840C5-D8A9-FD32-BCAC-35C30BDD0B18}"/>
              </a:ext>
            </a:extLst>
          </p:cNvPr>
          <p:cNvSpPr>
            <a:spLocks noGrp="1"/>
          </p:cNvSpPr>
          <p:nvPr>
            <p:ph type="dt" sz="half" idx="17"/>
          </p:nvPr>
        </p:nvSpPr>
        <p:spPr/>
        <p:txBody>
          <a:bodyPr/>
          <a:lstStyle/>
          <a:p>
            <a:fld id="{1ABD587D-0514-4F19-AE69-F0EEDE96F83B}" type="datetime1">
              <a:rPr lang="nb-NO" smtClean="0"/>
              <a:t>13.06.2025</a:t>
            </a:fld>
            <a:endParaRPr lang="nb-NO"/>
          </a:p>
        </p:txBody>
      </p:sp>
      <p:sp>
        <p:nvSpPr>
          <p:cNvPr id="17" name="Plassholder for bunntekst 16">
            <a:extLst>
              <a:ext uri="{FF2B5EF4-FFF2-40B4-BE49-F238E27FC236}">
                <a16:creationId xmlns:a16="http://schemas.microsoft.com/office/drawing/2014/main" id="{AB8B9337-4405-D5F0-3545-FF26BB1DA2EC}"/>
              </a:ext>
            </a:extLst>
          </p:cNvPr>
          <p:cNvSpPr>
            <a:spLocks noGrp="1"/>
          </p:cNvSpPr>
          <p:nvPr>
            <p:ph type="ftr" sz="quarter" idx="18"/>
          </p:nvPr>
        </p:nvSpPr>
        <p:spPr/>
        <p:txBody>
          <a:bodyPr/>
          <a:lstStyle/>
          <a:p>
            <a:endParaRPr lang="nb-NO"/>
          </a:p>
        </p:txBody>
      </p:sp>
      <p:sp>
        <p:nvSpPr>
          <p:cNvPr id="18" name="Plassholder for lysbildenummer 17">
            <a:extLst>
              <a:ext uri="{FF2B5EF4-FFF2-40B4-BE49-F238E27FC236}">
                <a16:creationId xmlns:a16="http://schemas.microsoft.com/office/drawing/2014/main" id="{9BF0DD86-B856-2497-3AED-E0C72D4D11BC}"/>
              </a:ext>
            </a:extLst>
          </p:cNvPr>
          <p:cNvSpPr>
            <a:spLocks noGrp="1"/>
          </p:cNvSpPr>
          <p:nvPr>
            <p:ph type="sldNum" sz="quarter" idx="19"/>
          </p:nvPr>
        </p:nvSpPr>
        <p:spPr/>
        <p:txBody>
          <a:bodyPr/>
          <a:lstStyle/>
          <a:p>
            <a:fld id="{BE2ACD00-28B2-4D17-A930-2C9F8441C7CA}" type="slidenum">
              <a:rPr lang="nb-NO" smtClean="0"/>
              <a:pPr/>
              <a:t>‹#›</a:t>
            </a:fld>
            <a:endParaRPr lang="nb-NO"/>
          </a:p>
        </p:txBody>
      </p:sp>
    </p:spTree>
    <p:extLst>
      <p:ext uri="{BB962C8B-B14F-4D97-AF65-F5344CB8AC3E}">
        <p14:creationId xmlns:p14="http://schemas.microsoft.com/office/powerpoint/2010/main" val="3647587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ort sitat">
    <p:bg>
      <p:bgPr>
        <a:solidFill>
          <a:schemeClr val="bg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029494" y="1554163"/>
            <a:ext cx="10154444" cy="2734916"/>
          </a:xfrm>
        </p:spPr>
        <p:txBody>
          <a:bodyPr anchor="t" anchorCtr="0">
            <a:noAutofit/>
          </a:bodyPr>
          <a:lstStyle>
            <a:lvl1pPr algn="l">
              <a:lnSpc>
                <a:spcPct val="85000"/>
              </a:lnSpc>
              <a:defRPr sz="5170">
                <a:solidFill>
                  <a:schemeClr val="accent6"/>
                </a:solidFill>
                <a:latin typeface="Brockmann" pitchFamily="50" charset="0"/>
              </a:defRPr>
            </a:lvl1pPr>
          </a:lstStyle>
          <a:p>
            <a:r>
              <a:rPr lang="nb-NO"/>
              <a:t>Klikk for å redigere tittelstil</a:t>
            </a:r>
          </a:p>
        </p:txBody>
      </p:sp>
      <p:sp>
        <p:nvSpPr>
          <p:cNvPr id="9" name="Plassholder for dato 8">
            <a:extLst>
              <a:ext uri="{FF2B5EF4-FFF2-40B4-BE49-F238E27FC236}">
                <a16:creationId xmlns:a16="http://schemas.microsoft.com/office/drawing/2014/main" id="{CACFFDEA-348A-AB0A-58D0-F729EB2D4F09}"/>
              </a:ext>
            </a:extLst>
          </p:cNvPr>
          <p:cNvSpPr>
            <a:spLocks noGrp="1"/>
          </p:cNvSpPr>
          <p:nvPr>
            <p:ph type="dt" sz="half" idx="14"/>
          </p:nvPr>
        </p:nvSpPr>
        <p:spPr/>
        <p:txBody>
          <a:bodyPr/>
          <a:lstStyle/>
          <a:p>
            <a:fld id="{92D1E254-09D4-453D-8769-376E4556FDB4}" type="datetime1">
              <a:rPr lang="nb-NO" smtClean="0"/>
              <a:t>13.06.2025</a:t>
            </a:fld>
            <a:endParaRPr lang="nb-NO"/>
          </a:p>
        </p:txBody>
      </p:sp>
      <p:sp>
        <p:nvSpPr>
          <p:cNvPr id="10" name="Plassholder for bunntekst 9">
            <a:extLst>
              <a:ext uri="{FF2B5EF4-FFF2-40B4-BE49-F238E27FC236}">
                <a16:creationId xmlns:a16="http://schemas.microsoft.com/office/drawing/2014/main" id="{6FCF257E-4BB7-2A52-CD90-AB6A854EB4DC}"/>
              </a:ext>
            </a:extLst>
          </p:cNvPr>
          <p:cNvSpPr>
            <a:spLocks noGrp="1"/>
          </p:cNvSpPr>
          <p:nvPr>
            <p:ph type="ftr" sz="quarter" idx="15"/>
          </p:nvPr>
        </p:nvSpPr>
        <p:spPr/>
        <p:txBody>
          <a:bodyPr/>
          <a:lstStyle/>
          <a:p>
            <a:endParaRPr lang="nb-NO"/>
          </a:p>
        </p:txBody>
      </p:sp>
      <p:sp>
        <p:nvSpPr>
          <p:cNvPr id="11" name="Plassholder for lysbildenummer 10">
            <a:extLst>
              <a:ext uri="{FF2B5EF4-FFF2-40B4-BE49-F238E27FC236}">
                <a16:creationId xmlns:a16="http://schemas.microsoft.com/office/drawing/2014/main" id="{B49A831B-D3B3-EDBD-D732-5184933F5880}"/>
              </a:ext>
            </a:extLst>
          </p:cNvPr>
          <p:cNvSpPr>
            <a:spLocks noGrp="1"/>
          </p:cNvSpPr>
          <p:nvPr>
            <p:ph type="sldNum" sz="quarter" idx="16"/>
          </p:nvPr>
        </p:nvSpPr>
        <p:spPr/>
        <p:txBody>
          <a:bodyPr/>
          <a:lstStyle/>
          <a:p>
            <a:fld id="{BE2ACD00-28B2-4D17-A930-2C9F8441C7CA}" type="slidenum">
              <a:rPr lang="nb-NO" smtClean="0"/>
              <a:pPr/>
              <a:t>‹#›</a:t>
            </a:fld>
            <a:endParaRPr lang="nb-NO"/>
          </a:p>
        </p:txBody>
      </p:sp>
      <p:sp>
        <p:nvSpPr>
          <p:cNvPr id="12" name="Plassholder for stikktittel">
            <a:extLst>
              <a:ext uri="{FF2B5EF4-FFF2-40B4-BE49-F238E27FC236}">
                <a16:creationId xmlns:a16="http://schemas.microsoft.com/office/drawing/2014/main" id="{D53E3115-935A-AE50-764A-F6B86AF8E467}"/>
              </a:ext>
            </a:extLst>
          </p:cNvPr>
          <p:cNvSpPr>
            <a:spLocks noGrp="1"/>
          </p:cNvSpPr>
          <p:nvPr>
            <p:ph type="body" sz="quarter" idx="13" hasCustomPrompt="1"/>
          </p:nvPr>
        </p:nvSpPr>
        <p:spPr>
          <a:xfrm>
            <a:off x="1033200" y="630000"/>
            <a:ext cx="2657779" cy="245373"/>
          </a:xfrm>
          <a:blipFill>
            <a:blip r:embed="rId2">
              <a:extLst>
                <a:ext uri="{96DAC541-7B7A-43D3-8B79-37D633B846F1}">
                  <asvg:svgBlip xmlns:asvg="http://schemas.microsoft.com/office/drawing/2016/SVG/main" r:embed="rId3"/>
                </a:ext>
              </a:extLst>
            </a:blip>
            <a:stretch>
              <a:fillRect/>
            </a:stretch>
          </a:blipFill>
          <a:ln>
            <a:noFill/>
          </a:ln>
        </p:spPr>
        <p:txBody>
          <a:bodyPr wrap="none" bIns="14400">
            <a:spAutoFit/>
          </a:bodyPr>
          <a:lstStyle>
            <a:lvl1pPr marL="0" indent="0">
              <a:lnSpc>
                <a:spcPct val="100000"/>
              </a:lnSpc>
              <a:buNone/>
              <a:defRPr u="none">
                <a:solidFill>
                  <a:schemeClr val="accent1"/>
                </a:solidFill>
                <a:latin typeface="+mj-lt"/>
              </a:defRPr>
            </a:lvl1pPr>
            <a:lvl2pPr marL="158844" indent="0">
              <a:buNone/>
              <a:defRPr/>
            </a:lvl2pPr>
          </a:lstStyle>
          <a:p>
            <a:pPr lvl="0"/>
            <a:r>
              <a:rPr lang="nb-NO"/>
              <a:t>Klikk for å skrive en stikktittel</a:t>
            </a:r>
          </a:p>
        </p:txBody>
      </p:sp>
      <p:sp>
        <p:nvSpPr>
          <p:cNvPr id="16" name="Plassholder for tekst 15">
            <a:extLst>
              <a:ext uri="{FF2B5EF4-FFF2-40B4-BE49-F238E27FC236}">
                <a16:creationId xmlns:a16="http://schemas.microsoft.com/office/drawing/2014/main" id="{ED1B338A-3645-7A55-C0E3-BF7996BA9466}"/>
              </a:ext>
            </a:extLst>
          </p:cNvPr>
          <p:cNvSpPr>
            <a:spLocks noGrp="1"/>
          </p:cNvSpPr>
          <p:nvPr>
            <p:ph type="body" sz="quarter" idx="17" hasCustomPrompt="1"/>
          </p:nvPr>
        </p:nvSpPr>
        <p:spPr>
          <a:xfrm>
            <a:off x="1029494" y="4730750"/>
            <a:ext cx="4680744" cy="461665"/>
          </a:xfrm>
        </p:spPr>
        <p:txBody>
          <a:bodyPr>
            <a:noAutofit/>
          </a:bodyPr>
          <a:lstStyle>
            <a:lvl1pPr marL="0" indent="0">
              <a:lnSpc>
                <a:spcPct val="100000"/>
              </a:lnSpc>
              <a:buNone/>
              <a:defRPr>
                <a:solidFill>
                  <a:schemeClr val="accent6"/>
                </a:solidFill>
              </a:defRPr>
            </a:lvl1pPr>
            <a:lvl2pPr marL="158843" indent="0">
              <a:buNone/>
              <a:defRPr/>
            </a:lvl2pPr>
          </a:lstStyle>
          <a:p>
            <a:pPr lvl="0"/>
            <a:r>
              <a:rPr lang="nb-NO"/>
              <a:t>Navn </a:t>
            </a:r>
            <a:r>
              <a:rPr lang="nb-NO" err="1"/>
              <a:t>Navnesen</a:t>
            </a:r>
            <a:r>
              <a:rPr lang="nb-NO"/>
              <a:t>,</a:t>
            </a:r>
            <a:br>
              <a:rPr lang="nb-NO"/>
            </a:br>
            <a:r>
              <a:rPr lang="nb-NO"/>
              <a:t>Tittel/stilling</a:t>
            </a:r>
          </a:p>
        </p:txBody>
      </p:sp>
    </p:spTree>
    <p:extLst>
      <p:ext uri="{BB962C8B-B14F-4D97-AF65-F5344CB8AC3E}">
        <p14:creationId xmlns:p14="http://schemas.microsoft.com/office/powerpoint/2010/main" val="41598168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killeside A: Grafikk">
    <p:bg>
      <p:bgPr>
        <a:solidFill>
          <a:schemeClr val="bg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2E96E04-050C-8584-B76A-431002072133}"/>
              </a:ext>
            </a:extLst>
          </p:cNvPr>
          <p:cNvSpPr>
            <a:spLocks noGrp="1"/>
          </p:cNvSpPr>
          <p:nvPr>
            <p:ph type="title"/>
          </p:nvPr>
        </p:nvSpPr>
        <p:spPr>
          <a:xfrm>
            <a:off x="1029494" y="821532"/>
            <a:ext cx="4680744" cy="769441"/>
          </a:xfrm>
        </p:spPr>
        <p:txBody>
          <a:bodyPr anchor="t" anchorCtr="0">
            <a:noAutofit/>
          </a:bodyPr>
          <a:lstStyle>
            <a:lvl1pPr>
              <a:defRPr sz="2500">
                <a:solidFill>
                  <a:schemeClr val="accent3"/>
                </a:solidFill>
              </a:defRPr>
            </a:lvl1pPr>
          </a:lstStyle>
          <a:p>
            <a:r>
              <a:rPr lang="nb-NO"/>
              <a:t>Klikk for å redigere tittelstil</a:t>
            </a:r>
          </a:p>
        </p:txBody>
      </p:sp>
      <p:sp>
        <p:nvSpPr>
          <p:cNvPr id="4" name="Plassholder for dato 3">
            <a:extLst>
              <a:ext uri="{FF2B5EF4-FFF2-40B4-BE49-F238E27FC236}">
                <a16:creationId xmlns:a16="http://schemas.microsoft.com/office/drawing/2014/main" id="{C880C8A2-7304-2314-8523-D1FFEFD6364E}"/>
              </a:ext>
            </a:extLst>
          </p:cNvPr>
          <p:cNvSpPr>
            <a:spLocks noGrp="1"/>
          </p:cNvSpPr>
          <p:nvPr>
            <p:ph type="dt" sz="half" idx="10"/>
          </p:nvPr>
        </p:nvSpPr>
        <p:spPr>
          <a:noFill/>
        </p:spPr>
        <p:txBody>
          <a:bodyPr/>
          <a:lstStyle>
            <a:lvl1pPr>
              <a:defRPr>
                <a:noFill/>
              </a:defRPr>
            </a:lvl1pPr>
          </a:lstStyle>
          <a:p>
            <a:fld id="{233C0CD3-9BB7-4728-BF77-96303D4DA3D4}" type="datetime1">
              <a:rPr lang="nb-NO" smtClean="0"/>
              <a:t>13.06.2025</a:t>
            </a:fld>
            <a:endParaRPr lang="nb-NO"/>
          </a:p>
        </p:txBody>
      </p:sp>
      <p:sp>
        <p:nvSpPr>
          <p:cNvPr id="5" name="Plassholder for bunntekst 4">
            <a:extLst>
              <a:ext uri="{FF2B5EF4-FFF2-40B4-BE49-F238E27FC236}">
                <a16:creationId xmlns:a16="http://schemas.microsoft.com/office/drawing/2014/main" id="{3EE73FFE-145C-E4BF-9A55-964A9A110208}"/>
              </a:ext>
            </a:extLst>
          </p:cNvPr>
          <p:cNvSpPr>
            <a:spLocks noGrp="1"/>
          </p:cNvSpPr>
          <p:nvPr>
            <p:ph type="ftr" sz="quarter" idx="11"/>
          </p:nvPr>
        </p:nvSpPr>
        <p:spPr>
          <a:noFill/>
        </p:spPr>
        <p:txBody>
          <a:bodyPr/>
          <a:lstStyle>
            <a:lvl1pPr>
              <a:defRPr>
                <a:noFill/>
              </a:defRPr>
            </a:lvl1pPr>
          </a:lstStyle>
          <a:p>
            <a:endParaRPr lang="nb-NO"/>
          </a:p>
        </p:txBody>
      </p:sp>
      <p:sp>
        <p:nvSpPr>
          <p:cNvPr id="6" name="Plassholder for lysbildenummer 5">
            <a:extLst>
              <a:ext uri="{FF2B5EF4-FFF2-40B4-BE49-F238E27FC236}">
                <a16:creationId xmlns:a16="http://schemas.microsoft.com/office/drawing/2014/main" id="{C09F080D-2D36-9CA5-0DFD-1ABD5E827C16}"/>
              </a:ext>
            </a:extLst>
          </p:cNvPr>
          <p:cNvSpPr>
            <a:spLocks noGrp="1"/>
          </p:cNvSpPr>
          <p:nvPr>
            <p:ph type="sldNum" sz="quarter" idx="12"/>
          </p:nvPr>
        </p:nvSpPr>
        <p:spPr>
          <a:noFill/>
        </p:spPr>
        <p:txBody>
          <a:bodyPr/>
          <a:lstStyle>
            <a:lvl1pPr>
              <a:defRPr>
                <a:noFill/>
              </a:defRPr>
            </a:lvl1pPr>
          </a:lstStyle>
          <a:p>
            <a:fld id="{BE2ACD00-28B2-4D17-A930-2C9F8441C7CA}" type="slidenum">
              <a:rPr lang="nb-NO" smtClean="0"/>
              <a:pPr/>
              <a:t>‹#›</a:t>
            </a:fld>
            <a:endParaRPr lang="nb-NO"/>
          </a:p>
        </p:txBody>
      </p:sp>
      <p:pic>
        <p:nvPicPr>
          <p:cNvPr id="9" name="Grafikk 8">
            <a:extLst>
              <a:ext uri="{FF2B5EF4-FFF2-40B4-BE49-F238E27FC236}">
                <a16:creationId xmlns:a16="http://schemas.microsoft.com/office/drawing/2014/main" id="{F069DEE9-D87A-22F8-C14F-EB6DD69DFA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2007" y="2233244"/>
            <a:ext cx="10141931" cy="3803224"/>
          </a:xfrm>
          <a:prstGeom prst="rect">
            <a:avLst/>
          </a:prstGeom>
        </p:spPr>
      </p:pic>
    </p:spTree>
    <p:extLst>
      <p:ext uri="{BB962C8B-B14F-4D97-AF65-F5344CB8AC3E}">
        <p14:creationId xmlns:p14="http://schemas.microsoft.com/office/powerpoint/2010/main" val="39934904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killeside B: Bilde">
    <p:bg>
      <p:bgPr>
        <a:solidFill>
          <a:schemeClr val="tx1"/>
        </a:solidFill>
        <a:effectLst/>
      </p:bgPr>
    </p:bg>
    <p:spTree>
      <p:nvGrpSpPr>
        <p:cNvPr id="1" name=""/>
        <p:cNvGrpSpPr/>
        <p:nvPr/>
      </p:nvGrpSpPr>
      <p:grpSpPr>
        <a:xfrm>
          <a:off x="0" y="0"/>
          <a:ext cx="0" cy="0"/>
          <a:chOff x="0" y="0"/>
          <a:chExt cx="0" cy="0"/>
        </a:xfrm>
      </p:grpSpPr>
      <p:sp>
        <p:nvSpPr>
          <p:cNvPr id="8" name="Tittel 1">
            <a:extLst>
              <a:ext uri="{FF2B5EF4-FFF2-40B4-BE49-F238E27FC236}">
                <a16:creationId xmlns:a16="http://schemas.microsoft.com/office/drawing/2014/main" id="{BF16AF4E-8543-71DB-6692-6AFAFAE4CA1C}"/>
              </a:ext>
            </a:extLst>
          </p:cNvPr>
          <p:cNvSpPr>
            <a:spLocks noGrp="1"/>
          </p:cNvSpPr>
          <p:nvPr>
            <p:ph type="title" hasCustomPrompt="1"/>
          </p:nvPr>
        </p:nvSpPr>
        <p:spPr>
          <a:xfrm>
            <a:off x="838200" y="-675159"/>
            <a:ext cx="10515600" cy="462434"/>
          </a:xfrm>
        </p:spPr>
        <p:txBody>
          <a:bodyPr anchor="b" anchorCtr="0">
            <a:normAutofit/>
          </a:bodyPr>
          <a:lstStyle>
            <a:lvl1pPr>
              <a:defRPr sz="2600"/>
            </a:lvl1pPr>
          </a:lstStyle>
          <a:p>
            <a:r>
              <a:rPr lang="nb-NO"/>
              <a:t>Tittel for universell utforming</a:t>
            </a:r>
          </a:p>
        </p:txBody>
      </p:sp>
      <p:sp>
        <p:nvSpPr>
          <p:cNvPr id="11" name="Plassholder for bilde 10">
            <a:extLst>
              <a:ext uri="{FF2B5EF4-FFF2-40B4-BE49-F238E27FC236}">
                <a16:creationId xmlns:a16="http://schemas.microsoft.com/office/drawing/2014/main" id="{1F3F19F3-EB1A-4AE6-CB5D-3438269CB80C}"/>
              </a:ext>
            </a:extLst>
          </p:cNvPr>
          <p:cNvSpPr>
            <a:spLocks noGrp="1"/>
          </p:cNvSpPr>
          <p:nvPr>
            <p:ph type="pic" sz="quarter" idx="14" hasCustomPrompt="1"/>
          </p:nvPr>
        </p:nvSpPr>
        <p:spPr>
          <a:xfrm>
            <a:off x="0" y="0"/>
            <a:ext cx="12192000" cy="6858000"/>
          </a:xfrm>
        </p:spPr>
        <p:txBody>
          <a:bodyPr anchor="t" anchorCtr="1"/>
          <a:lstStyle>
            <a:lvl1pPr marL="0" indent="0">
              <a:buNone/>
              <a:defRPr sz="900">
                <a:solidFill>
                  <a:schemeClr val="bg1">
                    <a:lumMod val="85000"/>
                  </a:schemeClr>
                </a:solidFill>
              </a:defRPr>
            </a:lvl1pPr>
          </a:lstStyle>
          <a:p>
            <a:r>
              <a:rPr lang="nb-NO" noProof="0"/>
              <a:t>Klikk på ikonet eller dra inn en bildefil for å legge til et bilde. </a:t>
            </a:r>
            <a:br>
              <a:rPr lang="nb-NO" noProof="0"/>
            </a:br>
            <a:r>
              <a:rPr lang="nb-NO" noProof="0"/>
              <a:t>Juster utsnittet på Bildeformat-fanen &gt; Beskjær.</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lvl1pPr>
              <a:defRPr>
                <a:solidFill>
                  <a:schemeClr val="bg1"/>
                </a:solidFill>
              </a:defRPr>
            </a:lvl1pPr>
          </a:lstStyle>
          <a:p>
            <a:fld id="{06200449-EFED-42EC-8EAE-92A089D61CE8}" type="datetime1">
              <a:rPr lang="nb-NO" smtClean="0"/>
              <a:t>13.06.2025</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lvl1pPr>
              <a:defRPr>
                <a:solidFill>
                  <a:schemeClr val="bg1"/>
                </a:solidFill>
              </a:defRPr>
            </a:lvl1p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lvl1pPr>
              <a:defRPr>
                <a:solidFill>
                  <a:schemeClr val="bg1"/>
                </a:solidFill>
              </a:defRPr>
            </a:lvl1pPr>
          </a:lstStyle>
          <a:p>
            <a:fld id="{BE2ACD00-28B2-4D17-A930-2C9F8441C7CA}" type="slidenum">
              <a:rPr lang="nb-NO" smtClean="0"/>
              <a:pPr/>
              <a:t>‹#›</a:t>
            </a:fld>
            <a:endParaRPr lang="nb-NO"/>
          </a:p>
        </p:txBody>
      </p:sp>
      <p:sp>
        <p:nvSpPr>
          <p:cNvPr id="12" name="Logo i plassholder">
            <a:extLst>
              <a:ext uri="{FF2B5EF4-FFF2-40B4-BE49-F238E27FC236}">
                <a16:creationId xmlns:a16="http://schemas.microsoft.com/office/drawing/2014/main" id="{0EB9FEEB-2663-4694-C189-576D39BB816E}"/>
              </a:ext>
            </a:extLst>
          </p:cNvPr>
          <p:cNvSpPr>
            <a:spLocks noGrp="1"/>
          </p:cNvSpPr>
          <p:nvPr>
            <p:ph type="body" sz="quarter" idx="15"/>
          </p:nvPr>
        </p:nvSpPr>
        <p:spPr>
          <a:xfrm>
            <a:off x="1032363" y="6364781"/>
            <a:ext cx="558200" cy="113808"/>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noFill/>
              </a:defRPr>
            </a:lvl1pPr>
          </a:lstStyle>
          <a:p>
            <a:pPr lvl="0"/>
            <a:r>
              <a:rPr lang="nb-NO"/>
              <a:t>Klikk for å redigere tekststiler i malen</a:t>
            </a:r>
          </a:p>
        </p:txBody>
      </p:sp>
    </p:spTree>
    <p:extLst>
      <p:ext uri="{BB962C8B-B14F-4D97-AF65-F5344CB8AC3E}">
        <p14:creationId xmlns:p14="http://schemas.microsoft.com/office/powerpoint/2010/main" val="19654535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sp>
        <p:nvSpPr>
          <p:cNvPr id="9" name="Tittel 1">
            <a:extLst>
              <a:ext uri="{FF2B5EF4-FFF2-40B4-BE49-F238E27FC236}">
                <a16:creationId xmlns:a16="http://schemas.microsoft.com/office/drawing/2014/main" id="{EF4F0400-7217-7379-BA1E-AC3E5AD48EC2}"/>
              </a:ext>
            </a:extLst>
          </p:cNvPr>
          <p:cNvSpPr>
            <a:spLocks noGrp="1"/>
          </p:cNvSpPr>
          <p:nvPr>
            <p:ph type="title" hasCustomPrompt="1"/>
          </p:nvPr>
        </p:nvSpPr>
        <p:spPr>
          <a:xfrm>
            <a:off x="1033728" y="630000"/>
            <a:ext cx="2409314" cy="245373"/>
          </a:xfrm>
          <a:blipFill>
            <a:blip r:embed="rId2">
              <a:extLst>
                <a:ext uri="{96DAC541-7B7A-43D3-8B79-37D633B846F1}">
                  <asvg:svgBlip xmlns:asvg="http://schemas.microsoft.com/office/drawing/2016/SVG/main" r:embed="rId3"/>
                </a:ext>
              </a:extLst>
            </a:blip>
            <a:stretch>
              <a:fillRect/>
            </a:stretch>
          </a:blipFill>
          <a:ln>
            <a:noFill/>
          </a:ln>
        </p:spPr>
        <p:txBody>
          <a:bodyPr vert="horz" wrap="none" lIns="0" tIns="0" rIns="0" bIns="14400" rtlCol="0" anchor="t" anchorCtr="0">
            <a:spAutoFit/>
          </a:bodyPr>
          <a:lstStyle>
            <a:lvl1pPr>
              <a:defRPr lang="nb-NO" sz="1500" u="none" dirty="0">
                <a:solidFill>
                  <a:schemeClr val="accent6"/>
                </a:solidFill>
                <a:ea typeface="+mn-ea"/>
                <a:cs typeface="+mn-cs"/>
              </a:defRPr>
            </a:lvl1pPr>
          </a:lstStyle>
          <a:p>
            <a:pPr marL="0" lvl="0" indent="0">
              <a:spcBef>
                <a:spcPts val="0"/>
              </a:spcBef>
              <a:buSzPct val="120000"/>
              <a:buFont typeface="Arial" panose="020B0604020202020204" pitchFamily="34" charset="0"/>
            </a:pPr>
            <a:r>
              <a:rPr lang="nb-NO" noProof="0"/>
              <a:t>Klikk for å legge til en tittel</a:t>
            </a:r>
          </a:p>
        </p:txBody>
      </p:sp>
      <p:sp>
        <p:nvSpPr>
          <p:cNvPr id="10" name="Plassholder for dato 9">
            <a:extLst>
              <a:ext uri="{FF2B5EF4-FFF2-40B4-BE49-F238E27FC236}">
                <a16:creationId xmlns:a16="http://schemas.microsoft.com/office/drawing/2014/main" id="{25C0215E-A02B-D3B9-A2F9-CF68B7D473E0}"/>
              </a:ext>
            </a:extLst>
          </p:cNvPr>
          <p:cNvSpPr>
            <a:spLocks noGrp="1"/>
          </p:cNvSpPr>
          <p:nvPr>
            <p:ph type="dt" sz="half" idx="10"/>
          </p:nvPr>
        </p:nvSpPr>
        <p:spPr/>
        <p:txBody>
          <a:bodyPr/>
          <a:lstStyle/>
          <a:p>
            <a:fld id="{0E8E5C6D-1B61-48D3-9475-6408C65972E5}" type="datetime1">
              <a:rPr lang="nb-NO" smtClean="0"/>
              <a:t>13.06.2025</a:t>
            </a:fld>
            <a:endParaRPr lang="nb-NO"/>
          </a:p>
        </p:txBody>
      </p:sp>
      <p:sp>
        <p:nvSpPr>
          <p:cNvPr id="12" name="Plassholder for bunntekst 11">
            <a:extLst>
              <a:ext uri="{FF2B5EF4-FFF2-40B4-BE49-F238E27FC236}">
                <a16:creationId xmlns:a16="http://schemas.microsoft.com/office/drawing/2014/main" id="{D235650B-3819-1C73-C2D5-BF5C118A1E4E}"/>
              </a:ext>
            </a:extLst>
          </p:cNvPr>
          <p:cNvSpPr>
            <a:spLocks noGrp="1"/>
          </p:cNvSpPr>
          <p:nvPr>
            <p:ph type="ftr" sz="quarter" idx="11"/>
          </p:nvPr>
        </p:nvSpPr>
        <p:spPr/>
        <p:txBody>
          <a:bodyPr/>
          <a:lstStyle/>
          <a:p>
            <a:endParaRPr lang="nb-NO"/>
          </a:p>
        </p:txBody>
      </p:sp>
      <p:sp>
        <p:nvSpPr>
          <p:cNvPr id="14" name="Plassholder for lysbildenummer 13">
            <a:extLst>
              <a:ext uri="{FF2B5EF4-FFF2-40B4-BE49-F238E27FC236}">
                <a16:creationId xmlns:a16="http://schemas.microsoft.com/office/drawing/2014/main" id="{583CAAC6-30E6-21DA-8816-872BC5905C81}"/>
              </a:ext>
            </a:extLst>
          </p:cNvPr>
          <p:cNvSpPr>
            <a:spLocks noGrp="1"/>
          </p:cNvSpPr>
          <p:nvPr>
            <p:ph type="sldNum" sz="quarter" idx="12"/>
          </p:nvPr>
        </p:nvSpPr>
        <p:spPr/>
        <p:txBody>
          <a:bodyPr/>
          <a:lstStyle/>
          <a:p>
            <a:fld id="{BE2ACD00-28B2-4D17-A930-2C9F8441C7CA}" type="slidenum">
              <a:rPr lang="nb-NO" smtClean="0"/>
              <a:pPr/>
              <a:t>‹#›</a:t>
            </a:fld>
            <a:endParaRPr lang="nb-NO"/>
          </a:p>
        </p:txBody>
      </p:sp>
      <p:sp>
        <p:nvSpPr>
          <p:cNvPr id="16" name="Plassholder for innhold 15">
            <a:extLst>
              <a:ext uri="{FF2B5EF4-FFF2-40B4-BE49-F238E27FC236}">
                <a16:creationId xmlns:a16="http://schemas.microsoft.com/office/drawing/2014/main" id="{8265D594-44F1-30A0-D7E1-6515D9534FE8}"/>
              </a:ext>
            </a:extLst>
          </p:cNvPr>
          <p:cNvSpPr>
            <a:spLocks noGrp="1"/>
          </p:cNvSpPr>
          <p:nvPr>
            <p:ph sz="quarter" idx="13"/>
          </p:nvPr>
        </p:nvSpPr>
        <p:spPr>
          <a:xfrm>
            <a:off x="1029494" y="1805749"/>
            <a:ext cx="7621588" cy="4281012"/>
          </a:xfrm>
        </p:spPr>
        <p:txBody>
          <a:bodyPr/>
          <a:lstStyle>
            <a:lvl1pPr marL="457200" indent="-457200">
              <a:lnSpc>
                <a:spcPct val="103000"/>
              </a:lnSpc>
              <a:buSzPct val="100000"/>
              <a:buFont typeface="+mj-lt"/>
              <a:buAutoNum type="arabicPeriod"/>
              <a:defRPr sz="2500">
                <a:latin typeface="+mj-lt"/>
              </a:defRPr>
            </a:lvl1pPr>
            <a:lvl2pPr marL="625475" indent="-157957">
              <a:defRPr/>
            </a:lvl2pPr>
            <a:lvl3pPr marL="819150" indent="-157957">
              <a:defRPr/>
            </a:lvl3pPr>
          </a:lstStyle>
          <a:p>
            <a:pPr lvl="0"/>
            <a:r>
              <a:rPr lang="nb-NO"/>
              <a:t>Klikk for å redigere tekststiler i malen</a:t>
            </a:r>
          </a:p>
          <a:p>
            <a:pPr lvl="1"/>
            <a:r>
              <a:rPr lang="nb-NO"/>
              <a:t>Andre nivå</a:t>
            </a:r>
          </a:p>
          <a:p>
            <a:pPr lvl="2"/>
            <a:r>
              <a:rPr lang="nb-NO"/>
              <a:t>Tredje nivå</a:t>
            </a:r>
          </a:p>
        </p:txBody>
      </p:sp>
    </p:spTree>
    <p:extLst>
      <p:ext uri="{BB962C8B-B14F-4D97-AF65-F5344CB8AC3E}">
        <p14:creationId xmlns:p14="http://schemas.microsoft.com/office/powerpoint/2010/main" val="39977937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ler">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AD064978-874C-7D8A-AFE0-B180BBD131D1}"/>
              </a:ext>
            </a:extLst>
          </p:cNvPr>
          <p:cNvSpPr>
            <a:spLocks noGrp="1"/>
          </p:cNvSpPr>
          <p:nvPr>
            <p:ph type="dt" sz="half" idx="10"/>
          </p:nvPr>
        </p:nvSpPr>
        <p:spPr/>
        <p:txBody>
          <a:bodyPr/>
          <a:lstStyle/>
          <a:p>
            <a:fld id="{30C98A18-6B7E-4432-8AE6-400F13F972DC}" type="datetime1">
              <a:rPr lang="nb-NO" smtClean="0"/>
              <a:t>13.06.2025</a:t>
            </a:fld>
            <a:endParaRPr lang="nb-NO"/>
          </a:p>
        </p:txBody>
      </p:sp>
      <p:sp>
        <p:nvSpPr>
          <p:cNvPr id="3" name="Plassholder for bunntekst 2">
            <a:extLst>
              <a:ext uri="{FF2B5EF4-FFF2-40B4-BE49-F238E27FC236}">
                <a16:creationId xmlns:a16="http://schemas.microsoft.com/office/drawing/2014/main" id="{E1478240-A459-CDB4-8DEB-93A2E871565D}"/>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B620AF32-9AE9-644B-1BE5-C69DEA28D576}"/>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5" name="Plassholder for tekst 4">
            <a:extLst>
              <a:ext uri="{FF2B5EF4-FFF2-40B4-BE49-F238E27FC236}">
                <a16:creationId xmlns:a16="http://schemas.microsoft.com/office/drawing/2014/main" id="{ED88D3F1-77A2-CA5D-2073-0793AEF7867D}"/>
              </a:ext>
            </a:extLst>
          </p:cNvPr>
          <p:cNvSpPr>
            <a:spLocks noGrp="1"/>
          </p:cNvSpPr>
          <p:nvPr>
            <p:ph type="body" sz="quarter" idx="13" hasCustomPrompt="1"/>
          </p:nvPr>
        </p:nvSpPr>
        <p:spPr>
          <a:xfrm>
            <a:off x="1029494" y="1868488"/>
            <a:ext cx="3055673" cy="1063556"/>
          </a:xfrm>
          <a:prstGeom prst="rightArrow">
            <a:avLst>
              <a:gd name="adj1" fmla="val 70300"/>
              <a:gd name="adj2" fmla="val 50000"/>
            </a:avLst>
          </a:prstGeom>
          <a:solidFill>
            <a:schemeClr val="accent6"/>
          </a:solidFill>
        </p:spPr>
        <p:txBody>
          <a:bodyPr rIns="288000" bIns="36000" anchor="ctr" anchorCtr="0"/>
          <a:lstStyle>
            <a:lvl1pPr marL="0" indent="0" algn="ctr">
              <a:lnSpc>
                <a:spcPct val="100000"/>
              </a:lnSpc>
              <a:buNone/>
              <a:defRPr sz="2500">
                <a:solidFill>
                  <a:schemeClr val="bg1"/>
                </a:solidFill>
                <a:latin typeface="+mj-lt"/>
              </a:defRPr>
            </a:lvl1pPr>
          </a:lstStyle>
          <a:p>
            <a:pPr lvl="0"/>
            <a:r>
              <a:rPr lang="nb-NO"/>
              <a:t>Tekst</a:t>
            </a:r>
          </a:p>
        </p:txBody>
      </p:sp>
      <p:sp>
        <p:nvSpPr>
          <p:cNvPr id="6" name="Plassholder for tekst 6">
            <a:extLst>
              <a:ext uri="{FF2B5EF4-FFF2-40B4-BE49-F238E27FC236}">
                <a16:creationId xmlns:a16="http://schemas.microsoft.com/office/drawing/2014/main" id="{03E7C7B3-6BF1-5572-DC74-78C4227A812B}"/>
              </a:ext>
            </a:extLst>
          </p:cNvPr>
          <p:cNvSpPr>
            <a:spLocks noGrp="1"/>
          </p:cNvSpPr>
          <p:nvPr>
            <p:ph type="body" sz="quarter" idx="14"/>
          </p:nvPr>
        </p:nvSpPr>
        <p:spPr>
          <a:xfrm>
            <a:off x="1029494" y="3397250"/>
            <a:ext cx="2532856" cy="262334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Plassholder for tekst 4">
            <a:extLst>
              <a:ext uri="{FF2B5EF4-FFF2-40B4-BE49-F238E27FC236}">
                <a16:creationId xmlns:a16="http://schemas.microsoft.com/office/drawing/2014/main" id="{9FB55E71-8F53-4CA1-0C8B-1B65385F8D4C}"/>
              </a:ext>
            </a:extLst>
          </p:cNvPr>
          <p:cNvSpPr>
            <a:spLocks noGrp="1"/>
          </p:cNvSpPr>
          <p:nvPr>
            <p:ph type="body" sz="quarter" idx="15" hasCustomPrompt="1"/>
          </p:nvPr>
        </p:nvSpPr>
        <p:spPr>
          <a:xfrm>
            <a:off x="4667843" y="1868488"/>
            <a:ext cx="3055673" cy="1063556"/>
          </a:xfrm>
          <a:prstGeom prst="rightArrow">
            <a:avLst>
              <a:gd name="adj1" fmla="val 70300"/>
              <a:gd name="adj2" fmla="val 50000"/>
            </a:avLst>
          </a:prstGeom>
          <a:solidFill>
            <a:schemeClr val="accent6"/>
          </a:solidFill>
        </p:spPr>
        <p:txBody>
          <a:bodyPr rIns="288000" bIns="36000" anchor="ctr" anchorCtr="0"/>
          <a:lstStyle>
            <a:lvl1pPr marL="0" indent="0" algn="ctr">
              <a:lnSpc>
                <a:spcPct val="100000"/>
              </a:lnSpc>
              <a:buNone/>
              <a:defRPr sz="2500">
                <a:solidFill>
                  <a:schemeClr val="bg1"/>
                </a:solidFill>
                <a:latin typeface="+mj-lt"/>
              </a:defRPr>
            </a:lvl1pPr>
          </a:lstStyle>
          <a:p>
            <a:pPr lvl="0"/>
            <a:r>
              <a:rPr lang="nb-NO"/>
              <a:t>Tekst</a:t>
            </a:r>
          </a:p>
        </p:txBody>
      </p:sp>
      <p:sp>
        <p:nvSpPr>
          <p:cNvPr id="9" name="Plassholder for tekst 6">
            <a:extLst>
              <a:ext uri="{FF2B5EF4-FFF2-40B4-BE49-F238E27FC236}">
                <a16:creationId xmlns:a16="http://schemas.microsoft.com/office/drawing/2014/main" id="{98823DEE-A9B4-7308-7A91-98382B5FF419}"/>
              </a:ext>
            </a:extLst>
          </p:cNvPr>
          <p:cNvSpPr>
            <a:spLocks noGrp="1"/>
          </p:cNvSpPr>
          <p:nvPr>
            <p:ph type="body" sz="quarter" idx="16"/>
          </p:nvPr>
        </p:nvSpPr>
        <p:spPr>
          <a:xfrm>
            <a:off x="4667844" y="3397250"/>
            <a:ext cx="2532856" cy="262334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tekst 4">
            <a:extLst>
              <a:ext uri="{FF2B5EF4-FFF2-40B4-BE49-F238E27FC236}">
                <a16:creationId xmlns:a16="http://schemas.microsoft.com/office/drawing/2014/main" id="{84DCCD78-0027-A9CA-7F17-3F5B3F5408F3}"/>
              </a:ext>
            </a:extLst>
          </p:cNvPr>
          <p:cNvSpPr>
            <a:spLocks noGrp="1"/>
          </p:cNvSpPr>
          <p:nvPr>
            <p:ph type="body" sz="quarter" idx="17" hasCustomPrompt="1"/>
          </p:nvPr>
        </p:nvSpPr>
        <p:spPr>
          <a:xfrm>
            <a:off x="8306193" y="1868488"/>
            <a:ext cx="3055673" cy="1063556"/>
          </a:xfrm>
          <a:prstGeom prst="rightArrow">
            <a:avLst>
              <a:gd name="adj1" fmla="val 70300"/>
              <a:gd name="adj2" fmla="val 50000"/>
            </a:avLst>
          </a:prstGeom>
          <a:solidFill>
            <a:schemeClr val="accent6"/>
          </a:solidFill>
        </p:spPr>
        <p:txBody>
          <a:bodyPr rIns="288000" bIns="36000" anchor="ctr" anchorCtr="0"/>
          <a:lstStyle>
            <a:lvl1pPr marL="0" indent="0" algn="ctr">
              <a:lnSpc>
                <a:spcPct val="100000"/>
              </a:lnSpc>
              <a:buNone/>
              <a:defRPr sz="2500">
                <a:solidFill>
                  <a:schemeClr val="bg1"/>
                </a:solidFill>
                <a:latin typeface="+mj-lt"/>
              </a:defRPr>
            </a:lvl1pPr>
          </a:lstStyle>
          <a:p>
            <a:pPr lvl="0"/>
            <a:r>
              <a:rPr lang="nb-NO"/>
              <a:t>Tekst</a:t>
            </a:r>
          </a:p>
        </p:txBody>
      </p:sp>
      <p:sp>
        <p:nvSpPr>
          <p:cNvPr id="11" name="Plassholder for tekst 6">
            <a:extLst>
              <a:ext uri="{FF2B5EF4-FFF2-40B4-BE49-F238E27FC236}">
                <a16:creationId xmlns:a16="http://schemas.microsoft.com/office/drawing/2014/main" id="{A859C48B-3FBA-A575-1DFB-CCBB46EF2BF6}"/>
              </a:ext>
            </a:extLst>
          </p:cNvPr>
          <p:cNvSpPr>
            <a:spLocks noGrp="1"/>
          </p:cNvSpPr>
          <p:nvPr>
            <p:ph type="body" sz="quarter" idx="18"/>
          </p:nvPr>
        </p:nvSpPr>
        <p:spPr>
          <a:xfrm>
            <a:off x="8306193" y="3397250"/>
            <a:ext cx="2532856" cy="262334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2" name="Tittel 1">
            <a:extLst>
              <a:ext uri="{FF2B5EF4-FFF2-40B4-BE49-F238E27FC236}">
                <a16:creationId xmlns:a16="http://schemas.microsoft.com/office/drawing/2014/main" id="{96D92403-C516-4500-0ABB-D6E11583B55C}"/>
              </a:ext>
            </a:extLst>
          </p:cNvPr>
          <p:cNvSpPr>
            <a:spLocks noGrp="1"/>
          </p:cNvSpPr>
          <p:nvPr>
            <p:ph type="title" hasCustomPrompt="1"/>
          </p:nvPr>
        </p:nvSpPr>
        <p:spPr>
          <a:xfrm>
            <a:off x="1033728" y="630000"/>
            <a:ext cx="2409314" cy="245373"/>
          </a:xfrm>
          <a:blipFill>
            <a:blip r:embed="rId2">
              <a:extLst>
                <a:ext uri="{96DAC541-7B7A-43D3-8B79-37D633B846F1}">
                  <asvg:svgBlip xmlns:asvg="http://schemas.microsoft.com/office/drawing/2016/SVG/main" r:embed="rId3"/>
                </a:ext>
              </a:extLst>
            </a:blip>
            <a:stretch>
              <a:fillRect/>
            </a:stretch>
          </a:blipFill>
          <a:ln>
            <a:noFill/>
          </a:ln>
        </p:spPr>
        <p:txBody>
          <a:bodyPr vert="horz" wrap="none" lIns="0" tIns="0" rIns="0" bIns="14400" rtlCol="0" anchor="t" anchorCtr="0">
            <a:spAutoFit/>
          </a:bodyPr>
          <a:lstStyle>
            <a:lvl1pPr>
              <a:defRPr lang="nb-NO" sz="1500" u="none" dirty="0">
                <a:solidFill>
                  <a:schemeClr val="accent6"/>
                </a:solidFill>
                <a:ea typeface="+mn-ea"/>
                <a:cs typeface="+mn-cs"/>
              </a:defRPr>
            </a:lvl1pPr>
          </a:lstStyle>
          <a:p>
            <a:pPr marL="0" lvl="0" indent="0">
              <a:spcBef>
                <a:spcPts val="0"/>
              </a:spcBef>
              <a:buSzPct val="120000"/>
              <a:buFont typeface="Arial" panose="020B0604020202020204" pitchFamily="34" charset="0"/>
            </a:pPr>
            <a:r>
              <a:rPr lang="nb-NO" noProof="0"/>
              <a:t>Klikk for å legge til en tittel</a:t>
            </a:r>
          </a:p>
        </p:txBody>
      </p:sp>
    </p:spTree>
    <p:extLst>
      <p:ext uri="{BB962C8B-B14F-4D97-AF65-F5344CB8AC3E}">
        <p14:creationId xmlns:p14="http://schemas.microsoft.com/office/powerpoint/2010/main" val="24130388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kser">
    <p:spTree>
      <p:nvGrpSpPr>
        <p:cNvPr id="1" name=""/>
        <p:cNvGrpSpPr/>
        <p:nvPr/>
      </p:nvGrpSpPr>
      <p:grpSpPr>
        <a:xfrm>
          <a:off x="0" y="0"/>
          <a:ext cx="0" cy="0"/>
          <a:chOff x="0" y="0"/>
          <a:chExt cx="0" cy="0"/>
        </a:xfrm>
      </p:grpSpPr>
      <p:sp>
        <p:nvSpPr>
          <p:cNvPr id="6" name="Plassholder for tekst 6">
            <a:extLst>
              <a:ext uri="{FF2B5EF4-FFF2-40B4-BE49-F238E27FC236}">
                <a16:creationId xmlns:a16="http://schemas.microsoft.com/office/drawing/2014/main" id="{03E7C7B3-6BF1-5572-DC74-78C4227A812B}"/>
              </a:ext>
            </a:extLst>
          </p:cNvPr>
          <p:cNvSpPr>
            <a:spLocks noGrp="1"/>
          </p:cNvSpPr>
          <p:nvPr>
            <p:ph type="body" sz="quarter" idx="14"/>
          </p:nvPr>
        </p:nvSpPr>
        <p:spPr>
          <a:xfrm>
            <a:off x="1029494" y="2118519"/>
            <a:ext cx="2416350" cy="1470819"/>
          </a:xfrm>
          <a:solidFill>
            <a:schemeClr val="accent6"/>
          </a:solidFill>
        </p:spPr>
        <p:txBody>
          <a:bodyPr lIns="180000" rIns="180000" anchor="ctr" anchorCtr="0"/>
          <a:lstStyle>
            <a:lvl1pPr marL="0" indent="0" algn="ctr">
              <a:lnSpc>
                <a:spcPct val="104000"/>
              </a:lnSpc>
              <a:buNone/>
              <a:defRPr sz="1600">
                <a:solidFill>
                  <a:schemeClr val="bg1"/>
                </a:solidFill>
                <a:latin typeface="Inter Medium" panose="02000503000000020004" pitchFamily="2" charset="0"/>
                <a:ea typeface="Inter Medium" panose="02000503000000020004" pitchFamily="2" charset="0"/>
              </a:defRPr>
            </a:lvl1pPr>
            <a:lvl2pPr marL="158844" indent="0">
              <a:buNone/>
              <a:defRPr/>
            </a:lvl2pPr>
          </a:lstStyle>
          <a:p>
            <a:pPr lvl="0"/>
            <a:r>
              <a:rPr lang="nb-NO"/>
              <a:t>Klikk for å redigere tekststiler i malen</a:t>
            </a:r>
          </a:p>
        </p:txBody>
      </p:sp>
      <p:sp>
        <p:nvSpPr>
          <p:cNvPr id="2" name="Plassholder for dato 1">
            <a:extLst>
              <a:ext uri="{FF2B5EF4-FFF2-40B4-BE49-F238E27FC236}">
                <a16:creationId xmlns:a16="http://schemas.microsoft.com/office/drawing/2014/main" id="{AD064978-874C-7D8A-AFE0-B180BBD131D1}"/>
              </a:ext>
            </a:extLst>
          </p:cNvPr>
          <p:cNvSpPr>
            <a:spLocks noGrp="1"/>
          </p:cNvSpPr>
          <p:nvPr>
            <p:ph type="dt" sz="half" idx="10"/>
          </p:nvPr>
        </p:nvSpPr>
        <p:spPr/>
        <p:txBody>
          <a:bodyPr/>
          <a:lstStyle/>
          <a:p>
            <a:fld id="{F59236E0-6D9B-4E45-BD4A-FEC3F5B2ECD6}" type="datetime1">
              <a:rPr lang="nb-NO" smtClean="0"/>
              <a:t>13.06.2025</a:t>
            </a:fld>
            <a:endParaRPr lang="nb-NO"/>
          </a:p>
        </p:txBody>
      </p:sp>
      <p:sp>
        <p:nvSpPr>
          <p:cNvPr id="3" name="Plassholder for bunntekst 2">
            <a:extLst>
              <a:ext uri="{FF2B5EF4-FFF2-40B4-BE49-F238E27FC236}">
                <a16:creationId xmlns:a16="http://schemas.microsoft.com/office/drawing/2014/main" id="{E1478240-A459-CDB4-8DEB-93A2E871565D}"/>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B620AF32-9AE9-644B-1BE5-C69DEA28D576}"/>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14" name="Plassholder for tekst 6">
            <a:extLst>
              <a:ext uri="{FF2B5EF4-FFF2-40B4-BE49-F238E27FC236}">
                <a16:creationId xmlns:a16="http://schemas.microsoft.com/office/drawing/2014/main" id="{AAF80E57-F4CB-0BDF-3064-73B5673B8AD8}"/>
              </a:ext>
            </a:extLst>
          </p:cNvPr>
          <p:cNvSpPr>
            <a:spLocks noGrp="1"/>
          </p:cNvSpPr>
          <p:nvPr>
            <p:ph type="body" sz="quarter" idx="15"/>
          </p:nvPr>
        </p:nvSpPr>
        <p:spPr>
          <a:xfrm>
            <a:off x="3611729" y="2118519"/>
            <a:ext cx="2416350" cy="1470819"/>
          </a:xfrm>
          <a:solidFill>
            <a:schemeClr val="accent6"/>
          </a:solidFill>
        </p:spPr>
        <p:txBody>
          <a:bodyPr lIns="180000" rIns="180000" anchor="ctr" anchorCtr="0"/>
          <a:lstStyle>
            <a:lvl1pPr marL="0" indent="0" algn="ctr">
              <a:lnSpc>
                <a:spcPct val="104000"/>
              </a:lnSpc>
              <a:buNone/>
              <a:defRPr sz="1600">
                <a:solidFill>
                  <a:schemeClr val="bg1"/>
                </a:solidFill>
                <a:latin typeface="Inter Medium" panose="02000503000000020004" pitchFamily="2" charset="0"/>
                <a:ea typeface="Inter Medium" panose="02000503000000020004" pitchFamily="2" charset="0"/>
              </a:defRPr>
            </a:lvl1pPr>
            <a:lvl2pPr marL="158844" indent="0">
              <a:buNone/>
              <a:defRPr/>
            </a:lvl2pPr>
          </a:lstStyle>
          <a:p>
            <a:pPr lvl="0"/>
            <a:r>
              <a:rPr lang="nb-NO"/>
              <a:t>Klikk for å redigere tekststiler i malen</a:t>
            </a:r>
          </a:p>
        </p:txBody>
      </p:sp>
      <p:sp>
        <p:nvSpPr>
          <p:cNvPr id="15" name="Plassholder for tekst 6">
            <a:extLst>
              <a:ext uri="{FF2B5EF4-FFF2-40B4-BE49-F238E27FC236}">
                <a16:creationId xmlns:a16="http://schemas.microsoft.com/office/drawing/2014/main" id="{6C0C7590-7D5E-041F-04C5-A044B39468D8}"/>
              </a:ext>
            </a:extLst>
          </p:cNvPr>
          <p:cNvSpPr>
            <a:spLocks noGrp="1"/>
          </p:cNvSpPr>
          <p:nvPr>
            <p:ph type="body" sz="quarter" idx="16"/>
          </p:nvPr>
        </p:nvSpPr>
        <p:spPr>
          <a:xfrm>
            <a:off x="6193964" y="2118519"/>
            <a:ext cx="2416350" cy="1470819"/>
          </a:xfrm>
          <a:solidFill>
            <a:schemeClr val="accent6"/>
          </a:solidFill>
        </p:spPr>
        <p:txBody>
          <a:bodyPr lIns="180000" rIns="180000" anchor="ctr" anchorCtr="0"/>
          <a:lstStyle>
            <a:lvl1pPr marL="0" indent="0" algn="ctr">
              <a:lnSpc>
                <a:spcPct val="104000"/>
              </a:lnSpc>
              <a:buNone/>
              <a:defRPr sz="1600">
                <a:solidFill>
                  <a:schemeClr val="bg1"/>
                </a:solidFill>
                <a:latin typeface="Inter Medium" panose="02000503000000020004" pitchFamily="2" charset="0"/>
                <a:ea typeface="Inter Medium" panose="02000503000000020004" pitchFamily="2" charset="0"/>
              </a:defRPr>
            </a:lvl1pPr>
            <a:lvl2pPr marL="158844" indent="0">
              <a:buNone/>
              <a:defRPr/>
            </a:lvl2pPr>
          </a:lstStyle>
          <a:p>
            <a:pPr lvl="0"/>
            <a:r>
              <a:rPr lang="nb-NO"/>
              <a:t>Klikk for å redigere tekststiler i malen</a:t>
            </a:r>
          </a:p>
        </p:txBody>
      </p:sp>
      <p:sp>
        <p:nvSpPr>
          <p:cNvPr id="16" name="Plassholder for tekst 6">
            <a:extLst>
              <a:ext uri="{FF2B5EF4-FFF2-40B4-BE49-F238E27FC236}">
                <a16:creationId xmlns:a16="http://schemas.microsoft.com/office/drawing/2014/main" id="{1EB9DF66-E096-7397-DA70-4B6ED25AE76E}"/>
              </a:ext>
            </a:extLst>
          </p:cNvPr>
          <p:cNvSpPr>
            <a:spLocks noGrp="1"/>
          </p:cNvSpPr>
          <p:nvPr>
            <p:ph type="body" sz="quarter" idx="17"/>
          </p:nvPr>
        </p:nvSpPr>
        <p:spPr>
          <a:xfrm>
            <a:off x="8776199" y="2118519"/>
            <a:ext cx="2416350" cy="1470819"/>
          </a:xfrm>
          <a:solidFill>
            <a:schemeClr val="accent6"/>
          </a:solidFill>
        </p:spPr>
        <p:txBody>
          <a:bodyPr lIns="180000" rIns="180000" anchor="ctr" anchorCtr="0"/>
          <a:lstStyle>
            <a:lvl1pPr marL="0" indent="0" algn="ctr">
              <a:lnSpc>
                <a:spcPct val="104000"/>
              </a:lnSpc>
              <a:buNone/>
              <a:defRPr sz="1600">
                <a:solidFill>
                  <a:schemeClr val="bg1"/>
                </a:solidFill>
                <a:latin typeface="Inter Medium" panose="02000503000000020004" pitchFamily="2" charset="0"/>
                <a:ea typeface="Inter Medium" panose="02000503000000020004" pitchFamily="2" charset="0"/>
              </a:defRPr>
            </a:lvl1pPr>
            <a:lvl2pPr marL="158844" indent="0">
              <a:buNone/>
              <a:defRPr/>
            </a:lvl2pPr>
          </a:lstStyle>
          <a:p>
            <a:pPr lvl="0"/>
            <a:r>
              <a:rPr lang="nb-NO"/>
              <a:t>Klikk for å redigere tekststiler i malen</a:t>
            </a:r>
          </a:p>
        </p:txBody>
      </p:sp>
      <p:sp>
        <p:nvSpPr>
          <p:cNvPr id="17" name="Plassholder for tekst 6">
            <a:extLst>
              <a:ext uri="{FF2B5EF4-FFF2-40B4-BE49-F238E27FC236}">
                <a16:creationId xmlns:a16="http://schemas.microsoft.com/office/drawing/2014/main" id="{3830DDCB-3757-5A04-CB6D-11DC95562797}"/>
              </a:ext>
            </a:extLst>
          </p:cNvPr>
          <p:cNvSpPr>
            <a:spLocks noGrp="1"/>
          </p:cNvSpPr>
          <p:nvPr>
            <p:ph type="body" sz="quarter" idx="18"/>
          </p:nvPr>
        </p:nvSpPr>
        <p:spPr>
          <a:xfrm>
            <a:off x="1029494" y="3748342"/>
            <a:ext cx="2416350" cy="1470819"/>
          </a:xfrm>
          <a:solidFill>
            <a:schemeClr val="accent6"/>
          </a:solidFill>
        </p:spPr>
        <p:txBody>
          <a:bodyPr lIns="180000" rIns="180000" anchor="ctr" anchorCtr="0"/>
          <a:lstStyle>
            <a:lvl1pPr marL="0" indent="0" algn="ctr">
              <a:lnSpc>
                <a:spcPct val="104000"/>
              </a:lnSpc>
              <a:buNone/>
              <a:defRPr sz="1600">
                <a:solidFill>
                  <a:schemeClr val="bg1"/>
                </a:solidFill>
                <a:latin typeface="Inter Medium" panose="02000503000000020004" pitchFamily="2" charset="0"/>
                <a:ea typeface="Inter Medium" panose="02000503000000020004" pitchFamily="2" charset="0"/>
              </a:defRPr>
            </a:lvl1pPr>
            <a:lvl2pPr marL="158844" indent="0">
              <a:buNone/>
              <a:defRPr/>
            </a:lvl2pPr>
          </a:lstStyle>
          <a:p>
            <a:pPr lvl="0"/>
            <a:r>
              <a:rPr lang="nb-NO"/>
              <a:t>Klikk for å redigere tekststiler i malen</a:t>
            </a:r>
          </a:p>
        </p:txBody>
      </p:sp>
      <p:sp>
        <p:nvSpPr>
          <p:cNvPr id="18" name="Plassholder for tekst 6">
            <a:extLst>
              <a:ext uri="{FF2B5EF4-FFF2-40B4-BE49-F238E27FC236}">
                <a16:creationId xmlns:a16="http://schemas.microsoft.com/office/drawing/2014/main" id="{C3ED00AD-B029-061F-AED3-14E59D6EFDF4}"/>
              </a:ext>
            </a:extLst>
          </p:cNvPr>
          <p:cNvSpPr>
            <a:spLocks noGrp="1"/>
          </p:cNvSpPr>
          <p:nvPr>
            <p:ph type="body" sz="quarter" idx="19"/>
          </p:nvPr>
        </p:nvSpPr>
        <p:spPr>
          <a:xfrm>
            <a:off x="3611729" y="3748342"/>
            <a:ext cx="2416350" cy="1470819"/>
          </a:xfrm>
          <a:solidFill>
            <a:schemeClr val="accent6"/>
          </a:solidFill>
        </p:spPr>
        <p:txBody>
          <a:bodyPr lIns="180000" rIns="180000" anchor="ctr" anchorCtr="0"/>
          <a:lstStyle>
            <a:lvl1pPr marL="0" indent="0" algn="ctr">
              <a:lnSpc>
                <a:spcPct val="104000"/>
              </a:lnSpc>
              <a:buNone/>
              <a:defRPr sz="1600">
                <a:solidFill>
                  <a:schemeClr val="bg1"/>
                </a:solidFill>
                <a:latin typeface="Inter Medium" panose="02000503000000020004" pitchFamily="2" charset="0"/>
                <a:ea typeface="Inter Medium" panose="02000503000000020004" pitchFamily="2" charset="0"/>
              </a:defRPr>
            </a:lvl1pPr>
            <a:lvl2pPr marL="158844" indent="0">
              <a:buNone/>
              <a:defRPr/>
            </a:lvl2pPr>
          </a:lstStyle>
          <a:p>
            <a:pPr lvl="0"/>
            <a:r>
              <a:rPr lang="nb-NO"/>
              <a:t>Klikk for å redigere tekststiler i malen</a:t>
            </a:r>
          </a:p>
        </p:txBody>
      </p:sp>
      <p:sp>
        <p:nvSpPr>
          <p:cNvPr id="19" name="Plassholder for tekst 6">
            <a:extLst>
              <a:ext uri="{FF2B5EF4-FFF2-40B4-BE49-F238E27FC236}">
                <a16:creationId xmlns:a16="http://schemas.microsoft.com/office/drawing/2014/main" id="{2B524F33-33DF-5484-2BA7-615D0063AFEC}"/>
              </a:ext>
            </a:extLst>
          </p:cNvPr>
          <p:cNvSpPr>
            <a:spLocks noGrp="1"/>
          </p:cNvSpPr>
          <p:nvPr>
            <p:ph type="body" sz="quarter" idx="20"/>
          </p:nvPr>
        </p:nvSpPr>
        <p:spPr>
          <a:xfrm>
            <a:off x="6193964" y="3748342"/>
            <a:ext cx="2416350" cy="1470819"/>
          </a:xfrm>
          <a:solidFill>
            <a:schemeClr val="accent6"/>
          </a:solidFill>
        </p:spPr>
        <p:txBody>
          <a:bodyPr lIns="180000" rIns="180000" anchor="ctr" anchorCtr="0"/>
          <a:lstStyle>
            <a:lvl1pPr marL="0" indent="0" algn="ctr">
              <a:lnSpc>
                <a:spcPct val="104000"/>
              </a:lnSpc>
              <a:buNone/>
              <a:defRPr sz="1600">
                <a:solidFill>
                  <a:schemeClr val="bg1"/>
                </a:solidFill>
                <a:latin typeface="Inter Medium" panose="02000503000000020004" pitchFamily="2" charset="0"/>
                <a:ea typeface="Inter Medium" panose="02000503000000020004" pitchFamily="2" charset="0"/>
              </a:defRPr>
            </a:lvl1pPr>
            <a:lvl2pPr marL="158844" indent="0">
              <a:buNone/>
              <a:defRPr/>
            </a:lvl2pPr>
          </a:lstStyle>
          <a:p>
            <a:pPr lvl="0"/>
            <a:r>
              <a:rPr lang="nb-NO"/>
              <a:t>Klikk for å redigere tekststiler i malen</a:t>
            </a:r>
          </a:p>
        </p:txBody>
      </p:sp>
      <p:sp>
        <p:nvSpPr>
          <p:cNvPr id="20" name="Plassholder for tekst 6">
            <a:extLst>
              <a:ext uri="{FF2B5EF4-FFF2-40B4-BE49-F238E27FC236}">
                <a16:creationId xmlns:a16="http://schemas.microsoft.com/office/drawing/2014/main" id="{37E43FD5-269B-C583-1DDC-92BD69819DF5}"/>
              </a:ext>
            </a:extLst>
          </p:cNvPr>
          <p:cNvSpPr>
            <a:spLocks noGrp="1"/>
          </p:cNvSpPr>
          <p:nvPr>
            <p:ph type="body" sz="quarter" idx="21"/>
          </p:nvPr>
        </p:nvSpPr>
        <p:spPr>
          <a:xfrm>
            <a:off x="8776199" y="3748342"/>
            <a:ext cx="2416350" cy="1470819"/>
          </a:xfrm>
          <a:solidFill>
            <a:schemeClr val="accent6"/>
          </a:solidFill>
        </p:spPr>
        <p:txBody>
          <a:bodyPr lIns="180000" rIns="180000" anchor="ctr" anchorCtr="0"/>
          <a:lstStyle>
            <a:lvl1pPr marL="0" indent="0" algn="ctr">
              <a:lnSpc>
                <a:spcPct val="104000"/>
              </a:lnSpc>
              <a:buNone/>
              <a:defRPr sz="1600">
                <a:solidFill>
                  <a:schemeClr val="bg1"/>
                </a:solidFill>
                <a:latin typeface="Inter Medium" panose="02000503000000020004" pitchFamily="2" charset="0"/>
                <a:ea typeface="Inter Medium" panose="02000503000000020004" pitchFamily="2" charset="0"/>
              </a:defRPr>
            </a:lvl1pPr>
            <a:lvl2pPr marL="158844" indent="0">
              <a:buNone/>
              <a:defRPr/>
            </a:lvl2pPr>
          </a:lstStyle>
          <a:p>
            <a:pPr lvl="0"/>
            <a:r>
              <a:rPr lang="nb-NO"/>
              <a:t>Klikk for å redigere tekststiler i malen</a:t>
            </a:r>
          </a:p>
        </p:txBody>
      </p:sp>
      <p:sp>
        <p:nvSpPr>
          <p:cNvPr id="5" name="Tittel 1">
            <a:extLst>
              <a:ext uri="{FF2B5EF4-FFF2-40B4-BE49-F238E27FC236}">
                <a16:creationId xmlns:a16="http://schemas.microsoft.com/office/drawing/2014/main" id="{E7F7F1F5-3327-6B92-FE73-2EF9900BBD1F}"/>
              </a:ext>
            </a:extLst>
          </p:cNvPr>
          <p:cNvSpPr>
            <a:spLocks noGrp="1"/>
          </p:cNvSpPr>
          <p:nvPr>
            <p:ph type="title" hasCustomPrompt="1"/>
          </p:nvPr>
        </p:nvSpPr>
        <p:spPr>
          <a:xfrm>
            <a:off x="1033728" y="630000"/>
            <a:ext cx="2409314" cy="245373"/>
          </a:xfrm>
          <a:blipFill>
            <a:blip r:embed="rId2">
              <a:extLst>
                <a:ext uri="{96DAC541-7B7A-43D3-8B79-37D633B846F1}">
                  <asvg:svgBlip xmlns:asvg="http://schemas.microsoft.com/office/drawing/2016/SVG/main" r:embed="rId3"/>
                </a:ext>
              </a:extLst>
            </a:blip>
            <a:stretch>
              <a:fillRect/>
            </a:stretch>
          </a:blipFill>
          <a:ln>
            <a:noFill/>
          </a:ln>
        </p:spPr>
        <p:txBody>
          <a:bodyPr vert="horz" wrap="none" lIns="0" tIns="0" rIns="0" bIns="14400" rtlCol="0" anchor="t" anchorCtr="0">
            <a:spAutoFit/>
          </a:bodyPr>
          <a:lstStyle>
            <a:lvl1pPr>
              <a:defRPr lang="nb-NO" sz="1500" u="none" dirty="0">
                <a:solidFill>
                  <a:schemeClr val="accent6"/>
                </a:solidFill>
                <a:ea typeface="+mn-ea"/>
                <a:cs typeface="+mn-cs"/>
              </a:defRPr>
            </a:lvl1pPr>
          </a:lstStyle>
          <a:p>
            <a:pPr marL="0" lvl="0" indent="0">
              <a:spcBef>
                <a:spcPts val="0"/>
              </a:spcBef>
              <a:buSzPct val="120000"/>
              <a:buFont typeface="Arial" panose="020B0604020202020204" pitchFamily="34" charset="0"/>
            </a:pPr>
            <a:r>
              <a:rPr lang="nb-NO" noProof="0"/>
              <a:t>Klikk for å legge til en tittel</a:t>
            </a:r>
          </a:p>
        </p:txBody>
      </p:sp>
    </p:spTree>
    <p:extLst>
      <p:ext uri="{BB962C8B-B14F-4D97-AF65-F5344CB8AC3E}">
        <p14:creationId xmlns:p14="http://schemas.microsoft.com/office/powerpoint/2010/main" val="36740839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isteside">
    <p:bg>
      <p:bgPr>
        <a:solidFill>
          <a:schemeClr val="accent1"/>
        </a:solidFill>
        <a:effectLst/>
      </p:bgPr>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p:txBody>
          <a:bodyPr/>
          <a:lstStyle>
            <a:lvl1pPr>
              <a:defRPr>
                <a:noFill/>
              </a:defRPr>
            </a:lvl1pPr>
          </a:lstStyle>
          <a:p>
            <a:fld id="{0971EE36-3C57-4E3F-8D97-F9C77C0153A6}" type="datetime1">
              <a:rPr lang="nb-NO" smtClean="0"/>
              <a:t>13.06.2025</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p:txBody>
          <a:bodyPr/>
          <a:lstStyle>
            <a:lvl1pPr>
              <a:defRPr>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p:txBody>
          <a:bodyPr/>
          <a:lstStyle>
            <a:lvl1pPr>
              <a:defRPr>
                <a:noFill/>
              </a:defRPr>
            </a:lvl1pPr>
          </a:lstStyle>
          <a:p>
            <a:fld id="{BE2ACD00-28B2-4D17-A930-2C9F8441C7CA}" type="slidenum">
              <a:rPr lang="nb-NO" smtClean="0"/>
              <a:pPr/>
              <a:t>‹#›</a:t>
            </a:fld>
            <a:endParaRPr lang="nb-NO"/>
          </a:p>
        </p:txBody>
      </p:sp>
      <p:sp>
        <p:nvSpPr>
          <p:cNvPr id="10" name="Tittel 1">
            <a:extLst>
              <a:ext uri="{FF2B5EF4-FFF2-40B4-BE49-F238E27FC236}">
                <a16:creationId xmlns:a16="http://schemas.microsoft.com/office/drawing/2014/main" id="{83380194-61E0-45B7-1337-C8485E2935BE}"/>
              </a:ext>
            </a:extLst>
          </p:cNvPr>
          <p:cNvSpPr>
            <a:spLocks noGrp="1"/>
          </p:cNvSpPr>
          <p:nvPr>
            <p:ph type="title" hasCustomPrompt="1"/>
          </p:nvPr>
        </p:nvSpPr>
        <p:spPr>
          <a:xfrm>
            <a:off x="838200" y="-675159"/>
            <a:ext cx="10515600" cy="462434"/>
          </a:xfrm>
        </p:spPr>
        <p:txBody>
          <a:bodyPr anchor="b" anchorCtr="0">
            <a:normAutofit/>
          </a:bodyPr>
          <a:lstStyle>
            <a:lvl1pPr>
              <a:defRPr sz="2600">
                <a:solidFill>
                  <a:schemeClr val="tx1"/>
                </a:solidFill>
              </a:defRPr>
            </a:lvl1pPr>
          </a:lstStyle>
          <a:p>
            <a:r>
              <a:rPr lang="nb-NO"/>
              <a:t>Tittel for universell utforming</a:t>
            </a:r>
          </a:p>
        </p:txBody>
      </p:sp>
      <p:sp>
        <p:nvSpPr>
          <p:cNvPr id="11" name="TekstSylinder 10">
            <a:extLst>
              <a:ext uri="{FF2B5EF4-FFF2-40B4-BE49-F238E27FC236}">
                <a16:creationId xmlns:a16="http://schemas.microsoft.com/office/drawing/2014/main" id="{507369BB-60D8-A2E8-DEF9-A15E633BAF0D}"/>
              </a:ext>
            </a:extLst>
          </p:cNvPr>
          <p:cNvSpPr txBox="1"/>
          <p:nvPr userDrawn="1"/>
        </p:nvSpPr>
        <p:spPr>
          <a:xfrm>
            <a:off x="1033305" y="821690"/>
            <a:ext cx="2529046" cy="961802"/>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pPr algn="l"/>
            <a:r>
              <a:rPr lang="nb-NO" sz="1250">
                <a:solidFill>
                  <a:schemeClr val="bg2"/>
                </a:solidFill>
                <a:latin typeface="+mj-lt"/>
              </a:rPr>
              <a:t>Deltabygget</a:t>
            </a:r>
          </a:p>
          <a:p>
            <a:pPr algn="l"/>
            <a:r>
              <a:rPr lang="nb-NO" sz="1250">
                <a:solidFill>
                  <a:schemeClr val="bg2"/>
                </a:solidFill>
                <a:latin typeface="+mj-lt"/>
              </a:rPr>
              <a:t>Kjølnes Ring 30,</a:t>
            </a:r>
          </a:p>
          <a:p>
            <a:pPr algn="l"/>
            <a:r>
              <a:rPr lang="nb-NO" sz="1250">
                <a:solidFill>
                  <a:schemeClr val="bg2"/>
                </a:solidFill>
                <a:latin typeface="+mj-lt"/>
              </a:rPr>
              <a:t>3918 Porsgrunn</a:t>
            </a:r>
          </a:p>
          <a:p>
            <a:pPr algn="l"/>
            <a:endParaRPr lang="nb-NO" sz="1250">
              <a:solidFill>
                <a:schemeClr val="bg2"/>
              </a:solidFill>
              <a:latin typeface="+mj-lt"/>
            </a:endParaRPr>
          </a:p>
          <a:p>
            <a:pPr algn="l"/>
            <a:r>
              <a:rPr lang="nb-NO" sz="1250">
                <a:solidFill>
                  <a:schemeClr val="bg2"/>
                </a:solidFill>
                <a:latin typeface="+mj-lt"/>
              </a:rPr>
              <a:t>novari.no</a:t>
            </a:r>
          </a:p>
        </p:txBody>
      </p:sp>
      <p:pic>
        <p:nvPicPr>
          <p:cNvPr id="8" name="Logo IKS">
            <a:extLst>
              <a:ext uri="{FF2B5EF4-FFF2-40B4-BE49-F238E27FC236}">
                <a16:creationId xmlns:a16="http://schemas.microsoft.com/office/drawing/2014/main" id="{53497244-27C7-16A2-EA52-001C53D8B2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8228" y="5755162"/>
            <a:ext cx="1788612" cy="284014"/>
          </a:xfrm>
          <a:prstGeom prst="rect">
            <a:avLst/>
          </a:prstGeom>
        </p:spPr>
      </p:pic>
    </p:spTree>
    <p:extLst>
      <p:ext uri="{BB962C8B-B14F-4D97-AF65-F5344CB8AC3E}">
        <p14:creationId xmlns:p14="http://schemas.microsoft.com/office/powerpoint/2010/main" val="22461832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isteside 2">
    <p:bg>
      <p:bgPr>
        <a:solidFill>
          <a:schemeClr val="bg2"/>
        </a:solidFill>
        <a:effectLst/>
      </p:bgPr>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p:txBody>
          <a:bodyPr/>
          <a:lstStyle>
            <a:lvl1pPr>
              <a:defRPr>
                <a:noFill/>
              </a:defRPr>
            </a:lvl1pPr>
          </a:lstStyle>
          <a:p>
            <a:fld id="{EC3EA0F6-6A5D-4E35-ABF5-67FED8BA971E}" type="datetime1">
              <a:rPr lang="nb-NO" smtClean="0"/>
              <a:t>13.06.2025</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p:txBody>
          <a:bodyPr/>
          <a:lstStyle>
            <a:lvl1pPr>
              <a:defRPr>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p:txBody>
          <a:bodyPr/>
          <a:lstStyle>
            <a:lvl1pPr>
              <a:defRPr>
                <a:noFill/>
              </a:defRPr>
            </a:lvl1pPr>
          </a:lstStyle>
          <a:p>
            <a:fld id="{BE2ACD00-28B2-4D17-A930-2C9F8441C7CA}" type="slidenum">
              <a:rPr lang="nb-NO" smtClean="0"/>
              <a:pPr/>
              <a:t>‹#›</a:t>
            </a:fld>
            <a:endParaRPr lang="nb-NO"/>
          </a:p>
        </p:txBody>
      </p:sp>
      <p:sp>
        <p:nvSpPr>
          <p:cNvPr id="10" name="Tittel 1">
            <a:extLst>
              <a:ext uri="{FF2B5EF4-FFF2-40B4-BE49-F238E27FC236}">
                <a16:creationId xmlns:a16="http://schemas.microsoft.com/office/drawing/2014/main" id="{83380194-61E0-45B7-1337-C8485E2935BE}"/>
              </a:ext>
            </a:extLst>
          </p:cNvPr>
          <p:cNvSpPr>
            <a:spLocks noGrp="1"/>
          </p:cNvSpPr>
          <p:nvPr>
            <p:ph type="title" hasCustomPrompt="1"/>
          </p:nvPr>
        </p:nvSpPr>
        <p:spPr>
          <a:xfrm>
            <a:off x="838200" y="-675159"/>
            <a:ext cx="10515600" cy="462434"/>
          </a:xfrm>
        </p:spPr>
        <p:txBody>
          <a:bodyPr anchor="b" anchorCtr="0">
            <a:normAutofit/>
          </a:bodyPr>
          <a:lstStyle>
            <a:lvl1pPr>
              <a:defRPr sz="2600">
                <a:solidFill>
                  <a:schemeClr val="tx1"/>
                </a:solidFill>
              </a:defRPr>
            </a:lvl1pPr>
          </a:lstStyle>
          <a:p>
            <a:r>
              <a:rPr lang="nb-NO"/>
              <a:t>Tittel for universell utforming</a:t>
            </a:r>
          </a:p>
        </p:txBody>
      </p:sp>
      <p:sp>
        <p:nvSpPr>
          <p:cNvPr id="11" name="TekstSylinder 10">
            <a:extLst>
              <a:ext uri="{FF2B5EF4-FFF2-40B4-BE49-F238E27FC236}">
                <a16:creationId xmlns:a16="http://schemas.microsoft.com/office/drawing/2014/main" id="{507369BB-60D8-A2E8-DEF9-A15E633BAF0D}"/>
              </a:ext>
            </a:extLst>
          </p:cNvPr>
          <p:cNvSpPr txBox="1"/>
          <p:nvPr userDrawn="1"/>
        </p:nvSpPr>
        <p:spPr>
          <a:xfrm>
            <a:off x="1033305" y="821690"/>
            <a:ext cx="2529046" cy="961802"/>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pPr algn="l"/>
            <a:r>
              <a:rPr lang="nb-NO" sz="1250">
                <a:solidFill>
                  <a:schemeClr val="accent1"/>
                </a:solidFill>
                <a:latin typeface="+mj-lt"/>
              </a:rPr>
              <a:t>Deltabygget</a:t>
            </a:r>
          </a:p>
          <a:p>
            <a:pPr algn="l"/>
            <a:r>
              <a:rPr lang="nb-NO" sz="1250">
                <a:solidFill>
                  <a:schemeClr val="accent1"/>
                </a:solidFill>
                <a:latin typeface="+mj-lt"/>
              </a:rPr>
              <a:t>Kjølnes Ring 30,</a:t>
            </a:r>
          </a:p>
          <a:p>
            <a:pPr algn="l"/>
            <a:r>
              <a:rPr lang="nb-NO" sz="1250">
                <a:solidFill>
                  <a:schemeClr val="accent1"/>
                </a:solidFill>
                <a:latin typeface="+mj-lt"/>
              </a:rPr>
              <a:t>3918 Porsgrunn</a:t>
            </a:r>
          </a:p>
          <a:p>
            <a:pPr algn="l"/>
            <a:endParaRPr lang="nb-NO" sz="1250">
              <a:solidFill>
                <a:schemeClr val="accent1"/>
              </a:solidFill>
              <a:latin typeface="+mj-lt"/>
            </a:endParaRPr>
          </a:p>
          <a:p>
            <a:pPr algn="l"/>
            <a:r>
              <a:rPr lang="nb-NO" sz="1250">
                <a:solidFill>
                  <a:schemeClr val="accent1"/>
                </a:solidFill>
                <a:latin typeface="+mj-lt"/>
              </a:rPr>
              <a:t>novari.no</a:t>
            </a:r>
          </a:p>
        </p:txBody>
      </p:sp>
      <p:pic>
        <p:nvPicPr>
          <p:cNvPr id="8" name="Logo IKS">
            <a:extLst>
              <a:ext uri="{FF2B5EF4-FFF2-40B4-BE49-F238E27FC236}">
                <a16:creationId xmlns:a16="http://schemas.microsoft.com/office/drawing/2014/main" id="{53497244-27C7-16A2-EA52-001C53D8B2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8228" y="5755162"/>
            <a:ext cx="1788612" cy="284014"/>
          </a:xfrm>
          <a:prstGeom prst="rect">
            <a:avLst/>
          </a:prstGeom>
        </p:spPr>
      </p:pic>
    </p:spTree>
    <p:extLst>
      <p:ext uri="{BB962C8B-B14F-4D97-AF65-F5344CB8AC3E}">
        <p14:creationId xmlns:p14="http://schemas.microsoft.com/office/powerpoint/2010/main" val="6562100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Forside B">
    <p:bg>
      <p:bgPr>
        <a:solidFill>
          <a:schemeClr val="accent1"/>
        </a:solidFill>
        <a:effectLst/>
      </p:bgPr>
    </p:bg>
    <p:spTree>
      <p:nvGrpSpPr>
        <p:cNvPr id="1" name=""/>
        <p:cNvGrpSpPr/>
        <p:nvPr/>
      </p:nvGrpSpPr>
      <p:grpSpPr>
        <a:xfrm>
          <a:off x="0" y="0"/>
          <a:ext cx="0" cy="0"/>
          <a:chOff x="0" y="0"/>
          <a:chExt cx="0" cy="0"/>
        </a:xfrm>
      </p:grpSpPr>
      <p:sp>
        <p:nvSpPr>
          <p:cNvPr id="7" name="form">
            <a:extLst>
              <a:ext uri="{FF2B5EF4-FFF2-40B4-BE49-F238E27FC236}">
                <a16:creationId xmlns:a16="http://schemas.microsoft.com/office/drawing/2014/main" id="{468A1974-2205-8109-9C6D-43A808783050}"/>
              </a:ext>
              <a:ext uri="{C183D7F6-B498-43B3-948B-1728B52AA6E4}">
                <adec:decorative xmlns:adec="http://schemas.microsoft.com/office/drawing/2017/decorative" val="1"/>
              </a:ext>
            </a:extLst>
          </p:cNvPr>
          <p:cNvSpPr/>
          <p:nvPr/>
        </p:nvSpPr>
        <p:spPr>
          <a:xfrm>
            <a:off x="3288505" y="817511"/>
            <a:ext cx="8392253" cy="5226407"/>
          </a:xfrm>
          <a:custGeom>
            <a:avLst/>
            <a:gdLst>
              <a:gd name="connsiteX0" fmla="*/ 4200920 w 8392253"/>
              <a:gd name="connsiteY0" fmla="*/ 2611966 h 5226407"/>
              <a:gd name="connsiteX1" fmla="*/ 5124519 w 8392253"/>
              <a:gd name="connsiteY1" fmla="*/ 2611966 h 5226407"/>
              <a:gd name="connsiteX2" fmla="*/ 2562260 w 8392253"/>
              <a:gd name="connsiteY2" fmla="*/ 0 h 5226407"/>
              <a:gd name="connsiteX3" fmla="*/ 0 w 8392253"/>
              <a:gd name="connsiteY3" fmla="*/ 2611966 h 5226407"/>
              <a:gd name="connsiteX4" fmla="*/ 0 w 8392253"/>
              <a:gd name="connsiteY4" fmla="*/ 5206665 h 5226407"/>
              <a:gd name="connsiteX5" fmla="*/ 923599 w 8392253"/>
              <a:gd name="connsiteY5" fmla="*/ 5206665 h 5226407"/>
              <a:gd name="connsiteX6" fmla="*/ 923599 w 8392253"/>
              <a:gd name="connsiteY6" fmla="*/ 2611966 h 5226407"/>
              <a:gd name="connsiteX7" fmla="*/ 2562260 w 8392253"/>
              <a:gd name="connsiteY7" fmla="*/ 941565 h 5226407"/>
              <a:gd name="connsiteX8" fmla="*/ 4200920 w 8392253"/>
              <a:gd name="connsiteY8" fmla="*/ 2611966 h 5226407"/>
              <a:gd name="connsiteX9" fmla="*/ 8392253 w 8392253"/>
              <a:gd name="connsiteY9" fmla="*/ 2614506 h 5226407"/>
              <a:gd name="connsiteX10" fmla="*/ 5829994 w 8392253"/>
              <a:gd name="connsiteY10" fmla="*/ 2539 h 5226407"/>
              <a:gd name="connsiteX11" fmla="*/ 5829994 w 8392253"/>
              <a:gd name="connsiteY11" fmla="*/ 944041 h 5226407"/>
              <a:gd name="connsiteX12" fmla="*/ 7468655 w 8392253"/>
              <a:gd name="connsiteY12" fmla="*/ 2614442 h 5226407"/>
              <a:gd name="connsiteX13" fmla="*/ 5829994 w 8392253"/>
              <a:gd name="connsiteY13" fmla="*/ 4284843 h 5226407"/>
              <a:gd name="connsiteX14" fmla="*/ 4191397 w 8392253"/>
              <a:gd name="connsiteY14" fmla="*/ 2614442 h 5226407"/>
              <a:gd name="connsiteX15" fmla="*/ 3267798 w 8392253"/>
              <a:gd name="connsiteY15" fmla="*/ 2614442 h 5226407"/>
              <a:gd name="connsiteX16" fmla="*/ 5829994 w 8392253"/>
              <a:gd name="connsiteY16" fmla="*/ 5226408 h 5226407"/>
              <a:gd name="connsiteX17" fmla="*/ 8392253 w 8392253"/>
              <a:gd name="connsiteY17" fmla="*/ 2614442 h 5226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392253" h="5226407">
                <a:moveTo>
                  <a:pt x="4200920" y="2611966"/>
                </a:moveTo>
                <a:lnTo>
                  <a:pt x="5124519" y="2611966"/>
                </a:lnTo>
                <a:cubicBezTo>
                  <a:pt x="5124519" y="1171750"/>
                  <a:pt x="3975051" y="0"/>
                  <a:pt x="2562260" y="0"/>
                </a:cubicBezTo>
                <a:cubicBezTo>
                  <a:pt x="1149468" y="0"/>
                  <a:pt x="0" y="1171750"/>
                  <a:pt x="0" y="2611966"/>
                </a:cubicBezTo>
                <a:lnTo>
                  <a:pt x="0" y="5206665"/>
                </a:lnTo>
                <a:lnTo>
                  <a:pt x="923599" y="5206665"/>
                </a:lnTo>
                <a:lnTo>
                  <a:pt x="923599" y="2611966"/>
                </a:lnTo>
                <a:cubicBezTo>
                  <a:pt x="923599" y="1690906"/>
                  <a:pt x="1658721" y="941565"/>
                  <a:pt x="2562260" y="941565"/>
                </a:cubicBezTo>
                <a:cubicBezTo>
                  <a:pt x="3465799" y="941565"/>
                  <a:pt x="4200920" y="1690906"/>
                  <a:pt x="4200920" y="2611966"/>
                </a:cubicBezTo>
                <a:moveTo>
                  <a:pt x="8392253" y="2614506"/>
                </a:moveTo>
                <a:cubicBezTo>
                  <a:pt x="8392253" y="1174226"/>
                  <a:pt x="7242849" y="2539"/>
                  <a:pt x="5829994" y="2539"/>
                </a:cubicBezTo>
                <a:lnTo>
                  <a:pt x="5829994" y="944041"/>
                </a:lnTo>
                <a:cubicBezTo>
                  <a:pt x="6733533" y="944041"/>
                  <a:pt x="7468655" y="1693318"/>
                  <a:pt x="7468655" y="2614442"/>
                </a:cubicBezTo>
                <a:cubicBezTo>
                  <a:pt x="7468655" y="3535566"/>
                  <a:pt x="6733533" y="4284843"/>
                  <a:pt x="5829994" y="4284843"/>
                </a:cubicBezTo>
                <a:cubicBezTo>
                  <a:pt x="4926455" y="4284843"/>
                  <a:pt x="4191397" y="3535502"/>
                  <a:pt x="4191397" y="2614442"/>
                </a:cubicBezTo>
                <a:lnTo>
                  <a:pt x="3267798" y="2614442"/>
                </a:lnTo>
                <a:cubicBezTo>
                  <a:pt x="3267798" y="4054658"/>
                  <a:pt x="4417203" y="5226408"/>
                  <a:pt x="5829994" y="5226408"/>
                </a:cubicBezTo>
                <a:cubicBezTo>
                  <a:pt x="7242786" y="5226408"/>
                  <a:pt x="8392253" y="4054658"/>
                  <a:pt x="8392253" y="2614442"/>
                </a:cubicBezTo>
              </a:path>
            </a:pathLst>
          </a:custGeom>
          <a:solidFill>
            <a:schemeClr val="tx2"/>
          </a:solidFill>
          <a:ln w="6348" cap="flat">
            <a:noFill/>
            <a:prstDash val="solid"/>
            <a:miter/>
          </a:ln>
        </p:spPr>
        <p:txBody>
          <a:bodyPr rtlCol="0" anchor="ctr"/>
          <a:lstStyle/>
          <a:p>
            <a:endParaRPr lang="nb-NO"/>
          </a:p>
        </p:txBody>
      </p:sp>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029494" y="2120633"/>
            <a:ext cx="7621588" cy="1846659"/>
          </a:xfrm>
        </p:spPr>
        <p:txBody>
          <a:bodyPr anchor="t" anchorCtr="0">
            <a:noAutofit/>
          </a:bodyPr>
          <a:lstStyle>
            <a:lvl1pPr algn="l">
              <a:defRPr sz="6000" spc="-100" baseline="0">
                <a:solidFill>
                  <a:schemeClr val="bg1"/>
                </a:solidFill>
                <a:latin typeface="Brockmann" pitchFamily="50" charset="0"/>
              </a:defRPr>
            </a:lvl1pPr>
          </a:lstStyle>
          <a:p>
            <a:r>
              <a:rPr lang="nb-NO"/>
              <a:t>Klikk for å redigere tittelstil</a:t>
            </a:r>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hasCustomPrompt="1"/>
          </p:nvPr>
        </p:nvSpPr>
        <p:spPr>
          <a:xfrm>
            <a:off x="1029494" y="824705"/>
            <a:ext cx="4684714" cy="384721"/>
          </a:xfrm>
        </p:spPr>
        <p:txBody>
          <a:bodyPr lIns="10800">
            <a:noAutofit/>
          </a:bodyPr>
          <a:lstStyle>
            <a:lvl1pPr marL="0" indent="0" algn="l">
              <a:lnSpc>
                <a:spcPct val="100000"/>
              </a:lnSpc>
              <a:buNone/>
              <a:defRPr sz="1250">
                <a:solidFill>
                  <a:schemeClr val="bg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Dato / sted / Navn</a:t>
            </a:r>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p:txBody>
          <a:bodyPr/>
          <a:lstStyle>
            <a:lvl1pPr>
              <a:defRPr>
                <a:noFill/>
              </a:defRPr>
            </a:lvl1pPr>
          </a:lstStyle>
          <a:p>
            <a:fld id="{CD074D20-5017-4B08-8BBF-AD5B2C4CEA05}" type="datetime1">
              <a:rPr lang="nb-NO" smtClean="0"/>
              <a:t>13.06.2025</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p:txBody>
          <a:bodyPr/>
          <a:lstStyle>
            <a:lvl1pPr>
              <a:defRPr>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p:txBody>
          <a:bodyPr/>
          <a:lstStyle>
            <a:lvl1pPr>
              <a:defRPr>
                <a:noFill/>
              </a:defRPr>
            </a:lvl1pPr>
          </a:lstStyle>
          <a:p>
            <a:fld id="{BE2ACD00-28B2-4D17-A930-2C9F8441C7CA}" type="slidenum">
              <a:rPr lang="nb-NO" smtClean="0"/>
              <a:pPr/>
              <a:t>‹#›</a:t>
            </a:fld>
            <a:endParaRPr lang="nb-NO"/>
          </a:p>
        </p:txBody>
      </p:sp>
      <p:pic>
        <p:nvPicPr>
          <p:cNvPr id="14" name="Logo" descr="Novari logo">
            <a:extLst>
              <a:ext uri="{FF2B5EF4-FFF2-40B4-BE49-F238E27FC236}">
                <a16:creationId xmlns:a16="http://schemas.microsoft.com/office/drawing/2014/main" id="{96853129-5723-AD08-EE93-D2216DB708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8228" y="5755162"/>
            <a:ext cx="1393028" cy="284014"/>
          </a:xfrm>
          <a:prstGeom prst="rect">
            <a:avLst/>
          </a:prstGeom>
        </p:spPr>
      </p:pic>
    </p:spTree>
    <p:extLst>
      <p:ext uri="{BB962C8B-B14F-4D97-AF65-F5344CB8AC3E}">
        <p14:creationId xmlns:p14="http://schemas.microsoft.com/office/powerpoint/2010/main" val="9409201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isteside 3 med bilde">
    <p:bg>
      <p:bgPr>
        <a:solidFill>
          <a:schemeClr val="bg2"/>
        </a:solidFill>
        <a:effectLst/>
      </p:bgPr>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p:txBody>
          <a:bodyPr/>
          <a:lstStyle>
            <a:lvl1pPr>
              <a:defRPr>
                <a:noFill/>
              </a:defRPr>
            </a:lvl1pPr>
          </a:lstStyle>
          <a:p>
            <a:fld id="{BCB04576-09F0-4EF3-93DC-189F94A212E3}" type="datetime1">
              <a:rPr lang="nb-NO" smtClean="0"/>
              <a:t>13.06.2025</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p:txBody>
          <a:bodyPr/>
          <a:lstStyle>
            <a:lvl1pPr>
              <a:defRPr>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p:txBody>
          <a:bodyPr/>
          <a:lstStyle>
            <a:lvl1pPr>
              <a:defRPr>
                <a:noFill/>
              </a:defRPr>
            </a:lvl1pPr>
          </a:lstStyle>
          <a:p>
            <a:fld id="{BE2ACD00-28B2-4D17-A930-2C9F8441C7CA}" type="slidenum">
              <a:rPr lang="nb-NO" smtClean="0"/>
              <a:pPr/>
              <a:t>‹#›</a:t>
            </a:fld>
            <a:endParaRPr lang="nb-NO"/>
          </a:p>
        </p:txBody>
      </p:sp>
      <p:sp>
        <p:nvSpPr>
          <p:cNvPr id="10" name="Tittel 1">
            <a:extLst>
              <a:ext uri="{FF2B5EF4-FFF2-40B4-BE49-F238E27FC236}">
                <a16:creationId xmlns:a16="http://schemas.microsoft.com/office/drawing/2014/main" id="{83380194-61E0-45B7-1337-C8485E2935BE}"/>
              </a:ext>
            </a:extLst>
          </p:cNvPr>
          <p:cNvSpPr>
            <a:spLocks noGrp="1"/>
          </p:cNvSpPr>
          <p:nvPr>
            <p:ph type="title" hasCustomPrompt="1"/>
          </p:nvPr>
        </p:nvSpPr>
        <p:spPr>
          <a:xfrm>
            <a:off x="838200" y="-675159"/>
            <a:ext cx="10515600" cy="462434"/>
          </a:xfrm>
        </p:spPr>
        <p:txBody>
          <a:bodyPr anchor="b" anchorCtr="0">
            <a:normAutofit/>
          </a:bodyPr>
          <a:lstStyle>
            <a:lvl1pPr>
              <a:defRPr sz="2600">
                <a:solidFill>
                  <a:schemeClr val="tx1"/>
                </a:solidFill>
              </a:defRPr>
            </a:lvl1pPr>
          </a:lstStyle>
          <a:p>
            <a:r>
              <a:rPr lang="nb-NO"/>
              <a:t>Tittel for universell utforming</a:t>
            </a:r>
          </a:p>
        </p:txBody>
      </p:sp>
      <p:sp>
        <p:nvSpPr>
          <p:cNvPr id="11" name="TekstSylinder 10">
            <a:extLst>
              <a:ext uri="{FF2B5EF4-FFF2-40B4-BE49-F238E27FC236}">
                <a16:creationId xmlns:a16="http://schemas.microsoft.com/office/drawing/2014/main" id="{507369BB-60D8-A2E8-DEF9-A15E633BAF0D}"/>
              </a:ext>
            </a:extLst>
          </p:cNvPr>
          <p:cNvSpPr txBox="1"/>
          <p:nvPr userDrawn="1"/>
        </p:nvSpPr>
        <p:spPr>
          <a:xfrm>
            <a:off x="1033305" y="821690"/>
            <a:ext cx="2529046" cy="961802"/>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pPr algn="l"/>
            <a:r>
              <a:rPr lang="nb-NO" sz="1250">
                <a:solidFill>
                  <a:schemeClr val="accent1"/>
                </a:solidFill>
                <a:latin typeface="+mj-lt"/>
              </a:rPr>
              <a:t>Deltabygget</a:t>
            </a:r>
          </a:p>
          <a:p>
            <a:pPr algn="l"/>
            <a:r>
              <a:rPr lang="nb-NO" sz="1250">
                <a:solidFill>
                  <a:schemeClr val="accent1"/>
                </a:solidFill>
                <a:latin typeface="+mj-lt"/>
              </a:rPr>
              <a:t>Kjølnes Ring 30,</a:t>
            </a:r>
          </a:p>
          <a:p>
            <a:pPr algn="l"/>
            <a:r>
              <a:rPr lang="nb-NO" sz="1250">
                <a:solidFill>
                  <a:schemeClr val="accent1"/>
                </a:solidFill>
                <a:latin typeface="+mj-lt"/>
              </a:rPr>
              <a:t>3918 Porsgrunn</a:t>
            </a:r>
          </a:p>
          <a:p>
            <a:pPr algn="l"/>
            <a:endParaRPr lang="nb-NO" sz="1250">
              <a:solidFill>
                <a:schemeClr val="accent1"/>
              </a:solidFill>
              <a:latin typeface="+mj-lt"/>
            </a:endParaRPr>
          </a:p>
          <a:p>
            <a:pPr algn="l"/>
            <a:r>
              <a:rPr lang="nb-NO" sz="1250">
                <a:solidFill>
                  <a:schemeClr val="accent1"/>
                </a:solidFill>
                <a:latin typeface="+mj-lt"/>
              </a:rPr>
              <a:t>novari.no</a:t>
            </a:r>
          </a:p>
        </p:txBody>
      </p:sp>
      <p:pic>
        <p:nvPicPr>
          <p:cNvPr id="8" name="Logo IKS">
            <a:extLst>
              <a:ext uri="{FF2B5EF4-FFF2-40B4-BE49-F238E27FC236}">
                <a16:creationId xmlns:a16="http://schemas.microsoft.com/office/drawing/2014/main" id="{53497244-27C7-16A2-EA52-001C53D8B2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8228" y="5755162"/>
            <a:ext cx="1788612" cy="284014"/>
          </a:xfrm>
          <a:prstGeom prst="rect">
            <a:avLst/>
          </a:prstGeom>
        </p:spPr>
      </p:pic>
      <p:sp>
        <p:nvSpPr>
          <p:cNvPr id="7" name="Plassholder for bilde 15">
            <a:extLst>
              <a:ext uri="{FF2B5EF4-FFF2-40B4-BE49-F238E27FC236}">
                <a16:creationId xmlns:a16="http://schemas.microsoft.com/office/drawing/2014/main" id="{1837FF05-A2F0-F287-DEE3-CB00A8F6ED93}"/>
              </a:ext>
            </a:extLst>
          </p:cNvPr>
          <p:cNvSpPr>
            <a:spLocks noGrp="1"/>
          </p:cNvSpPr>
          <p:nvPr>
            <p:ph type="pic" sz="quarter" idx="14" hasCustomPrompt="1"/>
          </p:nvPr>
        </p:nvSpPr>
        <p:spPr>
          <a:xfrm>
            <a:off x="5707066" y="804190"/>
            <a:ext cx="5976934" cy="5240128"/>
          </a:xfrm>
          <a:custGeom>
            <a:avLst/>
            <a:gdLst>
              <a:gd name="connsiteX0" fmla="*/ 4770250 w 5976934"/>
              <a:gd name="connsiteY0" fmla="*/ 0 h 5240128"/>
              <a:gd name="connsiteX1" fmla="*/ 5976934 w 5976934"/>
              <a:gd name="connsiteY1" fmla="*/ 0 h 5240128"/>
              <a:gd name="connsiteX2" fmla="*/ 5976934 w 5976934"/>
              <a:gd name="connsiteY2" fmla="*/ 5240128 h 5240128"/>
              <a:gd name="connsiteX3" fmla="*/ 2617204 w 5976934"/>
              <a:gd name="connsiteY3" fmla="*/ 5240128 h 5240128"/>
              <a:gd name="connsiteX4" fmla="*/ 0 w 5976934"/>
              <a:gd name="connsiteY4" fmla="*/ 2622923 h 5240128"/>
              <a:gd name="connsiteX5" fmla="*/ 2617204 w 5976934"/>
              <a:gd name="connsiteY5" fmla="*/ 5719 h 5240128"/>
              <a:gd name="connsiteX6" fmla="*/ 4770250 w 5976934"/>
              <a:gd name="connsiteY6" fmla="*/ 5719 h 524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6934" h="5240128">
                <a:moveTo>
                  <a:pt x="4770250" y="0"/>
                </a:moveTo>
                <a:lnTo>
                  <a:pt x="5976934" y="0"/>
                </a:lnTo>
                <a:lnTo>
                  <a:pt x="5976934" y="5240128"/>
                </a:lnTo>
                <a:lnTo>
                  <a:pt x="2617204" y="5240128"/>
                </a:lnTo>
                <a:cubicBezTo>
                  <a:pt x="1171737" y="5240128"/>
                  <a:pt x="0" y="4068391"/>
                  <a:pt x="0" y="2622923"/>
                </a:cubicBezTo>
                <a:cubicBezTo>
                  <a:pt x="0" y="1177456"/>
                  <a:pt x="1171737" y="5719"/>
                  <a:pt x="2617204" y="5719"/>
                </a:cubicBezTo>
                <a:lnTo>
                  <a:pt x="4770250" y="5719"/>
                </a:lnTo>
                <a:close/>
              </a:path>
            </a:pathLst>
          </a:custGeom>
          <a:solidFill>
            <a:srgbClr val="EFD8B8"/>
          </a:solidFill>
        </p:spPr>
        <p:txBody>
          <a:bodyPr wrap="square" anchor="ctr" anchorCtr="1">
            <a:noAutofit/>
          </a:bodyPr>
          <a:lstStyle>
            <a:lvl1pPr marL="0" indent="0">
              <a:buNone/>
              <a:defRPr sz="900">
                <a:solidFill>
                  <a:schemeClr val="tx1">
                    <a:lumMod val="65000"/>
                    <a:lumOff val="35000"/>
                  </a:schemeClr>
                </a:solidFill>
              </a:defRPr>
            </a:lvl1pPr>
          </a:lstStyle>
          <a:p>
            <a:r>
              <a:rPr lang="nb-NO" noProof="0"/>
              <a:t>Klikk på ikonet eller dra inn en bildefil for å legge til et bilde. </a:t>
            </a:r>
            <a:br>
              <a:rPr lang="nb-NO" noProof="0"/>
            </a:br>
            <a:r>
              <a:rPr lang="nb-NO" noProof="0"/>
              <a:t>Juster utsnittet på Bildeformat-fanen &gt; Beskjær.</a:t>
            </a:r>
          </a:p>
        </p:txBody>
      </p:sp>
    </p:spTree>
    <p:extLst>
      <p:ext uri="{BB962C8B-B14F-4D97-AF65-F5344CB8AC3E}">
        <p14:creationId xmlns:p14="http://schemas.microsoft.com/office/powerpoint/2010/main" val="22487327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5230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cSld name="To innholdsdel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161459-AD77-74E2-93B6-2A7A3FED254D}"/>
              </a:ext>
            </a:extLst>
          </p:cNvPr>
          <p:cNvGraphicFramePr>
            <a:graphicFrameLocks noChangeAspect="1"/>
          </p:cNvGraphicFramePr>
          <p:nvPr userDrawn="1">
            <p:custDataLst>
              <p:tags r:id="rId1"/>
            </p:custDataLst>
            <p:extLst>
              <p:ext uri="{D42A27DB-BD31-4B8C-83A1-F6EECF244321}">
                <p14:modId xmlns:p14="http://schemas.microsoft.com/office/powerpoint/2010/main" val="1806311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9" name="think-cell data - do not delete" hidden="1">
                        <a:extLst>
                          <a:ext uri="{FF2B5EF4-FFF2-40B4-BE49-F238E27FC236}">
                            <a16:creationId xmlns:a16="http://schemas.microsoft.com/office/drawing/2014/main" id="{15161459-AD77-74E2-93B6-2A7A3FED2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97C71717-7F48-8699-4DDA-D81AF1882FF4}"/>
              </a:ext>
            </a:extLst>
          </p:cNvPr>
          <p:cNvSpPr>
            <a:spLocks noGrp="1"/>
          </p:cNvSpPr>
          <p:nvPr>
            <p:ph type="title" hasCustomPrompt="1"/>
          </p:nvPr>
        </p:nvSpPr>
        <p:spPr/>
        <p:txBody>
          <a:bodyPr vert="horz"/>
          <a:lstStyle>
            <a:lvl1pPr rtl="0">
              <a:defRPr/>
            </a:lvl1pPr>
          </a:lstStyle>
          <a:p>
            <a:r>
              <a:rPr lang="nb-NO"/>
              <a:t>Klikk for å redigere tittelstil</a:t>
            </a:r>
          </a:p>
        </p:txBody>
      </p:sp>
      <p:sp>
        <p:nvSpPr>
          <p:cNvPr id="3" name="Plassholder for innhold 2">
            <a:extLst>
              <a:ext uri="{FF2B5EF4-FFF2-40B4-BE49-F238E27FC236}">
                <a16:creationId xmlns:a16="http://schemas.microsoft.com/office/drawing/2014/main" id="{58038EAD-5B61-8DC9-B9DD-8ACE7EF2D5B5}"/>
              </a:ext>
            </a:extLst>
          </p:cNvPr>
          <p:cNvSpPr>
            <a:spLocks noGrp="1"/>
          </p:cNvSpPr>
          <p:nvPr>
            <p:ph sz="half" idx="1" hasCustomPrompt="1"/>
          </p:nvPr>
        </p:nvSpPr>
        <p:spPr>
          <a:xfrm>
            <a:off x="838200" y="1825625"/>
            <a:ext cx="5181600" cy="4351338"/>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145DEC02-2F87-BB5F-67D3-0A9037F72191}"/>
              </a:ext>
            </a:extLst>
          </p:cNvPr>
          <p:cNvSpPr>
            <a:spLocks noGrp="1"/>
          </p:cNvSpPr>
          <p:nvPr>
            <p:ph sz="half" idx="2" hasCustomPrompt="1"/>
          </p:nvPr>
        </p:nvSpPr>
        <p:spPr>
          <a:xfrm>
            <a:off x="6172200" y="1825625"/>
            <a:ext cx="5181600" cy="4351338"/>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0E6897B8-CF31-EE14-EBDD-E361225AD200}"/>
              </a:ext>
            </a:extLst>
          </p:cNvPr>
          <p:cNvSpPr>
            <a:spLocks noGrp="1"/>
          </p:cNvSpPr>
          <p:nvPr>
            <p:ph type="dt" sz="half" idx="10"/>
          </p:nvPr>
        </p:nvSpPr>
        <p:spPr/>
        <p:txBody>
          <a:bodyPr/>
          <a:lstStyle>
            <a:lvl1pPr rtl="0">
              <a:defRPr/>
            </a:lvl1pPr>
          </a:lstStyle>
          <a:p>
            <a:fld id="{791E5AD3-D855-B647-B3B9-729514A88F65}" type="datetimeFigureOut">
              <a:rPr lang="nb-NO" smtClean="0"/>
              <a:pPr/>
              <a:t>13.06.2025</a:t>
            </a:fld>
            <a:endParaRPr lang="nb-NO"/>
          </a:p>
        </p:txBody>
      </p:sp>
      <p:sp>
        <p:nvSpPr>
          <p:cNvPr id="6" name="Plassholder for bunntekst 5">
            <a:extLst>
              <a:ext uri="{FF2B5EF4-FFF2-40B4-BE49-F238E27FC236}">
                <a16:creationId xmlns:a16="http://schemas.microsoft.com/office/drawing/2014/main" id="{BB31C25A-DD0A-2EC4-DA30-D6ED45D6B6CC}"/>
              </a:ext>
            </a:extLst>
          </p:cNvPr>
          <p:cNvSpPr>
            <a:spLocks noGrp="1"/>
          </p:cNvSpPr>
          <p:nvPr>
            <p:ph type="ftr" sz="quarter" idx="11"/>
          </p:nvPr>
        </p:nvSpPr>
        <p:spPr/>
        <p:txBody>
          <a:bodyPr/>
          <a:lstStyle>
            <a:lvl1pPr rtl="0">
              <a:defRPr/>
            </a:lvl1pPr>
          </a:lstStyle>
          <a:p>
            <a:endParaRPr lang="nb-NO"/>
          </a:p>
        </p:txBody>
      </p:sp>
      <p:sp>
        <p:nvSpPr>
          <p:cNvPr id="7" name="Plassholder for lysbildenummer 6">
            <a:extLst>
              <a:ext uri="{FF2B5EF4-FFF2-40B4-BE49-F238E27FC236}">
                <a16:creationId xmlns:a16="http://schemas.microsoft.com/office/drawing/2014/main" id="{758A3E54-E7DC-2BA7-EA0A-A82DCF78CD6F}"/>
              </a:ext>
            </a:extLst>
          </p:cNvPr>
          <p:cNvSpPr>
            <a:spLocks noGrp="1"/>
          </p:cNvSpPr>
          <p:nvPr>
            <p:ph type="sldNum" sz="quarter" idx="12"/>
          </p:nvPr>
        </p:nvSpPr>
        <p:spPr/>
        <p:txBody>
          <a:bodyPr/>
          <a:lstStyle>
            <a:lvl1pPr rtl="0">
              <a:defRPr/>
            </a:lvl1pPr>
          </a:lstStyle>
          <a:p>
            <a:fld id="{3619FA8B-D8F3-4445-B7F4-1D4782F394BB}" type="slidenum">
              <a:rPr lang="nb-NO" smtClean="0"/>
              <a:pPr/>
              <a:t>‹#›</a:t>
            </a:fld>
            <a:endParaRPr lang="nb-NO"/>
          </a:p>
        </p:txBody>
      </p:sp>
    </p:spTree>
    <p:extLst>
      <p:ext uri="{BB962C8B-B14F-4D97-AF65-F5344CB8AC3E}">
        <p14:creationId xmlns:p14="http://schemas.microsoft.com/office/powerpoint/2010/main" val="34202208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orside C med bilde">
    <p:bg>
      <p:bgPr>
        <a:solidFill>
          <a:schemeClr val="bg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1029494" y="2120633"/>
            <a:ext cx="4507706" cy="2308324"/>
          </a:xfrm>
        </p:spPr>
        <p:txBody>
          <a:bodyPr anchor="t" anchorCtr="0">
            <a:noAutofit/>
          </a:bodyPr>
          <a:lstStyle>
            <a:lvl1pPr algn="l">
              <a:defRPr sz="5000" spc="-100" baseline="0">
                <a:solidFill>
                  <a:schemeClr val="accent1"/>
                </a:solidFill>
                <a:latin typeface="Brockmann" pitchFamily="50" charset="0"/>
              </a:defRPr>
            </a:lvl1pPr>
          </a:lstStyle>
          <a:p>
            <a:r>
              <a:rPr lang="nb-NO"/>
              <a:t>Klikk for å redigere tittelstil</a:t>
            </a:r>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hasCustomPrompt="1"/>
          </p:nvPr>
        </p:nvSpPr>
        <p:spPr>
          <a:xfrm>
            <a:off x="1029494" y="824705"/>
            <a:ext cx="4684714" cy="384721"/>
          </a:xfrm>
        </p:spPr>
        <p:txBody>
          <a:bodyPr lIns="10800">
            <a:noAutofit/>
          </a:bodyPr>
          <a:lstStyle>
            <a:lvl1pPr marL="0" indent="0" algn="l">
              <a:lnSpc>
                <a:spcPct val="100000"/>
              </a:lnSpc>
              <a:buNone/>
              <a:defRPr sz="125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Dato / sted / Navn</a:t>
            </a:r>
          </a:p>
        </p:txBody>
      </p:sp>
      <p:sp>
        <p:nvSpPr>
          <p:cNvPr id="4" name="Plassholder for dato 3">
            <a:extLst>
              <a:ext uri="{FF2B5EF4-FFF2-40B4-BE49-F238E27FC236}">
                <a16:creationId xmlns:a16="http://schemas.microsoft.com/office/drawing/2014/main" id="{F5B34663-0A6E-97EA-4D81-3C1F5FB5F875}"/>
              </a:ext>
            </a:extLst>
          </p:cNvPr>
          <p:cNvSpPr>
            <a:spLocks noGrp="1"/>
          </p:cNvSpPr>
          <p:nvPr>
            <p:ph type="dt" sz="half" idx="10"/>
          </p:nvPr>
        </p:nvSpPr>
        <p:spPr/>
        <p:txBody>
          <a:bodyPr/>
          <a:lstStyle>
            <a:lvl1pPr>
              <a:defRPr>
                <a:noFill/>
              </a:defRPr>
            </a:lvl1pPr>
          </a:lstStyle>
          <a:p>
            <a:fld id="{231774FF-C529-422C-B5D5-C83A8ED6FE3D}" type="datetime1">
              <a:rPr lang="nb-NO" smtClean="0"/>
              <a:t>13.06.2025</a:t>
            </a:fld>
            <a:endParaRPr lang="nb-NO"/>
          </a:p>
        </p:txBody>
      </p:sp>
      <p:sp>
        <p:nvSpPr>
          <p:cNvPr id="5" name="Plassholder for bunntekst 4">
            <a:extLst>
              <a:ext uri="{FF2B5EF4-FFF2-40B4-BE49-F238E27FC236}">
                <a16:creationId xmlns:a16="http://schemas.microsoft.com/office/drawing/2014/main" id="{B15ED4C0-BFF2-F2FA-A1B9-3F66CF41A966}"/>
              </a:ext>
            </a:extLst>
          </p:cNvPr>
          <p:cNvSpPr>
            <a:spLocks noGrp="1"/>
          </p:cNvSpPr>
          <p:nvPr>
            <p:ph type="ftr" sz="quarter" idx="11"/>
          </p:nvPr>
        </p:nvSpPr>
        <p:spPr/>
        <p:txBody>
          <a:bodyPr/>
          <a:lstStyle>
            <a:lvl1pPr>
              <a:defRPr>
                <a:noFill/>
              </a:defRPr>
            </a:lvl1pPr>
          </a:lstStyle>
          <a:p>
            <a:endParaRPr lang="nb-NO"/>
          </a:p>
        </p:txBody>
      </p:sp>
      <p:sp>
        <p:nvSpPr>
          <p:cNvPr id="6" name="Plassholder for lysbildenummer 5">
            <a:extLst>
              <a:ext uri="{FF2B5EF4-FFF2-40B4-BE49-F238E27FC236}">
                <a16:creationId xmlns:a16="http://schemas.microsoft.com/office/drawing/2014/main" id="{07BC977A-99F0-CB54-A5A3-F8AADB73A0F8}"/>
              </a:ext>
            </a:extLst>
          </p:cNvPr>
          <p:cNvSpPr>
            <a:spLocks noGrp="1"/>
          </p:cNvSpPr>
          <p:nvPr>
            <p:ph type="sldNum" sz="quarter" idx="12"/>
          </p:nvPr>
        </p:nvSpPr>
        <p:spPr/>
        <p:txBody>
          <a:bodyPr/>
          <a:lstStyle>
            <a:lvl1pPr>
              <a:defRPr>
                <a:noFill/>
              </a:defRPr>
            </a:lvl1pPr>
          </a:lstStyle>
          <a:p>
            <a:fld id="{BE2ACD00-28B2-4D17-A930-2C9F8441C7CA}" type="slidenum">
              <a:rPr lang="nb-NO" smtClean="0"/>
              <a:pPr/>
              <a:t>‹#›</a:t>
            </a:fld>
            <a:endParaRPr lang="nb-NO"/>
          </a:p>
        </p:txBody>
      </p:sp>
      <p:pic>
        <p:nvPicPr>
          <p:cNvPr id="14" name="Logo" descr="Novari logo">
            <a:extLst>
              <a:ext uri="{FF2B5EF4-FFF2-40B4-BE49-F238E27FC236}">
                <a16:creationId xmlns:a16="http://schemas.microsoft.com/office/drawing/2014/main" id="{96853129-5723-AD08-EE93-D2216DB708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8228" y="5755162"/>
            <a:ext cx="1393028" cy="284014"/>
          </a:xfrm>
          <a:prstGeom prst="rect">
            <a:avLst/>
          </a:prstGeom>
        </p:spPr>
      </p:pic>
      <p:sp>
        <p:nvSpPr>
          <p:cNvPr id="16" name="Plassholder for bilde 15">
            <a:extLst>
              <a:ext uri="{FF2B5EF4-FFF2-40B4-BE49-F238E27FC236}">
                <a16:creationId xmlns:a16="http://schemas.microsoft.com/office/drawing/2014/main" id="{EC519EB5-08DC-B134-4A1A-B48928CE8CCF}"/>
              </a:ext>
            </a:extLst>
          </p:cNvPr>
          <p:cNvSpPr>
            <a:spLocks noGrp="1"/>
          </p:cNvSpPr>
          <p:nvPr>
            <p:ph type="pic" sz="quarter" idx="14" hasCustomPrompt="1"/>
          </p:nvPr>
        </p:nvSpPr>
        <p:spPr>
          <a:xfrm>
            <a:off x="5707066" y="804190"/>
            <a:ext cx="5976934" cy="5240128"/>
          </a:xfrm>
          <a:custGeom>
            <a:avLst/>
            <a:gdLst>
              <a:gd name="connsiteX0" fmla="*/ 4770250 w 5976934"/>
              <a:gd name="connsiteY0" fmla="*/ 0 h 5240128"/>
              <a:gd name="connsiteX1" fmla="*/ 5976934 w 5976934"/>
              <a:gd name="connsiteY1" fmla="*/ 0 h 5240128"/>
              <a:gd name="connsiteX2" fmla="*/ 5976934 w 5976934"/>
              <a:gd name="connsiteY2" fmla="*/ 5240128 h 5240128"/>
              <a:gd name="connsiteX3" fmla="*/ 2617204 w 5976934"/>
              <a:gd name="connsiteY3" fmla="*/ 5240128 h 5240128"/>
              <a:gd name="connsiteX4" fmla="*/ 0 w 5976934"/>
              <a:gd name="connsiteY4" fmla="*/ 2622923 h 5240128"/>
              <a:gd name="connsiteX5" fmla="*/ 2617204 w 5976934"/>
              <a:gd name="connsiteY5" fmla="*/ 5719 h 5240128"/>
              <a:gd name="connsiteX6" fmla="*/ 4770250 w 5976934"/>
              <a:gd name="connsiteY6" fmla="*/ 5719 h 524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6934" h="5240128">
                <a:moveTo>
                  <a:pt x="4770250" y="0"/>
                </a:moveTo>
                <a:lnTo>
                  <a:pt x="5976934" y="0"/>
                </a:lnTo>
                <a:lnTo>
                  <a:pt x="5976934" y="5240128"/>
                </a:lnTo>
                <a:lnTo>
                  <a:pt x="2617204" y="5240128"/>
                </a:lnTo>
                <a:cubicBezTo>
                  <a:pt x="1171737" y="5240128"/>
                  <a:pt x="0" y="4068391"/>
                  <a:pt x="0" y="2622923"/>
                </a:cubicBezTo>
                <a:cubicBezTo>
                  <a:pt x="0" y="1177456"/>
                  <a:pt x="1171737" y="5719"/>
                  <a:pt x="2617204" y="5719"/>
                </a:cubicBezTo>
                <a:lnTo>
                  <a:pt x="4770250" y="5719"/>
                </a:lnTo>
                <a:close/>
              </a:path>
            </a:pathLst>
          </a:custGeom>
          <a:solidFill>
            <a:srgbClr val="EFD8B8"/>
          </a:solidFill>
        </p:spPr>
        <p:txBody>
          <a:bodyPr wrap="square" anchor="ctr" anchorCtr="1">
            <a:noAutofit/>
          </a:bodyPr>
          <a:lstStyle>
            <a:lvl1pPr marL="0" indent="0">
              <a:buNone/>
              <a:defRPr sz="900">
                <a:solidFill>
                  <a:schemeClr val="tx1">
                    <a:lumMod val="65000"/>
                    <a:lumOff val="35000"/>
                  </a:schemeClr>
                </a:solidFill>
              </a:defRPr>
            </a:lvl1pPr>
          </a:lstStyle>
          <a:p>
            <a:r>
              <a:rPr lang="nb-NO" noProof="0"/>
              <a:t>Klikk på ikonet eller dra inn en bildefil for å legge til et bilde. </a:t>
            </a:r>
            <a:br>
              <a:rPr lang="nb-NO" noProof="0"/>
            </a:br>
            <a:r>
              <a:rPr lang="nb-NO" noProof="0"/>
              <a:t>Juster utsnittet på Bildeformat-fanen &gt; Beskjær.</a:t>
            </a:r>
          </a:p>
        </p:txBody>
      </p:sp>
    </p:spTree>
    <p:extLst>
      <p:ext uri="{BB962C8B-B14F-4D97-AF65-F5344CB8AC3E}">
        <p14:creationId xmlns:p14="http://schemas.microsoft.com/office/powerpoint/2010/main" val="36061140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 2 spalter">
    <p:spTree>
      <p:nvGrpSpPr>
        <p:cNvPr id="1" name=""/>
        <p:cNvGrpSpPr/>
        <p:nvPr/>
      </p:nvGrpSpPr>
      <p:grpSpPr>
        <a:xfrm>
          <a:off x="0" y="0"/>
          <a:ext cx="0" cy="0"/>
          <a:chOff x="0" y="0"/>
          <a:chExt cx="0" cy="0"/>
        </a:xfrm>
      </p:grpSpPr>
      <p:sp>
        <p:nvSpPr>
          <p:cNvPr id="11" name="Plassholder for stikktittel">
            <a:extLst>
              <a:ext uri="{FF2B5EF4-FFF2-40B4-BE49-F238E27FC236}">
                <a16:creationId xmlns:a16="http://schemas.microsoft.com/office/drawing/2014/main" id="{15A2F8A0-2293-031F-328A-6DDCD5CA0235}"/>
              </a:ext>
            </a:extLst>
          </p:cNvPr>
          <p:cNvSpPr>
            <a:spLocks noGrp="1"/>
          </p:cNvSpPr>
          <p:nvPr>
            <p:ph type="body" sz="quarter" idx="13" hasCustomPrompt="1"/>
          </p:nvPr>
        </p:nvSpPr>
        <p:spPr>
          <a:xfrm>
            <a:off x="1033728" y="628603"/>
            <a:ext cx="2657779" cy="245373"/>
          </a:xfrm>
          <a:blipFill>
            <a:blip r:embed="rId2">
              <a:extLst>
                <a:ext uri="{96DAC541-7B7A-43D3-8B79-37D633B846F1}">
                  <asvg:svgBlip xmlns:asvg="http://schemas.microsoft.com/office/drawing/2016/SVG/main" r:embed="rId3"/>
                </a:ext>
              </a:extLst>
            </a:blip>
            <a:stretch>
              <a:fillRect/>
            </a:stretch>
          </a:blipFill>
          <a:ln>
            <a:noFill/>
          </a:ln>
        </p:spPr>
        <p:txBody>
          <a:bodyPr wrap="none" bIns="14400">
            <a:spAutoFit/>
          </a:bodyPr>
          <a:lstStyle>
            <a:lvl1pPr marL="0" indent="0">
              <a:lnSpc>
                <a:spcPct val="100000"/>
              </a:lnSpc>
              <a:buNone/>
              <a:defRPr u="none">
                <a:solidFill>
                  <a:schemeClr val="accent6"/>
                </a:solidFill>
                <a:latin typeface="+mj-lt"/>
              </a:defRPr>
            </a:lvl1pPr>
            <a:lvl2pPr marL="158844" indent="0">
              <a:buNone/>
              <a:defRPr/>
            </a:lvl2pPr>
          </a:lstStyle>
          <a:p>
            <a:pPr lvl="0"/>
            <a:r>
              <a:rPr lang="nb-NO"/>
              <a:t>Klikk for å skrive en stikktittel</a:t>
            </a:r>
          </a:p>
        </p:txBody>
      </p:sp>
      <p:sp>
        <p:nvSpPr>
          <p:cNvPr id="10" name="Tittel 9">
            <a:extLst>
              <a:ext uri="{FF2B5EF4-FFF2-40B4-BE49-F238E27FC236}">
                <a16:creationId xmlns:a16="http://schemas.microsoft.com/office/drawing/2014/main" id="{05EFD675-3312-6318-3B9D-2E9A0C3F9AE6}"/>
              </a:ext>
            </a:extLst>
          </p:cNvPr>
          <p:cNvSpPr>
            <a:spLocks noGrp="1"/>
          </p:cNvSpPr>
          <p:nvPr>
            <p:ph type="title"/>
          </p:nvPr>
        </p:nvSpPr>
        <p:spPr>
          <a:xfrm>
            <a:off x="1029494" y="1467905"/>
            <a:ext cx="10154444" cy="384721"/>
          </a:xfrm>
        </p:spPr>
        <p:txBody>
          <a:bodyPr>
            <a:noAutofit/>
          </a:bodyPr>
          <a:lstStyle/>
          <a:p>
            <a:r>
              <a:rPr lang="nb-NO"/>
              <a:t>Klikk for å redigere tittelstil</a:t>
            </a:r>
          </a:p>
        </p:txBody>
      </p:sp>
      <p:sp>
        <p:nvSpPr>
          <p:cNvPr id="3" name="Plassholder for innhold 2">
            <a:extLst>
              <a:ext uri="{FF2B5EF4-FFF2-40B4-BE49-F238E27FC236}">
                <a16:creationId xmlns:a16="http://schemas.microsoft.com/office/drawing/2014/main" id="{6CF19184-03D4-521C-7CAD-64C3E2B6F059}"/>
              </a:ext>
            </a:extLst>
          </p:cNvPr>
          <p:cNvSpPr>
            <a:spLocks noGrp="1"/>
          </p:cNvSpPr>
          <p:nvPr>
            <p:ph sz="half" idx="1" hasCustomPrompt="1"/>
          </p:nvPr>
        </p:nvSpPr>
        <p:spPr>
          <a:xfrm>
            <a:off x="1029494" y="2092061"/>
            <a:ext cx="4680744" cy="4061619"/>
          </a:xfrm>
        </p:spPr>
        <p:txBody>
          <a:bodyPr/>
          <a:lstStyle>
            <a:lvl1pPr>
              <a:defRPr/>
            </a:lvl1pPr>
          </a:lstStyle>
          <a:p>
            <a:pPr marL="158400" marR="0" lvl="0" indent="-158400" algn="l" defTabSz="914400" rtl="0" eaLnBrk="1" fontAlgn="ctr" latinLnBrk="0" hangingPunct="1">
              <a:lnSpc>
                <a:spcPct val="111000"/>
              </a:lnSpc>
              <a:spcBef>
                <a:spcPts val="0"/>
              </a:spcBef>
              <a:spcAft>
                <a:spcPts val="0"/>
              </a:spcAft>
              <a:buClrTx/>
              <a:buSzPct val="120000"/>
              <a:buFont typeface="Arial" panose="020B0604020202020204" pitchFamily="34" charset="0"/>
              <a:buChar char="•"/>
              <a:tabLst/>
              <a:defRPr/>
            </a:pPr>
            <a:r>
              <a:rPr lang="nb-NO"/>
              <a:t>Malen har flere oppsett. Velg blant dem på Hjem-fanen &gt; nedtrekksmenyen Nytt lysbilde. </a:t>
            </a:r>
            <a:br>
              <a:rPr lang="nb-NO"/>
            </a:br>
            <a:r>
              <a:rPr lang="nb-NO"/>
              <a:t>Bruk innrykksnivå 4 for mellomoverskrift. Endre nivå på Hjem-fanen &gt; Øk/reduser innrykk. Husk å endre neste avsnitt tilbake til nivå 1. </a:t>
            </a:r>
            <a:br>
              <a:rPr lang="nb-NO"/>
            </a:br>
            <a:r>
              <a:rPr lang="nb-NO"/>
              <a:t>Nivå 1-3 er punkter.</a:t>
            </a:r>
            <a:br>
              <a:rPr lang="nb-NO"/>
            </a:br>
            <a:r>
              <a:rPr lang="nb-NO"/>
              <a:t>Slå av/på punkter på Hjem-fanen. </a:t>
            </a:r>
            <a:br>
              <a:rPr lang="nb-NO"/>
            </a:br>
            <a:r>
              <a:rPr lang="nb-NO"/>
              <a:t>Lim inn med valget «Bruk måltema» eller «Bare tekst» for å ikke ta med formatering. Høyreklikk der du vil lime inn for å velge </a:t>
            </a:r>
            <a:r>
              <a:rPr lang="nb-NO" err="1"/>
              <a:t>innlimingsmåte</a:t>
            </a:r>
            <a:r>
              <a:rPr lang="nb-NO"/>
              <a:t>.</a:t>
            </a:r>
          </a:p>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89474F42-5779-F460-8A59-59C2D39397ED}"/>
              </a:ext>
            </a:extLst>
          </p:cNvPr>
          <p:cNvSpPr>
            <a:spLocks noGrp="1"/>
          </p:cNvSpPr>
          <p:nvPr>
            <p:ph sz="half" idx="2"/>
          </p:nvPr>
        </p:nvSpPr>
        <p:spPr>
          <a:xfrm>
            <a:off x="6111717" y="2092061"/>
            <a:ext cx="5050790" cy="4061619"/>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AF9189F2-90EA-8E91-C548-D83149ABBCEB}"/>
              </a:ext>
            </a:extLst>
          </p:cNvPr>
          <p:cNvSpPr>
            <a:spLocks noGrp="1"/>
          </p:cNvSpPr>
          <p:nvPr>
            <p:ph type="dt" sz="half" idx="10"/>
          </p:nvPr>
        </p:nvSpPr>
        <p:spPr/>
        <p:txBody>
          <a:bodyPr/>
          <a:lstStyle/>
          <a:p>
            <a:fld id="{51C22AB3-3BE9-498A-AA18-4E8BEF4D8768}" type="datetime1">
              <a:rPr lang="nb-NO" smtClean="0"/>
              <a:t>13.06.2025</a:t>
            </a:fld>
            <a:endParaRPr lang="nb-NO"/>
          </a:p>
        </p:txBody>
      </p:sp>
      <p:sp>
        <p:nvSpPr>
          <p:cNvPr id="6" name="Plassholder for bunntekst 5">
            <a:extLst>
              <a:ext uri="{FF2B5EF4-FFF2-40B4-BE49-F238E27FC236}">
                <a16:creationId xmlns:a16="http://schemas.microsoft.com/office/drawing/2014/main" id="{260C1620-A883-B651-8150-B415FC34F17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3DC0A9E3-377C-16F0-9402-9273CFB90EE4}"/>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13865623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8" name="Plassholder for stikktittel">
            <a:extLst>
              <a:ext uri="{FF2B5EF4-FFF2-40B4-BE49-F238E27FC236}">
                <a16:creationId xmlns:a16="http://schemas.microsoft.com/office/drawing/2014/main" id="{142D01C3-EABD-FCC9-A82F-27F2F089B384}"/>
              </a:ext>
            </a:extLst>
          </p:cNvPr>
          <p:cNvSpPr>
            <a:spLocks noGrp="1"/>
          </p:cNvSpPr>
          <p:nvPr>
            <p:ph type="body" sz="quarter" idx="13" hasCustomPrompt="1"/>
          </p:nvPr>
        </p:nvSpPr>
        <p:spPr>
          <a:xfrm>
            <a:off x="1033728" y="628603"/>
            <a:ext cx="2657779" cy="245373"/>
          </a:xfrm>
          <a:blipFill>
            <a:blip r:embed="rId2">
              <a:extLst>
                <a:ext uri="{96DAC541-7B7A-43D3-8B79-37D633B846F1}">
                  <asvg:svgBlip xmlns:asvg="http://schemas.microsoft.com/office/drawing/2016/SVG/main" r:embed="rId3"/>
                </a:ext>
              </a:extLst>
            </a:blip>
            <a:stretch>
              <a:fillRect/>
            </a:stretch>
          </a:blipFill>
          <a:ln>
            <a:noFill/>
          </a:ln>
        </p:spPr>
        <p:txBody>
          <a:bodyPr wrap="none" bIns="14400">
            <a:spAutoFit/>
          </a:bodyPr>
          <a:lstStyle>
            <a:lvl1pPr marL="0" indent="0">
              <a:lnSpc>
                <a:spcPct val="100000"/>
              </a:lnSpc>
              <a:buNone/>
              <a:defRPr u="none">
                <a:solidFill>
                  <a:schemeClr val="accent6"/>
                </a:solidFill>
                <a:latin typeface="+mj-lt"/>
              </a:defRPr>
            </a:lvl1pPr>
            <a:lvl2pPr marL="158844" indent="0">
              <a:buNone/>
              <a:defRPr/>
            </a:lvl2pPr>
          </a:lstStyle>
          <a:p>
            <a:pPr lvl="0"/>
            <a:r>
              <a:rPr lang="nb-NO"/>
              <a:t>Klikk for å skrive en stikktittel</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5BC57CC4-9AB8-435D-B741-AC599CA3F2EB}" type="datetime1">
              <a:rPr lang="nb-NO" smtClean="0"/>
              <a:t>13.06.2025</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
        <p:nvSpPr>
          <p:cNvPr id="9" name="Tittel 8">
            <a:extLst>
              <a:ext uri="{FF2B5EF4-FFF2-40B4-BE49-F238E27FC236}">
                <a16:creationId xmlns:a16="http://schemas.microsoft.com/office/drawing/2014/main" id="{B3C50FE8-24F0-98E7-C5E8-AC7D10681B37}"/>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40091568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 + bilde stående">
    <p:spTree>
      <p:nvGrpSpPr>
        <p:cNvPr id="1" name=""/>
        <p:cNvGrpSpPr/>
        <p:nvPr/>
      </p:nvGrpSpPr>
      <p:grpSpPr>
        <a:xfrm>
          <a:off x="0" y="0"/>
          <a:ext cx="0" cy="0"/>
          <a:chOff x="0" y="0"/>
          <a:chExt cx="0" cy="0"/>
        </a:xfrm>
      </p:grpSpPr>
      <p:sp>
        <p:nvSpPr>
          <p:cNvPr id="8" name="Plassholder for stikktittel">
            <a:extLst>
              <a:ext uri="{FF2B5EF4-FFF2-40B4-BE49-F238E27FC236}">
                <a16:creationId xmlns:a16="http://schemas.microsoft.com/office/drawing/2014/main" id="{DC234315-2208-AE95-0EC8-045714E434F2}"/>
              </a:ext>
            </a:extLst>
          </p:cNvPr>
          <p:cNvSpPr>
            <a:spLocks noGrp="1"/>
          </p:cNvSpPr>
          <p:nvPr>
            <p:ph type="body" sz="quarter" idx="13" hasCustomPrompt="1"/>
          </p:nvPr>
        </p:nvSpPr>
        <p:spPr>
          <a:xfrm>
            <a:off x="1033728" y="628603"/>
            <a:ext cx="2657779" cy="245373"/>
          </a:xfrm>
          <a:blipFill>
            <a:blip r:embed="rId2">
              <a:extLst>
                <a:ext uri="{96DAC541-7B7A-43D3-8B79-37D633B846F1}">
                  <asvg:svgBlip xmlns:asvg="http://schemas.microsoft.com/office/drawing/2016/SVG/main" r:embed="rId3"/>
                </a:ext>
              </a:extLst>
            </a:blip>
            <a:stretch>
              <a:fillRect/>
            </a:stretch>
          </a:blipFill>
          <a:ln>
            <a:noFill/>
          </a:ln>
        </p:spPr>
        <p:txBody>
          <a:bodyPr wrap="none" bIns="14400">
            <a:spAutoFit/>
          </a:bodyPr>
          <a:lstStyle>
            <a:lvl1pPr marL="0" indent="0">
              <a:lnSpc>
                <a:spcPct val="100000"/>
              </a:lnSpc>
              <a:buNone/>
              <a:defRPr u="none">
                <a:solidFill>
                  <a:schemeClr val="accent6"/>
                </a:solidFill>
                <a:latin typeface="+mj-lt"/>
              </a:defRPr>
            </a:lvl1pPr>
            <a:lvl2pPr marL="158844" indent="0">
              <a:buNone/>
              <a:defRPr/>
            </a:lvl2pPr>
          </a:lstStyle>
          <a:p>
            <a:pPr lvl="0"/>
            <a:r>
              <a:rPr lang="nb-NO"/>
              <a:t>Klikk for å skrive en stikktittel</a:t>
            </a:r>
          </a:p>
        </p:txBody>
      </p:sp>
      <p:sp>
        <p:nvSpPr>
          <p:cNvPr id="12" name="Tittel 11">
            <a:extLst>
              <a:ext uri="{FF2B5EF4-FFF2-40B4-BE49-F238E27FC236}">
                <a16:creationId xmlns:a16="http://schemas.microsoft.com/office/drawing/2014/main" id="{83D12C3A-2AF0-5C40-7DE6-D811E088AB3D}"/>
              </a:ext>
            </a:extLst>
          </p:cNvPr>
          <p:cNvSpPr>
            <a:spLocks noGrp="1"/>
          </p:cNvSpPr>
          <p:nvPr>
            <p:ph type="title"/>
          </p:nvPr>
        </p:nvSpPr>
        <p:spPr>
          <a:xfrm>
            <a:off x="1029494" y="1467905"/>
            <a:ext cx="4680744" cy="769442"/>
          </a:xfrm>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hasCustomPrompt="1"/>
          </p:nvPr>
        </p:nvSpPr>
        <p:spPr>
          <a:xfrm>
            <a:off x="1029494" y="2743200"/>
            <a:ext cx="4680744" cy="3294856"/>
          </a:xfrm>
        </p:spPr>
        <p:txBody>
          <a:bodyPr/>
          <a:lstStyle>
            <a:lvl1pPr>
              <a:defRPr/>
            </a:lvl1pPr>
          </a:lstStyle>
          <a:p>
            <a:pPr lvl="0"/>
            <a:r>
              <a:rPr lang="nb-NO"/>
              <a:t>Bruk innrykksnivå 4 for mellomoverskrift. Endre nivå på Hjem-fanen &gt; Øk/reduser innrykk. Husk å endre neste avsnitt tilbake til nivå 1. </a:t>
            </a:r>
            <a:br>
              <a:rPr lang="nb-NO"/>
            </a:br>
            <a:r>
              <a:rPr lang="nb-NO"/>
              <a:t>Slå av/på punkter på Hjem-fanen. </a:t>
            </a:r>
          </a:p>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bilde 10">
            <a:extLst>
              <a:ext uri="{FF2B5EF4-FFF2-40B4-BE49-F238E27FC236}">
                <a16:creationId xmlns:a16="http://schemas.microsoft.com/office/drawing/2014/main" id="{1F3F19F3-EB1A-4AE6-CB5D-3438269CB80C}"/>
              </a:ext>
            </a:extLst>
          </p:cNvPr>
          <p:cNvSpPr>
            <a:spLocks noGrp="1"/>
          </p:cNvSpPr>
          <p:nvPr>
            <p:ph type="pic" sz="quarter" idx="14" hasCustomPrompt="1"/>
          </p:nvPr>
        </p:nvSpPr>
        <p:spPr>
          <a:xfrm>
            <a:off x="7348538" y="812800"/>
            <a:ext cx="3835399" cy="5228431"/>
          </a:xfrm>
        </p:spPr>
        <p:txBody>
          <a:bodyPr anchor="t" anchorCtr="1"/>
          <a:lstStyle>
            <a:lvl1pPr marL="0" indent="0">
              <a:buNone/>
              <a:defRPr sz="900">
                <a:solidFill>
                  <a:schemeClr val="tx1">
                    <a:lumMod val="65000"/>
                    <a:lumOff val="35000"/>
                  </a:schemeClr>
                </a:solidFill>
              </a:defRPr>
            </a:lvl1pPr>
          </a:lstStyle>
          <a:p>
            <a:r>
              <a:rPr lang="nb-NO" noProof="0"/>
              <a:t>Klikk på ikonet eller dra inn en bildefil for å legge til et bilde. </a:t>
            </a:r>
            <a:br>
              <a:rPr lang="nb-NO" noProof="0"/>
            </a:br>
            <a:r>
              <a:rPr lang="nb-NO" noProof="0"/>
              <a:t>Juster utsnittet på Bildeformat-fanen &gt; Beskjær.</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7E887A5A-E316-46F2-8F80-073F79625812}" type="datetime1">
              <a:rPr lang="nb-NO" smtClean="0"/>
              <a:t>13.06.2025</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20739004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 bilde liggende">
    <p:spTree>
      <p:nvGrpSpPr>
        <p:cNvPr id="1" name=""/>
        <p:cNvGrpSpPr/>
        <p:nvPr/>
      </p:nvGrpSpPr>
      <p:grpSpPr>
        <a:xfrm>
          <a:off x="0" y="0"/>
          <a:ext cx="0" cy="0"/>
          <a:chOff x="0" y="0"/>
          <a:chExt cx="0" cy="0"/>
        </a:xfrm>
      </p:grpSpPr>
      <p:sp>
        <p:nvSpPr>
          <p:cNvPr id="8" name="Plassholder for stikktittel">
            <a:extLst>
              <a:ext uri="{FF2B5EF4-FFF2-40B4-BE49-F238E27FC236}">
                <a16:creationId xmlns:a16="http://schemas.microsoft.com/office/drawing/2014/main" id="{CBCE14DC-B61D-8319-4AF9-488A7035884B}"/>
              </a:ext>
            </a:extLst>
          </p:cNvPr>
          <p:cNvSpPr>
            <a:spLocks noGrp="1"/>
          </p:cNvSpPr>
          <p:nvPr>
            <p:ph type="body" sz="quarter" idx="13" hasCustomPrompt="1"/>
          </p:nvPr>
        </p:nvSpPr>
        <p:spPr>
          <a:xfrm>
            <a:off x="1033200" y="630000"/>
            <a:ext cx="2657779" cy="245373"/>
          </a:xfrm>
          <a:blipFill>
            <a:blip r:embed="rId2">
              <a:extLst>
                <a:ext uri="{96DAC541-7B7A-43D3-8B79-37D633B846F1}">
                  <asvg:svgBlip xmlns:asvg="http://schemas.microsoft.com/office/drawing/2016/SVG/main" r:embed="rId3"/>
                </a:ext>
              </a:extLst>
            </a:blip>
            <a:stretch>
              <a:fillRect/>
            </a:stretch>
          </a:blipFill>
          <a:ln>
            <a:noFill/>
          </a:ln>
        </p:spPr>
        <p:txBody>
          <a:bodyPr wrap="none" bIns="14400">
            <a:spAutoFit/>
          </a:bodyPr>
          <a:lstStyle>
            <a:lvl1pPr marL="0" indent="0">
              <a:lnSpc>
                <a:spcPct val="100000"/>
              </a:lnSpc>
              <a:buNone/>
              <a:defRPr u="none">
                <a:solidFill>
                  <a:schemeClr val="accent6"/>
                </a:solidFill>
                <a:latin typeface="+mj-lt"/>
              </a:defRPr>
            </a:lvl1pPr>
            <a:lvl2pPr marL="158844" indent="0">
              <a:buNone/>
              <a:defRPr/>
            </a:lvl2pPr>
          </a:lstStyle>
          <a:p>
            <a:pPr lvl="0"/>
            <a:r>
              <a:rPr lang="nb-NO"/>
              <a:t>Klikk for å skrive en stikktittel</a:t>
            </a:r>
          </a:p>
        </p:txBody>
      </p:sp>
      <p:sp>
        <p:nvSpPr>
          <p:cNvPr id="9" name="Tittel 8">
            <a:extLst>
              <a:ext uri="{FF2B5EF4-FFF2-40B4-BE49-F238E27FC236}">
                <a16:creationId xmlns:a16="http://schemas.microsoft.com/office/drawing/2014/main" id="{0F806849-66A4-92CF-4776-8D23A1EA0E00}"/>
              </a:ext>
            </a:extLst>
          </p:cNvPr>
          <p:cNvSpPr>
            <a:spLocks noGrp="1"/>
          </p:cNvSpPr>
          <p:nvPr>
            <p:ph type="title"/>
          </p:nvPr>
        </p:nvSpPr>
        <p:spPr>
          <a:xfrm>
            <a:off x="1029494" y="1467905"/>
            <a:ext cx="4680744" cy="769442"/>
          </a:xfrm>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hasCustomPrompt="1"/>
          </p:nvPr>
        </p:nvSpPr>
        <p:spPr>
          <a:xfrm>
            <a:off x="1029494" y="2743200"/>
            <a:ext cx="4680744" cy="3294856"/>
          </a:xfrm>
        </p:spPr>
        <p:txBody>
          <a:bodyPr/>
          <a:lstStyle>
            <a:lvl1pPr>
              <a:defRPr/>
            </a:lvl1pPr>
          </a:lstStyle>
          <a:p>
            <a:pPr lvl="0"/>
            <a:r>
              <a:rPr lang="nb-NO"/>
              <a:t>Bruk innrykksnivå 4 for mellomoverskrift. Endre nivå på Hjem-fanen &gt; Øk/reduser innrykk. Husk å endre neste avsnitt tilbake til nivå 1. </a:t>
            </a:r>
            <a:br>
              <a:rPr lang="nb-NO"/>
            </a:br>
            <a:r>
              <a:rPr lang="nb-NO"/>
              <a:t>Slå av/på punkter på Hjem-fanen. </a:t>
            </a:r>
          </a:p>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bilde 10">
            <a:extLst>
              <a:ext uri="{FF2B5EF4-FFF2-40B4-BE49-F238E27FC236}">
                <a16:creationId xmlns:a16="http://schemas.microsoft.com/office/drawing/2014/main" id="{1F3F19F3-EB1A-4AE6-CB5D-3438269CB80C}"/>
              </a:ext>
            </a:extLst>
          </p:cNvPr>
          <p:cNvSpPr>
            <a:spLocks noGrp="1"/>
          </p:cNvSpPr>
          <p:nvPr>
            <p:ph type="pic" sz="quarter" idx="14" hasCustomPrompt="1"/>
          </p:nvPr>
        </p:nvSpPr>
        <p:spPr>
          <a:xfrm>
            <a:off x="6074569" y="1467905"/>
            <a:ext cx="5087937" cy="3738298"/>
          </a:xfrm>
        </p:spPr>
        <p:txBody>
          <a:bodyPr anchor="t" anchorCtr="1"/>
          <a:lstStyle>
            <a:lvl1pPr marL="0" indent="0">
              <a:buNone/>
              <a:defRPr sz="900">
                <a:solidFill>
                  <a:schemeClr val="tx1">
                    <a:lumMod val="65000"/>
                    <a:lumOff val="35000"/>
                  </a:schemeClr>
                </a:solidFill>
              </a:defRPr>
            </a:lvl1pPr>
          </a:lstStyle>
          <a:p>
            <a:r>
              <a:rPr lang="nb-NO" noProof="0"/>
              <a:t>Klikk på ikonet eller dra inn en bildefil for å legge til et bilde. </a:t>
            </a:r>
            <a:br>
              <a:rPr lang="nb-NO" noProof="0"/>
            </a:br>
            <a:r>
              <a:rPr lang="nb-NO" noProof="0"/>
              <a:t>Juster utsnittet på Bildeformat-fanen &gt; Beskjær.</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6B623414-DC26-4411-872F-B01275FEDAB6}" type="datetime1">
              <a:rPr lang="nb-NO" smtClean="0"/>
              <a:t>13.06.2025</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8472084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10" name="Plassholder for stikktittel">
            <a:extLst>
              <a:ext uri="{FF2B5EF4-FFF2-40B4-BE49-F238E27FC236}">
                <a16:creationId xmlns:a16="http://schemas.microsoft.com/office/drawing/2014/main" id="{CC61A77B-4AB2-F5E7-B45E-720959B78900}"/>
              </a:ext>
            </a:extLst>
          </p:cNvPr>
          <p:cNvSpPr>
            <a:spLocks noGrp="1"/>
          </p:cNvSpPr>
          <p:nvPr>
            <p:ph type="body" sz="quarter" idx="13" hasCustomPrompt="1"/>
          </p:nvPr>
        </p:nvSpPr>
        <p:spPr>
          <a:xfrm>
            <a:off x="1033200" y="630000"/>
            <a:ext cx="2657779" cy="245373"/>
          </a:xfrm>
          <a:blipFill>
            <a:blip r:embed="rId2">
              <a:extLst>
                <a:ext uri="{96DAC541-7B7A-43D3-8B79-37D633B846F1}">
                  <asvg:svgBlip xmlns:asvg="http://schemas.microsoft.com/office/drawing/2016/SVG/main" r:embed="rId3"/>
                </a:ext>
              </a:extLst>
            </a:blip>
            <a:stretch>
              <a:fillRect/>
            </a:stretch>
          </a:blipFill>
          <a:ln>
            <a:noFill/>
          </a:ln>
        </p:spPr>
        <p:txBody>
          <a:bodyPr wrap="none" bIns="14400">
            <a:spAutoFit/>
          </a:bodyPr>
          <a:lstStyle>
            <a:lvl1pPr marL="0" indent="0">
              <a:lnSpc>
                <a:spcPct val="100000"/>
              </a:lnSpc>
              <a:buNone/>
              <a:defRPr u="none">
                <a:solidFill>
                  <a:schemeClr val="accent6"/>
                </a:solidFill>
                <a:latin typeface="+mj-lt"/>
              </a:defRPr>
            </a:lvl1pPr>
            <a:lvl2pPr marL="158844" indent="0">
              <a:buNone/>
              <a:defRPr/>
            </a:lvl2pPr>
          </a:lstStyle>
          <a:p>
            <a:pPr lvl="0"/>
            <a:r>
              <a:rPr lang="nb-NO"/>
              <a:t>Klikk for å skrive en stikktittel</a:t>
            </a:r>
          </a:p>
        </p:txBody>
      </p:sp>
      <p:sp>
        <p:nvSpPr>
          <p:cNvPr id="7" name="Tittel 6">
            <a:extLst>
              <a:ext uri="{FF2B5EF4-FFF2-40B4-BE49-F238E27FC236}">
                <a16:creationId xmlns:a16="http://schemas.microsoft.com/office/drawing/2014/main" id="{A36B86C0-808C-9A75-6310-C1FAA6D245A3}"/>
              </a:ext>
            </a:extLst>
          </p:cNvPr>
          <p:cNvSpPr>
            <a:spLocks noGrp="1"/>
          </p:cNvSpPr>
          <p:nvPr>
            <p:ph type="title"/>
          </p:nvPr>
        </p:nvSpPr>
        <p:spPr>
          <a:xfrm>
            <a:off x="1029494" y="1467905"/>
            <a:ext cx="4680744" cy="769442"/>
          </a:xfrm>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hasCustomPrompt="1"/>
          </p:nvPr>
        </p:nvSpPr>
        <p:spPr>
          <a:xfrm>
            <a:off x="1029494" y="2743200"/>
            <a:ext cx="4680744" cy="3294856"/>
          </a:xfrm>
        </p:spPr>
        <p:txBody>
          <a:bodyPr/>
          <a:lstStyle>
            <a:lvl1pPr>
              <a:defRPr/>
            </a:lvl1pPr>
          </a:lstStyle>
          <a:p>
            <a:pPr lvl="0"/>
            <a:r>
              <a:rPr lang="nb-NO"/>
              <a:t>Bruk innrykksnivå 4 for mellomoverskrift. Endre nivå på Hjem-fanen &gt; Øk/reduser innrykk. Husk å endre neste avsnitt tilbake til nivå 1. </a:t>
            </a:r>
            <a:br>
              <a:rPr lang="nb-NO"/>
            </a:br>
            <a:r>
              <a:rPr lang="nb-NO"/>
              <a:t>Slå av/på punkter på Hjem-fanen. </a:t>
            </a:r>
          </a:p>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Bakgrunn">
            <a:extLst>
              <a:ext uri="{FF2B5EF4-FFF2-40B4-BE49-F238E27FC236}">
                <a16:creationId xmlns:a16="http://schemas.microsoft.com/office/drawing/2014/main" id="{0C0D122D-EAB9-FBDA-DA5E-F3CB2CD84052}"/>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13" name="Plassholder for diagram 12">
            <a:extLst>
              <a:ext uri="{FF2B5EF4-FFF2-40B4-BE49-F238E27FC236}">
                <a16:creationId xmlns:a16="http://schemas.microsoft.com/office/drawing/2014/main" id="{93D23D4A-D64E-2C76-3608-F840BE36939F}"/>
              </a:ext>
            </a:extLst>
          </p:cNvPr>
          <p:cNvSpPr>
            <a:spLocks noGrp="1"/>
          </p:cNvSpPr>
          <p:nvPr>
            <p:ph type="chart" sz="quarter" idx="14"/>
          </p:nvPr>
        </p:nvSpPr>
        <p:spPr>
          <a:xfrm>
            <a:off x="6915752" y="2115344"/>
            <a:ext cx="4268186" cy="3303588"/>
          </a:xfrm>
        </p:spPr>
        <p:txBody>
          <a:bodyPr anchor="t" anchorCtr="1"/>
          <a:lstStyle>
            <a:lvl1pPr marL="0" indent="0">
              <a:buNone/>
              <a:defRPr sz="900">
                <a:solidFill>
                  <a:schemeClr val="tx1">
                    <a:lumMod val="65000"/>
                    <a:lumOff val="35000"/>
                  </a:schemeClr>
                </a:solidFill>
              </a:defRPr>
            </a:lvl1pPr>
          </a:lstStyle>
          <a:p>
            <a:r>
              <a:rPr lang="nb-NO"/>
              <a:t>Klikk ikonet for å legge til et diagram</a:t>
            </a:r>
          </a:p>
        </p:txBody>
      </p:sp>
      <p:sp>
        <p:nvSpPr>
          <p:cNvPr id="15" name="Plassholder for tekst 14">
            <a:extLst>
              <a:ext uri="{FF2B5EF4-FFF2-40B4-BE49-F238E27FC236}">
                <a16:creationId xmlns:a16="http://schemas.microsoft.com/office/drawing/2014/main" id="{C7296503-CD82-6E88-47F8-97AFC6D99E69}"/>
              </a:ext>
            </a:extLst>
          </p:cNvPr>
          <p:cNvSpPr>
            <a:spLocks noGrp="1"/>
          </p:cNvSpPr>
          <p:nvPr>
            <p:ph type="body" sz="quarter" idx="15" hasCustomPrompt="1"/>
          </p:nvPr>
        </p:nvSpPr>
        <p:spPr>
          <a:xfrm>
            <a:off x="6915752" y="5641975"/>
            <a:ext cx="4268186" cy="307456"/>
          </a:xfrm>
        </p:spPr>
        <p:txBody>
          <a:bodyPr>
            <a:noAutofit/>
          </a:bodyPr>
          <a:lstStyle>
            <a:lvl1pPr marL="0" indent="0">
              <a:buNone/>
              <a:defRPr sz="900">
                <a:solidFill>
                  <a:schemeClr val="accent1"/>
                </a:solidFill>
              </a:defRPr>
            </a:lvl1pPr>
            <a:lvl2pPr marL="158844" indent="0">
              <a:buNone/>
              <a:defRPr/>
            </a:lvl2pPr>
          </a:lstStyle>
          <a:p>
            <a:pPr lvl="0"/>
            <a:r>
              <a:rPr lang="nb-NO"/>
              <a:t>Klikk for å legge til bildeteks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6D272568-1C7F-4C1A-85E1-3210D465D2A7}" type="datetime1">
              <a:rPr lang="nb-NO" smtClean="0"/>
              <a:t>13.06.2025</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40422536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ell / graf">
    <p:spTree>
      <p:nvGrpSpPr>
        <p:cNvPr id="1" name=""/>
        <p:cNvGrpSpPr/>
        <p:nvPr/>
      </p:nvGrpSpPr>
      <p:grpSpPr>
        <a:xfrm>
          <a:off x="0" y="0"/>
          <a:ext cx="0" cy="0"/>
          <a:chOff x="0" y="0"/>
          <a:chExt cx="0" cy="0"/>
        </a:xfrm>
      </p:grpSpPr>
      <p:sp>
        <p:nvSpPr>
          <p:cNvPr id="9" name="Plassholder for stikktittel">
            <a:extLst>
              <a:ext uri="{FF2B5EF4-FFF2-40B4-BE49-F238E27FC236}">
                <a16:creationId xmlns:a16="http://schemas.microsoft.com/office/drawing/2014/main" id="{7D5DC927-95E0-4587-D841-89659D61395A}"/>
              </a:ext>
            </a:extLst>
          </p:cNvPr>
          <p:cNvSpPr>
            <a:spLocks noGrp="1"/>
          </p:cNvSpPr>
          <p:nvPr>
            <p:ph type="body" sz="quarter" idx="13" hasCustomPrompt="1"/>
          </p:nvPr>
        </p:nvSpPr>
        <p:spPr>
          <a:xfrm>
            <a:off x="1033200" y="630000"/>
            <a:ext cx="2657779" cy="245373"/>
          </a:xfrm>
          <a:blipFill>
            <a:blip r:embed="rId2">
              <a:extLst>
                <a:ext uri="{96DAC541-7B7A-43D3-8B79-37D633B846F1}">
                  <asvg:svgBlip xmlns:asvg="http://schemas.microsoft.com/office/drawing/2016/SVG/main" r:embed="rId3"/>
                </a:ext>
              </a:extLst>
            </a:blip>
            <a:stretch>
              <a:fillRect/>
            </a:stretch>
          </a:blipFill>
          <a:ln>
            <a:noFill/>
          </a:ln>
        </p:spPr>
        <p:txBody>
          <a:bodyPr wrap="none" bIns="14400">
            <a:spAutoFit/>
          </a:bodyPr>
          <a:lstStyle>
            <a:lvl1pPr marL="0" indent="0">
              <a:lnSpc>
                <a:spcPct val="100000"/>
              </a:lnSpc>
              <a:buNone/>
              <a:defRPr u="none">
                <a:solidFill>
                  <a:schemeClr val="accent6"/>
                </a:solidFill>
                <a:latin typeface="+mj-lt"/>
              </a:defRPr>
            </a:lvl1pPr>
            <a:lvl2pPr marL="158844" indent="0">
              <a:buNone/>
              <a:defRPr/>
            </a:lvl2pPr>
          </a:lstStyle>
          <a:p>
            <a:pPr lvl="0"/>
            <a:r>
              <a:rPr lang="nb-NO"/>
              <a:t>Klikk for å skrive en stikktittel</a:t>
            </a:r>
          </a:p>
        </p:txBody>
      </p:sp>
      <p:sp>
        <p:nvSpPr>
          <p:cNvPr id="10" name="Tittel 6">
            <a:extLst>
              <a:ext uri="{FF2B5EF4-FFF2-40B4-BE49-F238E27FC236}">
                <a16:creationId xmlns:a16="http://schemas.microsoft.com/office/drawing/2014/main" id="{CCB95129-D0BB-DEBD-6D87-FB2A96A1CEF0}"/>
              </a:ext>
            </a:extLst>
          </p:cNvPr>
          <p:cNvSpPr>
            <a:spLocks noGrp="1"/>
          </p:cNvSpPr>
          <p:nvPr>
            <p:ph type="title"/>
          </p:nvPr>
        </p:nvSpPr>
        <p:spPr>
          <a:xfrm>
            <a:off x="1029494" y="1467905"/>
            <a:ext cx="4680744" cy="769442"/>
          </a:xfrm>
        </p:spPr>
        <p:txBody>
          <a:bodyPr/>
          <a:lstStyle/>
          <a:p>
            <a:r>
              <a:rPr lang="nb-NO"/>
              <a:t>Klikk for å redigere tittelstil</a:t>
            </a:r>
          </a:p>
        </p:txBody>
      </p:sp>
      <p:sp>
        <p:nvSpPr>
          <p:cNvPr id="11" name="Plassholder for innhold 2">
            <a:extLst>
              <a:ext uri="{FF2B5EF4-FFF2-40B4-BE49-F238E27FC236}">
                <a16:creationId xmlns:a16="http://schemas.microsoft.com/office/drawing/2014/main" id="{6FA2901E-EA97-0EA7-34C4-2971F6159288}"/>
              </a:ext>
            </a:extLst>
          </p:cNvPr>
          <p:cNvSpPr>
            <a:spLocks noGrp="1"/>
          </p:cNvSpPr>
          <p:nvPr>
            <p:ph idx="1" hasCustomPrompt="1"/>
          </p:nvPr>
        </p:nvSpPr>
        <p:spPr>
          <a:xfrm>
            <a:off x="1029494" y="2743200"/>
            <a:ext cx="4680744" cy="3294856"/>
          </a:xfrm>
        </p:spPr>
        <p:txBody>
          <a:bodyPr/>
          <a:lstStyle>
            <a:lvl1pPr>
              <a:defRPr/>
            </a:lvl1pPr>
          </a:lstStyle>
          <a:p>
            <a:pPr lvl="0"/>
            <a:r>
              <a:rPr lang="nb-NO"/>
              <a:t>Bruk innrykksnivå 4 for mellomoverskrift. Endre nivå på Hjem-fanen &gt; Øk/reduser innrykk. Husk å endre neste avsnitt tilbake til nivå 1. </a:t>
            </a:r>
            <a:br>
              <a:rPr lang="nb-NO"/>
            </a:br>
            <a:r>
              <a:rPr lang="nb-NO"/>
              <a:t>Slå av/på punkter på Hjem-fanen. </a:t>
            </a:r>
          </a:p>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Bakgrunn">
            <a:extLst>
              <a:ext uri="{FF2B5EF4-FFF2-40B4-BE49-F238E27FC236}">
                <a16:creationId xmlns:a16="http://schemas.microsoft.com/office/drawing/2014/main" id="{0C0D122D-EAB9-FBDA-DA5E-F3CB2CD84052}"/>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12" name="Plassholder for innhold 11">
            <a:extLst>
              <a:ext uri="{FF2B5EF4-FFF2-40B4-BE49-F238E27FC236}">
                <a16:creationId xmlns:a16="http://schemas.microsoft.com/office/drawing/2014/main" id="{7545EDA6-1C04-1340-204F-A03868A7696F}"/>
              </a:ext>
            </a:extLst>
          </p:cNvPr>
          <p:cNvSpPr>
            <a:spLocks noGrp="1"/>
          </p:cNvSpPr>
          <p:nvPr>
            <p:ph sz="quarter" idx="16" hasCustomPrompt="1"/>
          </p:nvPr>
        </p:nvSpPr>
        <p:spPr>
          <a:xfrm>
            <a:off x="6481763" y="2115344"/>
            <a:ext cx="5201444" cy="2618346"/>
          </a:xfrm>
        </p:spPr>
        <p:txBody>
          <a:bodyPr anchor="t" anchorCtr="1"/>
          <a:lstStyle>
            <a:lvl1pPr marL="0" indent="0">
              <a:buNone/>
              <a:defRPr sz="900">
                <a:solidFill>
                  <a:schemeClr val="tx1">
                    <a:lumMod val="75000"/>
                    <a:lumOff val="25000"/>
                  </a:schemeClr>
                </a:solidFill>
              </a:defRPr>
            </a:lvl1pPr>
          </a:lstStyle>
          <a:p>
            <a:pPr lvl="0"/>
            <a:r>
              <a:rPr lang="nb-NO"/>
              <a:t>Klikk på et ikon for å legge til en tabell eller en graf</a:t>
            </a:r>
          </a:p>
        </p:txBody>
      </p:sp>
      <p:sp>
        <p:nvSpPr>
          <p:cNvPr id="15" name="Plassholder for tekst 14">
            <a:extLst>
              <a:ext uri="{FF2B5EF4-FFF2-40B4-BE49-F238E27FC236}">
                <a16:creationId xmlns:a16="http://schemas.microsoft.com/office/drawing/2014/main" id="{C7296503-CD82-6E88-47F8-97AFC6D99E69}"/>
              </a:ext>
            </a:extLst>
          </p:cNvPr>
          <p:cNvSpPr>
            <a:spLocks noGrp="1"/>
          </p:cNvSpPr>
          <p:nvPr>
            <p:ph type="body" sz="quarter" idx="15" hasCustomPrompt="1"/>
          </p:nvPr>
        </p:nvSpPr>
        <p:spPr>
          <a:xfrm>
            <a:off x="6481762" y="4904908"/>
            <a:ext cx="4266599" cy="307456"/>
          </a:xfrm>
        </p:spPr>
        <p:txBody>
          <a:bodyPr>
            <a:noAutofit/>
          </a:bodyPr>
          <a:lstStyle>
            <a:lvl1pPr marL="0" indent="0">
              <a:buNone/>
              <a:defRPr sz="900">
                <a:solidFill>
                  <a:schemeClr val="tx2"/>
                </a:solidFill>
              </a:defRPr>
            </a:lvl1pPr>
            <a:lvl2pPr marL="158844" indent="0">
              <a:buNone/>
              <a:defRPr/>
            </a:lvl2pPr>
          </a:lstStyle>
          <a:p>
            <a:pPr lvl="0"/>
            <a:r>
              <a:rPr lang="nb-NO"/>
              <a:t>Klikk for å legge til bildetekst</a:t>
            </a:r>
          </a:p>
        </p:txBody>
      </p:sp>
      <p:sp>
        <p:nvSpPr>
          <p:cNvPr id="4" name="Plassholder for dato 3">
            <a:extLst>
              <a:ext uri="{FF2B5EF4-FFF2-40B4-BE49-F238E27FC236}">
                <a16:creationId xmlns:a16="http://schemas.microsoft.com/office/drawing/2014/main" id="{266560E9-3A9B-BC1E-9244-FE6677DD9797}"/>
              </a:ext>
            </a:extLst>
          </p:cNvPr>
          <p:cNvSpPr>
            <a:spLocks noGrp="1"/>
          </p:cNvSpPr>
          <p:nvPr>
            <p:ph type="dt" sz="half" idx="10"/>
          </p:nvPr>
        </p:nvSpPr>
        <p:spPr/>
        <p:txBody>
          <a:bodyPr/>
          <a:lstStyle/>
          <a:p>
            <a:fld id="{8A70AED5-109E-4623-AAED-745787A57DEC}" type="datetime1">
              <a:rPr lang="nb-NO" smtClean="0"/>
              <a:t>13.06.2025</a:t>
            </a:fld>
            <a:endParaRPr lang="nb-NO"/>
          </a:p>
        </p:txBody>
      </p:sp>
      <p:sp>
        <p:nvSpPr>
          <p:cNvPr id="5" name="Plassholder for bunntekst 4">
            <a:extLst>
              <a:ext uri="{FF2B5EF4-FFF2-40B4-BE49-F238E27FC236}">
                <a16:creationId xmlns:a16="http://schemas.microsoft.com/office/drawing/2014/main" id="{E1B96096-A613-EAB0-7653-B2915ABD55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EFCDB43-C29E-6453-C979-4D8851F9DA32}"/>
              </a:ext>
            </a:extLst>
          </p:cNvPr>
          <p:cNvSpPr>
            <a:spLocks noGrp="1"/>
          </p:cNvSpPr>
          <p:nvPr>
            <p:ph type="sldNum" sz="quarter" idx="12"/>
          </p:nvPr>
        </p:nvSpPr>
        <p:spPr/>
        <p:txBody>
          <a:bodyPr/>
          <a:lstStyle/>
          <a:p>
            <a:fld id="{BE2ACD00-28B2-4D17-A930-2C9F8441C7CA}" type="slidenum">
              <a:rPr lang="nb-NO" smtClean="0"/>
              <a:t>‹#›</a:t>
            </a:fld>
            <a:endParaRPr lang="nb-NO"/>
          </a:p>
        </p:txBody>
      </p:sp>
    </p:spTree>
    <p:extLst>
      <p:ext uri="{BB962C8B-B14F-4D97-AF65-F5344CB8AC3E}">
        <p14:creationId xmlns:p14="http://schemas.microsoft.com/office/powerpoint/2010/main" val="17232235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80E0097-9113-9EAE-86FA-D4C26A0C74F4}"/>
              </a:ext>
            </a:extLst>
          </p:cNvPr>
          <p:cNvGraphicFramePr>
            <a:graphicFrameLocks noChangeAspect="1"/>
          </p:cNvGraphicFramePr>
          <p:nvPr userDrawn="1">
            <p:custDataLst>
              <p:tags r:id="rId24"/>
            </p:custDataLst>
            <p:extLst>
              <p:ext uri="{D42A27DB-BD31-4B8C-83A1-F6EECF244321}">
                <p14:modId xmlns:p14="http://schemas.microsoft.com/office/powerpoint/2010/main" val="22429780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5" imgW="7772400" imgH="10058400" progId="TCLayout.ActiveDocument.1">
                  <p:embed/>
                </p:oleObj>
              </mc:Choice>
              <mc:Fallback>
                <p:oleObj name="think-cell Slide" r:id="rId25" imgW="7772400" imgH="10058400" progId="TCLayout.ActiveDocument.1">
                  <p:embed/>
                  <p:pic>
                    <p:nvPicPr>
                      <p:cNvPr id="7" name="think-cell data - do not delete" hidden="1">
                        <a:extLst>
                          <a:ext uri="{FF2B5EF4-FFF2-40B4-BE49-F238E27FC236}">
                            <a16:creationId xmlns:a16="http://schemas.microsoft.com/office/drawing/2014/main" id="{380E0097-9113-9EAE-86FA-D4C26A0C74F4}"/>
                          </a:ext>
                        </a:extLst>
                      </p:cNvPr>
                      <p:cNvPicPr/>
                      <p:nvPr/>
                    </p:nvPicPr>
                    <p:blipFill>
                      <a:blip r:embed="rId26"/>
                      <a:stretch>
                        <a:fillRect/>
                      </a:stretch>
                    </p:blipFill>
                    <p:spPr>
                      <a:xfrm>
                        <a:off x="1588" y="1588"/>
                        <a:ext cx="1227" cy="1588"/>
                      </a:xfrm>
                      <a:prstGeom prst="rect">
                        <a:avLst/>
                      </a:prstGeom>
                    </p:spPr>
                  </p:pic>
                </p:oleObj>
              </mc:Fallback>
            </mc:AlternateContent>
          </a:graphicData>
        </a:graphic>
      </p:graphicFrame>
      <p:sp>
        <p:nvSpPr>
          <p:cNvPr id="9" name="ToolsToo_Slide" descr="ToolsToo_Slide">
            <a:extLst>
              <a:ext uri="{FF2B5EF4-FFF2-40B4-BE49-F238E27FC236}">
                <a16:creationId xmlns:a16="http://schemas.microsoft.com/office/drawing/2014/main" id="{E5F952EC-FDB5-F7A6-F33B-4D1A4639105B}"/>
              </a:ext>
            </a:extLst>
          </p:cNvPr>
          <p:cNvSpPr/>
          <p:nvPr userDrawn="1"/>
        </p:nvSpPr>
        <p:spPr>
          <a:xfrm>
            <a:off x="0" y="0"/>
            <a:ext cx="12192000" cy="6858000"/>
          </a:xfrm>
          <a:prstGeom prst="rect">
            <a:avLst/>
          </a:prstGeom>
          <a:noFill/>
          <a:ln w="317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2" name="Plassholder for tittel 1">
            <a:extLst>
              <a:ext uri="{FF2B5EF4-FFF2-40B4-BE49-F238E27FC236}">
                <a16:creationId xmlns:a16="http://schemas.microsoft.com/office/drawing/2014/main" id="{3B7D64C1-85CD-7C67-0948-3FF0CDB34F22}"/>
              </a:ext>
            </a:extLst>
          </p:cNvPr>
          <p:cNvSpPr>
            <a:spLocks noGrp="1"/>
          </p:cNvSpPr>
          <p:nvPr>
            <p:ph type="title"/>
          </p:nvPr>
        </p:nvSpPr>
        <p:spPr>
          <a:xfrm>
            <a:off x="1029494" y="1467905"/>
            <a:ext cx="10154444" cy="769442"/>
          </a:xfrm>
          <a:prstGeom prst="rect">
            <a:avLst/>
          </a:prstGeom>
        </p:spPr>
        <p:txBody>
          <a:bodyPr vert="horz" wrap="square" lIns="0" tIns="0" rIns="0" bIns="0" rtlCol="0" anchor="t" anchorCtr="0">
            <a:noAutofit/>
          </a:bodyPr>
          <a:lstStyle/>
          <a:p>
            <a:endParaRPr lang="nb-NO"/>
          </a:p>
        </p:txBody>
      </p:sp>
      <p:sp>
        <p:nvSpPr>
          <p:cNvPr id="3" name="Plassholder for tekst 2">
            <a:extLst>
              <a:ext uri="{FF2B5EF4-FFF2-40B4-BE49-F238E27FC236}">
                <a16:creationId xmlns:a16="http://schemas.microsoft.com/office/drawing/2014/main" id="{00C49E59-D3F7-2BEB-91C8-C723726A9C90}"/>
              </a:ext>
            </a:extLst>
          </p:cNvPr>
          <p:cNvSpPr>
            <a:spLocks noGrp="1"/>
          </p:cNvSpPr>
          <p:nvPr>
            <p:ph type="body" idx="1"/>
          </p:nvPr>
        </p:nvSpPr>
        <p:spPr>
          <a:xfrm>
            <a:off x="1029494" y="2744788"/>
            <a:ext cx="10154444" cy="3294856"/>
          </a:xfrm>
          <a:prstGeom prst="rect">
            <a:avLst/>
          </a:prstGeom>
        </p:spPr>
        <p:txBody>
          <a:bodyPr vert="horz" lIns="0" tIns="0" rIns="0" bIns="0" rtlCol="0" anchor="t" anchorCtr="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FDBB5651-E3BC-2F1B-F6E9-850B8CEE9222}"/>
              </a:ext>
            </a:extLst>
          </p:cNvPr>
          <p:cNvSpPr>
            <a:spLocks noGrp="1"/>
          </p:cNvSpPr>
          <p:nvPr>
            <p:ph type="dt" sz="half" idx="2"/>
          </p:nvPr>
        </p:nvSpPr>
        <p:spPr>
          <a:xfrm>
            <a:off x="9317566" y="6348715"/>
            <a:ext cx="1220688" cy="153889"/>
          </a:xfrm>
          <a:prstGeom prst="rect">
            <a:avLst/>
          </a:prstGeom>
        </p:spPr>
        <p:txBody>
          <a:bodyPr vert="horz" lIns="0" tIns="0" rIns="0" bIns="0" rtlCol="0" anchor="t" anchorCtr="0">
            <a:noAutofit/>
          </a:bodyPr>
          <a:lstStyle>
            <a:lvl1pPr algn="r" fontAlgn="ctr">
              <a:defRPr sz="1000">
                <a:solidFill>
                  <a:schemeClr val="accent1"/>
                </a:solidFill>
                <a:latin typeface="+mj-lt"/>
              </a:defRPr>
            </a:lvl1pPr>
          </a:lstStyle>
          <a:p>
            <a:fld id="{05D76435-751D-42DF-A8C1-42355B8279CF}" type="datetime1">
              <a:rPr lang="nb-NO" smtClean="0"/>
              <a:t>13.06.2025</a:t>
            </a:fld>
            <a:endParaRPr lang="nb-NO"/>
          </a:p>
        </p:txBody>
      </p:sp>
      <p:sp>
        <p:nvSpPr>
          <p:cNvPr id="5" name="Plassholder for bunntekst 4">
            <a:extLst>
              <a:ext uri="{FF2B5EF4-FFF2-40B4-BE49-F238E27FC236}">
                <a16:creationId xmlns:a16="http://schemas.microsoft.com/office/drawing/2014/main" id="{BF26BCF2-BF13-78A8-38A6-6FE7B032C3F2}"/>
              </a:ext>
            </a:extLst>
          </p:cNvPr>
          <p:cNvSpPr>
            <a:spLocks noGrp="1"/>
          </p:cNvSpPr>
          <p:nvPr>
            <p:ph type="ftr" sz="quarter" idx="3"/>
          </p:nvPr>
        </p:nvSpPr>
        <p:spPr>
          <a:xfrm>
            <a:off x="3562350" y="6348715"/>
            <a:ext cx="5067300" cy="153889"/>
          </a:xfrm>
          <a:prstGeom prst="rect">
            <a:avLst/>
          </a:prstGeom>
        </p:spPr>
        <p:txBody>
          <a:bodyPr vert="horz" lIns="0" tIns="0" rIns="0" bIns="0" rtlCol="0" anchor="t" anchorCtr="0">
            <a:noAutofit/>
          </a:bodyPr>
          <a:lstStyle>
            <a:lvl1pPr algn="ctr">
              <a:defRPr sz="1000">
                <a:solidFill>
                  <a:schemeClr val="accent1"/>
                </a:solidFill>
                <a:latin typeface="+mj-lt"/>
              </a:defRPr>
            </a:lvl1pPr>
          </a:lstStyle>
          <a:p>
            <a:endParaRPr lang="nb-NO"/>
          </a:p>
        </p:txBody>
      </p:sp>
      <p:sp>
        <p:nvSpPr>
          <p:cNvPr id="6" name="Plassholder for lysbildenummer 5">
            <a:extLst>
              <a:ext uri="{FF2B5EF4-FFF2-40B4-BE49-F238E27FC236}">
                <a16:creationId xmlns:a16="http://schemas.microsoft.com/office/drawing/2014/main" id="{377FA799-8EE6-52E9-3D45-86CA6A6A2AB8}"/>
              </a:ext>
            </a:extLst>
          </p:cNvPr>
          <p:cNvSpPr>
            <a:spLocks noGrp="1"/>
          </p:cNvSpPr>
          <p:nvPr>
            <p:ph type="sldNum" sz="quarter" idx="4"/>
          </p:nvPr>
        </p:nvSpPr>
        <p:spPr>
          <a:xfrm>
            <a:off x="10792460" y="6348715"/>
            <a:ext cx="391477" cy="153889"/>
          </a:xfrm>
          <a:prstGeom prst="rect">
            <a:avLst/>
          </a:prstGeom>
        </p:spPr>
        <p:txBody>
          <a:bodyPr vert="horz" lIns="0" tIns="0" rIns="0" bIns="0" rtlCol="0" anchor="t" anchorCtr="0">
            <a:noAutofit/>
          </a:bodyPr>
          <a:lstStyle>
            <a:lvl1pPr algn="r">
              <a:defRPr sz="1000">
                <a:solidFill>
                  <a:schemeClr val="accent1"/>
                </a:solidFill>
                <a:latin typeface="Inter Medium" panose="02000603000000020004" pitchFamily="2" charset="0"/>
                <a:ea typeface="Inter Medium" panose="02000603000000020004" pitchFamily="2" charset="0"/>
                <a:cs typeface="Inter Medium" panose="02000603000000020004" pitchFamily="2" charset="0"/>
              </a:defRPr>
            </a:lvl1pPr>
          </a:lstStyle>
          <a:p>
            <a:fld id="{BE2ACD00-28B2-4D17-A930-2C9F8441C7CA}" type="slidenum">
              <a:rPr lang="nb-NO" smtClean="0"/>
              <a:pPr/>
              <a:t>‹#›</a:t>
            </a:fld>
            <a:endParaRPr lang="nb-NO"/>
          </a:p>
        </p:txBody>
      </p:sp>
      <p:pic>
        <p:nvPicPr>
          <p:cNvPr id="14" name="Logo">
            <a:extLst>
              <a:ext uri="{FF2B5EF4-FFF2-40B4-BE49-F238E27FC236}">
                <a16:creationId xmlns:a16="http://schemas.microsoft.com/office/drawing/2014/main" id="{82BD807B-F445-55C1-53A2-E0144038F6CA}"/>
              </a:ext>
              <a:ext uri="{C183D7F6-B498-43B3-948B-1728B52AA6E4}">
                <adec:decorative xmlns:adec="http://schemas.microsoft.com/office/drawing/2017/decorative" val="1"/>
              </a:ext>
            </a:extLst>
          </p:cNvPr>
          <p:cNvPicPr>
            <a:picLocks noChangeAspect="1"/>
          </p:cNvPicPr>
          <p:nvPr userDrawn="1"/>
        </p:nvPicPr>
        <p:blipFill>
          <a:blip r:embed="rId27">
            <a:extLst>
              <a:ext uri="{96DAC541-7B7A-43D3-8B79-37D633B846F1}">
                <asvg:svgBlip xmlns:asvg="http://schemas.microsoft.com/office/drawing/2016/SVG/main" r:embed="rId28"/>
              </a:ext>
            </a:extLst>
          </a:blip>
          <a:stretch>
            <a:fillRect/>
          </a:stretch>
        </p:blipFill>
        <p:spPr>
          <a:xfrm>
            <a:off x="1032363" y="6364781"/>
            <a:ext cx="558200" cy="113808"/>
          </a:xfrm>
          <a:prstGeom prst="rect">
            <a:avLst/>
          </a:prstGeom>
        </p:spPr>
      </p:pic>
    </p:spTree>
    <p:extLst>
      <p:ext uri="{BB962C8B-B14F-4D97-AF65-F5344CB8AC3E}">
        <p14:creationId xmlns:p14="http://schemas.microsoft.com/office/powerpoint/2010/main" val="1874361919"/>
      </p:ext>
    </p:extLst>
  </p:cSld>
  <p:clrMap bg1="lt1" tx1="dk1" bg2="lt2" tx2="dk2" accent1="accent1" accent2="accent2" accent3="accent3" accent4="accent4" accent5="accent5" accent6="accent6" hlink="hlink" folHlink="folHlink"/>
  <p:sldLayoutIdLst>
    <p:sldLayoutId id="2147483676" r:id="rId1"/>
    <p:sldLayoutId id="2147483649" r:id="rId2"/>
    <p:sldLayoutId id="2147483677" r:id="rId3"/>
    <p:sldLayoutId id="2147483652" r:id="rId4"/>
    <p:sldLayoutId id="2147483650" r:id="rId5"/>
    <p:sldLayoutId id="2147483657" r:id="rId6"/>
    <p:sldLayoutId id="2147483658" r:id="rId7"/>
    <p:sldLayoutId id="2147483660" r:id="rId8"/>
    <p:sldLayoutId id="2147483661" r:id="rId9"/>
    <p:sldLayoutId id="2147483662" r:id="rId10"/>
    <p:sldLayoutId id="2147483663" r:id="rId11"/>
    <p:sldLayoutId id="2147483666" r:id="rId12"/>
    <p:sldLayoutId id="2147483651" r:id="rId13"/>
    <p:sldLayoutId id="2147483659" r:id="rId14"/>
    <p:sldLayoutId id="2147483668" r:id="rId15"/>
    <p:sldLayoutId id="2147483671" r:id="rId16"/>
    <p:sldLayoutId id="2147483672" r:id="rId17"/>
    <p:sldLayoutId id="2147483678" r:id="rId18"/>
    <p:sldLayoutId id="2147483675" r:id="rId19"/>
    <p:sldLayoutId id="2147483679" r:id="rId20"/>
    <p:sldLayoutId id="2147483680" r:id="rId21"/>
    <p:sldLayoutId id="2147483681" r:id="rId22"/>
  </p:sldLayoutIdLst>
  <p:hf hdr="0" ftr="0" dt="0"/>
  <p:txStyles>
    <p:titleStyle>
      <a:lvl1pPr algn="l" defTabSz="914400" rtl="0" eaLnBrk="1" fontAlgn="ctr" latinLnBrk="0" hangingPunct="1">
        <a:lnSpc>
          <a:spcPct val="100000"/>
        </a:lnSpc>
        <a:spcBef>
          <a:spcPct val="0"/>
        </a:spcBef>
        <a:buNone/>
        <a:defRPr sz="2500" kern="1200">
          <a:solidFill>
            <a:schemeClr val="accent1"/>
          </a:solidFill>
          <a:latin typeface="+mj-lt"/>
          <a:ea typeface="+mj-ea"/>
          <a:cs typeface="+mj-cs"/>
        </a:defRPr>
      </a:lvl1pPr>
    </p:titleStyle>
    <p:bodyStyle>
      <a:lvl1pPr marL="158400" indent="-158400" algn="l" defTabSz="914400" rtl="0" eaLnBrk="1" fontAlgn="ctr" latinLnBrk="0" hangingPunct="1">
        <a:lnSpc>
          <a:spcPct val="111000"/>
        </a:lnSpc>
        <a:spcBef>
          <a:spcPts val="0"/>
        </a:spcBef>
        <a:buSzPct val="120000"/>
        <a:buFont typeface="Arial" panose="020B0604020202020204" pitchFamily="34" charset="0"/>
        <a:buChar char="•"/>
        <a:defRPr sz="1500" kern="1200">
          <a:solidFill>
            <a:schemeClr val="tx1"/>
          </a:solidFill>
          <a:latin typeface="+mn-lt"/>
          <a:ea typeface="+mn-ea"/>
          <a:cs typeface="+mn-cs"/>
        </a:defRPr>
      </a:lvl1pPr>
      <a:lvl2pPr marL="316800" indent="-157957" algn="l" defTabSz="914400" rtl="0" eaLnBrk="1" fontAlgn="ctr" latinLnBrk="0" hangingPunct="1">
        <a:lnSpc>
          <a:spcPct val="111000"/>
        </a:lnSpc>
        <a:spcBef>
          <a:spcPts val="0"/>
        </a:spcBef>
        <a:buFont typeface="Inter" panose="02000503000000020004" pitchFamily="2" charset="0"/>
        <a:buChar char="-"/>
        <a:defRPr sz="1500" kern="1200">
          <a:solidFill>
            <a:schemeClr val="tx1"/>
          </a:solidFill>
          <a:latin typeface="+mn-lt"/>
          <a:ea typeface="+mn-ea"/>
          <a:cs typeface="+mn-cs"/>
        </a:defRPr>
      </a:lvl2pPr>
      <a:lvl3pPr marL="475200" indent="-158400" algn="l" defTabSz="914400" rtl="0" eaLnBrk="1" fontAlgn="ctr" latinLnBrk="0" hangingPunct="1">
        <a:lnSpc>
          <a:spcPct val="111000"/>
        </a:lnSpc>
        <a:spcBef>
          <a:spcPts val="0"/>
        </a:spcBef>
        <a:buSzPct val="80000"/>
        <a:buFont typeface="Courier New" panose="02070309020205020404" pitchFamily="49" charset="0"/>
        <a:buChar char="o"/>
        <a:defRPr sz="1500" kern="1200">
          <a:solidFill>
            <a:schemeClr val="tx1"/>
          </a:solidFill>
          <a:latin typeface="+mn-lt"/>
          <a:ea typeface="+mn-ea"/>
          <a:cs typeface="+mn-cs"/>
        </a:defRPr>
      </a:lvl3pPr>
      <a:lvl4pPr marL="0" indent="0" algn="l" defTabSz="914400" rtl="0" eaLnBrk="1" fontAlgn="ctr" latinLnBrk="0" hangingPunct="1">
        <a:lnSpc>
          <a:spcPct val="111000"/>
        </a:lnSpc>
        <a:spcBef>
          <a:spcPts val="1000"/>
        </a:spcBef>
        <a:spcAft>
          <a:spcPts val="900"/>
        </a:spcAft>
        <a:buFont typeface="Arial" panose="020B0604020202020204" pitchFamily="34" charset="0"/>
        <a:buNone/>
        <a:defRPr sz="1750" kern="1200">
          <a:solidFill>
            <a:schemeClr val="accent1"/>
          </a:solidFill>
          <a:latin typeface="Inter Medium" panose="02000503000000020004" pitchFamily="2" charset="0"/>
          <a:ea typeface="Inter Medium" panose="02000503000000020004" pitchFamily="2" charset="0"/>
          <a:cs typeface="+mn-cs"/>
        </a:defRPr>
      </a:lvl4pPr>
      <a:lvl5pPr marL="0" indent="0" algn="l" defTabSz="914400" rtl="0" eaLnBrk="1" fontAlgn="ctr" latinLnBrk="0" hangingPunct="1">
        <a:lnSpc>
          <a:spcPct val="111000"/>
        </a:lnSpc>
        <a:spcBef>
          <a:spcPts val="0"/>
        </a:spcBef>
        <a:buFont typeface="Arial" panose="020B0604020202020204" pitchFamily="34" charset="0"/>
        <a:buNone/>
        <a:defRPr sz="900" kern="1200">
          <a:solidFill>
            <a:schemeClr val="tx1"/>
          </a:solidFill>
          <a:latin typeface="+mn-lt"/>
          <a:ea typeface="+mn-ea"/>
          <a:cs typeface="+mn-cs"/>
        </a:defRPr>
      </a:lvl5pPr>
      <a:lvl6pPr marL="25146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fontAlgn="ctr" latinLnBrk="0" hangingPunct="1">
        <a:defRPr sz="1200" kern="1200">
          <a:solidFill>
            <a:schemeClr val="tx1"/>
          </a:solidFill>
          <a:latin typeface="+mn-lt"/>
          <a:ea typeface="+mn-ea"/>
          <a:cs typeface="+mn-cs"/>
        </a:defRPr>
      </a:lvl1pPr>
      <a:lvl2pPr marL="457200" algn="l" defTabSz="914400" rtl="0" eaLnBrk="1" fontAlgn="ctr" latinLnBrk="0" hangingPunct="1">
        <a:defRPr sz="1200" kern="1200">
          <a:solidFill>
            <a:schemeClr val="tx1"/>
          </a:solidFill>
          <a:latin typeface="+mn-lt"/>
          <a:ea typeface="+mn-ea"/>
          <a:cs typeface="+mn-cs"/>
        </a:defRPr>
      </a:lvl2pPr>
      <a:lvl3pPr marL="914400" algn="l" defTabSz="914400" rtl="0" eaLnBrk="1" fontAlgn="ctr" latinLnBrk="0" hangingPunct="1">
        <a:defRPr sz="1200" kern="1200">
          <a:solidFill>
            <a:schemeClr val="tx1"/>
          </a:solidFill>
          <a:latin typeface="+mn-lt"/>
          <a:ea typeface="+mn-ea"/>
          <a:cs typeface="+mn-cs"/>
        </a:defRPr>
      </a:lvl3pPr>
      <a:lvl4pPr marL="1371600" algn="l" defTabSz="914400" rtl="0" eaLnBrk="1" fontAlgn="ctr" latinLnBrk="0" hangingPunct="1">
        <a:defRPr sz="1200" kern="1200">
          <a:solidFill>
            <a:schemeClr val="tx1"/>
          </a:solidFill>
          <a:latin typeface="+mn-lt"/>
          <a:ea typeface="+mn-ea"/>
          <a:cs typeface="+mn-cs"/>
        </a:defRPr>
      </a:lvl4pPr>
      <a:lvl5pPr marL="1828800" algn="l" defTabSz="914400" rtl="0" eaLnBrk="1" fontAlgn="ctr" latinLnBrk="0" hangingPunct="1">
        <a:defRPr sz="1200" kern="1200">
          <a:solidFill>
            <a:schemeClr val="tx1"/>
          </a:solidFill>
          <a:latin typeface="+mn-lt"/>
          <a:ea typeface="+mn-ea"/>
          <a:cs typeface="+mn-cs"/>
        </a:defRPr>
      </a:lvl5pPr>
      <a:lvl6pPr marL="2286000" algn="l" defTabSz="914400" rtl="0" eaLnBrk="1" fontAlgn="ctr" latinLnBrk="0" hangingPunct="1">
        <a:defRPr sz="1200" kern="1200">
          <a:solidFill>
            <a:schemeClr val="tx1"/>
          </a:solidFill>
          <a:latin typeface="+mn-lt"/>
          <a:ea typeface="+mn-ea"/>
          <a:cs typeface="+mn-cs"/>
        </a:defRPr>
      </a:lvl6pPr>
      <a:lvl7pPr marL="2743200" algn="l" defTabSz="914400" rtl="0" eaLnBrk="1" fontAlgn="ctr" latinLnBrk="0" hangingPunct="1">
        <a:defRPr sz="1200" kern="1200">
          <a:solidFill>
            <a:schemeClr val="tx1"/>
          </a:solidFill>
          <a:latin typeface="+mn-lt"/>
          <a:ea typeface="+mn-ea"/>
          <a:cs typeface="+mn-cs"/>
        </a:defRPr>
      </a:lvl7pPr>
      <a:lvl8pPr marL="3200400" algn="l" defTabSz="914400" rtl="0" eaLnBrk="1" fontAlgn="ctr" latinLnBrk="0" hangingPunct="1">
        <a:defRPr sz="1200" kern="1200">
          <a:solidFill>
            <a:schemeClr val="tx1"/>
          </a:solidFill>
          <a:latin typeface="+mn-lt"/>
          <a:ea typeface="+mn-ea"/>
          <a:cs typeface="+mn-cs"/>
        </a:defRPr>
      </a:lvl8pPr>
      <a:lvl9pPr marL="3657600" algn="l" defTabSz="914400" rtl="0" eaLnBrk="1" fontAlgn="ctr"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12" userDrawn="1">
          <p15:clr>
            <a:srgbClr val="F26B43"/>
          </p15:clr>
        </p15:guide>
        <p15:guide id="2" pos="3840" userDrawn="1">
          <p15:clr>
            <a:srgbClr val="F26B43"/>
          </p15:clr>
        </p15:guide>
        <p15:guide id="3" pos="320" userDrawn="1">
          <p15:clr>
            <a:srgbClr val="9FCC3B"/>
          </p15:clr>
        </p15:guide>
        <p15:guide id="4" pos="649" userDrawn="1">
          <p15:clr>
            <a:srgbClr val="F26B43"/>
          </p15:clr>
        </p15:guide>
        <p15:guide id="5" pos="2244" userDrawn="1">
          <p15:clr>
            <a:srgbClr val="F26B43"/>
          </p15:clr>
        </p15:guide>
        <p15:guide id="6" pos="3597" userDrawn="1">
          <p15:clr>
            <a:srgbClr val="F26B43"/>
          </p15:clr>
        </p15:guide>
        <p15:guide id="7" pos="4083" userDrawn="1">
          <p15:clr>
            <a:srgbClr val="F26B43"/>
          </p15:clr>
        </p15:guide>
        <p15:guide id="8" pos="7045" userDrawn="1">
          <p15:clr>
            <a:srgbClr val="F26B43"/>
          </p15:clr>
        </p15:guide>
        <p15:guide id="9" orient="horz" pos="2153" userDrawn="1">
          <p15:clr>
            <a:srgbClr val="F26B43"/>
          </p15:clr>
        </p15:guide>
        <p15:guide id="10" orient="horz" pos="923" userDrawn="1">
          <p15:clr>
            <a:srgbClr val="F26B43"/>
          </p15:clr>
        </p15:guide>
        <p15:guide id="11" orient="horz" pos="1333" userDrawn="1">
          <p15:clr>
            <a:srgbClr val="F26B43"/>
          </p15:clr>
        </p15:guide>
        <p15:guide id="12" orient="horz" pos="1743" userDrawn="1">
          <p15:clr>
            <a:srgbClr val="F26B43"/>
          </p15:clr>
        </p15:guide>
        <p15:guide id="13" orient="horz" pos="2570" userDrawn="1">
          <p15:clr>
            <a:srgbClr val="F26B43"/>
          </p15:clr>
        </p15:guide>
        <p15:guide id="14" orient="horz" pos="2980" userDrawn="1">
          <p15:clr>
            <a:srgbClr val="F26B43"/>
          </p15:clr>
        </p15:guide>
        <p15:guide id="15" orient="horz" pos="3390" userDrawn="1">
          <p15:clr>
            <a:srgbClr val="F26B43"/>
          </p15:clr>
        </p15:guide>
        <p15:guide id="16" orient="horz" pos="3806" userDrawn="1">
          <p15:clr>
            <a:srgbClr val="F26B43"/>
          </p15:clr>
        </p15:guide>
        <p15:guide id="17" orient="horz" pos="4080" userDrawn="1">
          <p15:clr>
            <a:srgbClr val="9FCC3B"/>
          </p15:clr>
        </p15:guide>
        <p15:guide id="18" orient="horz" pos="240" userDrawn="1">
          <p15:clr>
            <a:srgbClr val="9FCC3B"/>
          </p15:clr>
        </p15:guide>
        <p15:guide id="19" pos="7360" userDrawn="1">
          <p15:clr>
            <a:srgbClr val="9FCC3B"/>
          </p15:clr>
        </p15:guide>
        <p15:guide id="20" pos="545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5.emf"/></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2.xml"/><Relationship Id="rId1" Type="http://schemas.openxmlformats.org/officeDocument/2006/relationships/tags" Target="../tags/tag8.xml"/><Relationship Id="rId6" Type="http://schemas.openxmlformats.org/officeDocument/2006/relationships/image" Target="../media/image44.emf"/><Relationship Id="rId5" Type="http://schemas.openxmlformats.org/officeDocument/2006/relationships/image" Target="../media/image14.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2.xml"/><Relationship Id="rId1" Type="http://schemas.openxmlformats.org/officeDocument/2006/relationships/tags" Target="../tags/tag9.xml"/><Relationship Id="rId6" Type="http://schemas.openxmlformats.org/officeDocument/2006/relationships/image" Target="../media/image45.emf"/><Relationship Id="rId5" Type="http://schemas.openxmlformats.org/officeDocument/2006/relationships/image" Target="../media/image14.emf"/><Relationship Id="rId4" Type="http://schemas.openxmlformats.org/officeDocument/2006/relationships/oleObject" Target="../embeddings/oleObject9.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3.xml"/><Relationship Id="rId1" Type="http://schemas.openxmlformats.org/officeDocument/2006/relationships/tags" Target="../tags/tag10.xml"/><Relationship Id="rId5" Type="http://schemas.openxmlformats.org/officeDocument/2006/relationships/image" Target="../media/image14.emf"/><Relationship Id="rId4" Type="http://schemas.openxmlformats.org/officeDocument/2006/relationships/oleObject" Target="../embeddings/oleObject10.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11.xml"/><Relationship Id="rId5" Type="http://schemas.openxmlformats.org/officeDocument/2006/relationships/image" Target="../media/image14.e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3.xml"/><Relationship Id="rId1" Type="http://schemas.openxmlformats.org/officeDocument/2006/relationships/tags" Target="../tags/tag12.xml"/><Relationship Id="rId5" Type="http://schemas.openxmlformats.org/officeDocument/2006/relationships/image" Target="../media/image14.emf"/><Relationship Id="rId4" Type="http://schemas.openxmlformats.org/officeDocument/2006/relationships/oleObject" Target="../embeddings/oleObject12.bin"/></Relationships>
</file>

<file path=ppt/slides/_rels/slide16.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image" Target="../media/image46.png"/><Relationship Id="rId1" Type="http://schemas.openxmlformats.org/officeDocument/2006/relationships/slideLayout" Target="../slideLayouts/slideLayout21.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17.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12.xml"/><Relationship Id="rId1" Type="http://schemas.openxmlformats.org/officeDocument/2006/relationships/slideLayout" Target="../slideLayouts/slideLayout21.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1.xml"/><Relationship Id="rId1" Type="http://schemas.openxmlformats.org/officeDocument/2006/relationships/tags" Target="../tags/tag13.xml"/><Relationship Id="rId5" Type="http://schemas.openxmlformats.org/officeDocument/2006/relationships/image" Target="../media/image14.emf"/><Relationship Id="rId4" Type="http://schemas.openxmlformats.org/officeDocument/2006/relationships/oleObject" Target="../embeddings/oleObject13.bin"/></Relationships>
</file>

<file path=ppt/slides/_rels/slide19.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21.xml"/><Relationship Id="rId5" Type="http://schemas.openxmlformats.org/officeDocument/2006/relationships/image" Target="../media/image60.svg"/><Relationship Id="rId4" Type="http://schemas.openxmlformats.org/officeDocument/2006/relationships/image" Target="../media/image59.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9.jpeg"/><Relationship Id="rId2" Type="http://schemas.openxmlformats.org/officeDocument/2006/relationships/slideLayout" Target="../slideLayouts/slideLayout21.xml"/><Relationship Id="rId1" Type="http://schemas.openxmlformats.org/officeDocument/2006/relationships/tags" Target="../tags/tag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3.xml"/><Relationship Id="rId1" Type="http://schemas.openxmlformats.org/officeDocument/2006/relationships/tags" Target="../tags/tag14.xml"/><Relationship Id="rId5" Type="http://schemas.openxmlformats.org/officeDocument/2006/relationships/image" Target="../media/image14.emf"/><Relationship Id="rId4" Type="http://schemas.openxmlformats.org/officeDocument/2006/relationships/oleObject" Target="../embeddings/oleObject10.bin"/></Relationships>
</file>

<file path=ppt/slides/_rels/slide21.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oleObject" Target="../embeddings/oleObject14.bin"/><Relationship Id="rId7" Type="http://schemas.openxmlformats.org/officeDocument/2006/relationships/image" Target="../media/image63.png"/><Relationship Id="rId2" Type="http://schemas.openxmlformats.org/officeDocument/2006/relationships/slideLayout" Target="../slideLayouts/slideLayout5.xml"/><Relationship Id="rId1" Type="http://schemas.openxmlformats.org/officeDocument/2006/relationships/tags" Target="../tags/tag15.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14.emf"/></Relationships>
</file>

<file path=ppt/slides/_rels/slide22.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9.svg"/><Relationship Id="rId2" Type="http://schemas.openxmlformats.org/officeDocument/2006/relationships/notesSlide" Target="../notesSlides/notesSlide15.xml"/><Relationship Id="rId1" Type="http://schemas.openxmlformats.org/officeDocument/2006/relationships/slideLayout" Target="../slideLayouts/slideLayout21.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23.xml.rels><?xml version="1.0" encoding="UTF-8" standalone="yes"?>
<Relationships xmlns="http://schemas.openxmlformats.org/package/2006/relationships"><Relationship Id="rId3" Type="http://schemas.openxmlformats.org/officeDocument/2006/relationships/image" Target="../media/image23.svg"/><Relationship Id="rId7" Type="http://schemas.openxmlformats.org/officeDocument/2006/relationships/image" Target="../media/image71.svg"/><Relationship Id="rId2" Type="http://schemas.openxmlformats.org/officeDocument/2006/relationships/image" Target="../media/image22.png"/><Relationship Id="rId1" Type="http://schemas.openxmlformats.org/officeDocument/2006/relationships/slideLayout" Target="../slideLayouts/slideLayout15.xml"/><Relationship Id="rId6" Type="http://schemas.openxmlformats.org/officeDocument/2006/relationships/image" Target="../media/image70.png"/><Relationship Id="rId5" Type="http://schemas.openxmlformats.org/officeDocument/2006/relationships/image" Target="../media/image25.svg"/><Relationship Id="rId4" Type="http://schemas.openxmlformats.org/officeDocument/2006/relationships/image" Target="../media/image24.png"/></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2.xml"/><Relationship Id="rId1" Type="http://schemas.openxmlformats.org/officeDocument/2006/relationships/tags" Target="../tags/tag16.xml"/><Relationship Id="rId4" Type="http://schemas.openxmlformats.org/officeDocument/2006/relationships/image" Target="../media/image72.emf"/></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notesSlide" Target="../notesSlides/notesSlide2.xml"/><Relationship Id="rId7" Type="http://schemas.openxmlformats.org/officeDocument/2006/relationships/image" Target="../media/image27.png"/><Relationship Id="rId2" Type="http://schemas.openxmlformats.org/officeDocument/2006/relationships/slideLayout" Target="../slideLayouts/slideLayout21.xml"/><Relationship Id="rId1" Type="http://schemas.openxmlformats.org/officeDocument/2006/relationships/tags" Target="../tags/tag5.xml"/><Relationship Id="rId6" Type="http://schemas.openxmlformats.org/officeDocument/2006/relationships/image" Target="../media/image26.png"/><Relationship Id="rId5" Type="http://schemas.openxmlformats.org/officeDocument/2006/relationships/image" Target="../media/image14.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32.svg"/><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6.xml"/><Relationship Id="rId6" Type="http://schemas.openxmlformats.org/officeDocument/2006/relationships/image" Target="../media/image37.png"/><Relationship Id="rId5" Type="http://schemas.openxmlformats.org/officeDocument/2006/relationships/image" Target="../media/image14.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5.xml"/><Relationship Id="rId1" Type="http://schemas.openxmlformats.org/officeDocument/2006/relationships/tags" Target="../tags/tag7.xml"/><Relationship Id="rId4" Type="http://schemas.openxmlformats.org/officeDocument/2006/relationships/image" Target="../media/image14.emf"/></Relationships>
</file>

<file path=ppt/slides/_rels/slide9.xml.rels><?xml version="1.0" encoding="UTF-8" standalone="yes"?>
<Relationships xmlns="http://schemas.openxmlformats.org/package/2006/relationships"><Relationship Id="rId3" Type="http://schemas.openxmlformats.org/officeDocument/2006/relationships/image" Target="../media/image38.emf"/><Relationship Id="rId7" Type="http://schemas.openxmlformats.org/officeDocument/2006/relationships/image" Target="../media/image42.emf"/><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41.emf"/><Relationship Id="rId5" Type="http://schemas.openxmlformats.org/officeDocument/2006/relationships/image" Target="../media/image40.emf"/><Relationship Id="rId4" Type="http://schemas.openxmlformats.org/officeDocument/2006/relationships/image" Target="../media/image3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AAE95C5-947F-899F-CAFC-A45059C0B49F}"/>
              </a:ext>
            </a:extLst>
          </p:cNvPr>
          <p:cNvGraphicFramePr>
            <a:graphicFrameLocks noChangeAspect="1"/>
          </p:cNvGraphicFramePr>
          <p:nvPr>
            <p:custDataLst>
              <p:tags r:id="rId1"/>
            </p:custDataLst>
            <p:extLst>
              <p:ext uri="{D42A27DB-BD31-4B8C-83A1-F6EECF244321}">
                <p14:modId xmlns:p14="http://schemas.microsoft.com/office/powerpoint/2010/main" val="1328161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3AAE95C5-947F-899F-CAFC-A45059C0B49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ittel 5">
            <a:extLst>
              <a:ext uri="{FF2B5EF4-FFF2-40B4-BE49-F238E27FC236}">
                <a16:creationId xmlns:a16="http://schemas.microsoft.com/office/drawing/2014/main" id="{F6E98DDF-52CB-395C-FA18-030EEA07B6EF}"/>
              </a:ext>
            </a:extLst>
          </p:cNvPr>
          <p:cNvSpPr>
            <a:spLocks noGrp="1"/>
          </p:cNvSpPr>
          <p:nvPr>
            <p:ph type="ctrTitle"/>
          </p:nvPr>
        </p:nvSpPr>
        <p:spPr/>
        <p:txBody>
          <a:bodyPr vert="horz"/>
          <a:lstStyle/>
          <a:p>
            <a:r>
              <a:rPr lang="nb-NO"/>
              <a:t>Informasjonsmøte VIGO Moderniseringen</a:t>
            </a:r>
          </a:p>
        </p:txBody>
      </p:sp>
      <p:sp>
        <p:nvSpPr>
          <p:cNvPr id="7" name="Undertittel 6">
            <a:extLst>
              <a:ext uri="{FF2B5EF4-FFF2-40B4-BE49-F238E27FC236}">
                <a16:creationId xmlns:a16="http://schemas.microsoft.com/office/drawing/2014/main" id="{4A46942D-7CC9-445F-1DAE-8529D705DC4B}"/>
              </a:ext>
            </a:extLst>
          </p:cNvPr>
          <p:cNvSpPr>
            <a:spLocks noGrp="1"/>
          </p:cNvSpPr>
          <p:nvPr>
            <p:ph type="subTitle" idx="1"/>
          </p:nvPr>
        </p:nvSpPr>
        <p:spPr/>
        <p:txBody>
          <a:bodyPr/>
          <a:lstStyle/>
          <a:p>
            <a:r>
              <a:rPr lang="nb-NO"/>
              <a:t>12.06.25</a:t>
            </a:r>
          </a:p>
        </p:txBody>
      </p:sp>
      <p:sp>
        <p:nvSpPr>
          <p:cNvPr id="8" name="Plassholder for lysbildenummer 7">
            <a:extLst>
              <a:ext uri="{FF2B5EF4-FFF2-40B4-BE49-F238E27FC236}">
                <a16:creationId xmlns:a16="http://schemas.microsoft.com/office/drawing/2014/main" id="{E096D3B8-A2D2-D945-F276-AF1F38E5F03C}"/>
              </a:ext>
            </a:extLst>
          </p:cNvPr>
          <p:cNvSpPr>
            <a:spLocks noGrp="1"/>
          </p:cNvSpPr>
          <p:nvPr>
            <p:ph type="sldNum" sz="quarter" idx="12"/>
          </p:nvPr>
        </p:nvSpPr>
        <p:spPr/>
        <p:txBody>
          <a:bodyPr/>
          <a:lstStyle/>
          <a:p>
            <a:fld id="{BE2ACD00-28B2-4D17-A930-2C9F8441C7CA}" type="slidenum">
              <a:rPr lang="nb-NO" smtClean="0"/>
              <a:pPr/>
              <a:t>1</a:t>
            </a:fld>
            <a:endParaRPr lang="nb-NO"/>
          </a:p>
        </p:txBody>
      </p:sp>
    </p:spTree>
    <p:extLst>
      <p:ext uri="{BB962C8B-B14F-4D97-AF65-F5344CB8AC3E}">
        <p14:creationId xmlns:p14="http://schemas.microsoft.com/office/powerpoint/2010/main" val="13976069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lysbildenummer 3">
            <a:extLst>
              <a:ext uri="{FF2B5EF4-FFF2-40B4-BE49-F238E27FC236}">
                <a16:creationId xmlns:a16="http://schemas.microsoft.com/office/drawing/2014/main" id="{09CCCB3E-B884-358B-B2C7-E9AB214E057A}"/>
              </a:ext>
            </a:extLst>
          </p:cNvPr>
          <p:cNvSpPr>
            <a:spLocks noGrp="1"/>
          </p:cNvSpPr>
          <p:nvPr>
            <p:ph type="sldNum" sz="quarter" idx="12"/>
          </p:nvPr>
        </p:nvSpPr>
        <p:spPr/>
        <p:txBody>
          <a:bodyPr/>
          <a:lstStyle/>
          <a:p>
            <a:fld id="{BE2ACD00-28B2-4D17-A930-2C9F8441C7CA}" type="slidenum">
              <a:rPr lang="nb-NO" smtClean="0"/>
              <a:pPr/>
              <a:t>10</a:t>
            </a:fld>
            <a:endParaRPr lang="nb-NO"/>
          </a:p>
        </p:txBody>
      </p:sp>
      <p:pic>
        <p:nvPicPr>
          <p:cNvPr id="6" name="Bilde 5">
            <a:extLst>
              <a:ext uri="{FF2B5EF4-FFF2-40B4-BE49-F238E27FC236}">
                <a16:creationId xmlns:a16="http://schemas.microsoft.com/office/drawing/2014/main" id="{F88AD162-36C9-8482-2FC5-72D77A3557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586" y="-176950"/>
            <a:ext cx="11900827" cy="7535769"/>
          </a:xfrm>
          <a:prstGeom prst="rect">
            <a:avLst/>
          </a:prstGeom>
        </p:spPr>
      </p:pic>
      <p:sp>
        <p:nvSpPr>
          <p:cNvPr id="2" name="Google Shape;1007;g2e0683f995c_0_0">
            <a:extLst>
              <a:ext uri="{FF2B5EF4-FFF2-40B4-BE49-F238E27FC236}">
                <a16:creationId xmlns:a16="http://schemas.microsoft.com/office/drawing/2014/main" id="{013FFDEA-BDAA-7473-A3F0-8E36F7188030}"/>
              </a:ext>
            </a:extLst>
          </p:cNvPr>
          <p:cNvSpPr txBox="1">
            <a:spLocks/>
          </p:cNvSpPr>
          <p:nvPr/>
        </p:nvSpPr>
        <p:spPr>
          <a:xfrm>
            <a:off x="382000" y="486981"/>
            <a:ext cx="11520900" cy="538974"/>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nb-NO" sz="2200" i="0" u="none" strike="noStrike" kern="0" cap="none" spc="0" normalizeH="0" baseline="0" noProof="0">
                <a:ln>
                  <a:noFill/>
                </a:ln>
                <a:solidFill>
                  <a:schemeClr val="accent1"/>
                </a:solidFill>
                <a:effectLst/>
                <a:uLnTx/>
                <a:uFillTx/>
                <a:latin typeface="Brockmann"/>
                <a:sym typeface="Calibri"/>
              </a:rPr>
              <a:t>Tjenester| </a:t>
            </a:r>
            <a:r>
              <a:rPr lang="nb-NO" sz="2200" kern="0">
                <a:solidFill>
                  <a:schemeClr val="accent1"/>
                </a:solidFill>
                <a:latin typeface="Brockmann"/>
                <a:ea typeface="+mn-ea"/>
                <a:sym typeface="Georgia"/>
              </a:rPr>
              <a:t>Hovedprosesser</a:t>
            </a:r>
            <a:endParaRPr kumimoji="0" lang="nb-NO" sz="2200" i="0" u="none" strike="noStrike" kern="0" cap="none" spc="0" normalizeH="0" baseline="0" noProof="0">
              <a:ln>
                <a:noFill/>
              </a:ln>
              <a:solidFill>
                <a:schemeClr val="accent1"/>
              </a:solidFill>
              <a:effectLst/>
              <a:uLnTx/>
              <a:uFillTx/>
              <a:latin typeface="Brockmann"/>
              <a:sym typeface="Calibri"/>
            </a:endParaRPr>
          </a:p>
        </p:txBody>
      </p:sp>
    </p:spTree>
    <p:extLst>
      <p:ext uri="{BB962C8B-B14F-4D97-AF65-F5344CB8AC3E}">
        <p14:creationId xmlns:p14="http://schemas.microsoft.com/office/powerpoint/2010/main" val="32983138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F22330A-AE4B-AD9F-9FDA-BBDB1AAF9C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BF22330A-AE4B-AD9F-9FDA-BBDB1AAF9C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Avrundet rektangel 25">
            <a:extLst>
              <a:ext uri="{FF2B5EF4-FFF2-40B4-BE49-F238E27FC236}">
                <a16:creationId xmlns:a16="http://schemas.microsoft.com/office/drawing/2014/main" id="{D51C25CD-A178-0B2F-34E5-238F31655A9E}"/>
              </a:ext>
            </a:extLst>
          </p:cNvPr>
          <p:cNvSpPr/>
          <p:nvPr/>
        </p:nvSpPr>
        <p:spPr>
          <a:xfrm>
            <a:off x="4332028" y="2780069"/>
            <a:ext cx="3517602" cy="240918"/>
          </a:xfrm>
          <a:prstGeom prst="roundRect">
            <a:avLst>
              <a:gd name="adj" fmla="val 50000"/>
            </a:avLst>
          </a:prstGeom>
          <a:solidFill>
            <a:schemeClr val="accent2">
              <a:lumMod val="20000"/>
              <a:lumOff val="80000"/>
            </a:schemeClr>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 name="Avrundet rektangel 27">
            <a:extLst>
              <a:ext uri="{FF2B5EF4-FFF2-40B4-BE49-F238E27FC236}">
                <a16:creationId xmlns:a16="http://schemas.microsoft.com/office/drawing/2014/main" id="{FA98A39C-81E7-C903-11CD-D56DA0E80B85}"/>
              </a:ext>
            </a:extLst>
          </p:cNvPr>
          <p:cNvSpPr/>
          <p:nvPr/>
        </p:nvSpPr>
        <p:spPr>
          <a:xfrm>
            <a:off x="7923350" y="2780069"/>
            <a:ext cx="3517602" cy="240918"/>
          </a:xfrm>
          <a:prstGeom prst="roundRect">
            <a:avLst>
              <a:gd name="adj" fmla="val 50000"/>
            </a:avLst>
          </a:prstGeom>
          <a:solidFill>
            <a:schemeClr val="accent2">
              <a:lumMod val="20000"/>
              <a:lumOff val="80000"/>
            </a:schemeClr>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Avrundet rektangel 29">
            <a:extLst>
              <a:ext uri="{FF2B5EF4-FFF2-40B4-BE49-F238E27FC236}">
                <a16:creationId xmlns:a16="http://schemas.microsoft.com/office/drawing/2014/main" id="{3013007C-5BFF-D2E5-5EA9-AB83F6EB0114}"/>
              </a:ext>
            </a:extLst>
          </p:cNvPr>
          <p:cNvSpPr/>
          <p:nvPr/>
        </p:nvSpPr>
        <p:spPr>
          <a:xfrm>
            <a:off x="4332028" y="4522065"/>
            <a:ext cx="3517602" cy="240918"/>
          </a:xfrm>
          <a:prstGeom prst="roundRect">
            <a:avLst>
              <a:gd name="adj" fmla="val 50000"/>
            </a:avLst>
          </a:prstGeom>
          <a:solidFill>
            <a:schemeClr val="accent2">
              <a:lumMod val="20000"/>
              <a:lumOff val="80000"/>
            </a:schemeClr>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Avrundet rektangel 20">
            <a:extLst>
              <a:ext uri="{FF2B5EF4-FFF2-40B4-BE49-F238E27FC236}">
                <a16:creationId xmlns:a16="http://schemas.microsoft.com/office/drawing/2014/main" id="{7DA09292-DB48-F1F6-AC8F-64AE620BB6E6}"/>
              </a:ext>
            </a:extLst>
          </p:cNvPr>
          <p:cNvSpPr/>
          <p:nvPr/>
        </p:nvSpPr>
        <p:spPr>
          <a:xfrm>
            <a:off x="742672" y="2785946"/>
            <a:ext cx="3517602" cy="240918"/>
          </a:xfrm>
          <a:prstGeom prst="roundRect">
            <a:avLst>
              <a:gd name="adj" fmla="val 50000"/>
            </a:avLst>
          </a:prstGeom>
          <a:solidFill>
            <a:schemeClr val="accent2">
              <a:lumMod val="20000"/>
              <a:lumOff val="80000"/>
            </a:schemeClr>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Avrundet rektangel 23">
            <a:extLst>
              <a:ext uri="{FF2B5EF4-FFF2-40B4-BE49-F238E27FC236}">
                <a16:creationId xmlns:a16="http://schemas.microsoft.com/office/drawing/2014/main" id="{6F226D3F-6C50-3827-9631-3962F057CA6F}"/>
              </a:ext>
            </a:extLst>
          </p:cNvPr>
          <p:cNvSpPr/>
          <p:nvPr/>
        </p:nvSpPr>
        <p:spPr>
          <a:xfrm>
            <a:off x="742672" y="4527942"/>
            <a:ext cx="3517602" cy="240918"/>
          </a:xfrm>
          <a:prstGeom prst="roundRect">
            <a:avLst>
              <a:gd name="adj" fmla="val 50000"/>
            </a:avLst>
          </a:prstGeom>
          <a:solidFill>
            <a:schemeClr val="accent2">
              <a:lumMod val="20000"/>
              <a:lumOff val="80000"/>
            </a:schemeClr>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 name="Avrundet rektangel 40">
            <a:extLst>
              <a:ext uri="{FF2B5EF4-FFF2-40B4-BE49-F238E27FC236}">
                <a16:creationId xmlns:a16="http://schemas.microsoft.com/office/drawing/2014/main" id="{824C0A97-E543-8D4E-B00D-0E2B78E2AD6E}"/>
              </a:ext>
            </a:extLst>
          </p:cNvPr>
          <p:cNvSpPr/>
          <p:nvPr/>
        </p:nvSpPr>
        <p:spPr>
          <a:xfrm>
            <a:off x="4332028" y="921288"/>
            <a:ext cx="3517602" cy="240918"/>
          </a:xfrm>
          <a:prstGeom prst="roundRect">
            <a:avLst>
              <a:gd name="adj" fmla="val 50000"/>
            </a:avLst>
          </a:prstGeom>
          <a:solidFill>
            <a:schemeClr val="accent2">
              <a:lumMod val="20000"/>
              <a:lumOff val="80000"/>
            </a:schemeClr>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Avrundet rektangel 26">
            <a:extLst>
              <a:ext uri="{FF2B5EF4-FFF2-40B4-BE49-F238E27FC236}">
                <a16:creationId xmlns:a16="http://schemas.microsoft.com/office/drawing/2014/main" id="{6E7D519C-2FFA-3100-3BBA-359C152D969B}"/>
              </a:ext>
            </a:extLst>
          </p:cNvPr>
          <p:cNvSpPr/>
          <p:nvPr/>
        </p:nvSpPr>
        <p:spPr>
          <a:xfrm>
            <a:off x="742672" y="921287"/>
            <a:ext cx="3517602" cy="240918"/>
          </a:xfrm>
          <a:prstGeom prst="roundRect">
            <a:avLst>
              <a:gd name="adj" fmla="val 50000"/>
            </a:avLst>
          </a:prstGeom>
          <a:solidFill>
            <a:schemeClr val="accent2">
              <a:lumMod val="20000"/>
              <a:lumOff val="80000"/>
            </a:schemeClr>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5" name="Bilde 4">
            <a:extLst>
              <a:ext uri="{FF2B5EF4-FFF2-40B4-BE49-F238E27FC236}">
                <a16:creationId xmlns:a16="http://schemas.microsoft.com/office/drawing/2014/main" id="{8400AF31-A53E-5B80-7C88-5305838A8B42}"/>
              </a:ext>
            </a:extLst>
          </p:cNvPr>
          <p:cNvPicPr>
            <a:picLocks noChangeAspect="1"/>
          </p:cNvPicPr>
          <p:nvPr/>
        </p:nvPicPr>
        <p:blipFill>
          <a:blip r:embed="rId6"/>
          <a:stretch>
            <a:fillRect/>
          </a:stretch>
        </p:blipFill>
        <p:spPr>
          <a:xfrm>
            <a:off x="828461" y="1008358"/>
            <a:ext cx="228600" cy="711200"/>
          </a:xfrm>
          <a:prstGeom prst="rect">
            <a:avLst/>
          </a:prstGeom>
        </p:spPr>
      </p:pic>
      <p:sp>
        <p:nvSpPr>
          <p:cNvPr id="6" name="TekstSylinder 5">
            <a:extLst>
              <a:ext uri="{FF2B5EF4-FFF2-40B4-BE49-F238E27FC236}">
                <a16:creationId xmlns:a16="http://schemas.microsoft.com/office/drawing/2014/main" id="{D6947D34-21EE-477B-13A1-0933D058EC8A}"/>
              </a:ext>
            </a:extLst>
          </p:cNvPr>
          <p:cNvSpPr txBox="1"/>
          <p:nvPr/>
        </p:nvSpPr>
        <p:spPr>
          <a:xfrm>
            <a:off x="1098063" y="921859"/>
            <a:ext cx="3186925" cy="1638910"/>
          </a:xfrm>
          <a:prstGeom prst="rect">
            <a:avLst/>
          </a:prstGeom>
          <a:noFill/>
        </p:spPr>
        <p:txBody>
          <a:bodyPr wrap="square" rtlCol="0">
            <a:spAutoFit/>
          </a:bodyPr>
          <a:lstStyle/>
          <a:p>
            <a:r>
              <a:rPr lang="nb-NO" sz="1050" b="1">
                <a:effectLst/>
              </a:rPr>
              <a:t>Inntaksansvarlige</a:t>
            </a:r>
            <a:endParaRPr lang="nb-NO" sz="900"/>
          </a:p>
          <a:p>
            <a:endParaRPr lang="nb-NO" sz="900">
              <a:effectLst/>
            </a:endParaRPr>
          </a:p>
          <a:p>
            <a:r>
              <a:rPr lang="nb-NO" sz="900">
                <a:effectLst/>
              </a:rPr>
              <a:t>Ansatte i fylkeskommunene som håndterer søknadsprosesser og inntak til videregående opplæring.</a:t>
            </a:r>
            <a:endParaRPr lang="nb-NO" sz="900"/>
          </a:p>
          <a:p>
            <a:endParaRPr lang="nb-NO" sz="900"/>
          </a:p>
          <a:p>
            <a:r>
              <a:rPr lang="nb-NO" sz="900">
                <a:effectLst/>
              </a:rPr>
              <a:t>Oppgaver</a:t>
            </a:r>
            <a:endParaRPr lang="nb-NO" sz="900"/>
          </a:p>
          <a:p>
            <a:pPr marL="171450" indent="-171450">
              <a:buFont typeface="Arial" panose="020B0604020202020204" pitchFamily="34" charset="0"/>
              <a:buChar char="•"/>
            </a:pPr>
            <a:r>
              <a:rPr lang="nb-NO" sz="900">
                <a:effectLst/>
              </a:rPr>
              <a:t>Administrasjon av søknader, prioriteringer og ventelister.</a:t>
            </a:r>
            <a:endParaRPr lang="nb-NO" sz="900"/>
          </a:p>
          <a:p>
            <a:pPr marL="171450" indent="-171450">
              <a:buFont typeface="Arial" panose="020B0604020202020204" pitchFamily="34" charset="0"/>
              <a:buChar char="•"/>
            </a:pPr>
            <a:r>
              <a:rPr lang="nb-NO" sz="900">
                <a:effectLst/>
              </a:rPr>
              <a:t>Tilbudsbrev og oppfølging av søkere.</a:t>
            </a:r>
            <a:endParaRPr lang="nb-NO" sz="900"/>
          </a:p>
          <a:p>
            <a:pPr marL="171450" indent="-171450">
              <a:buFont typeface="Arial" panose="020B0604020202020204" pitchFamily="34" charset="0"/>
              <a:buChar char="•"/>
            </a:pPr>
            <a:r>
              <a:rPr lang="nb-NO" sz="900">
                <a:effectLst/>
              </a:rPr>
              <a:t>Kapasitetsstyring på skoler og programområder.</a:t>
            </a:r>
            <a:endParaRPr lang="nb-NO" sz="900"/>
          </a:p>
          <a:p>
            <a:pPr marL="171450" indent="-171450">
              <a:buFont typeface="Arial" panose="020B0604020202020204" pitchFamily="34" charset="0"/>
              <a:buChar char="•"/>
            </a:pPr>
            <a:r>
              <a:rPr lang="nb-NO" sz="900">
                <a:effectLst/>
              </a:rPr>
              <a:t>Rapporter og statistikk om inntak og søkere.</a:t>
            </a:r>
            <a:endParaRPr lang="nb-NO" sz="900"/>
          </a:p>
          <a:p>
            <a:endParaRPr lang="nb-NO" sz="900"/>
          </a:p>
        </p:txBody>
      </p:sp>
      <p:pic>
        <p:nvPicPr>
          <p:cNvPr id="7" name="Bilde 6">
            <a:extLst>
              <a:ext uri="{FF2B5EF4-FFF2-40B4-BE49-F238E27FC236}">
                <a16:creationId xmlns:a16="http://schemas.microsoft.com/office/drawing/2014/main" id="{072225F1-D9DF-0164-E8AE-3F5F2A04CA58}"/>
              </a:ext>
            </a:extLst>
          </p:cNvPr>
          <p:cNvPicPr>
            <a:picLocks noChangeAspect="1"/>
          </p:cNvPicPr>
          <p:nvPr/>
        </p:nvPicPr>
        <p:blipFill>
          <a:blip r:embed="rId6"/>
          <a:stretch>
            <a:fillRect/>
          </a:stretch>
        </p:blipFill>
        <p:spPr>
          <a:xfrm>
            <a:off x="828461" y="2906469"/>
            <a:ext cx="228600" cy="711200"/>
          </a:xfrm>
          <a:prstGeom prst="rect">
            <a:avLst/>
          </a:prstGeom>
        </p:spPr>
      </p:pic>
      <p:sp>
        <p:nvSpPr>
          <p:cNvPr id="8" name="TekstSylinder 7">
            <a:extLst>
              <a:ext uri="{FF2B5EF4-FFF2-40B4-BE49-F238E27FC236}">
                <a16:creationId xmlns:a16="http://schemas.microsoft.com/office/drawing/2014/main" id="{B8FA5E4B-E8D1-DD0D-259D-0212008E40DE}"/>
              </a:ext>
            </a:extLst>
          </p:cNvPr>
          <p:cNvSpPr txBox="1"/>
          <p:nvPr/>
        </p:nvSpPr>
        <p:spPr>
          <a:xfrm>
            <a:off x="1098063" y="2779629"/>
            <a:ext cx="3317788" cy="1638910"/>
          </a:xfrm>
          <a:prstGeom prst="rect">
            <a:avLst/>
          </a:prstGeom>
          <a:noFill/>
        </p:spPr>
        <p:txBody>
          <a:bodyPr wrap="square" rtlCol="0">
            <a:spAutoFit/>
          </a:bodyPr>
          <a:lstStyle/>
          <a:p>
            <a:r>
              <a:rPr lang="nb-NO" sz="1050" b="1">
                <a:effectLst/>
              </a:rPr>
              <a:t>Fagopplæringsansvarlige</a:t>
            </a:r>
            <a:endParaRPr lang="nb-NO" sz="900"/>
          </a:p>
          <a:p>
            <a:endParaRPr lang="nb-NO" sz="900">
              <a:effectLst/>
            </a:endParaRPr>
          </a:p>
          <a:p>
            <a:r>
              <a:rPr lang="nb-NO" sz="900">
                <a:effectLst/>
              </a:rPr>
              <a:t>Ansatte i fylkeskommunene som følger opp lærlinger og bedrifter i fagopplæringssystemet.</a:t>
            </a:r>
            <a:endParaRPr lang="nb-NO" sz="900"/>
          </a:p>
          <a:p>
            <a:endParaRPr lang="nb-NO" sz="900"/>
          </a:p>
          <a:p>
            <a:r>
              <a:rPr lang="nb-NO" sz="900">
                <a:effectLst/>
              </a:rPr>
              <a:t>Oppgaver</a:t>
            </a:r>
            <a:endParaRPr lang="nb-NO" sz="900"/>
          </a:p>
          <a:p>
            <a:pPr marL="171450" indent="-171450">
              <a:buFont typeface="Arial" panose="020B0604020202020204" pitchFamily="34" charset="0"/>
              <a:buChar char="•"/>
            </a:pPr>
            <a:r>
              <a:rPr lang="nb-NO" sz="900">
                <a:effectLst/>
              </a:rPr>
              <a:t>Administrasjon av lærekontrakter og praksisbrev.</a:t>
            </a:r>
            <a:endParaRPr lang="nb-NO" sz="900"/>
          </a:p>
          <a:p>
            <a:pPr marL="171450" indent="-171450">
              <a:buFont typeface="Arial" panose="020B0604020202020204" pitchFamily="34" charset="0"/>
              <a:buChar char="•"/>
            </a:pPr>
            <a:r>
              <a:rPr lang="nb-NO" sz="900">
                <a:effectLst/>
              </a:rPr>
              <a:t>Oppfølging av lærebedrifter og godkjenning av nye læreplasser.</a:t>
            </a:r>
            <a:endParaRPr lang="nb-NO" sz="900"/>
          </a:p>
          <a:p>
            <a:pPr marL="171450" indent="-171450">
              <a:buFont typeface="Arial" panose="020B0604020202020204" pitchFamily="34" charset="0"/>
              <a:buChar char="•"/>
            </a:pPr>
            <a:r>
              <a:rPr lang="nb-NO" sz="900">
                <a:effectLst/>
              </a:rPr>
              <a:t>Samarbeid med bedrifter og opplæringskontor.</a:t>
            </a:r>
            <a:endParaRPr lang="nb-NO" sz="900"/>
          </a:p>
          <a:p>
            <a:pPr marL="171450" indent="-171450">
              <a:buFont typeface="Arial" panose="020B0604020202020204" pitchFamily="34" charset="0"/>
              <a:buChar char="•"/>
            </a:pPr>
            <a:r>
              <a:rPr lang="nb-NO" sz="900">
                <a:effectLst/>
              </a:rPr>
              <a:t>Rapportering til nasjonale aktører.</a:t>
            </a:r>
            <a:endParaRPr lang="nb-NO" sz="900"/>
          </a:p>
          <a:p>
            <a:endParaRPr lang="nb-NO" sz="900"/>
          </a:p>
        </p:txBody>
      </p:sp>
      <p:pic>
        <p:nvPicPr>
          <p:cNvPr id="9" name="Bilde 8">
            <a:extLst>
              <a:ext uri="{FF2B5EF4-FFF2-40B4-BE49-F238E27FC236}">
                <a16:creationId xmlns:a16="http://schemas.microsoft.com/office/drawing/2014/main" id="{6F8C616D-9DBA-F9B7-D0D1-E4858ED2FFA7}"/>
              </a:ext>
            </a:extLst>
          </p:cNvPr>
          <p:cNvPicPr>
            <a:picLocks noChangeAspect="1"/>
          </p:cNvPicPr>
          <p:nvPr/>
        </p:nvPicPr>
        <p:blipFill>
          <a:blip r:embed="rId6"/>
          <a:stretch>
            <a:fillRect/>
          </a:stretch>
        </p:blipFill>
        <p:spPr>
          <a:xfrm>
            <a:off x="828461" y="4605096"/>
            <a:ext cx="228600" cy="711200"/>
          </a:xfrm>
          <a:prstGeom prst="rect">
            <a:avLst/>
          </a:prstGeom>
        </p:spPr>
      </p:pic>
      <p:sp>
        <p:nvSpPr>
          <p:cNvPr id="10" name="TekstSylinder 9">
            <a:extLst>
              <a:ext uri="{FF2B5EF4-FFF2-40B4-BE49-F238E27FC236}">
                <a16:creationId xmlns:a16="http://schemas.microsoft.com/office/drawing/2014/main" id="{C6AB921D-EAF0-EAC8-DECE-695AA10B49F5}"/>
              </a:ext>
            </a:extLst>
          </p:cNvPr>
          <p:cNvSpPr txBox="1"/>
          <p:nvPr/>
        </p:nvSpPr>
        <p:spPr>
          <a:xfrm>
            <a:off x="1098063" y="4518597"/>
            <a:ext cx="3066165" cy="1777410"/>
          </a:xfrm>
          <a:prstGeom prst="rect">
            <a:avLst/>
          </a:prstGeom>
          <a:noFill/>
        </p:spPr>
        <p:txBody>
          <a:bodyPr wrap="square" rtlCol="0">
            <a:spAutoFit/>
          </a:bodyPr>
          <a:lstStyle/>
          <a:p>
            <a:r>
              <a:rPr lang="nb-NO" sz="1050" b="1">
                <a:effectLst/>
              </a:rPr>
              <a:t>Oppfølgingstjenesten</a:t>
            </a:r>
            <a:endParaRPr lang="nb-NO" sz="900"/>
          </a:p>
          <a:p>
            <a:endParaRPr lang="nb-NO" sz="900">
              <a:effectLst/>
            </a:endParaRPr>
          </a:p>
          <a:p>
            <a:r>
              <a:rPr lang="nb-NO" sz="900">
                <a:effectLst/>
              </a:rPr>
              <a:t>Ansatte som arbeider med ungdom som ikke er i videregående opplæring eller arbeid.</a:t>
            </a:r>
            <a:endParaRPr lang="nb-NO" sz="900"/>
          </a:p>
          <a:p>
            <a:endParaRPr lang="nb-NO" sz="900"/>
          </a:p>
          <a:p>
            <a:r>
              <a:rPr lang="nb-NO" sz="900">
                <a:effectLst/>
              </a:rPr>
              <a:t>Oppgaver</a:t>
            </a:r>
            <a:endParaRPr lang="nb-NO" sz="900"/>
          </a:p>
          <a:p>
            <a:pPr marL="171450" indent="-171450">
              <a:buFont typeface="Arial" panose="020B0604020202020204" pitchFamily="34" charset="0"/>
              <a:buChar char="•"/>
            </a:pPr>
            <a:r>
              <a:rPr lang="nb-NO" sz="900">
                <a:effectLst/>
              </a:rPr>
              <a:t>Kartlegging av ungdoms situasjon og behov.</a:t>
            </a:r>
            <a:endParaRPr lang="nb-NO" sz="900"/>
          </a:p>
          <a:p>
            <a:pPr marL="171450" indent="-171450">
              <a:buFont typeface="Arial" panose="020B0604020202020204" pitchFamily="34" charset="0"/>
              <a:buChar char="•"/>
            </a:pPr>
            <a:r>
              <a:rPr lang="nb-NO" sz="900">
                <a:effectLst/>
              </a:rPr>
              <a:t>Tilrettelegging for å få ungdom tilbake til utdannings eller arbeid.</a:t>
            </a:r>
            <a:endParaRPr lang="nb-NO" sz="900"/>
          </a:p>
          <a:p>
            <a:pPr marL="171450" indent="-171450">
              <a:buFont typeface="Arial" panose="020B0604020202020204" pitchFamily="34" charset="0"/>
              <a:buChar char="•"/>
            </a:pPr>
            <a:r>
              <a:rPr lang="nb-NO" sz="900">
                <a:effectLst/>
              </a:rPr>
              <a:t>Samarbeid med skoler, fagopplæring og andre støtteinstanser.</a:t>
            </a:r>
            <a:endParaRPr lang="nb-NO" sz="900"/>
          </a:p>
          <a:p>
            <a:pPr marL="171450" indent="-171450">
              <a:buFont typeface="Arial" panose="020B0604020202020204" pitchFamily="34" charset="0"/>
              <a:buChar char="•"/>
            </a:pPr>
            <a:r>
              <a:rPr lang="nb-NO" sz="900">
                <a:effectLst/>
              </a:rPr>
              <a:t>Registrering og rapportering av oppfølging i VIGO.</a:t>
            </a:r>
            <a:endParaRPr lang="nb-NO" sz="900"/>
          </a:p>
        </p:txBody>
      </p:sp>
      <p:pic>
        <p:nvPicPr>
          <p:cNvPr id="11" name="Bilde 10">
            <a:extLst>
              <a:ext uri="{FF2B5EF4-FFF2-40B4-BE49-F238E27FC236}">
                <a16:creationId xmlns:a16="http://schemas.microsoft.com/office/drawing/2014/main" id="{6C07619F-2F81-6D6E-96E7-0C30A1962810}"/>
              </a:ext>
            </a:extLst>
          </p:cNvPr>
          <p:cNvPicPr>
            <a:picLocks noChangeAspect="1"/>
          </p:cNvPicPr>
          <p:nvPr/>
        </p:nvPicPr>
        <p:blipFill>
          <a:blip r:embed="rId6"/>
          <a:stretch>
            <a:fillRect/>
          </a:stretch>
        </p:blipFill>
        <p:spPr>
          <a:xfrm>
            <a:off x="4411919" y="1041811"/>
            <a:ext cx="228600" cy="711200"/>
          </a:xfrm>
          <a:prstGeom prst="rect">
            <a:avLst/>
          </a:prstGeom>
        </p:spPr>
      </p:pic>
      <p:sp>
        <p:nvSpPr>
          <p:cNvPr id="12" name="TekstSylinder 11">
            <a:extLst>
              <a:ext uri="{FF2B5EF4-FFF2-40B4-BE49-F238E27FC236}">
                <a16:creationId xmlns:a16="http://schemas.microsoft.com/office/drawing/2014/main" id="{D75A669C-C289-EEFD-0DEE-D331B26A25A4}"/>
              </a:ext>
            </a:extLst>
          </p:cNvPr>
          <p:cNvSpPr txBox="1"/>
          <p:nvPr/>
        </p:nvSpPr>
        <p:spPr>
          <a:xfrm>
            <a:off x="4681521" y="921859"/>
            <a:ext cx="3099304" cy="1777410"/>
          </a:xfrm>
          <a:prstGeom prst="rect">
            <a:avLst/>
          </a:prstGeom>
          <a:noFill/>
        </p:spPr>
        <p:txBody>
          <a:bodyPr wrap="square" rtlCol="0">
            <a:spAutoFit/>
          </a:bodyPr>
          <a:lstStyle/>
          <a:p>
            <a:r>
              <a:rPr lang="nb-NO" sz="1050" b="1">
                <a:effectLst/>
              </a:rPr>
              <a:t>Skoleledere og administrasjon</a:t>
            </a:r>
            <a:endParaRPr lang="nb-NO" sz="1050"/>
          </a:p>
          <a:p>
            <a:endParaRPr lang="nb-NO" sz="900">
              <a:effectLst/>
            </a:endParaRPr>
          </a:p>
          <a:p>
            <a:r>
              <a:rPr lang="nb-NO" sz="900">
                <a:effectLst/>
              </a:rPr>
              <a:t>Rektorer, avdelingsledere og administrativt ansatte ved videregående skoler, samt skoleledere/VIGO-ansvarlige ved grunnskoler.</a:t>
            </a:r>
            <a:br>
              <a:rPr lang="nb-NO" sz="900"/>
            </a:br>
            <a:endParaRPr lang="nb-NO" sz="900"/>
          </a:p>
          <a:p>
            <a:r>
              <a:rPr lang="nb-NO" sz="900">
                <a:effectLst/>
              </a:rPr>
              <a:t>Oppgaver</a:t>
            </a:r>
          </a:p>
          <a:p>
            <a:pPr marL="171450" indent="-171450">
              <a:buFont typeface="Arial" panose="020B0604020202020204" pitchFamily="34" charset="0"/>
              <a:buChar char="•"/>
            </a:pPr>
            <a:r>
              <a:rPr lang="nb-NO" sz="900">
                <a:effectLst/>
              </a:rPr>
              <a:t>Oversikt over elevinntak og klassedannelser.</a:t>
            </a:r>
            <a:endParaRPr lang="nb-NO" sz="900"/>
          </a:p>
          <a:p>
            <a:pPr marL="171450" indent="-171450">
              <a:buFont typeface="Arial" panose="020B0604020202020204" pitchFamily="34" charset="0"/>
              <a:buChar char="•"/>
            </a:pPr>
            <a:r>
              <a:rPr lang="nb-NO" sz="900">
                <a:effectLst/>
              </a:rPr>
              <a:t>Samarbeid med fylkeskommunene om kapasitet og ressurser.</a:t>
            </a:r>
            <a:endParaRPr lang="nb-NO" sz="900"/>
          </a:p>
          <a:p>
            <a:pPr marL="171450" indent="-171450">
              <a:buFont typeface="Arial" panose="020B0604020202020204" pitchFamily="34" charset="0"/>
              <a:buChar char="•"/>
            </a:pPr>
            <a:r>
              <a:rPr lang="nb-NO" sz="900">
                <a:effectLst/>
              </a:rPr>
              <a:t>Tilgang til rapporter og analyser for skoleutvikling.</a:t>
            </a:r>
            <a:endParaRPr lang="nb-NO" sz="900"/>
          </a:p>
          <a:p>
            <a:endParaRPr lang="nb-NO" sz="900"/>
          </a:p>
        </p:txBody>
      </p:sp>
      <p:pic>
        <p:nvPicPr>
          <p:cNvPr id="13" name="Bilde 12">
            <a:extLst>
              <a:ext uri="{FF2B5EF4-FFF2-40B4-BE49-F238E27FC236}">
                <a16:creationId xmlns:a16="http://schemas.microsoft.com/office/drawing/2014/main" id="{F8FCD3D4-A60B-85EA-4E93-11A6E56C1ADC}"/>
              </a:ext>
            </a:extLst>
          </p:cNvPr>
          <p:cNvPicPr>
            <a:picLocks noChangeAspect="1"/>
          </p:cNvPicPr>
          <p:nvPr/>
        </p:nvPicPr>
        <p:blipFill>
          <a:blip r:embed="rId6"/>
          <a:stretch>
            <a:fillRect/>
          </a:stretch>
        </p:blipFill>
        <p:spPr>
          <a:xfrm>
            <a:off x="4411919" y="2906469"/>
            <a:ext cx="228600" cy="711200"/>
          </a:xfrm>
          <a:prstGeom prst="rect">
            <a:avLst/>
          </a:prstGeom>
        </p:spPr>
      </p:pic>
      <p:sp>
        <p:nvSpPr>
          <p:cNvPr id="14" name="TekstSylinder 13">
            <a:extLst>
              <a:ext uri="{FF2B5EF4-FFF2-40B4-BE49-F238E27FC236}">
                <a16:creationId xmlns:a16="http://schemas.microsoft.com/office/drawing/2014/main" id="{B91F0243-7AEB-F142-F2C2-E83918362EA5}"/>
              </a:ext>
            </a:extLst>
          </p:cNvPr>
          <p:cNvSpPr txBox="1"/>
          <p:nvPr/>
        </p:nvSpPr>
        <p:spPr>
          <a:xfrm>
            <a:off x="4681522" y="2779629"/>
            <a:ext cx="3099304" cy="1361911"/>
          </a:xfrm>
          <a:prstGeom prst="rect">
            <a:avLst/>
          </a:prstGeom>
          <a:noFill/>
        </p:spPr>
        <p:txBody>
          <a:bodyPr wrap="square" rtlCol="0">
            <a:spAutoFit/>
          </a:bodyPr>
          <a:lstStyle/>
          <a:p>
            <a:r>
              <a:rPr lang="nb-NO" sz="1050" b="1">
                <a:effectLst/>
              </a:rPr>
              <a:t>Dataforvaltere</a:t>
            </a:r>
            <a:endParaRPr lang="nb-NO" sz="900"/>
          </a:p>
          <a:p>
            <a:endParaRPr lang="nb-NO" sz="900">
              <a:effectLst/>
            </a:endParaRPr>
          </a:p>
          <a:p>
            <a:r>
              <a:rPr lang="nb-NO" sz="900">
                <a:effectLst/>
              </a:rPr>
              <a:t>Institusjoner som Utdanningsdirektoratet, Statistisk sentralbyrå, og Lånekassen.</a:t>
            </a:r>
          </a:p>
          <a:p>
            <a:endParaRPr lang="nb-NO" sz="900"/>
          </a:p>
          <a:p>
            <a:r>
              <a:rPr lang="nb-NO" sz="900">
                <a:effectLst/>
              </a:rPr>
              <a:t>Oppgaver</a:t>
            </a:r>
            <a:endParaRPr lang="nb-NO" sz="900"/>
          </a:p>
          <a:p>
            <a:pPr marL="171450" indent="-171450">
              <a:buFont typeface="Arial" panose="020B0604020202020204" pitchFamily="34" charset="0"/>
              <a:buChar char="•"/>
            </a:pPr>
            <a:r>
              <a:rPr lang="nb-NO" sz="900">
                <a:effectLst/>
              </a:rPr>
              <a:t>Mottak av data for nasjonal statistikk og analyse.</a:t>
            </a:r>
            <a:endParaRPr lang="nb-NO" sz="900"/>
          </a:p>
          <a:p>
            <a:pPr marL="171450" indent="-171450">
              <a:buFont typeface="Arial" panose="020B0604020202020204" pitchFamily="34" charset="0"/>
              <a:buChar char="•"/>
            </a:pPr>
            <a:r>
              <a:rPr lang="nb-NO" sz="900">
                <a:effectLst/>
              </a:rPr>
              <a:t>Oppfølging av økonomiske støtteordninger for elever.</a:t>
            </a:r>
            <a:endParaRPr lang="nb-NO" sz="900"/>
          </a:p>
          <a:p>
            <a:pPr marL="171450" indent="-171450">
              <a:buFont typeface="Arial" panose="020B0604020202020204" pitchFamily="34" charset="0"/>
              <a:buChar char="•"/>
            </a:pPr>
            <a:r>
              <a:rPr lang="nb-NO" sz="900">
                <a:effectLst/>
              </a:rPr>
              <a:t>Utvikling og tilpasning av regelverk og nasjonale føringer.</a:t>
            </a:r>
            <a:endParaRPr lang="nb-NO" sz="900"/>
          </a:p>
        </p:txBody>
      </p:sp>
      <p:sp>
        <p:nvSpPr>
          <p:cNvPr id="44" name="Avrundet rektangel 43">
            <a:extLst>
              <a:ext uri="{FF2B5EF4-FFF2-40B4-BE49-F238E27FC236}">
                <a16:creationId xmlns:a16="http://schemas.microsoft.com/office/drawing/2014/main" id="{0E7BA19A-9A33-1E0E-5986-C996246D45A5}"/>
              </a:ext>
            </a:extLst>
          </p:cNvPr>
          <p:cNvSpPr/>
          <p:nvPr/>
        </p:nvSpPr>
        <p:spPr>
          <a:xfrm>
            <a:off x="7923350" y="921288"/>
            <a:ext cx="3517602" cy="240918"/>
          </a:xfrm>
          <a:prstGeom prst="roundRect">
            <a:avLst>
              <a:gd name="adj" fmla="val 50000"/>
            </a:avLst>
          </a:prstGeom>
          <a:solidFill>
            <a:schemeClr val="accent2">
              <a:lumMod val="20000"/>
              <a:lumOff val="80000"/>
            </a:schemeClr>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5" name="Bilde 14">
            <a:extLst>
              <a:ext uri="{FF2B5EF4-FFF2-40B4-BE49-F238E27FC236}">
                <a16:creationId xmlns:a16="http://schemas.microsoft.com/office/drawing/2014/main" id="{07C8B79A-84E4-7284-ADB4-AD83CEE94D0D}"/>
              </a:ext>
            </a:extLst>
          </p:cNvPr>
          <p:cNvPicPr>
            <a:picLocks noChangeAspect="1"/>
          </p:cNvPicPr>
          <p:nvPr/>
        </p:nvPicPr>
        <p:blipFill>
          <a:blip r:embed="rId6"/>
          <a:stretch>
            <a:fillRect/>
          </a:stretch>
        </p:blipFill>
        <p:spPr>
          <a:xfrm>
            <a:off x="4411919" y="4605096"/>
            <a:ext cx="228600" cy="711200"/>
          </a:xfrm>
          <a:prstGeom prst="rect">
            <a:avLst/>
          </a:prstGeom>
        </p:spPr>
      </p:pic>
      <p:sp>
        <p:nvSpPr>
          <p:cNvPr id="16" name="TekstSylinder 15">
            <a:extLst>
              <a:ext uri="{FF2B5EF4-FFF2-40B4-BE49-F238E27FC236}">
                <a16:creationId xmlns:a16="http://schemas.microsoft.com/office/drawing/2014/main" id="{DC0B43C7-ADE9-5566-628B-A44A002BBB74}"/>
              </a:ext>
            </a:extLst>
          </p:cNvPr>
          <p:cNvSpPr txBox="1"/>
          <p:nvPr/>
        </p:nvSpPr>
        <p:spPr>
          <a:xfrm>
            <a:off x="4681522" y="4518597"/>
            <a:ext cx="3099304" cy="1615827"/>
          </a:xfrm>
          <a:prstGeom prst="rect">
            <a:avLst/>
          </a:prstGeom>
          <a:noFill/>
        </p:spPr>
        <p:txBody>
          <a:bodyPr wrap="square" rtlCol="0">
            <a:spAutoFit/>
          </a:bodyPr>
          <a:lstStyle/>
          <a:p>
            <a:r>
              <a:rPr lang="nb-NO" sz="900" b="1">
                <a:effectLst/>
              </a:rPr>
              <a:t>Lærebedrifter og </a:t>
            </a:r>
            <a:r>
              <a:rPr lang="nb-NO" sz="900" b="1"/>
              <a:t>samarbeidsorgan for bedrifter</a:t>
            </a:r>
            <a:endParaRPr lang="nb-NO" sz="900"/>
          </a:p>
          <a:p>
            <a:endParaRPr lang="nb-NO" sz="900">
              <a:effectLst/>
            </a:endParaRPr>
          </a:p>
          <a:p>
            <a:r>
              <a:rPr lang="nb-NO" sz="900">
                <a:effectLst/>
              </a:rPr>
              <a:t>Bedrifter og kontorer som tilbyr læreplasser og følger opp lærlinger.</a:t>
            </a:r>
            <a:br>
              <a:rPr lang="nb-NO" sz="900"/>
            </a:br>
            <a:endParaRPr lang="nb-NO" sz="900"/>
          </a:p>
          <a:p>
            <a:r>
              <a:rPr lang="nb-NO" sz="900">
                <a:effectLst/>
              </a:rPr>
              <a:t>Oppgaver</a:t>
            </a:r>
            <a:endParaRPr lang="nb-NO" sz="900"/>
          </a:p>
          <a:p>
            <a:pPr marL="171450" indent="-171450">
              <a:buFont typeface="Arial" panose="020B0604020202020204" pitchFamily="34" charset="0"/>
              <a:buChar char="•"/>
            </a:pPr>
            <a:r>
              <a:rPr lang="nb-NO" sz="900">
                <a:effectLst/>
              </a:rPr>
              <a:t>Registrering og oppfølging av lærlingens progresjon.</a:t>
            </a:r>
            <a:endParaRPr lang="nb-NO" sz="900"/>
          </a:p>
          <a:p>
            <a:pPr marL="171450" indent="-171450">
              <a:buFont typeface="Arial" panose="020B0604020202020204" pitchFamily="34" charset="0"/>
              <a:buChar char="•"/>
            </a:pPr>
            <a:r>
              <a:rPr lang="nb-NO" sz="900">
                <a:effectLst/>
              </a:rPr>
              <a:t>Godkjenning av kompetansemål og evaluering av opplæring.</a:t>
            </a:r>
            <a:endParaRPr lang="nb-NO" sz="900"/>
          </a:p>
          <a:p>
            <a:endParaRPr lang="nb-NO" sz="900"/>
          </a:p>
          <a:p>
            <a:endParaRPr lang="nb-NO" sz="900"/>
          </a:p>
        </p:txBody>
      </p:sp>
      <p:pic>
        <p:nvPicPr>
          <p:cNvPr id="17" name="Bilde 16">
            <a:extLst>
              <a:ext uri="{FF2B5EF4-FFF2-40B4-BE49-F238E27FC236}">
                <a16:creationId xmlns:a16="http://schemas.microsoft.com/office/drawing/2014/main" id="{EA7AED2E-1465-0C0F-D864-324C925C78F4}"/>
              </a:ext>
            </a:extLst>
          </p:cNvPr>
          <p:cNvPicPr>
            <a:picLocks noChangeAspect="1"/>
          </p:cNvPicPr>
          <p:nvPr/>
        </p:nvPicPr>
        <p:blipFill>
          <a:blip r:embed="rId6"/>
          <a:stretch>
            <a:fillRect/>
          </a:stretch>
        </p:blipFill>
        <p:spPr>
          <a:xfrm>
            <a:off x="8007735" y="1041811"/>
            <a:ext cx="228600" cy="711200"/>
          </a:xfrm>
          <a:prstGeom prst="rect">
            <a:avLst/>
          </a:prstGeom>
        </p:spPr>
      </p:pic>
      <p:sp>
        <p:nvSpPr>
          <p:cNvPr id="18" name="TekstSylinder 17">
            <a:extLst>
              <a:ext uri="{FF2B5EF4-FFF2-40B4-BE49-F238E27FC236}">
                <a16:creationId xmlns:a16="http://schemas.microsoft.com/office/drawing/2014/main" id="{566ABD66-19FC-9CBE-F935-F3218FE4D038}"/>
              </a:ext>
            </a:extLst>
          </p:cNvPr>
          <p:cNvSpPr txBox="1"/>
          <p:nvPr/>
        </p:nvSpPr>
        <p:spPr>
          <a:xfrm>
            <a:off x="8277337" y="921859"/>
            <a:ext cx="3258680" cy="1500411"/>
          </a:xfrm>
          <a:prstGeom prst="rect">
            <a:avLst/>
          </a:prstGeom>
          <a:noFill/>
        </p:spPr>
        <p:txBody>
          <a:bodyPr wrap="square" rtlCol="0">
            <a:spAutoFit/>
          </a:bodyPr>
          <a:lstStyle/>
          <a:p>
            <a:r>
              <a:rPr lang="nb-NO" sz="1050" b="1">
                <a:effectLst/>
              </a:rPr>
              <a:t>Kodeverksbasen</a:t>
            </a:r>
            <a:endParaRPr lang="nb-NO" sz="900"/>
          </a:p>
          <a:p>
            <a:endParaRPr lang="nb-NO" sz="900">
              <a:effectLst/>
            </a:endParaRPr>
          </a:p>
          <a:p>
            <a:r>
              <a:rPr lang="nb-NO" sz="900">
                <a:effectLst/>
              </a:rPr>
              <a:t>Systemadministratorer, fagopplæringsansvarlige, inntaksansvarlige og nasjonale aktører som Utdanningsdirektoratet.</a:t>
            </a:r>
            <a:br>
              <a:rPr lang="nb-NO" sz="900"/>
            </a:br>
            <a:endParaRPr lang="nb-NO" sz="900"/>
          </a:p>
          <a:p>
            <a:r>
              <a:rPr lang="nb-NO" sz="900">
                <a:effectLst/>
              </a:rPr>
              <a:t>Oppgaver</a:t>
            </a:r>
            <a:endParaRPr lang="nb-NO" sz="900"/>
          </a:p>
          <a:p>
            <a:pPr marL="171450" indent="-171450">
              <a:buFont typeface="Arial" panose="020B0604020202020204" pitchFamily="34" charset="0"/>
              <a:buChar char="•"/>
            </a:pPr>
            <a:r>
              <a:rPr lang="nb-NO" sz="900">
                <a:effectLst/>
              </a:rPr>
              <a:t>Administrasjon av koder (fag, skoler, program, læreplan).</a:t>
            </a:r>
            <a:endParaRPr lang="nb-NO" sz="900"/>
          </a:p>
          <a:p>
            <a:pPr marL="171450" indent="-171450">
              <a:buFont typeface="Arial" panose="020B0604020202020204" pitchFamily="34" charset="0"/>
              <a:buChar char="•"/>
            </a:pPr>
            <a:r>
              <a:rPr lang="nb-NO" sz="900">
                <a:effectLst/>
              </a:rPr>
              <a:t>Tilgjengeliggjøring av kodeverk.</a:t>
            </a:r>
            <a:endParaRPr lang="nb-NO" sz="900"/>
          </a:p>
          <a:p>
            <a:endParaRPr lang="nb-NO" sz="900"/>
          </a:p>
        </p:txBody>
      </p:sp>
      <p:pic>
        <p:nvPicPr>
          <p:cNvPr id="19" name="Bilde 18">
            <a:extLst>
              <a:ext uri="{FF2B5EF4-FFF2-40B4-BE49-F238E27FC236}">
                <a16:creationId xmlns:a16="http://schemas.microsoft.com/office/drawing/2014/main" id="{23C2B90A-410C-A9A3-5F8E-AC0C7C094AE0}"/>
              </a:ext>
            </a:extLst>
          </p:cNvPr>
          <p:cNvPicPr>
            <a:picLocks noChangeAspect="1"/>
          </p:cNvPicPr>
          <p:nvPr/>
        </p:nvPicPr>
        <p:blipFill>
          <a:blip r:embed="rId6"/>
          <a:stretch>
            <a:fillRect/>
          </a:stretch>
        </p:blipFill>
        <p:spPr>
          <a:xfrm>
            <a:off x="8007735" y="2906469"/>
            <a:ext cx="228600" cy="711200"/>
          </a:xfrm>
          <a:prstGeom prst="rect">
            <a:avLst/>
          </a:prstGeom>
        </p:spPr>
      </p:pic>
      <p:sp>
        <p:nvSpPr>
          <p:cNvPr id="20" name="TekstSylinder 19">
            <a:extLst>
              <a:ext uri="{FF2B5EF4-FFF2-40B4-BE49-F238E27FC236}">
                <a16:creationId xmlns:a16="http://schemas.microsoft.com/office/drawing/2014/main" id="{93359649-F4B0-BF89-D5D1-8131FAEC09D5}"/>
              </a:ext>
            </a:extLst>
          </p:cNvPr>
          <p:cNvSpPr txBox="1"/>
          <p:nvPr/>
        </p:nvSpPr>
        <p:spPr>
          <a:xfrm>
            <a:off x="8277337" y="2779629"/>
            <a:ext cx="3258680" cy="1777410"/>
          </a:xfrm>
          <a:prstGeom prst="rect">
            <a:avLst/>
          </a:prstGeom>
          <a:noFill/>
        </p:spPr>
        <p:txBody>
          <a:bodyPr wrap="square" rtlCol="0">
            <a:spAutoFit/>
          </a:bodyPr>
          <a:lstStyle/>
          <a:p>
            <a:r>
              <a:rPr lang="nb-NO" sz="1050" b="1">
                <a:effectLst/>
              </a:rPr>
              <a:t>Læreplassregnskapet</a:t>
            </a:r>
            <a:endParaRPr lang="nb-NO" sz="900"/>
          </a:p>
          <a:p>
            <a:endParaRPr lang="nb-NO" sz="900">
              <a:effectLst/>
            </a:endParaRPr>
          </a:p>
          <a:p>
            <a:r>
              <a:rPr lang="nb-NO" sz="900">
                <a:effectLst/>
              </a:rPr>
              <a:t>Fagopplæringsansvarlige, lærebedrifter, og opplærings-kontor. Brukerne av tjenesten er lærere ved yrkesfaglig opplæring. Læreplassverket er en del av VIGO som gir en oversikt over tilgjengelige læreplasser og lærlinger.</a:t>
            </a:r>
            <a:endParaRPr lang="nb-NO" sz="900"/>
          </a:p>
          <a:p>
            <a:br>
              <a:rPr lang="nb-NO" sz="900"/>
            </a:br>
            <a:r>
              <a:rPr lang="nb-NO" sz="900">
                <a:effectLst/>
              </a:rPr>
              <a:t>Oppgaver</a:t>
            </a:r>
            <a:endParaRPr lang="nb-NO" sz="900"/>
          </a:p>
          <a:p>
            <a:pPr marL="171450" indent="-171450">
              <a:buFont typeface="Arial" panose="020B0604020202020204" pitchFamily="34" charset="0"/>
              <a:buChar char="•"/>
            </a:pPr>
            <a:r>
              <a:rPr lang="nb-NO" sz="900">
                <a:effectLst/>
              </a:rPr>
              <a:t>Administrasjon av læreplasser.</a:t>
            </a:r>
            <a:endParaRPr lang="nb-NO" sz="900"/>
          </a:p>
          <a:p>
            <a:pPr marL="171450" indent="-171450">
              <a:buFont typeface="Arial" panose="020B0604020202020204" pitchFamily="34" charset="0"/>
              <a:buChar char="•"/>
            </a:pPr>
            <a:r>
              <a:rPr lang="nb-NO" sz="900">
                <a:effectLst/>
              </a:rPr>
              <a:t>Kobling av lærlinger og læreplasser.</a:t>
            </a:r>
            <a:endParaRPr lang="nb-NO" sz="900"/>
          </a:p>
          <a:p>
            <a:pPr marL="171450" indent="-171450">
              <a:buFont typeface="Arial" panose="020B0604020202020204" pitchFamily="34" charset="0"/>
              <a:buChar char="•"/>
            </a:pPr>
            <a:r>
              <a:rPr lang="nb-NO" sz="900">
                <a:effectLst/>
              </a:rPr>
              <a:t>Rapportering.</a:t>
            </a:r>
            <a:endParaRPr lang="nb-NO" sz="900"/>
          </a:p>
          <a:p>
            <a:pPr marL="171450" indent="-171450">
              <a:buFont typeface="Arial" panose="020B0604020202020204" pitchFamily="34" charset="0"/>
              <a:buChar char="•"/>
            </a:pPr>
            <a:r>
              <a:rPr lang="nb-NO" sz="900">
                <a:effectLst/>
              </a:rPr>
              <a:t>Oppfølging av lærlinger.</a:t>
            </a:r>
            <a:endParaRPr lang="nb-NO" sz="900"/>
          </a:p>
        </p:txBody>
      </p:sp>
      <p:sp>
        <p:nvSpPr>
          <p:cNvPr id="2" name="Google Shape;1007;g2e0683f995c_0_0">
            <a:extLst>
              <a:ext uri="{FF2B5EF4-FFF2-40B4-BE49-F238E27FC236}">
                <a16:creationId xmlns:a16="http://schemas.microsoft.com/office/drawing/2014/main" id="{63A5CA06-D1A5-9BA6-237B-7E2E97F8713C}"/>
              </a:ext>
            </a:extLst>
          </p:cNvPr>
          <p:cNvSpPr txBox="1">
            <a:spLocks/>
          </p:cNvSpPr>
          <p:nvPr/>
        </p:nvSpPr>
        <p:spPr>
          <a:xfrm>
            <a:off x="382000" y="486981"/>
            <a:ext cx="11520900" cy="538974"/>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nb-NO" sz="2200" i="0" u="none" strike="noStrike" kern="0" cap="none" spc="0" normalizeH="0" baseline="0" noProof="0">
                <a:ln>
                  <a:noFill/>
                </a:ln>
                <a:solidFill>
                  <a:schemeClr val="accent1"/>
                </a:solidFill>
                <a:effectLst/>
                <a:uLnTx/>
                <a:uFillTx/>
                <a:latin typeface="Brockmann"/>
                <a:sym typeface="Calibri"/>
              </a:rPr>
              <a:t>Tjenester| </a:t>
            </a:r>
            <a:r>
              <a:rPr lang="nb-NO" sz="2200" kern="0">
                <a:solidFill>
                  <a:schemeClr val="accent1"/>
                </a:solidFill>
                <a:latin typeface="Brockmann"/>
                <a:ea typeface="+mn-ea"/>
                <a:sym typeface="Georgia"/>
              </a:rPr>
              <a:t>Administrative brukere</a:t>
            </a:r>
            <a:endParaRPr kumimoji="0" lang="nb-NO" sz="2200" i="0" u="none" strike="noStrike" kern="0" cap="none" spc="0" normalizeH="0" baseline="0" noProof="0">
              <a:ln>
                <a:noFill/>
              </a:ln>
              <a:solidFill>
                <a:schemeClr val="accent1"/>
              </a:solidFill>
              <a:effectLst/>
              <a:uLnTx/>
              <a:uFillTx/>
              <a:latin typeface="Brockmann"/>
              <a:sym typeface="Calibri"/>
            </a:endParaRPr>
          </a:p>
        </p:txBody>
      </p:sp>
    </p:spTree>
    <p:extLst>
      <p:ext uri="{BB962C8B-B14F-4D97-AF65-F5344CB8AC3E}">
        <p14:creationId xmlns:p14="http://schemas.microsoft.com/office/powerpoint/2010/main" val="37911363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3127703-EB3C-BF65-624E-F4D15543B0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63127703-EB3C-BF65-624E-F4D15543B0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Avrundet rektangel 64">
            <a:extLst>
              <a:ext uri="{FF2B5EF4-FFF2-40B4-BE49-F238E27FC236}">
                <a16:creationId xmlns:a16="http://schemas.microsoft.com/office/drawing/2014/main" id="{DF403158-350F-FD8D-BCDB-C12B779BDC0B}"/>
              </a:ext>
            </a:extLst>
          </p:cNvPr>
          <p:cNvSpPr/>
          <p:nvPr/>
        </p:nvSpPr>
        <p:spPr>
          <a:xfrm>
            <a:off x="4332028" y="1176816"/>
            <a:ext cx="3517602" cy="240918"/>
          </a:xfrm>
          <a:prstGeom prst="roundRect">
            <a:avLst>
              <a:gd name="adj" fmla="val 50000"/>
            </a:avLst>
          </a:prstGeom>
          <a:solidFill>
            <a:schemeClr val="tx2">
              <a:lumMod val="10000"/>
              <a:lumOff val="90000"/>
            </a:schemeClr>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6" name="Avrundet rektangel 65">
            <a:extLst>
              <a:ext uri="{FF2B5EF4-FFF2-40B4-BE49-F238E27FC236}">
                <a16:creationId xmlns:a16="http://schemas.microsoft.com/office/drawing/2014/main" id="{3F95C118-DD6D-A2A4-4136-1E969E5CDE9B}"/>
              </a:ext>
            </a:extLst>
          </p:cNvPr>
          <p:cNvSpPr/>
          <p:nvPr/>
        </p:nvSpPr>
        <p:spPr>
          <a:xfrm>
            <a:off x="742672" y="1176815"/>
            <a:ext cx="3517602" cy="240918"/>
          </a:xfrm>
          <a:prstGeom prst="roundRect">
            <a:avLst>
              <a:gd name="adj" fmla="val 50000"/>
            </a:avLst>
          </a:prstGeom>
          <a:solidFill>
            <a:schemeClr val="tx2">
              <a:lumMod val="10000"/>
              <a:lumOff val="90000"/>
            </a:schemeClr>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7" name="Avrundet rektangel 66">
            <a:extLst>
              <a:ext uri="{FF2B5EF4-FFF2-40B4-BE49-F238E27FC236}">
                <a16:creationId xmlns:a16="http://schemas.microsoft.com/office/drawing/2014/main" id="{3302E860-3F29-0B1F-0191-7A18B0AA767F}"/>
              </a:ext>
            </a:extLst>
          </p:cNvPr>
          <p:cNvSpPr/>
          <p:nvPr/>
        </p:nvSpPr>
        <p:spPr>
          <a:xfrm>
            <a:off x="7923350" y="1176816"/>
            <a:ext cx="3517602" cy="240918"/>
          </a:xfrm>
          <a:prstGeom prst="roundRect">
            <a:avLst>
              <a:gd name="adj" fmla="val 50000"/>
            </a:avLst>
          </a:prstGeom>
          <a:solidFill>
            <a:schemeClr val="tx2">
              <a:lumMod val="10000"/>
              <a:lumOff val="90000"/>
            </a:schemeClr>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 name="TekstSylinder 49">
            <a:extLst>
              <a:ext uri="{FF2B5EF4-FFF2-40B4-BE49-F238E27FC236}">
                <a16:creationId xmlns:a16="http://schemas.microsoft.com/office/drawing/2014/main" id="{D1050BD4-46A3-C9A3-8095-E8F3B919D313}"/>
              </a:ext>
            </a:extLst>
          </p:cNvPr>
          <p:cNvSpPr txBox="1"/>
          <p:nvPr/>
        </p:nvSpPr>
        <p:spPr>
          <a:xfrm>
            <a:off x="1098063" y="1177881"/>
            <a:ext cx="3018245" cy="1361911"/>
          </a:xfrm>
          <a:prstGeom prst="rect">
            <a:avLst/>
          </a:prstGeom>
          <a:noFill/>
        </p:spPr>
        <p:txBody>
          <a:bodyPr wrap="square" rtlCol="0">
            <a:spAutoFit/>
          </a:bodyPr>
          <a:lstStyle/>
          <a:p>
            <a:r>
              <a:rPr lang="nb-NO" sz="1050" b="1">
                <a:effectLst/>
              </a:rPr>
              <a:t>Søkere</a:t>
            </a:r>
            <a:endParaRPr lang="nb-NO" sz="900"/>
          </a:p>
          <a:p>
            <a:endParaRPr lang="nb-NO" sz="900">
              <a:effectLst/>
            </a:endParaRPr>
          </a:p>
          <a:p>
            <a:r>
              <a:rPr lang="nb-NO" sz="900">
                <a:effectLst/>
              </a:rPr>
              <a:t>Søkere til videregående opplæring og elever i videregående opplæring.</a:t>
            </a:r>
            <a:endParaRPr lang="nb-NO" sz="900"/>
          </a:p>
          <a:p>
            <a:endParaRPr lang="nb-NO" sz="900"/>
          </a:p>
          <a:p>
            <a:r>
              <a:rPr lang="nb-NO" sz="900">
                <a:effectLst/>
              </a:rPr>
              <a:t>Oppgaver</a:t>
            </a:r>
            <a:endParaRPr lang="nb-NO" sz="900"/>
          </a:p>
          <a:p>
            <a:pPr marL="171450" indent="-171450">
              <a:buFont typeface="Arial" panose="020B0604020202020204" pitchFamily="34" charset="0"/>
              <a:buChar char="•"/>
            </a:pPr>
            <a:r>
              <a:rPr lang="nb-NO" sz="900">
                <a:effectLst/>
              </a:rPr>
              <a:t>Søknad til skoler og programområder gjennom VIGO.</a:t>
            </a:r>
            <a:endParaRPr lang="nb-NO" sz="900"/>
          </a:p>
          <a:p>
            <a:pPr marL="171450" indent="-171450">
              <a:buFont typeface="Arial" panose="020B0604020202020204" pitchFamily="34" charset="0"/>
              <a:buChar char="•"/>
            </a:pPr>
            <a:r>
              <a:rPr lang="nb-NO" sz="900">
                <a:effectLst/>
              </a:rPr>
              <a:t>Overvåking av søknadsstatus og oppfølging av tilbud.</a:t>
            </a:r>
            <a:endParaRPr lang="nb-NO" sz="900"/>
          </a:p>
          <a:p>
            <a:pPr marL="171450" indent="-171450">
              <a:buFont typeface="Arial" panose="020B0604020202020204" pitchFamily="34" charset="0"/>
              <a:buChar char="•"/>
            </a:pPr>
            <a:r>
              <a:rPr lang="nb-NO" sz="900">
                <a:effectLst/>
              </a:rPr>
              <a:t>Kommunikasjon med skoler og fylkeskommuner.</a:t>
            </a:r>
            <a:endParaRPr lang="nb-NO" sz="900"/>
          </a:p>
        </p:txBody>
      </p:sp>
      <p:sp>
        <p:nvSpPr>
          <p:cNvPr id="52" name="TekstSylinder 51">
            <a:extLst>
              <a:ext uri="{FF2B5EF4-FFF2-40B4-BE49-F238E27FC236}">
                <a16:creationId xmlns:a16="http://schemas.microsoft.com/office/drawing/2014/main" id="{7E402E51-1209-34D6-E889-5FAED6907BF2}"/>
              </a:ext>
            </a:extLst>
          </p:cNvPr>
          <p:cNvSpPr txBox="1"/>
          <p:nvPr/>
        </p:nvSpPr>
        <p:spPr>
          <a:xfrm>
            <a:off x="4681521" y="1177881"/>
            <a:ext cx="2935262" cy="1223412"/>
          </a:xfrm>
          <a:prstGeom prst="rect">
            <a:avLst/>
          </a:prstGeom>
          <a:noFill/>
        </p:spPr>
        <p:txBody>
          <a:bodyPr wrap="square" rtlCol="0">
            <a:spAutoFit/>
          </a:bodyPr>
          <a:lstStyle/>
          <a:p>
            <a:r>
              <a:rPr lang="nb-NO" sz="1050" b="1">
                <a:effectLst/>
              </a:rPr>
              <a:t>Lærlinger</a:t>
            </a:r>
            <a:endParaRPr lang="nb-NO" sz="900"/>
          </a:p>
          <a:p>
            <a:endParaRPr lang="nb-NO" sz="900">
              <a:effectLst/>
            </a:endParaRPr>
          </a:p>
          <a:p>
            <a:r>
              <a:rPr lang="nb-NO" sz="900">
                <a:effectLst/>
              </a:rPr>
              <a:t>Ungdommer i videregående opplæring som søker læreplass eller er lærlinger.</a:t>
            </a:r>
            <a:endParaRPr lang="nb-NO" sz="900"/>
          </a:p>
          <a:p>
            <a:endParaRPr lang="nb-NO" sz="900"/>
          </a:p>
          <a:p>
            <a:r>
              <a:rPr lang="nb-NO" sz="900">
                <a:effectLst/>
              </a:rPr>
              <a:t>Oppgaver</a:t>
            </a:r>
            <a:endParaRPr lang="nb-NO" sz="900"/>
          </a:p>
          <a:p>
            <a:pPr marL="171450" indent="-171450">
              <a:buFont typeface="Arial" panose="020B0604020202020204" pitchFamily="34" charset="0"/>
              <a:buChar char="•"/>
            </a:pPr>
            <a:r>
              <a:rPr lang="nb-NO" sz="900">
                <a:effectLst/>
              </a:rPr>
              <a:t>Søke læreplass.</a:t>
            </a:r>
            <a:endParaRPr lang="nb-NO" sz="900"/>
          </a:p>
          <a:p>
            <a:pPr marL="171450" indent="-171450">
              <a:buFont typeface="Arial" panose="020B0604020202020204" pitchFamily="34" charset="0"/>
              <a:buChar char="•"/>
            </a:pPr>
            <a:r>
              <a:rPr lang="nb-NO" sz="900">
                <a:effectLst/>
              </a:rPr>
              <a:t>Følge opp eget opplæringsløp.</a:t>
            </a:r>
            <a:endParaRPr lang="nb-NO" sz="900"/>
          </a:p>
        </p:txBody>
      </p:sp>
      <p:sp>
        <p:nvSpPr>
          <p:cNvPr id="55" name="TekstSylinder 54">
            <a:extLst>
              <a:ext uri="{FF2B5EF4-FFF2-40B4-BE49-F238E27FC236}">
                <a16:creationId xmlns:a16="http://schemas.microsoft.com/office/drawing/2014/main" id="{F8FDC471-B1CC-9B8A-E65B-E511F48A132F}"/>
              </a:ext>
            </a:extLst>
          </p:cNvPr>
          <p:cNvSpPr txBox="1"/>
          <p:nvPr/>
        </p:nvSpPr>
        <p:spPr>
          <a:xfrm>
            <a:off x="8277337" y="1177881"/>
            <a:ext cx="3086202" cy="1500411"/>
          </a:xfrm>
          <a:prstGeom prst="rect">
            <a:avLst/>
          </a:prstGeom>
          <a:noFill/>
        </p:spPr>
        <p:txBody>
          <a:bodyPr wrap="square" rtlCol="0">
            <a:spAutoFit/>
          </a:bodyPr>
          <a:lstStyle/>
          <a:p>
            <a:r>
              <a:rPr lang="nb-NO" sz="1050" b="1">
                <a:effectLst/>
              </a:rPr>
              <a:t>Ungdommer i Oppfølgingstjenesten</a:t>
            </a:r>
            <a:endParaRPr lang="nb-NO" sz="1050"/>
          </a:p>
          <a:p>
            <a:endParaRPr lang="nb-NO" sz="900">
              <a:effectLst/>
            </a:endParaRPr>
          </a:p>
          <a:p>
            <a:r>
              <a:rPr lang="nb-NO" sz="900">
                <a:effectLst/>
              </a:rPr>
              <a:t>Ungdommer opp til 24 år som har falt ut av eller ikke påbegynt videregående opplæring, og som blir fulgt opp av Oppfølgingstjenesten.</a:t>
            </a:r>
            <a:endParaRPr lang="nb-NO" sz="900"/>
          </a:p>
          <a:p>
            <a:endParaRPr lang="nb-NO" sz="900"/>
          </a:p>
          <a:p>
            <a:r>
              <a:rPr lang="nb-NO" sz="900">
                <a:effectLst/>
              </a:rPr>
              <a:t>Oppgaver</a:t>
            </a:r>
            <a:endParaRPr lang="nb-NO" sz="900"/>
          </a:p>
          <a:p>
            <a:pPr marL="171450" indent="-171450">
              <a:buFont typeface="Arial" panose="020B0604020202020204" pitchFamily="34" charset="0"/>
              <a:buChar char="•"/>
            </a:pPr>
            <a:r>
              <a:rPr lang="nb-NO" sz="900">
                <a:effectLst/>
              </a:rPr>
              <a:t>Ungdommene har ingen direkte kontakt med systemet, men de følges opp av OT-rådgivere og påvirker deres behov i systemet.</a:t>
            </a:r>
            <a:endParaRPr lang="nb-NO" sz="900"/>
          </a:p>
        </p:txBody>
      </p:sp>
      <p:pic>
        <p:nvPicPr>
          <p:cNvPr id="59" name="Bilde 58">
            <a:extLst>
              <a:ext uri="{FF2B5EF4-FFF2-40B4-BE49-F238E27FC236}">
                <a16:creationId xmlns:a16="http://schemas.microsoft.com/office/drawing/2014/main" id="{0190ACB1-06E8-D695-D78A-75EE323BF9D9}"/>
              </a:ext>
            </a:extLst>
          </p:cNvPr>
          <p:cNvPicPr>
            <a:picLocks noChangeAspect="1"/>
          </p:cNvPicPr>
          <p:nvPr/>
        </p:nvPicPr>
        <p:blipFill>
          <a:blip r:embed="rId6"/>
          <a:stretch>
            <a:fillRect/>
          </a:stretch>
        </p:blipFill>
        <p:spPr>
          <a:xfrm>
            <a:off x="856763" y="1296053"/>
            <a:ext cx="241300" cy="698500"/>
          </a:xfrm>
          <a:prstGeom prst="rect">
            <a:avLst/>
          </a:prstGeom>
        </p:spPr>
      </p:pic>
      <p:pic>
        <p:nvPicPr>
          <p:cNvPr id="60" name="Bilde 59">
            <a:extLst>
              <a:ext uri="{FF2B5EF4-FFF2-40B4-BE49-F238E27FC236}">
                <a16:creationId xmlns:a16="http://schemas.microsoft.com/office/drawing/2014/main" id="{C01CC755-970D-F931-35A0-8DBC59935984}"/>
              </a:ext>
            </a:extLst>
          </p:cNvPr>
          <p:cNvPicPr>
            <a:picLocks noChangeAspect="1"/>
          </p:cNvPicPr>
          <p:nvPr/>
        </p:nvPicPr>
        <p:blipFill>
          <a:blip r:embed="rId6"/>
          <a:stretch>
            <a:fillRect/>
          </a:stretch>
        </p:blipFill>
        <p:spPr>
          <a:xfrm>
            <a:off x="4450355" y="1296053"/>
            <a:ext cx="241300" cy="698500"/>
          </a:xfrm>
          <a:prstGeom prst="rect">
            <a:avLst/>
          </a:prstGeom>
        </p:spPr>
      </p:pic>
      <p:pic>
        <p:nvPicPr>
          <p:cNvPr id="61" name="Bilde 60">
            <a:extLst>
              <a:ext uri="{FF2B5EF4-FFF2-40B4-BE49-F238E27FC236}">
                <a16:creationId xmlns:a16="http://schemas.microsoft.com/office/drawing/2014/main" id="{CB0EEDB7-B9B4-40F5-160E-183C891754FE}"/>
              </a:ext>
            </a:extLst>
          </p:cNvPr>
          <p:cNvPicPr>
            <a:picLocks noChangeAspect="1"/>
          </p:cNvPicPr>
          <p:nvPr/>
        </p:nvPicPr>
        <p:blipFill>
          <a:blip r:embed="rId6"/>
          <a:stretch>
            <a:fillRect/>
          </a:stretch>
        </p:blipFill>
        <p:spPr>
          <a:xfrm>
            <a:off x="8035028" y="1296053"/>
            <a:ext cx="241300" cy="698500"/>
          </a:xfrm>
          <a:prstGeom prst="rect">
            <a:avLst/>
          </a:prstGeom>
        </p:spPr>
      </p:pic>
      <p:sp>
        <p:nvSpPr>
          <p:cNvPr id="2" name="Google Shape;1007;g2e0683f995c_0_0">
            <a:extLst>
              <a:ext uri="{FF2B5EF4-FFF2-40B4-BE49-F238E27FC236}">
                <a16:creationId xmlns:a16="http://schemas.microsoft.com/office/drawing/2014/main" id="{4C522372-CF75-F889-8FD3-6615B331642F}"/>
              </a:ext>
            </a:extLst>
          </p:cNvPr>
          <p:cNvSpPr txBox="1">
            <a:spLocks/>
          </p:cNvSpPr>
          <p:nvPr/>
        </p:nvSpPr>
        <p:spPr>
          <a:xfrm>
            <a:off x="382000" y="486981"/>
            <a:ext cx="11520900" cy="538974"/>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nb-NO" sz="2200" i="0" u="none" strike="noStrike" kern="0" cap="none" spc="0" normalizeH="0" baseline="0" noProof="0">
                <a:ln>
                  <a:noFill/>
                </a:ln>
                <a:solidFill>
                  <a:schemeClr val="accent1"/>
                </a:solidFill>
                <a:effectLst/>
                <a:uLnTx/>
                <a:uFillTx/>
                <a:latin typeface="Brockmann"/>
                <a:sym typeface="Calibri"/>
              </a:rPr>
              <a:t>Tjenester| </a:t>
            </a:r>
            <a:r>
              <a:rPr lang="nb-NO" sz="2200" kern="0">
                <a:solidFill>
                  <a:schemeClr val="accent1"/>
                </a:solidFill>
                <a:latin typeface="Brockmann"/>
                <a:ea typeface="+mn-ea"/>
                <a:sym typeface="Georgia"/>
              </a:rPr>
              <a:t>Eksterne brukere</a:t>
            </a:r>
            <a:endParaRPr kumimoji="0" lang="nb-NO" sz="2200" i="0" u="none" strike="noStrike" kern="0" cap="none" spc="0" normalizeH="0" baseline="0" noProof="0">
              <a:ln>
                <a:noFill/>
              </a:ln>
              <a:solidFill>
                <a:schemeClr val="accent1"/>
              </a:solidFill>
              <a:effectLst/>
              <a:uLnTx/>
              <a:uFillTx/>
              <a:latin typeface="Brockmann"/>
              <a:sym typeface="Calibri"/>
            </a:endParaRPr>
          </a:p>
        </p:txBody>
      </p:sp>
    </p:spTree>
    <p:extLst>
      <p:ext uri="{BB962C8B-B14F-4D97-AF65-F5344CB8AC3E}">
        <p14:creationId xmlns:p14="http://schemas.microsoft.com/office/powerpoint/2010/main" val="8814180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013028-0BE7-8F29-7900-A4C43B87876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B3E476D-4781-0AA7-331D-6A1E43276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CB3E476D-4781-0AA7-331D-6A1E432768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4B068C6A-6D5D-1B7E-98B8-EBB84C6F325B}"/>
              </a:ext>
            </a:extLst>
          </p:cNvPr>
          <p:cNvSpPr>
            <a:spLocks noGrp="1"/>
          </p:cNvSpPr>
          <p:nvPr>
            <p:ph type="sldNum" sz="quarter" idx="12"/>
          </p:nvPr>
        </p:nvSpPr>
        <p:spPr/>
        <p:txBody>
          <a:bodyPr/>
          <a:lstStyle/>
          <a:p>
            <a:fld id="{BE2ACD00-28B2-4D17-A930-2C9F8441C7CA}" type="slidenum">
              <a:rPr lang="nb-NO" smtClean="0"/>
              <a:pPr/>
              <a:t>13</a:t>
            </a:fld>
            <a:endParaRPr lang="nb-NO"/>
          </a:p>
        </p:txBody>
      </p:sp>
      <p:sp>
        <p:nvSpPr>
          <p:cNvPr id="5" name="Google Shape;1007;g2e0683f995c_0_0">
            <a:extLst>
              <a:ext uri="{FF2B5EF4-FFF2-40B4-BE49-F238E27FC236}">
                <a16:creationId xmlns:a16="http://schemas.microsoft.com/office/drawing/2014/main" id="{20BC26A3-DAB7-6082-5A51-B0AADD8823A4}"/>
              </a:ext>
            </a:extLst>
          </p:cNvPr>
          <p:cNvSpPr txBox="1">
            <a:spLocks/>
          </p:cNvSpPr>
          <p:nvPr/>
        </p:nvSpPr>
        <p:spPr>
          <a:xfrm>
            <a:off x="382000" y="486981"/>
            <a:ext cx="11520900" cy="538974"/>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nb-NO" sz="3200" i="0" u="none" strike="noStrike" kern="0" cap="none" spc="0" normalizeH="0" baseline="0" noProof="0">
                <a:ln>
                  <a:noFill/>
                </a:ln>
                <a:solidFill>
                  <a:schemeClr val="accent1"/>
                </a:solidFill>
                <a:effectLst/>
                <a:uLnTx/>
                <a:uFillTx/>
                <a:latin typeface="Brockmann"/>
                <a:sym typeface="Calibri"/>
              </a:rPr>
              <a:t>Status og veien videre</a:t>
            </a:r>
          </a:p>
        </p:txBody>
      </p:sp>
    </p:spTree>
    <p:extLst>
      <p:ext uri="{BB962C8B-B14F-4D97-AF65-F5344CB8AC3E}">
        <p14:creationId xmlns:p14="http://schemas.microsoft.com/office/powerpoint/2010/main" val="31200091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A8A700-3520-3C23-B2A9-5FFA0E06BB2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E828D76-99F9-B83A-9ADD-D23B7ED47A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6" name="think-cell data - do not delete" hidden="1">
                        <a:extLst>
                          <a:ext uri="{FF2B5EF4-FFF2-40B4-BE49-F238E27FC236}">
                            <a16:creationId xmlns:a16="http://schemas.microsoft.com/office/drawing/2014/main" id="{5E828D76-99F9-B83A-9ADD-D23B7ED47A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Google Shape;1225;g2a6dd372bc6_0_0">
            <a:extLst>
              <a:ext uri="{FF2B5EF4-FFF2-40B4-BE49-F238E27FC236}">
                <a16:creationId xmlns:a16="http://schemas.microsoft.com/office/drawing/2014/main" id="{3CFC0804-DB36-F7AF-902C-A0ECE4EE7A0E}"/>
              </a:ext>
            </a:extLst>
          </p:cNvPr>
          <p:cNvSpPr txBox="1">
            <a:spLocks noGrp="1"/>
          </p:cNvSpPr>
          <p:nvPr>
            <p:ph type="title"/>
          </p:nvPr>
        </p:nvSpPr>
        <p:spPr>
          <a:xfrm>
            <a:off x="307278" y="220015"/>
            <a:ext cx="11525110" cy="5539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rgbClr val="00207D"/>
              </a:buClr>
              <a:buSzPts val="4000"/>
              <a:buFont typeface="Arial"/>
              <a:buNone/>
            </a:pPr>
            <a:r>
              <a:rPr lang="no-NO"/>
              <a:t>Overordnet prosjektplan </a:t>
            </a:r>
            <a:r>
              <a:rPr lang="nb-NO"/>
              <a:t>for gjennomføringen av anskaffelsen 2025/2026</a:t>
            </a:r>
            <a:br>
              <a:rPr lang="no-NO"/>
            </a:br>
            <a:endParaRPr/>
          </a:p>
        </p:txBody>
      </p:sp>
      <p:sp>
        <p:nvSpPr>
          <p:cNvPr id="8" name="Google Shape;1227;g2a6dd372bc6_0_0">
            <a:extLst>
              <a:ext uri="{FF2B5EF4-FFF2-40B4-BE49-F238E27FC236}">
                <a16:creationId xmlns:a16="http://schemas.microsoft.com/office/drawing/2014/main" id="{BDD61DA2-D8A2-3B27-D065-A113101C3C07}"/>
              </a:ext>
            </a:extLst>
          </p:cNvPr>
          <p:cNvSpPr/>
          <p:nvPr/>
        </p:nvSpPr>
        <p:spPr>
          <a:xfrm>
            <a:off x="89555" y="978885"/>
            <a:ext cx="12038028" cy="5256815"/>
          </a:xfrm>
          <a:prstGeom prst="rect">
            <a:avLst/>
          </a:prstGeom>
          <a:solidFill>
            <a:srgbClr val="F3F3F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latin typeface="+mj-lt"/>
              <a:ea typeface="Arial"/>
              <a:cs typeface="Arial"/>
              <a:sym typeface="Arial"/>
            </a:endParaRPr>
          </a:p>
        </p:txBody>
      </p:sp>
      <p:sp>
        <p:nvSpPr>
          <p:cNvPr id="9" name="Google Shape;1228;g2a6dd372bc6_0_0">
            <a:extLst>
              <a:ext uri="{FF2B5EF4-FFF2-40B4-BE49-F238E27FC236}">
                <a16:creationId xmlns:a16="http://schemas.microsoft.com/office/drawing/2014/main" id="{868AC4C4-D7C7-DB9A-46C9-34F67F69172C}"/>
              </a:ext>
            </a:extLst>
          </p:cNvPr>
          <p:cNvSpPr/>
          <p:nvPr/>
        </p:nvSpPr>
        <p:spPr>
          <a:xfrm>
            <a:off x="181124" y="1487056"/>
            <a:ext cx="11804735" cy="1043383"/>
          </a:xfrm>
          <a:prstGeom prst="rect">
            <a:avLst/>
          </a:prstGeom>
          <a:solidFill>
            <a:srgbClr val="DEDED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latin typeface="+mj-lt"/>
              <a:ea typeface="Arial"/>
              <a:cs typeface="Arial"/>
              <a:sym typeface="Arial"/>
            </a:endParaRPr>
          </a:p>
        </p:txBody>
      </p:sp>
      <p:sp>
        <p:nvSpPr>
          <p:cNvPr id="10" name="Google Shape;1229;g2a6dd372bc6_0_0">
            <a:extLst>
              <a:ext uri="{FF2B5EF4-FFF2-40B4-BE49-F238E27FC236}">
                <a16:creationId xmlns:a16="http://schemas.microsoft.com/office/drawing/2014/main" id="{6229D1AD-CF07-739F-6FB1-08149ABAA43F}"/>
              </a:ext>
            </a:extLst>
          </p:cNvPr>
          <p:cNvSpPr/>
          <p:nvPr/>
        </p:nvSpPr>
        <p:spPr>
          <a:xfrm>
            <a:off x="181124" y="2569839"/>
            <a:ext cx="11804735" cy="2475186"/>
          </a:xfrm>
          <a:prstGeom prst="rect">
            <a:avLst/>
          </a:prstGeom>
          <a:solidFill>
            <a:srgbClr val="DEDED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latin typeface="+mj-lt"/>
              <a:ea typeface="Arial"/>
              <a:cs typeface="Arial"/>
              <a:sym typeface="Arial"/>
            </a:endParaRPr>
          </a:p>
        </p:txBody>
      </p:sp>
      <p:sp>
        <p:nvSpPr>
          <p:cNvPr id="12" name="Google Shape;1231;g2a6dd372bc6_0_0">
            <a:extLst>
              <a:ext uri="{FF2B5EF4-FFF2-40B4-BE49-F238E27FC236}">
                <a16:creationId xmlns:a16="http://schemas.microsoft.com/office/drawing/2014/main" id="{004EEA7F-773E-0363-E2BD-1087D0F4DFE4}"/>
              </a:ext>
            </a:extLst>
          </p:cNvPr>
          <p:cNvSpPr/>
          <p:nvPr/>
        </p:nvSpPr>
        <p:spPr>
          <a:xfrm>
            <a:off x="181124" y="5079513"/>
            <a:ext cx="11804735" cy="962514"/>
          </a:xfrm>
          <a:prstGeom prst="rect">
            <a:avLst/>
          </a:prstGeom>
          <a:solidFill>
            <a:srgbClr val="DEDED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latin typeface="+mj-lt"/>
              <a:ea typeface="Arial"/>
              <a:cs typeface="Arial"/>
              <a:sym typeface="Arial"/>
            </a:endParaRPr>
          </a:p>
        </p:txBody>
      </p:sp>
      <p:sp>
        <p:nvSpPr>
          <p:cNvPr id="13" name="Google Shape;1232;g2a6dd372bc6_0_0">
            <a:extLst>
              <a:ext uri="{FF2B5EF4-FFF2-40B4-BE49-F238E27FC236}">
                <a16:creationId xmlns:a16="http://schemas.microsoft.com/office/drawing/2014/main" id="{46F27D45-EEB1-53D2-AE39-67BDF0F26967}"/>
              </a:ext>
            </a:extLst>
          </p:cNvPr>
          <p:cNvSpPr/>
          <p:nvPr/>
        </p:nvSpPr>
        <p:spPr>
          <a:xfrm>
            <a:off x="204688" y="1078532"/>
            <a:ext cx="1176900" cy="3549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67"/>
              <a:buFont typeface="Arial"/>
              <a:buNone/>
            </a:pPr>
            <a:r>
              <a:rPr lang="no-NO" sz="1467" b="1" i="0" u="none" strike="noStrike" cap="none">
                <a:latin typeface="+mj-lt"/>
                <a:ea typeface="Arial"/>
                <a:cs typeface="Arial"/>
                <a:sym typeface="Arial"/>
              </a:rPr>
              <a:t>Aktivitet</a:t>
            </a:r>
            <a:endParaRPr sz="1400" b="0" i="0" u="none" strike="noStrike" cap="none">
              <a:latin typeface="+mj-lt"/>
              <a:ea typeface="Arial"/>
              <a:cs typeface="Arial"/>
              <a:sym typeface="Arial"/>
            </a:endParaRPr>
          </a:p>
        </p:txBody>
      </p:sp>
      <p:sp>
        <p:nvSpPr>
          <p:cNvPr id="14" name="Google Shape;1233;g2a6dd372bc6_0_0">
            <a:extLst>
              <a:ext uri="{FF2B5EF4-FFF2-40B4-BE49-F238E27FC236}">
                <a16:creationId xmlns:a16="http://schemas.microsoft.com/office/drawing/2014/main" id="{A8284601-4BF2-34C4-F197-4CA18435918E}"/>
              </a:ext>
            </a:extLst>
          </p:cNvPr>
          <p:cNvSpPr/>
          <p:nvPr/>
        </p:nvSpPr>
        <p:spPr>
          <a:xfrm>
            <a:off x="181124" y="1779171"/>
            <a:ext cx="1636431" cy="647976"/>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067"/>
              <a:buFont typeface="Arial"/>
              <a:buNone/>
            </a:pPr>
            <a:r>
              <a:rPr lang="nb-NO" sz="1000" b="1">
                <a:latin typeface="+mj-lt"/>
                <a:ea typeface="Arial"/>
                <a:cs typeface="Arial"/>
                <a:sym typeface="Arial"/>
              </a:rPr>
              <a:t>Kvalitetssikring</a:t>
            </a:r>
          </a:p>
          <a:p>
            <a:pPr marL="0" marR="0" lvl="0" indent="0" algn="l" rtl="0">
              <a:lnSpc>
                <a:spcPct val="100000"/>
              </a:lnSpc>
              <a:spcBef>
                <a:spcPts val="0"/>
              </a:spcBef>
              <a:spcAft>
                <a:spcPts val="400"/>
              </a:spcAft>
              <a:buClr>
                <a:srgbClr val="000000"/>
              </a:buClr>
              <a:buSzPts val="1067"/>
              <a:buFont typeface="Arial"/>
              <a:buNone/>
            </a:pPr>
            <a:r>
              <a:rPr lang="nb-NO" sz="1000">
                <a:latin typeface="+mj-lt"/>
                <a:ea typeface="Arial"/>
                <a:cs typeface="Arial"/>
                <a:sym typeface="Arial"/>
              </a:rPr>
              <a:t>Utarbeide konkurransegrunnlaget</a:t>
            </a:r>
          </a:p>
          <a:p>
            <a:pPr marL="0" marR="0" lvl="0" indent="0" algn="l" rtl="0">
              <a:lnSpc>
                <a:spcPct val="100000"/>
              </a:lnSpc>
              <a:spcBef>
                <a:spcPts val="0"/>
              </a:spcBef>
              <a:spcAft>
                <a:spcPts val="400"/>
              </a:spcAft>
              <a:buClr>
                <a:srgbClr val="000000"/>
              </a:buClr>
              <a:buSzPts val="1067"/>
              <a:buFont typeface="Arial"/>
              <a:buNone/>
            </a:pPr>
            <a:r>
              <a:rPr lang="nb-NO" sz="1000">
                <a:latin typeface="+mj-lt"/>
                <a:ea typeface="Arial"/>
                <a:cs typeface="Arial"/>
                <a:sym typeface="Arial"/>
              </a:rPr>
              <a:t>Intern høring av</a:t>
            </a:r>
          </a:p>
          <a:p>
            <a:pPr marL="0" marR="0" lvl="0" indent="0" algn="l" rtl="0">
              <a:lnSpc>
                <a:spcPct val="100000"/>
              </a:lnSpc>
              <a:spcBef>
                <a:spcPts val="0"/>
              </a:spcBef>
              <a:spcAft>
                <a:spcPts val="400"/>
              </a:spcAft>
              <a:buClr>
                <a:srgbClr val="000000"/>
              </a:buClr>
              <a:buSzPts val="1067"/>
              <a:buFont typeface="Arial"/>
              <a:buNone/>
            </a:pPr>
            <a:r>
              <a:rPr lang="nb-NO" sz="1000">
                <a:latin typeface="+mj-lt"/>
                <a:ea typeface="Arial"/>
                <a:cs typeface="Arial"/>
                <a:sym typeface="Arial"/>
              </a:rPr>
              <a:t>konkurransegrunnlaget</a:t>
            </a:r>
          </a:p>
          <a:p>
            <a:pPr marL="0" marR="0" lvl="0" indent="0" algn="l" rtl="0">
              <a:lnSpc>
                <a:spcPct val="100000"/>
              </a:lnSpc>
              <a:spcBef>
                <a:spcPts val="0"/>
              </a:spcBef>
              <a:spcAft>
                <a:spcPts val="0"/>
              </a:spcAft>
              <a:buClr>
                <a:srgbClr val="000000"/>
              </a:buClr>
              <a:buSzPts val="1067"/>
              <a:buFont typeface="Arial"/>
              <a:buNone/>
            </a:pPr>
            <a:endParaRPr sz="1000" b="0" i="0" u="none" strike="noStrike" cap="none">
              <a:latin typeface="+mj-lt"/>
              <a:ea typeface="Arial"/>
              <a:cs typeface="Arial"/>
              <a:sym typeface="Arial"/>
            </a:endParaRPr>
          </a:p>
        </p:txBody>
      </p:sp>
      <p:sp>
        <p:nvSpPr>
          <p:cNvPr id="15" name="Google Shape;1234;g2a6dd372bc6_0_0">
            <a:extLst>
              <a:ext uri="{FF2B5EF4-FFF2-40B4-BE49-F238E27FC236}">
                <a16:creationId xmlns:a16="http://schemas.microsoft.com/office/drawing/2014/main" id="{A9B97E62-A54B-6BF5-095F-64750B32D5FA}"/>
              </a:ext>
            </a:extLst>
          </p:cNvPr>
          <p:cNvSpPr/>
          <p:nvPr/>
        </p:nvSpPr>
        <p:spPr>
          <a:xfrm>
            <a:off x="144916" y="2480771"/>
            <a:ext cx="1755300" cy="2564254"/>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067"/>
              <a:buFont typeface="Arial"/>
              <a:buNone/>
            </a:pPr>
            <a:r>
              <a:rPr lang="nb-NO" sz="1000" b="1">
                <a:latin typeface="+mj-lt"/>
                <a:ea typeface="Arial"/>
                <a:cs typeface="Arial"/>
                <a:sym typeface="Arial"/>
              </a:rPr>
              <a:t>Gjennomføre konkurranse</a:t>
            </a:r>
            <a:endParaRPr lang="nb-NO" sz="1000">
              <a:latin typeface="+mj-lt"/>
              <a:ea typeface="Arial"/>
              <a:cs typeface="Arial"/>
              <a:sym typeface="Arial"/>
            </a:endParaRPr>
          </a:p>
          <a:p>
            <a:pPr marL="0" marR="0" lvl="0" indent="0" algn="l" rtl="0">
              <a:lnSpc>
                <a:spcPct val="100000"/>
              </a:lnSpc>
              <a:spcBef>
                <a:spcPts val="0"/>
              </a:spcBef>
              <a:spcAft>
                <a:spcPts val="500"/>
              </a:spcAft>
              <a:buClr>
                <a:srgbClr val="000000"/>
              </a:buClr>
              <a:buSzPts val="1067"/>
              <a:buFont typeface="Arial"/>
              <a:buNone/>
            </a:pPr>
            <a:r>
              <a:rPr lang="nb-NO" sz="1000" b="0" i="0" u="none" strike="noStrike" cap="none">
                <a:latin typeface="+mj-lt"/>
                <a:ea typeface="Arial"/>
                <a:cs typeface="Arial"/>
                <a:sym typeface="Arial"/>
              </a:rPr>
              <a:t>Utlysning</a:t>
            </a:r>
          </a:p>
          <a:p>
            <a:pPr marL="0" marR="0" lvl="0" indent="0" algn="l" rtl="0">
              <a:lnSpc>
                <a:spcPct val="100000"/>
              </a:lnSpc>
              <a:spcBef>
                <a:spcPts val="0"/>
              </a:spcBef>
              <a:spcAft>
                <a:spcPts val="500"/>
              </a:spcAft>
              <a:buClr>
                <a:srgbClr val="000000"/>
              </a:buClr>
              <a:buSzPts val="1067"/>
              <a:buFont typeface="Arial"/>
              <a:buNone/>
            </a:pPr>
            <a:r>
              <a:rPr lang="nb-NO" sz="1000" b="0" i="0" u="none" strike="noStrike" cap="none">
                <a:latin typeface="+mj-lt"/>
                <a:ea typeface="Arial"/>
                <a:cs typeface="Arial"/>
                <a:sym typeface="Arial"/>
              </a:rPr>
              <a:t>Prekvalifisering</a:t>
            </a:r>
          </a:p>
          <a:p>
            <a:pPr marL="0" marR="0" lvl="0" indent="0" algn="l" rtl="0">
              <a:lnSpc>
                <a:spcPct val="100000"/>
              </a:lnSpc>
              <a:spcBef>
                <a:spcPts val="0"/>
              </a:spcBef>
              <a:spcAft>
                <a:spcPts val="500"/>
              </a:spcAft>
              <a:buClr>
                <a:srgbClr val="000000"/>
              </a:buClr>
              <a:buSzPts val="1067"/>
              <a:buFont typeface="Arial"/>
              <a:buNone/>
            </a:pPr>
            <a:r>
              <a:rPr lang="nb-NO" sz="1000" b="0" i="0" u="none" strike="noStrike" cap="none">
                <a:latin typeface="+mj-lt"/>
                <a:ea typeface="Arial"/>
                <a:cs typeface="Arial"/>
                <a:sym typeface="Arial"/>
              </a:rPr>
              <a:t>Tilbudsinnlevering </a:t>
            </a:r>
          </a:p>
          <a:p>
            <a:pPr marL="0" marR="0" lvl="0" indent="0" algn="l" rtl="0">
              <a:lnSpc>
                <a:spcPct val="100000"/>
              </a:lnSpc>
              <a:spcBef>
                <a:spcPts val="0"/>
              </a:spcBef>
              <a:spcAft>
                <a:spcPts val="500"/>
              </a:spcAft>
              <a:buClr>
                <a:srgbClr val="000000"/>
              </a:buClr>
              <a:buSzPts val="1067"/>
              <a:buFont typeface="Arial"/>
              <a:buNone/>
            </a:pPr>
            <a:r>
              <a:rPr lang="nb-NO" sz="1000">
                <a:latin typeface="+mj-lt"/>
                <a:ea typeface="Arial"/>
                <a:cs typeface="Arial"/>
                <a:sym typeface="Arial"/>
              </a:rPr>
              <a:t>Evaluering </a:t>
            </a:r>
            <a:endParaRPr lang="nb-NO" sz="1000" b="0" i="0" u="none" strike="noStrike" cap="none">
              <a:latin typeface="+mj-lt"/>
              <a:ea typeface="Arial"/>
              <a:cs typeface="Arial"/>
              <a:sym typeface="Arial"/>
            </a:endParaRPr>
          </a:p>
          <a:p>
            <a:pPr marL="0" marR="0" lvl="0" indent="0" algn="l" rtl="0">
              <a:lnSpc>
                <a:spcPct val="100000"/>
              </a:lnSpc>
              <a:spcBef>
                <a:spcPts val="0"/>
              </a:spcBef>
              <a:spcAft>
                <a:spcPts val="500"/>
              </a:spcAft>
              <a:buClr>
                <a:srgbClr val="000000"/>
              </a:buClr>
              <a:buSzPts val="1067"/>
              <a:buFont typeface="Arial"/>
              <a:buNone/>
            </a:pPr>
            <a:r>
              <a:rPr lang="nb-NO" sz="1000" b="0" i="0" u="none" strike="noStrike" cap="none">
                <a:latin typeface="+mj-lt"/>
                <a:ea typeface="Arial"/>
                <a:cs typeface="Arial"/>
                <a:sym typeface="Arial"/>
              </a:rPr>
              <a:t>Innkalling til forhandlinger Forhandlinger</a:t>
            </a:r>
          </a:p>
          <a:p>
            <a:pPr marL="0" marR="0" lvl="0" indent="0" algn="l" rtl="0">
              <a:lnSpc>
                <a:spcPct val="100000"/>
              </a:lnSpc>
              <a:spcBef>
                <a:spcPts val="0"/>
              </a:spcBef>
              <a:spcAft>
                <a:spcPts val="500"/>
              </a:spcAft>
              <a:buClr>
                <a:srgbClr val="000000"/>
              </a:buClr>
              <a:buSzPts val="1067"/>
              <a:buFont typeface="Arial"/>
              <a:buNone/>
            </a:pPr>
            <a:r>
              <a:rPr lang="nb-NO" sz="1000">
                <a:latin typeface="+mj-lt"/>
                <a:ea typeface="Arial"/>
                <a:cs typeface="Arial"/>
                <a:sym typeface="Arial"/>
              </a:rPr>
              <a:t>Ny evaluering </a:t>
            </a:r>
          </a:p>
          <a:p>
            <a:pPr marL="0" marR="0" lvl="0" indent="0" algn="l" rtl="0">
              <a:lnSpc>
                <a:spcPct val="100000"/>
              </a:lnSpc>
              <a:spcBef>
                <a:spcPts val="0"/>
              </a:spcBef>
              <a:spcAft>
                <a:spcPts val="500"/>
              </a:spcAft>
              <a:buClr>
                <a:srgbClr val="000000"/>
              </a:buClr>
              <a:buSzPts val="1067"/>
              <a:buFont typeface="Arial"/>
              <a:buNone/>
            </a:pPr>
            <a:r>
              <a:rPr lang="nb-NO" sz="1000">
                <a:latin typeface="+mj-lt"/>
                <a:ea typeface="Arial"/>
                <a:cs typeface="Arial"/>
                <a:sym typeface="Arial"/>
              </a:rPr>
              <a:t>Referansesjekk av leverandør</a:t>
            </a:r>
          </a:p>
          <a:p>
            <a:pPr marL="0" marR="0" lvl="0" indent="0" algn="l" rtl="0">
              <a:lnSpc>
                <a:spcPct val="100000"/>
              </a:lnSpc>
              <a:spcBef>
                <a:spcPts val="0"/>
              </a:spcBef>
              <a:spcAft>
                <a:spcPts val="500"/>
              </a:spcAft>
              <a:buClr>
                <a:srgbClr val="000000"/>
              </a:buClr>
              <a:buSzPts val="1067"/>
              <a:buFont typeface="Arial"/>
              <a:buNone/>
            </a:pPr>
            <a:r>
              <a:rPr lang="nb-NO" sz="1000">
                <a:latin typeface="+mj-lt"/>
                <a:ea typeface="Arial"/>
                <a:cs typeface="Arial"/>
                <a:sym typeface="Arial"/>
              </a:rPr>
              <a:t>Velge leverandør</a:t>
            </a:r>
          </a:p>
          <a:p>
            <a:pPr marL="0" marR="0" lvl="0" indent="0" algn="l" rtl="0">
              <a:lnSpc>
                <a:spcPct val="100000"/>
              </a:lnSpc>
              <a:spcBef>
                <a:spcPts val="0"/>
              </a:spcBef>
              <a:spcAft>
                <a:spcPts val="500"/>
              </a:spcAft>
              <a:buClr>
                <a:srgbClr val="000000"/>
              </a:buClr>
              <a:buSzPts val="1067"/>
              <a:buFont typeface="Arial"/>
              <a:buNone/>
            </a:pPr>
            <a:r>
              <a:rPr lang="nb-NO" sz="1000">
                <a:latin typeface="+mj-lt"/>
                <a:ea typeface="Arial"/>
                <a:cs typeface="Arial"/>
                <a:sym typeface="Arial"/>
              </a:rPr>
              <a:t>Meddele valg av leverandør</a:t>
            </a:r>
          </a:p>
          <a:p>
            <a:pPr marL="0" marR="0" lvl="0" indent="0" algn="l" rtl="0">
              <a:lnSpc>
                <a:spcPct val="100000"/>
              </a:lnSpc>
              <a:spcBef>
                <a:spcPts val="0"/>
              </a:spcBef>
              <a:spcAft>
                <a:spcPts val="500"/>
              </a:spcAft>
              <a:buClr>
                <a:srgbClr val="000000"/>
              </a:buClr>
              <a:buSzPts val="1067"/>
              <a:buFont typeface="Arial"/>
              <a:buNone/>
            </a:pPr>
            <a:r>
              <a:rPr lang="nb-NO" sz="1000">
                <a:latin typeface="+mj-lt"/>
                <a:ea typeface="Arial"/>
                <a:cs typeface="Arial"/>
                <a:sym typeface="Arial"/>
              </a:rPr>
              <a:t>Karensperiode </a:t>
            </a:r>
          </a:p>
          <a:p>
            <a:pPr marL="0" marR="0" lvl="0" indent="0" algn="l" rtl="0">
              <a:lnSpc>
                <a:spcPct val="100000"/>
              </a:lnSpc>
              <a:spcBef>
                <a:spcPts val="0"/>
              </a:spcBef>
              <a:spcAft>
                <a:spcPts val="0"/>
              </a:spcAft>
              <a:buClr>
                <a:srgbClr val="000000"/>
              </a:buClr>
              <a:buSzPts val="1067"/>
              <a:buFont typeface="Arial"/>
              <a:buNone/>
            </a:pPr>
            <a:endParaRPr sz="1000" b="0" i="0" u="none" strike="noStrike" cap="none">
              <a:latin typeface="+mj-lt"/>
              <a:ea typeface="Arial"/>
              <a:cs typeface="Arial"/>
              <a:sym typeface="Arial"/>
            </a:endParaRPr>
          </a:p>
        </p:txBody>
      </p:sp>
      <p:sp>
        <p:nvSpPr>
          <p:cNvPr id="22" name="Google Shape;1241;g2a6dd372bc6_0_0">
            <a:extLst>
              <a:ext uri="{FF2B5EF4-FFF2-40B4-BE49-F238E27FC236}">
                <a16:creationId xmlns:a16="http://schemas.microsoft.com/office/drawing/2014/main" id="{BC331142-9DA5-555B-FBAC-6C0A6D6D9432}"/>
              </a:ext>
            </a:extLst>
          </p:cNvPr>
          <p:cNvSpPr/>
          <p:nvPr/>
        </p:nvSpPr>
        <p:spPr>
          <a:xfrm>
            <a:off x="1781347" y="1090885"/>
            <a:ext cx="915688" cy="3549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FFFFF"/>
              </a:buClr>
              <a:buSzPts val="1467"/>
              <a:buFont typeface="Arial"/>
              <a:buNone/>
            </a:pPr>
            <a:r>
              <a:rPr lang="nb-NO" sz="1200" b="0" i="0" u="none" strike="noStrike" cap="none">
                <a:solidFill>
                  <a:schemeClr val="bg1"/>
                </a:solidFill>
                <a:latin typeface="+mj-lt"/>
                <a:ea typeface="Arial"/>
                <a:cs typeface="Arial"/>
                <a:sym typeface="Arial"/>
              </a:rPr>
              <a:t>August</a:t>
            </a:r>
            <a:endParaRPr sz="1200" b="0" i="0" u="none" strike="noStrike" cap="none">
              <a:solidFill>
                <a:schemeClr val="bg1"/>
              </a:solidFill>
              <a:latin typeface="+mj-lt"/>
              <a:ea typeface="Arial"/>
              <a:cs typeface="Arial"/>
              <a:sym typeface="Arial"/>
            </a:endParaRPr>
          </a:p>
        </p:txBody>
      </p:sp>
      <p:sp>
        <p:nvSpPr>
          <p:cNvPr id="23" name="Google Shape;1242;g2a6dd372bc6_0_0">
            <a:extLst>
              <a:ext uri="{FF2B5EF4-FFF2-40B4-BE49-F238E27FC236}">
                <a16:creationId xmlns:a16="http://schemas.microsoft.com/office/drawing/2014/main" id="{7FDE2B00-A76B-3EF7-E4E6-FD06EA31FA4A}"/>
              </a:ext>
            </a:extLst>
          </p:cNvPr>
          <p:cNvSpPr/>
          <p:nvPr/>
        </p:nvSpPr>
        <p:spPr>
          <a:xfrm>
            <a:off x="1526443" y="1824312"/>
            <a:ext cx="2117315" cy="180432"/>
          </a:xfrm>
          <a:prstGeom prst="homePlate">
            <a:avLst>
              <a:gd name="adj" fmla="val 50000"/>
            </a:avLst>
          </a:pr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nb-NO" sz="800">
                <a:latin typeface="+mj-lt"/>
                <a:ea typeface="Arial"/>
                <a:cs typeface="Arial"/>
                <a:sym typeface="Arial"/>
              </a:rPr>
              <a:t> </a:t>
            </a:r>
            <a:endParaRPr sz="800" b="0" i="0" u="none" strike="noStrike" cap="none">
              <a:latin typeface="+mj-lt"/>
              <a:ea typeface="Arial"/>
              <a:cs typeface="Arial"/>
              <a:sym typeface="Arial"/>
            </a:endParaRPr>
          </a:p>
        </p:txBody>
      </p:sp>
      <p:sp>
        <p:nvSpPr>
          <p:cNvPr id="24" name="Google Shape;1243;g2a6dd372bc6_0_0">
            <a:extLst>
              <a:ext uri="{FF2B5EF4-FFF2-40B4-BE49-F238E27FC236}">
                <a16:creationId xmlns:a16="http://schemas.microsoft.com/office/drawing/2014/main" id="{708B8AC4-20D5-061E-E500-47664CFB7E7A}"/>
              </a:ext>
            </a:extLst>
          </p:cNvPr>
          <p:cNvSpPr/>
          <p:nvPr/>
        </p:nvSpPr>
        <p:spPr>
          <a:xfrm>
            <a:off x="144916" y="5344256"/>
            <a:ext cx="1755300" cy="415417"/>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067"/>
              <a:buFont typeface="Arial"/>
              <a:buNone/>
            </a:pPr>
            <a:r>
              <a:rPr lang="no-NO" sz="1000" b="1" i="0" u="none" strike="noStrike" cap="none">
                <a:latin typeface="+mj-lt"/>
                <a:ea typeface="Arial"/>
                <a:cs typeface="Arial"/>
                <a:sym typeface="Arial"/>
              </a:rPr>
              <a:t>Kontraktsignering</a:t>
            </a:r>
            <a:endParaRPr sz="1000" b="0" i="0" u="none" strike="noStrike" cap="none">
              <a:latin typeface="+mj-lt"/>
              <a:ea typeface="Arial"/>
              <a:cs typeface="Arial"/>
              <a:sym typeface="Arial"/>
            </a:endParaRPr>
          </a:p>
          <a:p>
            <a:pPr marL="0" marR="0" lvl="0" indent="0" algn="l" rtl="0">
              <a:lnSpc>
                <a:spcPct val="100000"/>
              </a:lnSpc>
              <a:spcBef>
                <a:spcPts val="0"/>
              </a:spcBef>
              <a:spcAft>
                <a:spcPts val="300"/>
              </a:spcAft>
              <a:buClr>
                <a:srgbClr val="000000"/>
              </a:buClr>
              <a:buSzPts val="1067"/>
              <a:buFont typeface="Arial"/>
              <a:buNone/>
            </a:pPr>
            <a:r>
              <a:rPr lang="nb-NO" sz="1000">
                <a:latin typeface="+mj-lt"/>
                <a:ea typeface="Arial"/>
                <a:cs typeface="Arial"/>
                <a:sym typeface="Arial"/>
              </a:rPr>
              <a:t>Signere og arkivere kontrakt</a:t>
            </a:r>
          </a:p>
          <a:p>
            <a:pPr marL="0" marR="0" lvl="0" indent="0" algn="l" rtl="0">
              <a:lnSpc>
                <a:spcPct val="100000"/>
              </a:lnSpc>
              <a:spcBef>
                <a:spcPts val="0"/>
              </a:spcBef>
              <a:spcAft>
                <a:spcPts val="300"/>
              </a:spcAft>
              <a:buClr>
                <a:srgbClr val="000000"/>
              </a:buClr>
              <a:buSzPts val="1067"/>
              <a:buFont typeface="Arial"/>
              <a:buNone/>
            </a:pPr>
            <a:r>
              <a:rPr lang="nb-NO" sz="1000" b="0" i="0" u="none" strike="noStrike" cap="none">
                <a:latin typeface="+mj-lt"/>
                <a:ea typeface="Arial"/>
                <a:cs typeface="Arial"/>
                <a:sym typeface="Arial"/>
              </a:rPr>
              <a:t>Kunngjøre inngåelse av kontrakt</a:t>
            </a:r>
          </a:p>
          <a:p>
            <a:pPr marL="0" marR="0" lvl="0" indent="0" algn="l" rtl="0">
              <a:lnSpc>
                <a:spcPct val="100000"/>
              </a:lnSpc>
              <a:spcBef>
                <a:spcPts val="0"/>
              </a:spcBef>
              <a:spcAft>
                <a:spcPts val="300"/>
              </a:spcAft>
              <a:buClr>
                <a:srgbClr val="000000"/>
              </a:buClr>
              <a:buSzPts val="1067"/>
              <a:buFont typeface="Arial"/>
              <a:buNone/>
            </a:pPr>
            <a:r>
              <a:rPr lang="nb-NO" sz="1000">
                <a:latin typeface="+mj-lt"/>
                <a:ea typeface="Arial"/>
                <a:cs typeface="Arial"/>
                <a:sym typeface="Arial"/>
              </a:rPr>
              <a:t>Evaluere konkurransen </a:t>
            </a:r>
            <a:endParaRPr sz="1000" b="0" i="0" u="none" strike="noStrike" cap="none">
              <a:latin typeface="+mj-lt"/>
              <a:ea typeface="Arial"/>
              <a:cs typeface="Arial"/>
              <a:sym typeface="Arial"/>
            </a:endParaRPr>
          </a:p>
        </p:txBody>
      </p:sp>
      <p:sp>
        <p:nvSpPr>
          <p:cNvPr id="26" name="Google Shape;1245;g2a6dd372bc6_0_0">
            <a:extLst>
              <a:ext uri="{FF2B5EF4-FFF2-40B4-BE49-F238E27FC236}">
                <a16:creationId xmlns:a16="http://schemas.microsoft.com/office/drawing/2014/main" id="{5D7D2AC3-BCE8-7085-367E-F6C6AADB1F79}"/>
              </a:ext>
            </a:extLst>
          </p:cNvPr>
          <p:cNvSpPr/>
          <p:nvPr/>
        </p:nvSpPr>
        <p:spPr>
          <a:xfrm>
            <a:off x="10632084" y="5645658"/>
            <a:ext cx="1081605" cy="171938"/>
          </a:xfrm>
          <a:prstGeom prst="homePlate">
            <a:avLst>
              <a:gd name="adj" fmla="val 50000"/>
            </a:avLst>
          </a:pr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FFFFFF"/>
              </a:buClr>
              <a:buSzPts val="1100"/>
              <a:buFont typeface="Arial"/>
              <a:buNone/>
            </a:pPr>
            <a:r>
              <a:rPr lang="no-NO" sz="800" b="0" i="0" u="none" strike="noStrike" cap="none">
                <a:latin typeface="+mj-lt"/>
                <a:ea typeface="Arial"/>
                <a:cs typeface="Arial"/>
                <a:sym typeface="Arial"/>
              </a:rPr>
              <a:t>Signere kontrakt</a:t>
            </a:r>
            <a:endParaRPr sz="800" b="0" i="0" u="none" strike="noStrike" cap="none">
              <a:latin typeface="+mj-lt"/>
              <a:ea typeface="Arial"/>
              <a:cs typeface="Arial"/>
              <a:sym typeface="Arial"/>
            </a:endParaRPr>
          </a:p>
        </p:txBody>
      </p:sp>
      <p:cxnSp>
        <p:nvCxnSpPr>
          <p:cNvPr id="27" name="Google Shape;1246;g2a6dd372bc6_0_0">
            <a:extLst>
              <a:ext uri="{FF2B5EF4-FFF2-40B4-BE49-F238E27FC236}">
                <a16:creationId xmlns:a16="http://schemas.microsoft.com/office/drawing/2014/main" id="{E2F68EF8-88CD-62AA-2164-C6B3C4DC6852}"/>
              </a:ext>
            </a:extLst>
          </p:cNvPr>
          <p:cNvCxnSpPr/>
          <p:nvPr/>
        </p:nvCxnSpPr>
        <p:spPr>
          <a:xfrm>
            <a:off x="11713690" y="5462697"/>
            <a:ext cx="0" cy="320411"/>
          </a:xfrm>
          <a:prstGeom prst="straightConnector1">
            <a:avLst/>
          </a:prstGeom>
          <a:noFill/>
          <a:ln w="19050" cap="flat" cmpd="sng">
            <a:noFill/>
            <a:prstDash val="dot"/>
            <a:miter lim="800000"/>
            <a:headEnd type="none" w="sm" len="sm"/>
            <a:tailEnd type="none" w="sm" len="sm"/>
          </a:ln>
        </p:spPr>
      </p:cxnSp>
      <p:sp>
        <p:nvSpPr>
          <p:cNvPr id="28" name="Google Shape;1247;g2a6dd372bc6_0_0">
            <a:extLst>
              <a:ext uri="{FF2B5EF4-FFF2-40B4-BE49-F238E27FC236}">
                <a16:creationId xmlns:a16="http://schemas.microsoft.com/office/drawing/2014/main" id="{C3EB241B-1854-3A56-5537-F2E43850DBFB}"/>
              </a:ext>
            </a:extLst>
          </p:cNvPr>
          <p:cNvSpPr/>
          <p:nvPr/>
        </p:nvSpPr>
        <p:spPr>
          <a:xfrm>
            <a:off x="10547576" y="5189591"/>
            <a:ext cx="1398900" cy="4932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no-NO" sz="1000" b="1" i="0" u="none" strike="noStrike" cap="none">
                <a:latin typeface="+mj-lt"/>
                <a:ea typeface="Arial"/>
                <a:cs typeface="Arial"/>
                <a:sym typeface="Arial"/>
              </a:rPr>
              <a:t>Kontraktsignering</a:t>
            </a:r>
            <a:endParaRPr sz="1000" b="0" i="0" u="none" strike="noStrike" cap="none">
              <a:latin typeface="+mj-lt"/>
              <a:ea typeface="Arial"/>
              <a:cs typeface="Arial"/>
              <a:sym typeface="Arial"/>
            </a:endParaRPr>
          </a:p>
          <a:p>
            <a:pPr marL="0" marR="0" lvl="0" indent="0" algn="ctr" rtl="0">
              <a:lnSpc>
                <a:spcPct val="100000"/>
              </a:lnSpc>
              <a:spcBef>
                <a:spcPts val="0"/>
              </a:spcBef>
              <a:spcAft>
                <a:spcPts val="0"/>
              </a:spcAft>
              <a:buClr>
                <a:srgbClr val="000000"/>
              </a:buClr>
              <a:buSzPts val="800"/>
              <a:buFont typeface="Arial"/>
              <a:buNone/>
            </a:pPr>
            <a:r>
              <a:rPr lang="nb-NO" sz="1000">
                <a:latin typeface="+mj-lt"/>
                <a:ea typeface="Arial"/>
                <a:cs typeface="Arial"/>
                <a:sym typeface="Arial"/>
              </a:rPr>
              <a:t>Ultimo Juni 26</a:t>
            </a:r>
            <a:endParaRPr sz="1000" b="0" i="0" u="none" strike="noStrike" cap="none">
              <a:latin typeface="+mj-lt"/>
              <a:ea typeface="Arial"/>
              <a:cs typeface="Arial"/>
              <a:sym typeface="Arial"/>
            </a:endParaRPr>
          </a:p>
        </p:txBody>
      </p:sp>
      <p:sp>
        <p:nvSpPr>
          <p:cNvPr id="49" name="Google Shape;1268;g2a6dd372bc6_0_0">
            <a:extLst>
              <a:ext uri="{FF2B5EF4-FFF2-40B4-BE49-F238E27FC236}">
                <a16:creationId xmlns:a16="http://schemas.microsoft.com/office/drawing/2014/main" id="{102D3F94-CA53-3856-F1D7-8CCC1C46FD48}"/>
              </a:ext>
            </a:extLst>
          </p:cNvPr>
          <p:cNvSpPr/>
          <p:nvPr/>
        </p:nvSpPr>
        <p:spPr>
          <a:xfrm>
            <a:off x="5380972" y="2829670"/>
            <a:ext cx="918321" cy="152592"/>
          </a:xfrm>
          <a:prstGeom prst="homePlate">
            <a:avLst>
              <a:gd name="adj" fmla="val 50000"/>
            </a:avLst>
          </a:pr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800"/>
              <a:buFont typeface="Arial"/>
              <a:buNone/>
            </a:pPr>
            <a:r>
              <a:rPr lang="nb-NO" sz="800" b="0" i="0" u="none" strike="noStrike" cap="none">
                <a:latin typeface="+mj-lt"/>
                <a:ea typeface="Arial"/>
                <a:cs typeface="Arial"/>
                <a:sym typeface="Arial"/>
              </a:rPr>
              <a:t> </a:t>
            </a:r>
            <a:endParaRPr sz="800" b="0" i="0" u="none" strike="noStrike" cap="none">
              <a:latin typeface="+mj-lt"/>
              <a:ea typeface="Arial"/>
              <a:cs typeface="Arial"/>
              <a:sym typeface="Arial"/>
            </a:endParaRPr>
          </a:p>
        </p:txBody>
      </p:sp>
      <p:sp>
        <p:nvSpPr>
          <p:cNvPr id="51" name="Google Shape;1241;g2a6dd372bc6_0_0">
            <a:extLst>
              <a:ext uri="{FF2B5EF4-FFF2-40B4-BE49-F238E27FC236}">
                <a16:creationId xmlns:a16="http://schemas.microsoft.com/office/drawing/2014/main" id="{52FA2EA1-877C-C6EA-E229-87ADCCA4864B}"/>
              </a:ext>
            </a:extLst>
          </p:cNvPr>
          <p:cNvSpPr/>
          <p:nvPr/>
        </p:nvSpPr>
        <p:spPr>
          <a:xfrm>
            <a:off x="2712634" y="1090885"/>
            <a:ext cx="915688" cy="3549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FFFFF"/>
              </a:buClr>
              <a:buSzPts val="1467"/>
              <a:buFont typeface="Arial"/>
              <a:buNone/>
            </a:pPr>
            <a:r>
              <a:rPr lang="nb-NO" sz="1200">
                <a:solidFill>
                  <a:schemeClr val="bg1"/>
                </a:solidFill>
                <a:latin typeface="+mj-lt"/>
                <a:ea typeface="Arial"/>
                <a:cs typeface="Arial"/>
                <a:sym typeface="Arial"/>
              </a:rPr>
              <a:t>Sep</a:t>
            </a:r>
            <a:r>
              <a:rPr lang="nb-NO" sz="1200" b="0" i="0" u="none" strike="noStrike" cap="none">
                <a:solidFill>
                  <a:schemeClr val="bg1"/>
                </a:solidFill>
                <a:latin typeface="+mj-lt"/>
                <a:ea typeface="Arial"/>
                <a:cs typeface="Arial"/>
                <a:sym typeface="Arial"/>
              </a:rPr>
              <a:t>tember</a:t>
            </a:r>
            <a:endParaRPr sz="1200" b="0" i="0" u="none" strike="noStrike" cap="none">
              <a:solidFill>
                <a:schemeClr val="bg1"/>
              </a:solidFill>
              <a:latin typeface="+mj-lt"/>
              <a:ea typeface="Arial"/>
              <a:cs typeface="Arial"/>
              <a:sym typeface="Arial"/>
            </a:endParaRPr>
          </a:p>
        </p:txBody>
      </p:sp>
      <p:sp>
        <p:nvSpPr>
          <p:cNvPr id="52" name="Google Shape;1241;g2a6dd372bc6_0_0">
            <a:extLst>
              <a:ext uri="{FF2B5EF4-FFF2-40B4-BE49-F238E27FC236}">
                <a16:creationId xmlns:a16="http://schemas.microsoft.com/office/drawing/2014/main" id="{3138CE93-4B89-7B6F-28CB-36A83E207EA6}"/>
              </a:ext>
            </a:extLst>
          </p:cNvPr>
          <p:cNvSpPr/>
          <p:nvPr/>
        </p:nvSpPr>
        <p:spPr>
          <a:xfrm>
            <a:off x="3643758" y="1090885"/>
            <a:ext cx="915688" cy="3549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FFFFF"/>
              </a:buClr>
              <a:buSzPts val="1467"/>
              <a:buFont typeface="Arial"/>
              <a:buNone/>
            </a:pPr>
            <a:r>
              <a:rPr lang="nb-NO" sz="1200" b="0" i="0" u="none" strike="noStrike" cap="none">
                <a:solidFill>
                  <a:schemeClr val="bg1"/>
                </a:solidFill>
                <a:latin typeface="+mj-lt"/>
                <a:ea typeface="Arial"/>
                <a:cs typeface="Arial"/>
                <a:sym typeface="Arial"/>
              </a:rPr>
              <a:t>Oktober</a:t>
            </a:r>
            <a:endParaRPr sz="1200" b="0" i="0" u="none" strike="noStrike" cap="none">
              <a:solidFill>
                <a:schemeClr val="bg1"/>
              </a:solidFill>
              <a:latin typeface="+mj-lt"/>
              <a:ea typeface="Arial"/>
              <a:cs typeface="Arial"/>
              <a:sym typeface="Arial"/>
            </a:endParaRPr>
          </a:p>
        </p:txBody>
      </p:sp>
      <p:sp>
        <p:nvSpPr>
          <p:cNvPr id="53" name="Google Shape;1241;g2a6dd372bc6_0_0">
            <a:extLst>
              <a:ext uri="{FF2B5EF4-FFF2-40B4-BE49-F238E27FC236}">
                <a16:creationId xmlns:a16="http://schemas.microsoft.com/office/drawing/2014/main" id="{62FDB115-174A-F02D-600A-BEA6559D10DC}"/>
              </a:ext>
            </a:extLst>
          </p:cNvPr>
          <p:cNvSpPr/>
          <p:nvPr/>
        </p:nvSpPr>
        <p:spPr>
          <a:xfrm>
            <a:off x="4566023" y="1090885"/>
            <a:ext cx="915688" cy="3549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FFFFF"/>
              </a:buClr>
              <a:buSzPts val="1467"/>
              <a:buFont typeface="Arial"/>
              <a:buNone/>
            </a:pPr>
            <a:r>
              <a:rPr lang="nb-NO" sz="1200">
                <a:solidFill>
                  <a:schemeClr val="bg1"/>
                </a:solidFill>
                <a:latin typeface="+mj-lt"/>
                <a:ea typeface="Arial"/>
                <a:cs typeface="Arial"/>
                <a:sym typeface="Arial"/>
              </a:rPr>
              <a:t>November</a:t>
            </a:r>
            <a:endParaRPr sz="1200" b="0" i="0" u="none" strike="noStrike" cap="none">
              <a:solidFill>
                <a:schemeClr val="bg1"/>
              </a:solidFill>
              <a:latin typeface="+mj-lt"/>
              <a:ea typeface="Arial"/>
              <a:cs typeface="Arial"/>
              <a:sym typeface="Arial"/>
            </a:endParaRPr>
          </a:p>
        </p:txBody>
      </p:sp>
      <p:sp>
        <p:nvSpPr>
          <p:cNvPr id="54" name="Google Shape;1241;g2a6dd372bc6_0_0">
            <a:extLst>
              <a:ext uri="{FF2B5EF4-FFF2-40B4-BE49-F238E27FC236}">
                <a16:creationId xmlns:a16="http://schemas.microsoft.com/office/drawing/2014/main" id="{F6D7A300-AC96-3D96-0E9D-53F6BA743D58}"/>
              </a:ext>
            </a:extLst>
          </p:cNvPr>
          <p:cNvSpPr/>
          <p:nvPr/>
        </p:nvSpPr>
        <p:spPr>
          <a:xfrm>
            <a:off x="5490974" y="1090885"/>
            <a:ext cx="915688" cy="3549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FFFFF"/>
              </a:buClr>
              <a:buSzPts val="1467"/>
              <a:buFont typeface="Arial"/>
              <a:buNone/>
            </a:pPr>
            <a:r>
              <a:rPr lang="nb-NO" sz="1200" b="0" i="0" u="none" strike="noStrike" cap="none">
                <a:solidFill>
                  <a:schemeClr val="bg1"/>
                </a:solidFill>
                <a:latin typeface="+mj-lt"/>
                <a:ea typeface="Arial"/>
                <a:cs typeface="Arial"/>
                <a:sym typeface="Arial"/>
              </a:rPr>
              <a:t>Desember</a:t>
            </a:r>
            <a:endParaRPr sz="1200" b="0" i="0" u="none" strike="noStrike" cap="none">
              <a:solidFill>
                <a:schemeClr val="bg1"/>
              </a:solidFill>
              <a:latin typeface="+mj-lt"/>
              <a:ea typeface="Arial"/>
              <a:cs typeface="Arial"/>
              <a:sym typeface="Arial"/>
            </a:endParaRPr>
          </a:p>
        </p:txBody>
      </p:sp>
      <p:sp>
        <p:nvSpPr>
          <p:cNvPr id="55" name="Google Shape;1241;g2a6dd372bc6_0_0">
            <a:extLst>
              <a:ext uri="{FF2B5EF4-FFF2-40B4-BE49-F238E27FC236}">
                <a16:creationId xmlns:a16="http://schemas.microsoft.com/office/drawing/2014/main" id="{9FDA2F5C-E7D5-3A27-CF33-25B3F85D7C63}"/>
              </a:ext>
            </a:extLst>
          </p:cNvPr>
          <p:cNvSpPr/>
          <p:nvPr/>
        </p:nvSpPr>
        <p:spPr>
          <a:xfrm>
            <a:off x="6413239" y="1090885"/>
            <a:ext cx="915688" cy="3549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FFFFF"/>
              </a:buClr>
              <a:buSzPts val="1467"/>
              <a:buFont typeface="Arial"/>
              <a:buNone/>
            </a:pPr>
            <a:r>
              <a:rPr lang="nb-NO" sz="1200" b="0" i="0" u="none" strike="noStrike" cap="none">
                <a:solidFill>
                  <a:schemeClr val="bg1"/>
                </a:solidFill>
                <a:latin typeface="+mj-lt"/>
                <a:ea typeface="Arial"/>
                <a:cs typeface="Arial"/>
                <a:sym typeface="Arial"/>
              </a:rPr>
              <a:t>Januar</a:t>
            </a:r>
            <a:endParaRPr sz="1200" b="0" i="0" u="none" strike="noStrike" cap="none">
              <a:solidFill>
                <a:schemeClr val="bg1"/>
              </a:solidFill>
              <a:latin typeface="+mj-lt"/>
              <a:ea typeface="Arial"/>
              <a:cs typeface="Arial"/>
              <a:sym typeface="Arial"/>
            </a:endParaRPr>
          </a:p>
        </p:txBody>
      </p:sp>
      <p:sp>
        <p:nvSpPr>
          <p:cNvPr id="56" name="Google Shape;1241;g2a6dd372bc6_0_0">
            <a:extLst>
              <a:ext uri="{FF2B5EF4-FFF2-40B4-BE49-F238E27FC236}">
                <a16:creationId xmlns:a16="http://schemas.microsoft.com/office/drawing/2014/main" id="{3D91567D-9DCC-AFD0-3B12-592F49D72B9A}"/>
              </a:ext>
            </a:extLst>
          </p:cNvPr>
          <p:cNvSpPr/>
          <p:nvPr/>
        </p:nvSpPr>
        <p:spPr>
          <a:xfrm>
            <a:off x="7335504" y="1090885"/>
            <a:ext cx="915688" cy="3549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FFFFF"/>
              </a:buClr>
              <a:buSzPts val="1467"/>
              <a:buFont typeface="Arial"/>
              <a:buNone/>
            </a:pPr>
            <a:r>
              <a:rPr lang="nb-NO" sz="1200" b="0" i="0" u="none" strike="noStrike" cap="none">
                <a:solidFill>
                  <a:schemeClr val="bg1"/>
                </a:solidFill>
                <a:latin typeface="+mj-lt"/>
                <a:ea typeface="Arial"/>
                <a:cs typeface="Arial"/>
                <a:sym typeface="Arial"/>
              </a:rPr>
              <a:t>Februar</a:t>
            </a:r>
            <a:endParaRPr sz="1200" b="0" i="0" u="none" strike="noStrike" cap="none">
              <a:solidFill>
                <a:schemeClr val="bg1"/>
              </a:solidFill>
              <a:latin typeface="+mj-lt"/>
              <a:ea typeface="Arial"/>
              <a:cs typeface="Arial"/>
              <a:sym typeface="Arial"/>
            </a:endParaRPr>
          </a:p>
        </p:txBody>
      </p:sp>
      <p:sp>
        <p:nvSpPr>
          <p:cNvPr id="57" name="Google Shape;1241;g2a6dd372bc6_0_0">
            <a:extLst>
              <a:ext uri="{FF2B5EF4-FFF2-40B4-BE49-F238E27FC236}">
                <a16:creationId xmlns:a16="http://schemas.microsoft.com/office/drawing/2014/main" id="{F4A5135F-7ACD-2C7C-3209-D3ECFD2D281C}"/>
              </a:ext>
            </a:extLst>
          </p:cNvPr>
          <p:cNvSpPr/>
          <p:nvPr/>
        </p:nvSpPr>
        <p:spPr>
          <a:xfrm>
            <a:off x="8260455" y="1090885"/>
            <a:ext cx="915688" cy="3549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FFFFF"/>
              </a:buClr>
              <a:buSzPts val="1467"/>
              <a:buFont typeface="Arial"/>
              <a:buNone/>
            </a:pPr>
            <a:r>
              <a:rPr lang="nb-NO" sz="1200" b="0" i="0" u="none" strike="noStrike" cap="none">
                <a:solidFill>
                  <a:schemeClr val="bg1"/>
                </a:solidFill>
                <a:latin typeface="+mj-lt"/>
                <a:ea typeface="Arial"/>
                <a:cs typeface="Arial"/>
                <a:sym typeface="Arial"/>
              </a:rPr>
              <a:t>Mars</a:t>
            </a:r>
            <a:endParaRPr sz="1200" b="0" i="0" u="none" strike="noStrike" cap="none">
              <a:solidFill>
                <a:schemeClr val="bg1"/>
              </a:solidFill>
              <a:latin typeface="+mj-lt"/>
              <a:ea typeface="Arial"/>
              <a:cs typeface="Arial"/>
              <a:sym typeface="Arial"/>
            </a:endParaRPr>
          </a:p>
        </p:txBody>
      </p:sp>
      <p:sp>
        <p:nvSpPr>
          <p:cNvPr id="58" name="Google Shape;1241;g2a6dd372bc6_0_0">
            <a:extLst>
              <a:ext uri="{FF2B5EF4-FFF2-40B4-BE49-F238E27FC236}">
                <a16:creationId xmlns:a16="http://schemas.microsoft.com/office/drawing/2014/main" id="{17A1D075-B254-5E7B-29A1-C2689A3D89AA}"/>
              </a:ext>
            </a:extLst>
          </p:cNvPr>
          <p:cNvSpPr/>
          <p:nvPr/>
        </p:nvSpPr>
        <p:spPr>
          <a:xfrm>
            <a:off x="9189297" y="1090885"/>
            <a:ext cx="915688" cy="3549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FFFFF"/>
              </a:buClr>
              <a:buSzPts val="1467"/>
              <a:buFont typeface="Arial"/>
              <a:buNone/>
            </a:pPr>
            <a:r>
              <a:rPr lang="nb-NO" sz="1200">
                <a:solidFill>
                  <a:schemeClr val="bg1"/>
                </a:solidFill>
                <a:latin typeface="+mj-lt"/>
                <a:ea typeface="Arial"/>
                <a:cs typeface="Arial"/>
                <a:sym typeface="Arial"/>
              </a:rPr>
              <a:t>April</a:t>
            </a:r>
            <a:endParaRPr sz="1200" b="0" i="0" u="none" strike="noStrike" cap="none">
              <a:solidFill>
                <a:schemeClr val="bg1"/>
              </a:solidFill>
              <a:latin typeface="+mj-lt"/>
              <a:ea typeface="Arial"/>
              <a:cs typeface="Arial"/>
              <a:sym typeface="Arial"/>
            </a:endParaRPr>
          </a:p>
        </p:txBody>
      </p:sp>
      <p:sp>
        <p:nvSpPr>
          <p:cNvPr id="59" name="Google Shape;1241;g2a6dd372bc6_0_0">
            <a:extLst>
              <a:ext uri="{FF2B5EF4-FFF2-40B4-BE49-F238E27FC236}">
                <a16:creationId xmlns:a16="http://schemas.microsoft.com/office/drawing/2014/main" id="{744CF51C-1C53-57C2-D3AD-51B0420FE0A6}"/>
              </a:ext>
            </a:extLst>
          </p:cNvPr>
          <p:cNvSpPr/>
          <p:nvPr/>
        </p:nvSpPr>
        <p:spPr>
          <a:xfrm>
            <a:off x="10118139" y="1090885"/>
            <a:ext cx="915688" cy="3549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FFFFF"/>
              </a:buClr>
              <a:buSzPts val="1467"/>
              <a:buFont typeface="Arial"/>
              <a:buNone/>
            </a:pPr>
            <a:r>
              <a:rPr lang="nb-NO" sz="1200" b="0" i="0" u="none" strike="noStrike" cap="none">
                <a:solidFill>
                  <a:schemeClr val="bg1"/>
                </a:solidFill>
                <a:latin typeface="+mj-lt"/>
                <a:ea typeface="Arial"/>
                <a:cs typeface="Arial"/>
                <a:sym typeface="Arial"/>
              </a:rPr>
              <a:t>Mai</a:t>
            </a:r>
            <a:endParaRPr sz="1200" b="0" i="0" u="none" strike="noStrike" cap="none">
              <a:solidFill>
                <a:schemeClr val="bg1"/>
              </a:solidFill>
              <a:latin typeface="+mj-lt"/>
              <a:ea typeface="Arial"/>
              <a:cs typeface="Arial"/>
              <a:sym typeface="Arial"/>
            </a:endParaRPr>
          </a:p>
        </p:txBody>
      </p:sp>
      <p:sp>
        <p:nvSpPr>
          <p:cNvPr id="60" name="Google Shape;1241;g2a6dd372bc6_0_0">
            <a:extLst>
              <a:ext uri="{FF2B5EF4-FFF2-40B4-BE49-F238E27FC236}">
                <a16:creationId xmlns:a16="http://schemas.microsoft.com/office/drawing/2014/main" id="{31E206E0-E032-CDB8-97C8-221F99D1E3F0}"/>
              </a:ext>
            </a:extLst>
          </p:cNvPr>
          <p:cNvSpPr/>
          <p:nvPr/>
        </p:nvSpPr>
        <p:spPr>
          <a:xfrm>
            <a:off x="11041883" y="1090885"/>
            <a:ext cx="915688" cy="3549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FFFFF"/>
              </a:buClr>
              <a:buSzPts val="1467"/>
              <a:buFont typeface="Arial"/>
              <a:buNone/>
            </a:pPr>
            <a:r>
              <a:rPr lang="nb-NO" sz="1200">
                <a:solidFill>
                  <a:schemeClr val="bg1"/>
                </a:solidFill>
                <a:latin typeface="+mj-lt"/>
                <a:ea typeface="Arial"/>
                <a:cs typeface="Arial"/>
                <a:sym typeface="Arial"/>
              </a:rPr>
              <a:t>Juni</a:t>
            </a:r>
            <a:endParaRPr sz="1200" b="0" i="0" u="none" strike="noStrike" cap="none">
              <a:solidFill>
                <a:schemeClr val="bg1"/>
              </a:solidFill>
              <a:latin typeface="+mj-lt"/>
              <a:ea typeface="Arial"/>
              <a:cs typeface="Arial"/>
              <a:sym typeface="Arial"/>
            </a:endParaRPr>
          </a:p>
        </p:txBody>
      </p:sp>
      <p:sp>
        <p:nvSpPr>
          <p:cNvPr id="68" name="Google Shape;1268;g2a6dd372bc6_0_0">
            <a:extLst>
              <a:ext uri="{FF2B5EF4-FFF2-40B4-BE49-F238E27FC236}">
                <a16:creationId xmlns:a16="http://schemas.microsoft.com/office/drawing/2014/main" id="{CDD8F48F-3628-B602-899F-172A9FC919C9}"/>
              </a:ext>
            </a:extLst>
          </p:cNvPr>
          <p:cNvSpPr/>
          <p:nvPr/>
        </p:nvSpPr>
        <p:spPr>
          <a:xfrm>
            <a:off x="6309294" y="2954950"/>
            <a:ext cx="207889" cy="157078"/>
          </a:xfrm>
          <a:prstGeom prst="homePlate">
            <a:avLst>
              <a:gd name="adj" fmla="val 50000"/>
            </a:avLst>
          </a:pr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800"/>
              <a:buFont typeface="Arial"/>
              <a:buNone/>
            </a:pPr>
            <a:endParaRPr sz="800" b="0" i="0" u="none" strike="noStrike" cap="none">
              <a:latin typeface="+mj-lt"/>
              <a:ea typeface="Arial"/>
              <a:cs typeface="Arial"/>
              <a:sym typeface="Arial"/>
            </a:endParaRPr>
          </a:p>
        </p:txBody>
      </p:sp>
      <p:sp>
        <p:nvSpPr>
          <p:cNvPr id="69" name="Google Shape;1268;g2a6dd372bc6_0_0">
            <a:extLst>
              <a:ext uri="{FF2B5EF4-FFF2-40B4-BE49-F238E27FC236}">
                <a16:creationId xmlns:a16="http://schemas.microsoft.com/office/drawing/2014/main" id="{1581FE4E-4130-3210-0FDC-C3383D377978}"/>
              </a:ext>
            </a:extLst>
          </p:cNvPr>
          <p:cNvSpPr/>
          <p:nvPr/>
        </p:nvSpPr>
        <p:spPr>
          <a:xfrm>
            <a:off x="6299293" y="3938428"/>
            <a:ext cx="855585" cy="157078"/>
          </a:xfrm>
          <a:prstGeom prst="homePlate">
            <a:avLst>
              <a:gd name="adj" fmla="val 50000"/>
            </a:avLst>
          </a:pr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800"/>
              <a:buFont typeface="Arial"/>
              <a:buNone/>
            </a:pPr>
            <a:endParaRPr sz="800" b="0" i="0" u="none" strike="noStrike" cap="none">
              <a:latin typeface="+mj-lt"/>
              <a:ea typeface="Arial"/>
              <a:cs typeface="Arial"/>
              <a:sym typeface="Arial"/>
            </a:endParaRPr>
          </a:p>
        </p:txBody>
      </p:sp>
      <p:sp>
        <p:nvSpPr>
          <p:cNvPr id="70" name="Google Shape;1268;g2a6dd372bc6_0_0">
            <a:extLst>
              <a:ext uri="{FF2B5EF4-FFF2-40B4-BE49-F238E27FC236}">
                <a16:creationId xmlns:a16="http://schemas.microsoft.com/office/drawing/2014/main" id="{B41934B2-1CC4-8961-5A8F-2F64E3DC3A69}"/>
              </a:ext>
            </a:extLst>
          </p:cNvPr>
          <p:cNvSpPr/>
          <p:nvPr/>
        </p:nvSpPr>
        <p:spPr>
          <a:xfrm>
            <a:off x="6540273" y="3197388"/>
            <a:ext cx="855585" cy="157078"/>
          </a:xfrm>
          <a:prstGeom prst="homePlate">
            <a:avLst>
              <a:gd name="adj" fmla="val 50000"/>
            </a:avLst>
          </a:pr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800"/>
              <a:buFont typeface="Arial"/>
              <a:buNone/>
            </a:pPr>
            <a:endParaRPr sz="800" b="0" i="0" u="none" strike="noStrike" cap="none">
              <a:latin typeface="+mj-lt"/>
              <a:ea typeface="Arial"/>
              <a:cs typeface="Arial"/>
              <a:sym typeface="Arial"/>
            </a:endParaRPr>
          </a:p>
        </p:txBody>
      </p:sp>
      <p:sp>
        <p:nvSpPr>
          <p:cNvPr id="72" name="Google Shape;1268;g2a6dd372bc6_0_0">
            <a:extLst>
              <a:ext uri="{FF2B5EF4-FFF2-40B4-BE49-F238E27FC236}">
                <a16:creationId xmlns:a16="http://schemas.microsoft.com/office/drawing/2014/main" id="{2C426820-A4A6-758A-2A07-33930F074DC2}"/>
              </a:ext>
            </a:extLst>
          </p:cNvPr>
          <p:cNvSpPr/>
          <p:nvPr/>
        </p:nvSpPr>
        <p:spPr>
          <a:xfrm>
            <a:off x="9953996" y="4239953"/>
            <a:ext cx="394710" cy="178485"/>
          </a:xfrm>
          <a:prstGeom prst="homePlate">
            <a:avLst>
              <a:gd name="adj" fmla="val 50000"/>
            </a:avLst>
          </a:pr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800"/>
              <a:buFont typeface="Arial"/>
              <a:buNone/>
            </a:pPr>
            <a:endParaRPr sz="800" b="0" i="0" u="none" strike="noStrike" cap="none">
              <a:latin typeface="+mj-lt"/>
              <a:ea typeface="Arial"/>
              <a:cs typeface="Arial"/>
              <a:sym typeface="Arial"/>
            </a:endParaRPr>
          </a:p>
        </p:txBody>
      </p:sp>
      <p:sp>
        <p:nvSpPr>
          <p:cNvPr id="73" name="Google Shape;1268;g2a6dd372bc6_0_0">
            <a:extLst>
              <a:ext uri="{FF2B5EF4-FFF2-40B4-BE49-F238E27FC236}">
                <a16:creationId xmlns:a16="http://schemas.microsoft.com/office/drawing/2014/main" id="{3B5337B4-3A1E-CF30-6A32-C6DF751FC854}"/>
              </a:ext>
            </a:extLst>
          </p:cNvPr>
          <p:cNvSpPr/>
          <p:nvPr/>
        </p:nvSpPr>
        <p:spPr>
          <a:xfrm>
            <a:off x="7469376" y="3392909"/>
            <a:ext cx="1563632" cy="153546"/>
          </a:xfrm>
          <a:prstGeom prst="homePlate">
            <a:avLst>
              <a:gd name="adj" fmla="val 50000"/>
            </a:avLst>
          </a:pr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800"/>
              <a:buFont typeface="Arial"/>
              <a:buNone/>
            </a:pPr>
            <a:r>
              <a:rPr lang="nb-NO" sz="800">
                <a:latin typeface="+mj-lt"/>
                <a:ea typeface="Arial"/>
                <a:cs typeface="Arial"/>
                <a:sym typeface="Arial"/>
              </a:rPr>
              <a:t> </a:t>
            </a:r>
            <a:endParaRPr sz="800" b="0" i="0" u="none" strike="noStrike" cap="none">
              <a:latin typeface="+mj-lt"/>
              <a:ea typeface="Arial"/>
              <a:cs typeface="Arial"/>
              <a:sym typeface="Arial"/>
            </a:endParaRPr>
          </a:p>
        </p:txBody>
      </p:sp>
      <p:sp>
        <p:nvSpPr>
          <p:cNvPr id="74" name="Google Shape;1268;g2a6dd372bc6_0_0">
            <a:extLst>
              <a:ext uri="{FF2B5EF4-FFF2-40B4-BE49-F238E27FC236}">
                <a16:creationId xmlns:a16="http://schemas.microsoft.com/office/drawing/2014/main" id="{28C0D0B2-4C28-DBE2-2DF9-4AAC82F9D719}"/>
              </a:ext>
            </a:extLst>
          </p:cNvPr>
          <p:cNvSpPr/>
          <p:nvPr/>
        </p:nvSpPr>
        <p:spPr>
          <a:xfrm>
            <a:off x="9647142" y="3995175"/>
            <a:ext cx="394710" cy="161512"/>
          </a:xfrm>
          <a:prstGeom prst="homePlate">
            <a:avLst>
              <a:gd name="adj" fmla="val 50000"/>
            </a:avLst>
          </a:pr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800"/>
              <a:buFont typeface="Arial"/>
              <a:buNone/>
            </a:pPr>
            <a:endParaRPr sz="800" b="0" i="0" u="none" strike="noStrike" cap="none">
              <a:latin typeface="+mj-lt"/>
              <a:ea typeface="Arial"/>
              <a:cs typeface="Arial"/>
              <a:sym typeface="Arial"/>
            </a:endParaRPr>
          </a:p>
        </p:txBody>
      </p:sp>
      <p:sp>
        <p:nvSpPr>
          <p:cNvPr id="77" name="Google Shape;1268;g2a6dd372bc6_0_0">
            <a:extLst>
              <a:ext uri="{FF2B5EF4-FFF2-40B4-BE49-F238E27FC236}">
                <a16:creationId xmlns:a16="http://schemas.microsoft.com/office/drawing/2014/main" id="{CBEA08D1-7FA5-AAA5-696B-5A70AA647099}"/>
              </a:ext>
            </a:extLst>
          </p:cNvPr>
          <p:cNvSpPr/>
          <p:nvPr/>
        </p:nvSpPr>
        <p:spPr>
          <a:xfrm>
            <a:off x="9021253" y="3574089"/>
            <a:ext cx="336088" cy="153546"/>
          </a:xfrm>
          <a:prstGeom prst="homePlate">
            <a:avLst>
              <a:gd name="adj" fmla="val 50000"/>
            </a:avLst>
          </a:pr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800"/>
              <a:buFont typeface="Arial"/>
              <a:buNone/>
            </a:pPr>
            <a:r>
              <a:rPr lang="nb-NO" sz="800">
                <a:latin typeface="+mj-lt"/>
                <a:ea typeface="Arial"/>
                <a:cs typeface="Arial"/>
                <a:sym typeface="Arial"/>
              </a:rPr>
              <a:t>  </a:t>
            </a:r>
            <a:endParaRPr sz="800" b="0" i="0" u="none" strike="noStrike" cap="none">
              <a:latin typeface="+mj-lt"/>
              <a:ea typeface="Arial"/>
              <a:cs typeface="Arial"/>
              <a:sym typeface="Arial"/>
            </a:endParaRPr>
          </a:p>
        </p:txBody>
      </p:sp>
      <p:sp>
        <p:nvSpPr>
          <p:cNvPr id="2" name="Google Shape;1268;g2a6dd372bc6_0_0">
            <a:extLst>
              <a:ext uri="{FF2B5EF4-FFF2-40B4-BE49-F238E27FC236}">
                <a16:creationId xmlns:a16="http://schemas.microsoft.com/office/drawing/2014/main" id="{5342932E-C6D4-11B3-2BA3-90E32273E3DC}"/>
              </a:ext>
            </a:extLst>
          </p:cNvPr>
          <p:cNvSpPr/>
          <p:nvPr/>
        </p:nvSpPr>
        <p:spPr>
          <a:xfrm>
            <a:off x="9357341" y="3776098"/>
            <a:ext cx="336088" cy="153546"/>
          </a:xfrm>
          <a:prstGeom prst="homePlate">
            <a:avLst>
              <a:gd name="adj" fmla="val 50000"/>
            </a:avLst>
          </a:pr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800"/>
              <a:buFont typeface="Arial"/>
              <a:buNone/>
            </a:pPr>
            <a:r>
              <a:rPr lang="nb-NO" sz="800">
                <a:latin typeface="+mj-lt"/>
                <a:ea typeface="Arial"/>
                <a:cs typeface="Arial"/>
                <a:sym typeface="Arial"/>
              </a:rPr>
              <a:t>  </a:t>
            </a:r>
            <a:endParaRPr sz="800" b="0" i="0" u="none" strike="noStrike" cap="none">
              <a:latin typeface="+mj-lt"/>
              <a:ea typeface="Arial"/>
              <a:cs typeface="Arial"/>
              <a:sym typeface="Arial"/>
            </a:endParaRPr>
          </a:p>
        </p:txBody>
      </p:sp>
      <p:sp>
        <p:nvSpPr>
          <p:cNvPr id="3" name="Google Shape;1268;g2a6dd372bc6_0_0">
            <a:extLst>
              <a:ext uri="{FF2B5EF4-FFF2-40B4-BE49-F238E27FC236}">
                <a16:creationId xmlns:a16="http://schemas.microsoft.com/office/drawing/2014/main" id="{9FF34FCB-FBA1-3DAB-DEBC-6222EC64F0F6}"/>
              </a:ext>
            </a:extLst>
          </p:cNvPr>
          <p:cNvSpPr/>
          <p:nvPr/>
        </p:nvSpPr>
        <p:spPr>
          <a:xfrm>
            <a:off x="11318122" y="4798592"/>
            <a:ext cx="394710" cy="178485"/>
          </a:xfrm>
          <a:prstGeom prst="homePlate">
            <a:avLst>
              <a:gd name="adj" fmla="val 50000"/>
            </a:avLst>
          </a:pr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800"/>
              <a:buFont typeface="Arial"/>
              <a:buNone/>
            </a:pPr>
            <a:endParaRPr sz="800" b="0" i="0" u="none" strike="noStrike" cap="none">
              <a:latin typeface="+mj-lt"/>
              <a:ea typeface="Arial"/>
              <a:cs typeface="Arial"/>
              <a:sym typeface="Arial"/>
            </a:endParaRPr>
          </a:p>
        </p:txBody>
      </p:sp>
      <p:sp>
        <p:nvSpPr>
          <p:cNvPr id="4" name="Google Shape;1268;g2a6dd372bc6_0_0">
            <a:extLst>
              <a:ext uri="{FF2B5EF4-FFF2-40B4-BE49-F238E27FC236}">
                <a16:creationId xmlns:a16="http://schemas.microsoft.com/office/drawing/2014/main" id="{798EE962-E815-CD66-020A-6810732BB072}"/>
              </a:ext>
            </a:extLst>
          </p:cNvPr>
          <p:cNvSpPr/>
          <p:nvPr/>
        </p:nvSpPr>
        <p:spPr>
          <a:xfrm>
            <a:off x="10930371" y="4632856"/>
            <a:ext cx="394710" cy="178485"/>
          </a:xfrm>
          <a:prstGeom prst="homePlate">
            <a:avLst>
              <a:gd name="adj" fmla="val 50000"/>
            </a:avLst>
          </a:pr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800"/>
              <a:buFont typeface="Arial"/>
              <a:buNone/>
            </a:pPr>
            <a:endParaRPr sz="800" b="0" i="0" u="none" strike="noStrike" cap="none">
              <a:latin typeface="+mj-lt"/>
              <a:ea typeface="Arial"/>
              <a:cs typeface="Arial"/>
              <a:sym typeface="Arial"/>
            </a:endParaRPr>
          </a:p>
        </p:txBody>
      </p:sp>
      <p:sp>
        <p:nvSpPr>
          <p:cNvPr id="5" name="Google Shape;1268;g2a6dd372bc6_0_0">
            <a:extLst>
              <a:ext uri="{FF2B5EF4-FFF2-40B4-BE49-F238E27FC236}">
                <a16:creationId xmlns:a16="http://schemas.microsoft.com/office/drawing/2014/main" id="{B6264CD0-A848-ED18-7687-0FB2A23C1053}"/>
              </a:ext>
            </a:extLst>
          </p:cNvPr>
          <p:cNvSpPr/>
          <p:nvPr/>
        </p:nvSpPr>
        <p:spPr>
          <a:xfrm>
            <a:off x="10347696" y="4443153"/>
            <a:ext cx="394710" cy="178485"/>
          </a:xfrm>
          <a:prstGeom prst="homePlate">
            <a:avLst>
              <a:gd name="adj" fmla="val 50000"/>
            </a:avLst>
          </a:pr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800"/>
              <a:buFont typeface="Arial"/>
              <a:buNone/>
            </a:pPr>
            <a:endParaRPr sz="800" b="0" i="0" u="none" strike="noStrike" cap="none">
              <a:latin typeface="+mj-lt"/>
              <a:ea typeface="Arial"/>
              <a:cs typeface="Arial"/>
              <a:sym typeface="Arial"/>
            </a:endParaRPr>
          </a:p>
        </p:txBody>
      </p:sp>
      <p:sp>
        <p:nvSpPr>
          <p:cNvPr id="18" name="Google Shape;1242;g2a6dd372bc6_0_0">
            <a:extLst>
              <a:ext uri="{FF2B5EF4-FFF2-40B4-BE49-F238E27FC236}">
                <a16:creationId xmlns:a16="http://schemas.microsoft.com/office/drawing/2014/main" id="{F67CE4A8-AB3A-9F19-1959-F39A8D4A6421}"/>
              </a:ext>
            </a:extLst>
          </p:cNvPr>
          <p:cNvSpPr/>
          <p:nvPr/>
        </p:nvSpPr>
        <p:spPr>
          <a:xfrm>
            <a:off x="3628322" y="2167588"/>
            <a:ext cx="937701" cy="174412"/>
          </a:xfrm>
          <a:prstGeom prst="homePlate">
            <a:avLst>
              <a:gd name="adj" fmla="val 50000"/>
            </a:avLst>
          </a:pr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nb-NO" sz="800">
                <a:latin typeface="+mj-lt"/>
                <a:ea typeface="Arial"/>
                <a:cs typeface="Arial"/>
                <a:sym typeface="Arial"/>
              </a:rPr>
              <a:t> </a:t>
            </a:r>
            <a:endParaRPr sz="800" b="0" i="0" u="none" strike="noStrike" cap="none">
              <a:latin typeface="+mj-lt"/>
              <a:ea typeface="Arial"/>
              <a:cs typeface="Arial"/>
              <a:sym typeface="Arial"/>
            </a:endParaRPr>
          </a:p>
        </p:txBody>
      </p:sp>
      <p:sp>
        <p:nvSpPr>
          <p:cNvPr id="62" name="Google Shape;1268;g2a6dd372bc6_0_0">
            <a:extLst>
              <a:ext uri="{FF2B5EF4-FFF2-40B4-BE49-F238E27FC236}">
                <a16:creationId xmlns:a16="http://schemas.microsoft.com/office/drawing/2014/main" id="{1D51A1F9-53F2-1ADE-CC51-36D79066531E}"/>
              </a:ext>
            </a:extLst>
          </p:cNvPr>
          <p:cNvSpPr/>
          <p:nvPr/>
        </p:nvSpPr>
        <p:spPr>
          <a:xfrm>
            <a:off x="4566023" y="2652892"/>
            <a:ext cx="814949" cy="152592"/>
          </a:xfrm>
          <a:prstGeom prst="homePlate">
            <a:avLst>
              <a:gd name="adj" fmla="val 50000"/>
            </a:avLst>
          </a:pr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800"/>
              <a:buFont typeface="Arial"/>
              <a:buNone/>
            </a:pPr>
            <a:endParaRPr sz="800" b="0" i="0" u="none" strike="noStrike" cap="none">
              <a:latin typeface="+mj-lt"/>
              <a:ea typeface="Arial"/>
              <a:cs typeface="Arial"/>
              <a:sym typeface="Arial"/>
            </a:endParaRPr>
          </a:p>
        </p:txBody>
      </p:sp>
    </p:spTree>
    <p:extLst>
      <p:ext uri="{BB962C8B-B14F-4D97-AF65-F5344CB8AC3E}">
        <p14:creationId xmlns:p14="http://schemas.microsoft.com/office/powerpoint/2010/main" val="598145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E0A0CB-791C-17B6-7735-AABD706AB11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1A0FBC4-BB45-3DD2-B768-0B987D921B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71A0FBC4-BB45-3DD2-B768-0B987D921B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1B75BFC3-91FE-F270-606A-34168D3B4FBB}"/>
              </a:ext>
            </a:extLst>
          </p:cNvPr>
          <p:cNvSpPr>
            <a:spLocks noGrp="1"/>
          </p:cNvSpPr>
          <p:nvPr>
            <p:ph type="sldNum" sz="quarter" idx="12"/>
          </p:nvPr>
        </p:nvSpPr>
        <p:spPr/>
        <p:txBody>
          <a:bodyPr/>
          <a:lstStyle/>
          <a:p>
            <a:fld id="{BE2ACD00-28B2-4D17-A930-2C9F8441C7CA}" type="slidenum">
              <a:rPr lang="nb-NO" smtClean="0"/>
              <a:pPr/>
              <a:t>15</a:t>
            </a:fld>
            <a:endParaRPr lang="nb-NO"/>
          </a:p>
        </p:txBody>
      </p:sp>
      <p:sp>
        <p:nvSpPr>
          <p:cNvPr id="5" name="Google Shape;1007;g2e0683f995c_0_0">
            <a:extLst>
              <a:ext uri="{FF2B5EF4-FFF2-40B4-BE49-F238E27FC236}">
                <a16:creationId xmlns:a16="http://schemas.microsoft.com/office/drawing/2014/main" id="{74BD232D-5C38-2B64-B71D-F06AE44C3A74}"/>
              </a:ext>
            </a:extLst>
          </p:cNvPr>
          <p:cNvSpPr txBox="1">
            <a:spLocks/>
          </p:cNvSpPr>
          <p:nvPr/>
        </p:nvSpPr>
        <p:spPr>
          <a:xfrm>
            <a:off x="382000" y="486981"/>
            <a:ext cx="11520900" cy="538974"/>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nb-NO" sz="3200" i="0" u="none" strike="noStrike" kern="0" cap="none" spc="0" normalizeH="0" baseline="0" noProof="0">
                <a:ln>
                  <a:noFill/>
                </a:ln>
                <a:solidFill>
                  <a:schemeClr val="accent1"/>
                </a:solidFill>
                <a:effectLst/>
                <a:uLnTx/>
                <a:uFillTx/>
                <a:latin typeface="Brockmann"/>
                <a:ea typeface="+mn-ea"/>
                <a:cs typeface="Georgia"/>
                <a:sym typeface="Georgia"/>
              </a:rPr>
              <a:t>Overordnet </a:t>
            </a:r>
            <a:r>
              <a:rPr lang="nb-NO" sz="3200" kern="0">
                <a:solidFill>
                  <a:schemeClr val="accent1"/>
                </a:solidFill>
                <a:latin typeface="Brockmann"/>
                <a:ea typeface="+mn-ea"/>
                <a:cs typeface="Georgia"/>
                <a:sym typeface="Georgia"/>
              </a:rPr>
              <a:t>m</a:t>
            </a:r>
            <a:r>
              <a:rPr kumimoji="0" lang="nb-NO" sz="3200" i="0" u="none" strike="noStrike" kern="0" cap="none" spc="0" normalizeH="0" baseline="0" noProof="0" err="1">
                <a:ln>
                  <a:noFill/>
                </a:ln>
                <a:solidFill>
                  <a:schemeClr val="accent1"/>
                </a:solidFill>
                <a:effectLst/>
                <a:uLnTx/>
                <a:uFillTx/>
                <a:latin typeface="Brockmann"/>
                <a:ea typeface="+mn-ea"/>
                <a:cs typeface="Georgia"/>
                <a:sym typeface="Georgia"/>
              </a:rPr>
              <a:t>ålbilde</a:t>
            </a:r>
            <a:endParaRPr kumimoji="0" lang="nb-NO" sz="3200" i="0" u="none" strike="noStrike" kern="0" cap="none" spc="0" normalizeH="0" baseline="0" noProof="0">
              <a:ln>
                <a:noFill/>
              </a:ln>
              <a:solidFill>
                <a:schemeClr val="accent1"/>
              </a:solidFill>
              <a:effectLst/>
              <a:uLnTx/>
              <a:uFillTx/>
              <a:latin typeface="Brockmann"/>
              <a:sym typeface="Calibri"/>
            </a:endParaRPr>
          </a:p>
        </p:txBody>
      </p:sp>
    </p:spTree>
    <p:extLst>
      <p:ext uri="{BB962C8B-B14F-4D97-AF65-F5344CB8AC3E}">
        <p14:creationId xmlns:p14="http://schemas.microsoft.com/office/powerpoint/2010/main" val="33219816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43889C-42BE-8951-A64D-0F06FC758652}"/>
            </a:ext>
          </a:extLst>
        </p:cNvPr>
        <p:cNvGrpSpPr/>
        <p:nvPr/>
      </p:nvGrpSpPr>
      <p:grpSpPr>
        <a:xfrm>
          <a:off x="0" y="0"/>
          <a:ext cx="0" cy="0"/>
          <a:chOff x="0" y="0"/>
          <a:chExt cx="0" cy="0"/>
        </a:xfrm>
      </p:grpSpPr>
      <p:grpSp>
        <p:nvGrpSpPr>
          <p:cNvPr id="262" name="Google Shape;768;g2e0683f995c_0_0">
            <a:extLst>
              <a:ext uri="{FF2B5EF4-FFF2-40B4-BE49-F238E27FC236}">
                <a16:creationId xmlns:a16="http://schemas.microsoft.com/office/drawing/2014/main" id="{08E75992-8649-D174-CF45-5C6642D0F3D7}"/>
              </a:ext>
            </a:extLst>
          </p:cNvPr>
          <p:cNvGrpSpPr/>
          <p:nvPr/>
        </p:nvGrpSpPr>
        <p:grpSpPr>
          <a:xfrm>
            <a:off x="141631" y="4527509"/>
            <a:ext cx="1806550" cy="1691142"/>
            <a:chOff x="911994" y="900251"/>
            <a:chExt cx="2194299" cy="2054114"/>
          </a:xfrm>
        </p:grpSpPr>
        <p:sp>
          <p:nvSpPr>
            <p:cNvPr id="263" name="Google Shape;769;g2e0683f995c_0_0">
              <a:extLst>
                <a:ext uri="{FF2B5EF4-FFF2-40B4-BE49-F238E27FC236}">
                  <a16:creationId xmlns:a16="http://schemas.microsoft.com/office/drawing/2014/main" id="{44BDE9BA-8F69-F09E-8386-9ABBBAF0AD48}"/>
                </a:ext>
              </a:extLst>
            </p:cNvPr>
            <p:cNvSpPr/>
            <p:nvPr/>
          </p:nvSpPr>
          <p:spPr>
            <a:xfrm>
              <a:off x="1959813" y="2618237"/>
              <a:ext cx="761556" cy="296673"/>
            </a:xfrm>
            <a:custGeom>
              <a:avLst/>
              <a:gdLst/>
              <a:ahLst/>
              <a:cxnLst/>
              <a:rect l="l" t="t" r="r" b="b"/>
              <a:pathLst>
                <a:path w="77690" h="30265" extrusionOk="0">
                  <a:moveTo>
                    <a:pt x="74370" y="1"/>
                  </a:moveTo>
                  <a:lnTo>
                    <a:pt x="10206" y="13031"/>
                  </a:lnTo>
                  <a:lnTo>
                    <a:pt x="6463" y="14620"/>
                  </a:lnTo>
                  <a:lnTo>
                    <a:pt x="3355" y="15962"/>
                  </a:lnTo>
                  <a:lnTo>
                    <a:pt x="1907" y="16633"/>
                  </a:lnTo>
                  <a:lnTo>
                    <a:pt x="742" y="17163"/>
                  </a:lnTo>
                  <a:lnTo>
                    <a:pt x="495" y="17304"/>
                  </a:lnTo>
                  <a:lnTo>
                    <a:pt x="318" y="17516"/>
                  </a:lnTo>
                  <a:lnTo>
                    <a:pt x="177" y="17763"/>
                  </a:lnTo>
                  <a:lnTo>
                    <a:pt x="71" y="18081"/>
                  </a:lnTo>
                  <a:lnTo>
                    <a:pt x="36" y="18399"/>
                  </a:lnTo>
                  <a:lnTo>
                    <a:pt x="0" y="18787"/>
                  </a:lnTo>
                  <a:lnTo>
                    <a:pt x="36" y="19211"/>
                  </a:lnTo>
                  <a:lnTo>
                    <a:pt x="71" y="19635"/>
                  </a:lnTo>
                  <a:lnTo>
                    <a:pt x="142" y="20094"/>
                  </a:lnTo>
                  <a:lnTo>
                    <a:pt x="283" y="20588"/>
                  </a:lnTo>
                  <a:lnTo>
                    <a:pt x="565" y="21648"/>
                  </a:lnTo>
                  <a:lnTo>
                    <a:pt x="954" y="22743"/>
                  </a:lnTo>
                  <a:lnTo>
                    <a:pt x="1413" y="23873"/>
                  </a:lnTo>
                  <a:lnTo>
                    <a:pt x="1907" y="24967"/>
                  </a:lnTo>
                  <a:lnTo>
                    <a:pt x="2472" y="26062"/>
                  </a:lnTo>
                  <a:lnTo>
                    <a:pt x="3037" y="27086"/>
                  </a:lnTo>
                  <a:lnTo>
                    <a:pt x="3602" y="28004"/>
                  </a:lnTo>
                  <a:lnTo>
                    <a:pt x="4167" y="28816"/>
                  </a:lnTo>
                  <a:lnTo>
                    <a:pt x="4662" y="29452"/>
                  </a:lnTo>
                  <a:lnTo>
                    <a:pt x="4909" y="29735"/>
                  </a:lnTo>
                  <a:lnTo>
                    <a:pt x="5121" y="29946"/>
                  </a:lnTo>
                  <a:lnTo>
                    <a:pt x="5333" y="30123"/>
                  </a:lnTo>
                  <a:lnTo>
                    <a:pt x="5509" y="30229"/>
                  </a:lnTo>
                  <a:lnTo>
                    <a:pt x="5650" y="30229"/>
                  </a:lnTo>
                  <a:lnTo>
                    <a:pt x="5898" y="30264"/>
                  </a:lnTo>
                  <a:lnTo>
                    <a:pt x="6604" y="30194"/>
                  </a:lnTo>
                  <a:lnTo>
                    <a:pt x="7663" y="30052"/>
                  </a:lnTo>
                  <a:lnTo>
                    <a:pt x="9041" y="29841"/>
                  </a:lnTo>
                  <a:lnTo>
                    <a:pt x="12643" y="29170"/>
                  </a:lnTo>
                  <a:lnTo>
                    <a:pt x="17198" y="28251"/>
                  </a:lnTo>
                  <a:lnTo>
                    <a:pt x="22530" y="27157"/>
                  </a:lnTo>
                  <a:lnTo>
                    <a:pt x="28463" y="25885"/>
                  </a:lnTo>
                  <a:lnTo>
                    <a:pt x="41246" y="23096"/>
                  </a:lnTo>
                  <a:lnTo>
                    <a:pt x="54030" y="20271"/>
                  </a:lnTo>
                  <a:lnTo>
                    <a:pt x="65259" y="17763"/>
                  </a:lnTo>
                  <a:lnTo>
                    <a:pt x="73381" y="15962"/>
                  </a:lnTo>
                  <a:lnTo>
                    <a:pt x="75818" y="15433"/>
                  </a:lnTo>
                  <a:lnTo>
                    <a:pt x="76877" y="15221"/>
                  </a:lnTo>
                  <a:lnTo>
                    <a:pt x="77089" y="15185"/>
                  </a:lnTo>
                  <a:lnTo>
                    <a:pt x="77301" y="15115"/>
                  </a:lnTo>
                  <a:lnTo>
                    <a:pt x="77442" y="15044"/>
                  </a:lnTo>
                  <a:lnTo>
                    <a:pt x="77548" y="14938"/>
                  </a:lnTo>
                  <a:lnTo>
                    <a:pt x="77619" y="14797"/>
                  </a:lnTo>
                  <a:lnTo>
                    <a:pt x="77690" y="14691"/>
                  </a:lnTo>
                  <a:lnTo>
                    <a:pt x="77690" y="14550"/>
                  </a:lnTo>
                  <a:lnTo>
                    <a:pt x="77690" y="14373"/>
                  </a:lnTo>
                  <a:lnTo>
                    <a:pt x="77584" y="14020"/>
                  </a:lnTo>
                  <a:lnTo>
                    <a:pt x="77407" y="13596"/>
                  </a:lnTo>
                  <a:lnTo>
                    <a:pt x="77160" y="13137"/>
                  </a:lnTo>
                  <a:lnTo>
                    <a:pt x="76842" y="12643"/>
                  </a:lnTo>
                  <a:lnTo>
                    <a:pt x="76136" y="11619"/>
                  </a:lnTo>
                  <a:lnTo>
                    <a:pt x="75430" y="10559"/>
                  </a:lnTo>
                  <a:lnTo>
                    <a:pt x="75112" y="10030"/>
                  </a:lnTo>
                  <a:lnTo>
                    <a:pt x="74829" y="9500"/>
                  </a:lnTo>
                  <a:lnTo>
                    <a:pt x="74617" y="9006"/>
                  </a:lnTo>
                  <a:lnTo>
                    <a:pt x="74476" y="8547"/>
                  </a:lnTo>
                  <a:lnTo>
                    <a:pt x="74370" y="8017"/>
                  </a:lnTo>
                  <a:lnTo>
                    <a:pt x="74300" y="7487"/>
                  </a:lnTo>
                  <a:lnTo>
                    <a:pt x="74229" y="6392"/>
                  </a:lnTo>
                  <a:lnTo>
                    <a:pt x="74194" y="5227"/>
                  </a:lnTo>
                  <a:lnTo>
                    <a:pt x="74194" y="4062"/>
                  </a:lnTo>
                  <a:lnTo>
                    <a:pt x="74300" y="1872"/>
                  </a:lnTo>
                  <a:lnTo>
                    <a:pt x="74370" y="1"/>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64" name="Google Shape;770;g2e0683f995c_0_0">
              <a:extLst>
                <a:ext uri="{FF2B5EF4-FFF2-40B4-BE49-F238E27FC236}">
                  <a16:creationId xmlns:a16="http://schemas.microsoft.com/office/drawing/2014/main" id="{94C5C3E0-D98A-BD18-CC7F-5C60B276A700}"/>
                </a:ext>
              </a:extLst>
            </p:cNvPr>
            <p:cNvSpPr/>
            <p:nvPr/>
          </p:nvSpPr>
          <p:spPr>
            <a:xfrm>
              <a:off x="1959813" y="2618237"/>
              <a:ext cx="761556" cy="296673"/>
            </a:xfrm>
            <a:custGeom>
              <a:avLst/>
              <a:gdLst/>
              <a:ahLst/>
              <a:cxnLst/>
              <a:rect l="l" t="t" r="r" b="b"/>
              <a:pathLst>
                <a:path w="77690" h="30265" fill="none" extrusionOk="0">
                  <a:moveTo>
                    <a:pt x="74370" y="1"/>
                  </a:moveTo>
                  <a:lnTo>
                    <a:pt x="74370" y="1"/>
                  </a:lnTo>
                  <a:lnTo>
                    <a:pt x="74300" y="1872"/>
                  </a:lnTo>
                  <a:lnTo>
                    <a:pt x="74194" y="4062"/>
                  </a:lnTo>
                  <a:lnTo>
                    <a:pt x="74194" y="5227"/>
                  </a:lnTo>
                  <a:lnTo>
                    <a:pt x="74229" y="6392"/>
                  </a:lnTo>
                  <a:lnTo>
                    <a:pt x="74300" y="7487"/>
                  </a:lnTo>
                  <a:lnTo>
                    <a:pt x="74370" y="8017"/>
                  </a:lnTo>
                  <a:lnTo>
                    <a:pt x="74476" y="8547"/>
                  </a:lnTo>
                  <a:lnTo>
                    <a:pt x="74476" y="8547"/>
                  </a:lnTo>
                  <a:lnTo>
                    <a:pt x="74617" y="9006"/>
                  </a:lnTo>
                  <a:lnTo>
                    <a:pt x="74829" y="9500"/>
                  </a:lnTo>
                  <a:lnTo>
                    <a:pt x="75112" y="10030"/>
                  </a:lnTo>
                  <a:lnTo>
                    <a:pt x="75430" y="10559"/>
                  </a:lnTo>
                  <a:lnTo>
                    <a:pt x="76136" y="11619"/>
                  </a:lnTo>
                  <a:lnTo>
                    <a:pt x="76842" y="12643"/>
                  </a:lnTo>
                  <a:lnTo>
                    <a:pt x="77160" y="13137"/>
                  </a:lnTo>
                  <a:lnTo>
                    <a:pt x="77407" y="13596"/>
                  </a:lnTo>
                  <a:lnTo>
                    <a:pt x="77584" y="14020"/>
                  </a:lnTo>
                  <a:lnTo>
                    <a:pt x="77690" y="14373"/>
                  </a:lnTo>
                  <a:lnTo>
                    <a:pt x="77690" y="14550"/>
                  </a:lnTo>
                  <a:lnTo>
                    <a:pt x="77690" y="14691"/>
                  </a:lnTo>
                  <a:lnTo>
                    <a:pt x="77619" y="14797"/>
                  </a:lnTo>
                  <a:lnTo>
                    <a:pt x="77548" y="14938"/>
                  </a:lnTo>
                  <a:lnTo>
                    <a:pt x="77442" y="15044"/>
                  </a:lnTo>
                  <a:lnTo>
                    <a:pt x="77301" y="15115"/>
                  </a:lnTo>
                  <a:lnTo>
                    <a:pt x="77089" y="15185"/>
                  </a:lnTo>
                  <a:lnTo>
                    <a:pt x="76877" y="15221"/>
                  </a:lnTo>
                  <a:lnTo>
                    <a:pt x="76877" y="15221"/>
                  </a:lnTo>
                  <a:lnTo>
                    <a:pt x="75818" y="15433"/>
                  </a:lnTo>
                  <a:lnTo>
                    <a:pt x="73381" y="15962"/>
                  </a:lnTo>
                  <a:lnTo>
                    <a:pt x="65259" y="17763"/>
                  </a:lnTo>
                  <a:lnTo>
                    <a:pt x="54030" y="20271"/>
                  </a:lnTo>
                  <a:lnTo>
                    <a:pt x="41246" y="23096"/>
                  </a:lnTo>
                  <a:lnTo>
                    <a:pt x="28463" y="25885"/>
                  </a:lnTo>
                  <a:lnTo>
                    <a:pt x="22530" y="27157"/>
                  </a:lnTo>
                  <a:lnTo>
                    <a:pt x="17198" y="28251"/>
                  </a:lnTo>
                  <a:lnTo>
                    <a:pt x="12643" y="29170"/>
                  </a:lnTo>
                  <a:lnTo>
                    <a:pt x="9041" y="29841"/>
                  </a:lnTo>
                  <a:lnTo>
                    <a:pt x="7663" y="30052"/>
                  </a:lnTo>
                  <a:lnTo>
                    <a:pt x="6604" y="30194"/>
                  </a:lnTo>
                  <a:lnTo>
                    <a:pt x="5898" y="30264"/>
                  </a:lnTo>
                  <a:lnTo>
                    <a:pt x="5650" y="30229"/>
                  </a:lnTo>
                  <a:lnTo>
                    <a:pt x="5509" y="30229"/>
                  </a:lnTo>
                  <a:lnTo>
                    <a:pt x="5509" y="30229"/>
                  </a:lnTo>
                  <a:lnTo>
                    <a:pt x="5333" y="30123"/>
                  </a:lnTo>
                  <a:lnTo>
                    <a:pt x="5121" y="29946"/>
                  </a:lnTo>
                  <a:lnTo>
                    <a:pt x="4909" y="29735"/>
                  </a:lnTo>
                  <a:lnTo>
                    <a:pt x="4662" y="29452"/>
                  </a:lnTo>
                  <a:lnTo>
                    <a:pt x="4167" y="28816"/>
                  </a:lnTo>
                  <a:lnTo>
                    <a:pt x="3602" y="28004"/>
                  </a:lnTo>
                  <a:lnTo>
                    <a:pt x="3037" y="27086"/>
                  </a:lnTo>
                  <a:lnTo>
                    <a:pt x="2472" y="26062"/>
                  </a:lnTo>
                  <a:lnTo>
                    <a:pt x="1907" y="24967"/>
                  </a:lnTo>
                  <a:lnTo>
                    <a:pt x="1413" y="23873"/>
                  </a:lnTo>
                  <a:lnTo>
                    <a:pt x="954" y="22743"/>
                  </a:lnTo>
                  <a:lnTo>
                    <a:pt x="565" y="21648"/>
                  </a:lnTo>
                  <a:lnTo>
                    <a:pt x="283" y="20588"/>
                  </a:lnTo>
                  <a:lnTo>
                    <a:pt x="142" y="20094"/>
                  </a:lnTo>
                  <a:lnTo>
                    <a:pt x="71" y="19635"/>
                  </a:lnTo>
                  <a:lnTo>
                    <a:pt x="36" y="19211"/>
                  </a:lnTo>
                  <a:lnTo>
                    <a:pt x="0" y="18787"/>
                  </a:lnTo>
                  <a:lnTo>
                    <a:pt x="36" y="18399"/>
                  </a:lnTo>
                  <a:lnTo>
                    <a:pt x="71" y="18081"/>
                  </a:lnTo>
                  <a:lnTo>
                    <a:pt x="177" y="17763"/>
                  </a:lnTo>
                  <a:lnTo>
                    <a:pt x="318" y="17516"/>
                  </a:lnTo>
                  <a:lnTo>
                    <a:pt x="495" y="17304"/>
                  </a:lnTo>
                  <a:lnTo>
                    <a:pt x="742" y="17163"/>
                  </a:lnTo>
                  <a:lnTo>
                    <a:pt x="742" y="17163"/>
                  </a:lnTo>
                  <a:lnTo>
                    <a:pt x="1907" y="16633"/>
                  </a:lnTo>
                  <a:lnTo>
                    <a:pt x="3355" y="15962"/>
                  </a:lnTo>
                  <a:lnTo>
                    <a:pt x="6463" y="14620"/>
                  </a:lnTo>
                  <a:lnTo>
                    <a:pt x="10206" y="13031"/>
                  </a:lnTo>
                  <a:lnTo>
                    <a:pt x="74370"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65" name="Google Shape;771;g2e0683f995c_0_0">
              <a:extLst>
                <a:ext uri="{FF2B5EF4-FFF2-40B4-BE49-F238E27FC236}">
                  <a16:creationId xmlns:a16="http://schemas.microsoft.com/office/drawing/2014/main" id="{1ACB5147-7EBD-247C-2375-C6C4A978079C}"/>
                </a:ext>
              </a:extLst>
            </p:cNvPr>
            <p:cNvSpPr/>
            <p:nvPr/>
          </p:nvSpPr>
          <p:spPr>
            <a:xfrm>
              <a:off x="1289998" y="2375233"/>
              <a:ext cx="1450064" cy="555596"/>
            </a:xfrm>
            <a:custGeom>
              <a:avLst/>
              <a:gdLst/>
              <a:ahLst/>
              <a:cxnLst/>
              <a:rect l="l" t="t" r="r" b="b"/>
              <a:pathLst>
                <a:path w="147928" h="56679" extrusionOk="0">
                  <a:moveTo>
                    <a:pt x="71827" y="1"/>
                  </a:moveTo>
                  <a:lnTo>
                    <a:pt x="70803" y="36"/>
                  </a:lnTo>
                  <a:lnTo>
                    <a:pt x="69638" y="142"/>
                  </a:lnTo>
                  <a:lnTo>
                    <a:pt x="68331" y="248"/>
                  </a:lnTo>
                  <a:lnTo>
                    <a:pt x="65294" y="601"/>
                  </a:lnTo>
                  <a:lnTo>
                    <a:pt x="61763" y="1095"/>
                  </a:lnTo>
                  <a:lnTo>
                    <a:pt x="57879" y="1660"/>
                  </a:lnTo>
                  <a:lnTo>
                    <a:pt x="53641" y="2331"/>
                  </a:lnTo>
                  <a:lnTo>
                    <a:pt x="49156" y="3073"/>
                  </a:lnTo>
                  <a:lnTo>
                    <a:pt x="44530" y="3885"/>
                  </a:lnTo>
                  <a:lnTo>
                    <a:pt x="39798" y="4733"/>
                  </a:lnTo>
                  <a:lnTo>
                    <a:pt x="30405" y="6428"/>
                  </a:lnTo>
                  <a:lnTo>
                    <a:pt x="21577" y="8052"/>
                  </a:lnTo>
                  <a:lnTo>
                    <a:pt x="13914" y="9500"/>
                  </a:lnTo>
                  <a:lnTo>
                    <a:pt x="7381" y="10736"/>
                  </a:lnTo>
                  <a:lnTo>
                    <a:pt x="5262" y="11124"/>
                  </a:lnTo>
                  <a:lnTo>
                    <a:pt x="4096" y="11301"/>
                  </a:lnTo>
                  <a:lnTo>
                    <a:pt x="3743" y="11372"/>
                  </a:lnTo>
                  <a:lnTo>
                    <a:pt x="3390" y="11513"/>
                  </a:lnTo>
                  <a:lnTo>
                    <a:pt x="3072" y="11654"/>
                  </a:lnTo>
                  <a:lnTo>
                    <a:pt x="2755" y="11831"/>
                  </a:lnTo>
                  <a:lnTo>
                    <a:pt x="2472" y="12042"/>
                  </a:lnTo>
                  <a:lnTo>
                    <a:pt x="2190" y="12290"/>
                  </a:lnTo>
                  <a:lnTo>
                    <a:pt x="1942" y="12572"/>
                  </a:lnTo>
                  <a:lnTo>
                    <a:pt x="1695" y="12890"/>
                  </a:lnTo>
                  <a:lnTo>
                    <a:pt x="1483" y="13243"/>
                  </a:lnTo>
                  <a:lnTo>
                    <a:pt x="1271" y="13596"/>
                  </a:lnTo>
                  <a:lnTo>
                    <a:pt x="1095" y="13985"/>
                  </a:lnTo>
                  <a:lnTo>
                    <a:pt x="918" y="14373"/>
                  </a:lnTo>
                  <a:lnTo>
                    <a:pt x="600" y="15221"/>
                  </a:lnTo>
                  <a:lnTo>
                    <a:pt x="389" y="16139"/>
                  </a:lnTo>
                  <a:lnTo>
                    <a:pt x="212" y="17092"/>
                  </a:lnTo>
                  <a:lnTo>
                    <a:pt x="71" y="18046"/>
                  </a:lnTo>
                  <a:lnTo>
                    <a:pt x="35" y="18999"/>
                  </a:lnTo>
                  <a:lnTo>
                    <a:pt x="0" y="19988"/>
                  </a:lnTo>
                  <a:lnTo>
                    <a:pt x="71" y="20906"/>
                  </a:lnTo>
                  <a:lnTo>
                    <a:pt x="141" y="21824"/>
                  </a:lnTo>
                  <a:lnTo>
                    <a:pt x="283" y="22637"/>
                  </a:lnTo>
                  <a:lnTo>
                    <a:pt x="495" y="23413"/>
                  </a:lnTo>
                  <a:lnTo>
                    <a:pt x="565" y="23590"/>
                  </a:lnTo>
                  <a:lnTo>
                    <a:pt x="742" y="23802"/>
                  </a:lnTo>
                  <a:lnTo>
                    <a:pt x="1024" y="24049"/>
                  </a:lnTo>
                  <a:lnTo>
                    <a:pt x="1377" y="24332"/>
                  </a:lnTo>
                  <a:lnTo>
                    <a:pt x="2295" y="24967"/>
                  </a:lnTo>
                  <a:lnTo>
                    <a:pt x="3531" y="25709"/>
                  </a:lnTo>
                  <a:lnTo>
                    <a:pt x="5050" y="26521"/>
                  </a:lnTo>
                  <a:lnTo>
                    <a:pt x="6816" y="27439"/>
                  </a:lnTo>
                  <a:lnTo>
                    <a:pt x="8793" y="28463"/>
                  </a:lnTo>
                  <a:lnTo>
                    <a:pt x="11018" y="29558"/>
                  </a:lnTo>
                  <a:lnTo>
                    <a:pt x="13419" y="30688"/>
                  </a:lnTo>
                  <a:lnTo>
                    <a:pt x="15997" y="31889"/>
                  </a:lnTo>
                  <a:lnTo>
                    <a:pt x="21577" y="34431"/>
                  </a:lnTo>
                  <a:lnTo>
                    <a:pt x="27580" y="37115"/>
                  </a:lnTo>
                  <a:lnTo>
                    <a:pt x="33866" y="39834"/>
                  </a:lnTo>
                  <a:lnTo>
                    <a:pt x="40222" y="42589"/>
                  </a:lnTo>
                  <a:lnTo>
                    <a:pt x="46508" y="45237"/>
                  </a:lnTo>
                  <a:lnTo>
                    <a:pt x="58126" y="50146"/>
                  </a:lnTo>
                  <a:lnTo>
                    <a:pt x="67413" y="53995"/>
                  </a:lnTo>
                  <a:lnTo>
                    <a:pt x="72993" y="56255"/>
                  </a:lnTo>
                  <a:lnTo>
                    <a:pt x="73981" y="56679"/>
                  </a:lnTo>
                  <a:lnTo>
                    <a:pt x="84646" y="54525"/>
                  </a:lnTo>
                  <a:lnTo>
                    <a:pt x="108447" y="49722"/>
                  </a:lnTo>
                  <a:lnTo>
                    <a:pt x="121407" y="47073"/>
                  </a:lnTo>
                  <a:lnTo>
                    <a:pt x="133025" y="44707"/>
                  </a:lnTo>
                  <a:lnTo>
                    <a:pt x="141748" y="42871"/>
                  </a:lnTo>
                  <a:lnTo>
                    <a:pt x="144573" y="42271"/>
                  </a:lnTo>
                  <a:lnTo>
                    <a:pt x="146091" y="41918"/>
                  </a:lnTo>
                  <a:lnTo>
                    <a:pt x="146762" y="41706"/>
                  </a:lnTo>
                  <a:lnTo>
                    <a:pt x="147292" y="41529"/>
                  </a:lnTo>
                  <a:lnTo>
                    <a:pt x="147645" y="41317"/>
                  </a:lnTo>
                  <a:lnTo>
                    <a:pt x="147751" y="41211"/>
                  </a:lnTo>
                  <a:lnTo>
                    <a:pt x="147857" y="41141"/>
                  </a:lnTo>
                  <a:lnTo>
                    <a:pt x="147892" y="41035"/>
                  </a:lnTo>
                  <a:lnTo>
                    <a:pt x="147928" y="40964"/>
                  </a:lnTo>
                  <a:lnTo>
                    <a:pt x="147928" y="40858"/>
                  </a:lnTo>
                  <a:lnTo>
                    <a:pt x="147892" y="40788"/>
                  </a:lnTo>
                  <a:lnTo>
                    <a:pt x="147786" y="40611"/>
                  </a:lnTo>
                  <a:lnTo>
                    <a:pt x="147610" y="40470"/>
                  </a:lnTo>
                  <a:lnTo>
                    <a:pt x="147363" y="40364"/>
                  </a:lnTo>
                  <a:lnTo>
                    <a:pt x="147115" y="40223"/>
                  </a:lnTo>
                  <a:lnTo>
                    <a:pt x="146550" y="40046"/>
                  </a:lnTo>
                  <a:lnTo>
                    <a:pt x="145950" y="39869"/>
                  </a:lnTo>
                  <a:lnTo>
                    <a:pt x="136309" y="42024"/>
                  </a:lnTo>
                  <a:lnTo>
                    <a:pt x="126245" y="44213"/>
                  </a:lnTo>
                  <a:lnTo>
                    <a:pt x="114486" y="46756"/>
                  </a:lnTo>
                  <a:lnTo>
                    <a:pt x="108377" y="48027"/>
                  </a:lnTo>
                  <a:lnTo>
                    <a:pt x="102303" y="49263"/>
                  </a:lnTo>
                  <a:lnTo>
                    <a:pt x="96511" y="50464"/>
                  </a:lnTo>
                  <a:lnTo>
                    <a:pt x="91073" y="51523"/>
                  </a:lnTo>
                  <a:lnTo>
                    <a:pt x="86235" y="52406"/>
                  </a:lnTo>
                  <a:lnTo>
                    <a:pt x="82104" y="53112"/>
                  </a:lnTo>
                  <a:lnTo>
                    <a:pt x="80373" y="53395"/>
                  </a:lnTo>
                  <a:lnTo>
                    <a:pt x="78855" y="53606"/>
                  </a:lnTo>
                  <a:lnTo>
                    <a:pt x="77654" y="53748"/>
                  </a:lnTo>
                  <a:lnTo>
                    <a:pt x="76701" y="53818"/>
                  </a:lnTo>
                  <a:lnTo>
                    <a:pt x="75994" y="53783"/>
                  </a:lnTo>
                  <a:lnTo>
                    <a:pt x="75359" y="53748"/>
                  </a:lnTo>
                  <a:lnTo>
                    <a:pt x="74758" y="53642"/>
                  </a:lnTo>
                  <a:lnTo>
                    <a:pt x="74229" y="53465"/>
                  </a:lnTo>
                  <a:lnTo>
                    <a:pt x="73734" y="53253"/>
                  </a:lnTo>
                  <a:lnTo>
                    <a:pt x="73311" y="53006"/>
                  </a:lnTo>
                  <a:lnTo>
                    <a:pt x="72922" y="52724"/>
                  </a:lnTo>
                  <a:lnTo>
                    <a:pt x="72569" y="52406"/>
                  </a:lnTo>
                  <a:lnTo>
                    <a:pt x="72322" y="52123"/>
                  </a:lnTo>
                  <a:lnTo>
                    <a:pt x="72075" y="51805"/>
                  </a:lnTo>
                  <a:lnTo>
                    <a:pt x="71898" y="51452"/>
                  </a:lnTo>
                  <a:lnTo>
                    <a:pt x="71721" y="51099"/>
                  </a:lnTo>
                  <a:lnTo>
                    <a:pt x="71580" y="50746"/>
                  </a:lnTo>
                  <a:lnTo>
                    <a:pt x="71439" y="50358"/>
                  </a:lnTo>
                  <a:lnTo>
                    <a:pt x="71333" y="49934"/>
                  </a:lnTo>
                  <a:lnTo>
                    <a:pt x="71262" y="49545"/>
                  </a:lnTo>
                  <a:lnTo>
                    <a:pt x="71227" y="49122"/>
                  </a:lnTo>
                  <a:lnTo>
                    <a:pt x="71192" y="48698"/>
                  </a:lnTo>
                  <a:lnTo>
                    <a:pt x="71192" y="47815"/>
                  </a:lnTo>
                  <a:lnTo>
                    <a:pt x="71262" y="46932"/>
                  </a:lnTo>
                  <a:lnTo>
                    <a:pt x="71368" y="46049"/>
                  </a:lnTo>
                  <a:lnTo>
                    <a:pt x="71545" y="45202"/>
                  </a:lnTo>
                  <a:lnTo>
                    <a:pt x="71757" y="44390"/>
                  </a:lnTo>
                  <a:lnTo>
                    <a:pt x="72039" y="43613"/>
                  </a:lnTo>
                  <a:lnTo>
                    <a:pt x="72322" y="42871"/>
                  </a:lnTo>
                  <a:lnTo>
                    <a:pt x="72604" y="42235"/>
                  </a:lnTo>
                  <a:lnTo>
                    <a:pt x="72922" y="41670"/>
                  </a:lnTo>
                  <a:lnTo>
                    <a:pt x="73240" y="41247"/>
                  </a:lnTo>
                  <a:lnTo>
                    <a:pt x="73522" y="40894"/>
                  </a:lnTo>
                  <a:lnTo>
                    <a:pt x="73699" y="40788"/>
                  </a:lnTo>
                  <a:lnTo>
                    <a:pt x="73946" y="40646"/>
                  </a:lnTo>
                  <a:lnTo>
                    <a:pt x="74688" y="40329"/>
                  </a:lnTo>
                  <a:lnTo>
                    <a:pt x="75677" y="40011"/>
                  </a:lnTo>
                  <a:lnTo>
                    <a:pt x="76948" y="39658"/>
                  </a:lnTo>
                  <a:lnTo>
                    <a:pt x="78431" y="39304"/>
                  </a:lnTo>
                  <a:lnTo>
                    <a:pt x="80126" y="38916"/>
                  </a:lnTo>
                  <a:lnTo>
                    <a:pt x="84152" y="38069"/>
                  </a:lnTo>
                  <a:lnTo>
                    <a:pt x="88848" y="37115"/>
                  </a:lnTo>
                  <a:lnTo>
                    <a:pt x="94039" y="36126"/>
                  </a:lnTo>
                  <a:lnTo>
                    <a:pt x="105481" y="33972"/>
                  </a:lnTo>
                  <a:lnTo>
                    <a:pt x="111414" y="32842"/>
                  </a:lnTo>
                  <a:lnTo>
                    <a:pt x="117311" y="31712"/>
                  </a:lnTo>
                  <a:lnTo>
                    <a:pt x="122996" y="30511"/>
                  </a:lnTo>
                  <a:lnTo>
                    <a:pt x="125751" y="29946"/>
                  </a:lnTo>
                  <a:lnTo>
                    <a:pt x="128364" y="29346"/>
                  </a:lnTo>
                  <a:lnTo>
                    <a:pt x="130871" y="28746"/>
                  </a:lnTo>
                  <a:lnTo>
                    <a:pt x="133273" y="28145"/>
                  </a:lnTo>
                  <a:lnTo>
                    <a:pt x="135497" y="27580"/>
                  </a:lnTo>
                  <a:lnTo>
                    <a:pt x="137545" y="26980"/>
                  </a:lnTo>
                  <a:lnTo>
                    <a:pt x="139417" y="26415"/>
                  </a:lnTo>
                  <a:lnTo>
                    <a:pt x="141077" y="25850"/>
                  </a:lnTo>
                  <a:lnTo>
                    <a:pt x="142489" y="25285"/>
                  </a:lnTo>
                  <a:lnTo>
                    <a:pt x="143125" y="25003"/>
                  </a:lnTo>
                  <a:lnTo>
                    <a:pt x="143690" y="24755"/>
                  </a:lnTo>
                  <a:lnTo>
                    <a:pt x="143725" y="24720"/>
                  </a:lnTo>
                  <a:lnTo>
                    <a:pt x="143725" y="24685"/>
                  </a:lnTo>
                  <a:lnTo>
                    <a:pt x="143690" y="24579"/>
                  </a:lnTo>
                  <a:lnTo>
                    <a:pt x="143584" y="24438"/>
                  </a:lnTo>
                  <a:lnTo>
                    <a:pt x="143337" y="24261"/>
                  </a:lnTo>
                  <a:lnTo>
                    <a:pt x="142631" y="23873"/>
                  </a:lnTo>
                  <a:lnTo>
                    <a:pt x="141606" y="23378"/>
                  </a:lnTo>
                  <a:lnTo>
                    <a:pt x="140229" y="22813"/>
                  </a:lnTo>
                  <a:lnTo>
                    <a:pt x="138605" y="22142"/>
                  </a:lnTo>
                  <a:lnTo>
                    <a:pt x="136698" y="21401"/>
                  </a:lnTo>
                  <a:lnTo>
                    <a:pt x="134544" y="20553"/>
                  </a:lnTo>
                  <a:lnTo>
                    <a:pt x="129635" y="18752"/>
                  </a:lnTo>
                  <a:lnTo>
                    <a:pt x="124056" y="16774"/>
                  </a:lnTo>
                  <a:lnTo>
                    <a:pt x="118017" y="14656"/>
                  </a:lnTo>
                  <a:lnTo>
                    <a:pt x="111696" y="12502"/>
                  </a:lnTo>
                  <a:lnTo>
                    <a:pt x="105269" y="10312"/>
                  </a:lnTo>
                  <a:lnTo>
                    <a:pt x="98948" y="8193"/>
                  </a:lnTo>
                  <a:lnTo>
                    <a:pt x="87365" y="4379"/>
                  </a:lnTo>
                  <a:lnTo>
                    <a:pt x="78502" y="1519"/>
                  </a:lnTo>
                  <a:lnTo>
                    <a:pt x="75535" y="601"/>
                  </a:lnTo>
                  <a:lnTo>
                    <a:pt x="73840" y="107"/>
                  </a:lnTo>
                  <a:lnTo>
                    <a:pt x="73346" y="36"/>
                  </a:lnTo>
                  <a:lnTo>
                    <a:pt x="72675" y="1"/>
                  </a:lnTo>
                  <a:close/>
                </a:path>
              </a:pathLst>
            </a:custGeom>
            <a:solidFill>
              <a:srgbClr val="3C3C3B"/>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66" name="Google Shape;772;g2e0683f995c_0_0">
              <a:extLst>
                <a:ext uri="{FF2B5EF4-FFF2-40B4-BE49-F238E27FC236}">
                  <a16:creationId xmlns:a16="http://schemas.microsoft.com/office/drawing/2014/main" id="{94BC6D4C-4F0A-5C8C-F34E-76C80DCA116F}"/>
                </a:ext>
              </a:extLst>
            </p:cNvPr>
            <p:cNvSpPr/>
            <p:nvPr/>
          </p:nvSpPr>
          <p:spPr>
            <a:xfrm>
              <a:off x="1289998" y="2375233"/>
              <a:ext cx="1450064" cy="555596"/>
            </a:xfrm>
            <a:custGeom>
              <a:avLst/>
              <a:gdLst/>
              <a:ahLst/>
              <a:cxnLst/>
              <a:rect l="l" t="t" r="r" b="b"/>
              <a:pathLst>
                <a:path w="147928" h="56679" fill="none" extrusionOk="0">
                  <a:moveTo>
                    <a:pt x="146091" y="41918"/>
                  </a:moveTo>
                  <a:lnTo>
                    <a:pt x="146091" y="41918"/>
                  </a:lnTo>
                  <a:lnTo>
                    <a:pt x="144573" y="42271"/>
                  </a:lnTo>
                  <a:lnTo>
                    <a:pt x="141748" y="42871"/>
                  </a:lnTo>
                  <a:lnTo>
                    <a:pt x="133025" y="44707"/>
                  </a:lnTo>
                  <a:lnTo>
                    <a:pt x="121407" y="47073"/>
                  </a:lnTo>
                  <a:lnTo>
                    <a:pt x="108447" y="49722"/>
                  </a:lnTo>
                  <a:lnTo>
                    <a:pt x="84646" y="54525"/>
                  </a:lnTo>
                  <a:lnTo>
                    <a:pt x="73981" y="56679"/>
                  </a:lnTo>
                  <a:lnTo>
                    <a:pt x="73981" y="56679"/>
                  </a:lnTo>
                  <a:lnTo>
                    <a:pt x="72993" y="56255"/>
                  </a:lnTo>
                  <a:lnTo>
                    <a:pt x="72993" y="56255"/>
                  </a:lnTo>
                  <a:lnTo>
                    <a:pt x="67413" y="53995"/>
                  </a:lnTo>
                  <a:lnTo>
                    <a:pt x="58126" y="50146"/>
                  </a:lnTo>
                  <a:lnTo>
                    <a:pt x="46508" y="45237"/>
                  </a:lnTo>
                  <a:lnTo>
                    <a:pt x="40222" y="42589"/>
                  </a:lnTo>
                  <a:lnTo>
                    <a:pt x="33866" y="39834"/>
                  </a:lnTo>
                  <a:lnTo>
                    <a:pt x="27580" y="37115"/>
                  </a:lnTo>
                  <a:lnTo>
                    <a:pt x="21577" y="34431"/>
                  </a:lnTo>
                  <a:lnTo>
                    <a:pt x="15997" y="31889"/>
                  </a:lnTo>
                  <a:lnTo>
                    <a:pt x="13419" y="30688"/>
                  </a:lnTo>
                  <a:lnTo>
                    <a:pt x="11018" y="29558"/>
                  </a:lnTo>
                  <a:lnTo>
                    <a:pt x="8793" y="28463"/>
                  </a:lnTo>
                  <a:lnTo>
                    <a:pt x="6816" y="27439"/>
                  </a:lnTo>
                  <a:lnTo>
                    <a:pt x="5050" y="26521"/>
                  </a:lnTo>
                  <a:lnTo>
                    <a:pt x="3531" y="25709"/>
                  </a:lnTo>
                  <a:lnTo>
                    <a:pt x="2295" y="24967"/>
                  </a:lnTo>
                  <a:lnTo>
                    <a:pt x="1377" y="24332"/>
                  </a:lnTo>
                  <a:lnTo>
                    <a:pt x="1024" y="24049"/>
                  </a:lnTo>
                  <a:lnTo>
                    <a:pt x="742" y="23802"/>
                  </a:lnTo>
                  <a:lnTo>
                    <a:pt x="565" y="23590"/>
                  </a:lnTo>
                  <a:lnTo>
                    <a:pt x="495" y="23413"/>
                  </a:lnTo>
                  <a:lnTo>
                    <a:pt x="495" y="23413"/>
                  </a:lnTo>
                  <a:lnTo>
                    <a:pt x="283" y="22637"/>
                  </a:lnTo>
                  <a:lnTo>
                    <a:pt x="141" y="21824"/>
                  </a:lnTo>
                  <a:lnTo>
                    <a:pt x="71" y="20906"/>
                  </a:lnTo>
                  <a:lnTo>
                    <a:pt x="0" y="19988"/>
                  </a:lnTo>
                  <a:lnTo>
                    <a:pt x="35" y="18999"/>
                  </a:lnTo>
                  <a:lnTo>
                    <a:pt x="71" y="18046"/>
                  </a:lnTo>
                  <a:lnTo>
                    <a:pt x="212" y="17092"/>
                  </a:lnTo>
                  <a:lnTo>
                    <a:pt x="389" y="16139"/>
                  </a:lnTo>
                  <a:lnTo>
                    <a:pt x="600" y="15221"/>
                  </a:lnTo>
                  <a:lnTo>
                    <a:pt x="918" y="14373"/>
                  </a:lnTo>
                  <a:lnTo>
                    <a:pt x="1095" y="13985"/>
                  </a:lnTo>
                  <a:lnTo>
                    <a:pt x="1271" y="13596"/>
                  </a:lnTo>
                  <a:lnTo>
                    <a:pt x="1483" y="13243"/>
                  </a:lnTo>
                  <a:lnTo>
                    <a:pt x="1695" y="12890"/>
                  </a:lnTo>
                  <a:lnTo>
                    <a:pt x="1942" y="12572"/>
                  </a:lnTo>
                  <a:lnTo>
                    <a:pt x="2190" y="12290"/>
                  </a:lnTo>
                  <a:lnTo>
                    <a:pt x="2472" y="12042"/>
                  </a:lnTo>
                  <a:lnTo>
                    <a:pt x="2755" y="11831"/>
                  </a:lnTo>
                  <a:lnTo>
                    <a:pt x="3072" y="11654"/>
                  </a:lnTo>
                  <a:lnTo>
                    <a:pt x="3390" y="11513"/>
                  </a:lnTo>
                  <a:lnTo>
                    <a:pt x="3743" y="11372"/>
                  </a:lnTo>
                  <a:lnTo>
                    <a:pt x="4096" y="11301"/>
                  </a:lnTo>
                  <a:lnTo>
                    <a:pt x="4096" y="11301"/>
                  </a:lnTo>
                  <a:lnTo>
                    <a:pt x="5262" y="11124"/>
                  </a:lnTo>
                  <a:lnTo>
                    <a:pt x="7381" y="10736"/>
                  </a:lnTo>
                  <a:lnTo>
                    <a:pt x="13914" y="9500"/>
                  </a:lnTo>
                  <a:lnTo>
                    <a:pt x="13914" y="9500"/>
                  </a:lnTo>
                  <a:lnTo>
                    <a:pt x="21577" y="8052"/>
                  </a:lnTo>
                  <a:lnTo>
                    <a:pt x="30405" y="6428"/>
                  </a:lnTo>
                  <a:lnTo>
                    <a:pt x="39798" y="4733"/>
                  </a:lnTo>
                  <a:lnTo>
                    <a:pt x="44530" y="3885"/>
                  </a:lnTo>
                  <a:lnTo>
                    <a:pt x="49156" y="3073"/>
                  </a:lnTo>
                  <a:lnTo>
                    <a:pt x="53641" y="2331"/>
                  </a:lnTo>
                  <a:lnTo>
                    <a:pt x="57879" y="1660"/>
                  </a:lnTo>
                  <a:lnTo>
                    <a:pt x="61763" y="1095"/>
                  </a:lnTo>
                  <a:lnTo>
                    <a:pt x="65294" y="601"/>
                  </a:lnTo>
                  <a:lnTo>
                    <a:pt x="68331" y="248"/>
                  </a:lnTo>
                  <a:lnTo>
                    <a:pt x="69638" y="142"/>
                  </a:lnTo>
                  <a:lnTo>
                    <a:pt x="70803" y="36"/>
                  </a:lnTo>
                  <a:lnTo>
                    <a:pt x="71827" y="1"/>
                  </a:lnTo>
                  <a:lnTo>
                    <a:pt x="72675" y="1"/>
                  </a:lnTo>
                  <a:lnTo>
                    <a:pt x="73346" y="36"/>
                  </a:lnTo>
                  <a:lnTo>
                    <a:pt x="73840" y="107"/>
                  </a:lnTo>
                  <a:lnTo>
                    <a:pt x="73840" y="107"/>
                  </a:lnTo>
                  <a:lnTo>
                    <a:pt x="75535" y="601"/>
                  </a:lnTo>
                  <a:lnTo>
                    <a:pt x="78502" y="1519"/>
                  </a:lnTo>
                  <a:lnTo>
                    <a:pt x="87365" y="4379"/>
                  </a:lnTo>
                  <a:lnTo>
                    <a:pt x="98948" y="8193"/>
                  </a:lnTo>
                  <a:lnTo>
                    <a:pt x="105269" y="10312"/>
                  </a:lnTo>
                  <a:lnTo>
                    <a:pt x="111696" y="12502"/>
                  </a:lnTo>
                  <a:lnTo>
                    <a:pt x="118017" y="14656"/>
                  </a:lnTo>
                  <a:lnTo>
                    <a:pt x="124056" y="16774"/>
                  </a:lnTo>
                  <a:lnTo>
                    <a:pt x="129635" y="18752"/>
                  </a:lnTo>
                  <a:lnTo>
                    <a:pt x="134544" y="20553"/>
                  </a:lnTo>
                  <a:lnTo>
                    <a:pt x="136698" y="21401"/>
                  </a:lnTo>
                  <a:lnTo>
                    <a:pt x="138605" y="22142"/>
                  </a:lnTo>
                  <a:lnTo>
                    <a:pt x="140229" y="22813"/>
                  </a:lnTo>
                  <a:lnTo>
                    <a:pt x="141606" y="23378"/>
                  </a:lnTo>
                  <a:lnTo>
                    <a:pt x="142631" y="23873"/>
                  </a:lnTo>
                  <a:lnTo>
                    <a:pt x="143337" y="24261"/>
                  </a:lnTo>
                  <a:lnTo>
                    <a:pt x="143584" y="24438"/>
                  </a:lnTo>
                  <a:lnTo>
                    <a:pt x="143690" y="24579"/>
                  </a:lnTo>
                  <a:lnTo>
                    <a:pt x="143725" y="24685"/>
                  </a:lnTo>
                  <a:lnTo>
                    <a:pt x="143725" y="24720"/>
                  </a:lnTo>
                  <a:lnTo>
                    <a:pt x="143690" y="24755"/>
                  </a:lnTo>
                  <a:lnTo>
                    <a:pt x="143690" y="24755"/>
                  </a:lnTo>
                  <a:lnTo>
                    <a:pt x="143125" y="25003"/>
                  </a:lnTo>
                  <a:lnTo>
                    <a:pt x="142489" y="25285"/>
                  </a:lnTo>
                  <a:lnTo>
                    <a:pt x="141077" y="25850"/>
                  </a:lnTo>
                  <a:lnTo>
                    <a:pt x="139417" y="26415"/>
                  </a:lnTo>
                  <a:lnTo>
                    <a:pt x="137545" y="26980"/>
                  </a:lnTo>
                  <a:lnTo>
                    <a:pt x="135497" y="27580"/>
                  </a:lnTo>
                  <a:lnTo>
                    <a:pt x="133273" y="28145"/>
                  </a:lnTo>
                  <a:lnTo>
                    <a:pt x="130871" y="28746"/>
                  </a:lnTo>
                  <a:lnTo>
                    <a:pt x="128364" y="29346"/>
                  </a:lnTo>
                  <a:lnTo>
                    <a:pt x="125751" y="29946"/>
                  </a:lnTo>
                  <a:lnTo>
                    <a:pt x="122996" y="30511"/>
                  </a:lnTo>
                  <a:lnTo>
                    <a:pt x="117311" y="31712"/>
                  </a:lnTo>
                  <a:lnTo>
                    <a:pt x="111414" y="32842"/>
                  </a:lnTo>
                  <a:lnTo>
                    <a:pt x="105481" y="33972"/>
                  </a:lnTo>
                  <a:lnTo>
                    <a:pt x="94039" y="36126"/>
                  </a:lnTo>
                  <a:lnTo>
                    <a:pt x="88848" y="37115"/>
                  </a:lnTo>
                  <a:lnTo>
                    <a:pt x="84152" y="38069"/>
                  </a:lnTo>
                  <a:lnTo>
                    <a:pt x="80126" y="38916"/>
                  </a:lnTo>
                  <a:lnTo>
                    <a:pt x="78431" y="39304"/>
                  </a:lnTo>
                  <a:lnTo>
                    <a:pt x="76948" y="39658"/>
                  </a:lnTo>
                  <a:lnTo>
                    <a:pt x="75677" y="40011"/>
                  </a:lnTo>
                  <a:lnTo>
                    <a:pt x="74688" y="40329"/>
                  </a:lnTo>
                  <a:lnTo>
                    <a:pt x="73946" y="40646"/>
                  </a:lnTo>
                  <a:lnTo>
                    <a:pt x="73699" y="40788"/>
                  </a:lnTo>
                  <a:lnTo>
                    <a:pt x="73522" y="40894"/>
                  </a:lnTo>
                  <a:lnTo>
                    <a:pt x="73522" y="40894"/>
                  </a:lnTo>
                  <a:lnTo>
                    <a:pt x="73240" y="41247"/>
                  </a:lnTo>
                  <a:lnTo>
                    <a:pt x="72922" y="41670"/>
                  </a:lnTo>
                  <a:lnTo>
                    <a:pt x="72604" y="42235"/>
                  </a:lnTo>
                  <a:lnTo>
                    <a:pt x="72322" y="42871"/>
                  </a:lnTo>
                  <a:lnTo>
                    <a:pt x="72039" y="43613"/>
                  </a:lnTo>
                  <a:lnTo>
                    <a:pt x="71757" y="44390"/>
                  </a:lnTo>
                  <a:lnTo>
                    <a:pt x="71545" y="45202"/>
                  </a:lnTo>
                  <a:lnTo>
                    <a:pt x="71368" y="46049"/>
                  </a:lnTo>
                  <a:lnTo>
                    <a:pt x="71262" y="46932"/>
                  </a:lnTo>
                  <a:lnTo>
                    <a:pt x="71192" y="47815"/>
                  </a:lnTo>
                  <a:lnTo>
                    <a:pt x="71192" y="48698"/>
                  </a:lnTo>
                  <a:lnTo>
                    <a:pt x="71227" y="49122"/>
                  </a:lnTo>
                  <a:lnTo>
                    <a:pt x="71262" y="49545"/>
                  </a:lnTo>
                  <a:lnTo>
                    <a:pt x="71333" y="49934"/>
                  </a:lnTo>
                  <a:lnTo>
                    <a:pt x="71439" y="50358"/>
                  </a:lnTo>
                  <a:lnTo>
                    <a:pt x="71580" y="50746"/>
                  </a:lnTo>
                  <a:lnTo>
                    <a:pt x="71721" y="51099"/>
                  </a:lnTo>
                  <a:lnTo>
                    <a:pt x="71898" y="51452"/>
                  </a:lnTo>
                  <a:lnTo>
                    <a:pt x="72075" y="51805"/>
                  </a:lnTo>
                  <a:lnTo>
                    <a:pt x="72322" y="52123"/>
                  </a:lnTo>
                  <a:lnTo>
                    <a:pt x="72569" y="52406"/>
                  </a:lnTo>
                  <a:lnTo>
                    <a:pt x="72569" y="52406"/>
                  </a:lnTo>
                  <a:lnTo>
                    <a:pt x="72922" y="52724"/>
                  </a:lnTo>
                  <a:lnTo>
                    <a:pt x="73311" y="53006"/>
                  </a:lnTo>
                  <a:lnTo>
                    <a:pt x="73734" y="53253"/>
                  </a:lnTo>
                  <a:lnTo>
                    <a:pt x="74229" y="53465"/>
                  </a:lnTo>
                  <a:lnTo>
                    <a:pt x="74758" y="53642"/>
                  </a:lnTo>
                  <a:lnTo>
                    <a:pt x="75359" y="53748"/>
                  </a:lnTo>
                  <a:lnTo>
                    <a:pt x="75994" y="53783"/>
                  </a:lnTo>
                  <a:lnTo>
                    <a:pt x="76701" y="53818"/>
                  </a:lnTo>
                  <a:lnTo>
                    <a:pt x="76701" y="53818"/>
                  </a:lnTo>
                  <a:lnTo>
                    <a:pt x="77654" y="53748"/>
                  </a:lnTo>
                  <a:lnTo>
                    <a:pt x="78855" y="53606"/>
                  </a:lnTo>
                  <a:lnTo>
                    <a:pt x="80373" y="53395"/>
                  </a:lnTo>
                  <a:lnTo>
                    <a:pt x="82104" y="53112"/>
                  </a:lnTo>
                  <a:lnTo>
                    <a:pt x="86235" y="52406"/>
                  </a:lnTo>
                  <a:lnTo>
                    <a:pt x="91073" y="51523"/>
                  </a:lnTo>
                  <a:lnTo>
                    <a:pt x="96511" y="50464"/>
                  </a:lnTo>
                  <a:lnTo>
                    <a:pt x="102303" y="49263"/>
                  </a:lnTo>
                  <a:lnTo>
                    <a:pt x="108377" y="48027"/>
                  </a:lnTo>
                  <a:lnTo>
                    <a:pt x="114486" y="46756"/>
                  </a:lnTo>
                  <a:lnTo>
                    <a:pt x="126245" y="44213"/>
                  </a:lnTo>
                  <a:lnTo>
                    <a:pt x="136309" y="42024"/>
                  </a:lnTo>
                  <a:lnTo>
                    <a:pt x="145950" y="39869"/>
                  </a:lnTo>
                  <a:lnTo>
                    <a:pt x="145950" y="39869"/>
                  </a:lnTo>
                  <a:lnTo>
                    <a:pt x="146550" y="40046"/>
                  </a:lnTo>
                  <a:lnTo>
                    <a:pt x="147115" y="40223"/>
                  </a:lnTo>
                  <a:lnTo>
                    <a:pt x="147363" y="40364"/>
                  </a:lnTo>
                  <a:lnTo>
                    <a:pt x="147610" y="40470"/>
                  </a:lnTo>
                  <a:lnTo>
                    <a:pt x="147786" y="40611"/>
                  </a:lnTo>
                  <a:lnTo>
                    <a:pt x="147892" y="40788"/>
                  </a:lnTo>
                  <a:lnTo>
                    <a:pt x="147928" y="40858"/>
                  </a:lnTo>
                  <a:lnTo>
                    <a:pt x="147928" y="40964"/>
                  </a:lnTo>
                  <a:lnTo>
                    <a:pt x="147892" y="41035"/>
                  </a:lnTo>
                  <a:lnTo>
                    <a:pt x="147857" y="41141"/>
                  </a:lnTo>
                  <a:lnTo>
                    <a:pt x="147751" y="41211"/>
                  </a:lnTo>
                  <a:lnTo>
                    <a:pt x="147645" y="41317"/>
                  </a:lnTo>
                  <a:lnTo>
                    <a:pt x="147292" y="41529"/>
                  </a:lnTo>
                  <a:lnTo>
                    <a:pt x="146762" y="41706"/>
                  </a:lnTo>
                  <a:lnTo>
                    <a:pt x="146091" y="41918"/>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67" name="Google Shape;773;g2e0683f995c_0_0">
              <a:extLst>
                <a:ext uri="{FF2B5EF4-FFF2-40B4-BE49-F238E27FC236}">
                  <a16:creationId xmlns:a16="http://schemas.microsoft.com/office/drawing/2014/main" id="{A4FBB427-C803-29C3-031B-228C00A4B269}"/>
                </a:ext>
              </a:extLst>
            </p:cNvPr>
            <p:cNvSpPr/>
            <p:nvPr/>
          </p:nvSpPr>
          <p:spPr>
            <a:xfrm>
              <a:off x="1289998" y="2478042"/>
              <a:ext cx="720709" cy="448631"/>
            </a:xfrm>
            <a:custGeom>
              <a:avLst/>
              <a:gdLst/>
              <a:ahLst/>
              <a:cxnLst/>
              <a:rect l="l" t="t" r="r" b="b"/>
              <a:pathLst>
                <a:path w="73523" h="45767" extrusionOk="0">
                  <a:moveTo>
                    <a:pt x="8617" y="1"/>
                  </a:moveTo>
                  <a:lnTo>
                    <a:pt x="5686" y="566"/>
                  </a:lnTo>
                  <a:lnTo>
                    <a:pt x="4096" y="813"/>
                  </a:lnTo>
                  <a:lnTo>
                    <a:pt x="3849" y="884"/>
                  </a:lnTo>
                  <a:lnTo>
                    <a:pt x="3567" y="954"/>
                  </a:lnTo>
                  <a:lnTo>
                    <a:pt x="3320" y="1025"/>
                  </a:lnTo>
                  <a:lnTo>
                    <a:pt x="3108" y="1131"/>
                  </a:lnTo>
                  <a:lnTo>
                    <a:pt x="2649" y="1413"/>
                  </a:lnTo>
                  <a:lnTo>
                    <a:pt x="2225" y="1766"/>
                  </a:lnTo>
                  <a:lnTo>
                    <a:pt x="1872" y="2190"/>
                  </a:lnTo>
                  <a:lnTo>
                    <a:pt x="1519" y="2649"/>
                  </a:lnTo>
                  <a:lnTo>
                    <a:pt x="1236" y="3179"/>
                  </a:lnTo>
                  <a:lnTo>
                    <a:pt x="954" y="3744"/>
                  </a:lnTo>
                  <a:lnTo>
                    <a:pt x="742" y="4344"/>
                  </a:lnTo>
                  <a:lnTo>
                    <a:pt x="530" y="4980"/>
                  </a:lnTo>
                  <a:lnTo>
                    <a:pt x="389" y="5651"/>
                  </a:lnTo>
                  <a:lnTo>
                    <a:pt x="247" y="6322"/>
                  </a:lnTo>
                  <a:lnTo>
                    <a:pt x="141" y="7028"/>
                  </a:lnTo>
                  <a:lnTo>
                    <a:pt x="71" y="7734"/>
                  </a:lnTo>
                  <a:lnTo>
                    <a:pt x="35" y="8441"/>
                  </a:lnTo>
                  <a:lnTo>
                    <a:pt x="0" y="9147"/>
                  </a:lnTo>
                  <a:lnTo>
                    <a:pt x="35" y="10171"/>
                  </a:lnTo>
                  <a:lnTo>
                    <a:pt x="141" y="11160"/>
                  </a:lnTo>
                  <a:lnTo>
                    <a:pt x="283" y="12078"/>
                  </a:lnTo>
                  <a:lnTo>
                    <a:pt x="495" y="12925"/>
                  </a:lnTo>
                  <a:lnTo>
                    <a:pt x="565" y="13102"/>
                  </a:lnTo>
                  <a:lnTo>
                    <a:pt x="742" y="13314"/>
                  </a:lnTo>
                  <a:lnTo>
                    <a:pt x="1024" y="13561"/>
                  </a:lnTo>
                  <a:lnTo>
                    <a:pt x="1377" y="13844"/>
                  </a:lnTo>
                  <a:lnTo>
                    <a:pt x="2295" y="14479"/>
                  </a:lnTo>
                  <a:lnTo>
                    <a:pt x="3531" y="15221"/>
                  </a:lnTo>
                  <a:lnTo>
                    <a:pt x="5050" y="16033"/>
                  </a:lnTo>
                  <a:lnTo>
                    <a:pt x="6816" y="16951"/>
                  </a:lnTo>
                  <a:lnTo>
                    <a:pt x="8793" y="17975"/>
                  </a:lnTo>
                  <a:lnTo>
                    <a:pt x="11018" y="19070"/>
                  </a:lnTo>
                  <a:lnTo>
                    <a:pt x="13419" y="20200"/>
                  </a:lnTo>
                  <a:lnTo>
                    <a:pt x="15997" y="21401"/>
                  </a:lnTo>
                  <a:lnTo>
                    <a:pt x="21577" y="23943"/>
                  </a:lnTo>
                  <a:lnTo>
                    <a:pt x="27580" y="26627"/>
                  </a:lnTo>
                  <a:lnTo>
                    <a:pt x="33866" y="29346"/>
                  </a:lnTo>
                  <a:lnTo>
                    <a:pt x="40222" y="32101"/>
                  </a:lnTo>
                  <a:lnTo>
                    <a:pt x="46508" y="34749"/>
                  </a:lnTo>
                  <a:lnTo>
                    <a:pt x="58126" y="39658"/>
                  </a:lnTo>
                  <a:lnTo>
                    <a:pt x="67413" y="43507"/>
                  </a:lnTo>
                  <a:lnTo>
                    <a:pt x="72993" y="45767"/>
                  </a:lnTo>
                  <a:lnTo>
                    <a:pt x="72710" y="44708"/>
                  </a:lnTo>
                  <a:lnTo>
                    <a:pt x="72498" y="43754"/>
                  </a:lnTo>
                  <a:lnTo>
                    <a:pt x="72463" y="43366"/>
                  </a:lnTo>
                  <a:lnTo>
                    <a:pt x="72428" y="43012"/>
                  </a:lnTo>
                  <a:lnTo>
                    <a:pt x="72428" y="42695"/>
                  </a:lnTo>
                  <a:lnTo>
                    <a:pt x="72463" y="42447"/>
                  </a:lnTo>
                  <a:lnTo>
                    <a:pt x="72569" y="41918"/>
                  </a:lnTo>
                  <a:lnTo>
                    <a:pt x="72216" y="41494"/>
                  </a:lnTo>
                  <a:lnTo>
                    <a:pt x="71933" y="41035"/>
                  </a:lnTo>
                  <a:lnTo>
                    <a:pt x="71686" y="40541"/>
                  </a:lnTo>
                  <a:lnTo>
                    <a:pt x="71510" y="40011"/>
                  </a:lnTo>
                  <a:lnTo>
                    <a:pt x="71368" y="39481"/>
                  </a:lnTo>
                  <a:lnTo>
                    <a:pt x="71262" y="38881"/>
                  </a:lnTo>
                  <a:lnTo>
                    <a:pt x="71192" y="38280"/>
                  </a:lnTo>
                  <a:lnTo>
                    <a:pt x="71192" y="37680"/>
                  </a:lnTo>
                  <a:lnTo>
                    <a:pt x="71192" y="37115"/>
                  </a:lnTo>
                  <a:lnTo>
                    <a:pt x="71227" y="36550"/>
                  </a:lnTo>
                  <a:lnTo>
                    <a:pt x="71298" y="35985"/>
                  </a:lnTo>
                  <a:lnTo>
                    <a:pt x="71404" y="35420"/>
                  </a:lnTo>
                  <a:lnTo>
                    <a:pt x="71510" y="34855"/>
                  </a:lnTo>
                  <a:lnTo>
                    <a:pt x="71651" y="34290"/>
                  </a:lnTo>
                  <a:lnTo>
                    <a:pt x="71969" y="33266"/>
                  </a:lnTo>
                  <a:lnTo>
                    <a:pt x="72322" y="32313"/>
                  </a:lnTo>
                  <a:lnTo>
                    <a:pt x="72746" y="31536"/>
                  </a:lnTo>
                  <a:lnTo>
                    <a:pt x="72922" y="31182"/>
                  </a:lnTo>
                  <a:lnTo>
                    <a:pt x="73134" y="30865"/>
                  </a:lnTo>
                  <a:lnTo>
                    <a:pt x="73346" y="30617"/>
                  </a:lnTo>
                  <a:lnTo>
                    <a:pt x="73522" y="30406"/>
                  </a:lnTo>
                  <a:lnTo>
                    <a:pt x="68967" y="28993"/>
                  </a:lnTo>
                  <a:lnTo>
                    <a:pt x="61622" y="26592"/>
                  </a:lnTo>
                  <a:lnTo>
                    <a:pt x="57208" y="25144"/>
                  </a:lnTo>
                  <a:lnTo>
                    <a:pt x="52476" y="23555"/>
                  </a:lnTo>
                  <a:lnTo>
                    <a:pt x="47532" y="21860"/>
                  </a:lnTo>
                  <a:lnTo>
                    <a:pt x="42553" y="20094"/>
                  </a:lnTo>
                  <a:lnTo>
                    <a:pt x="37609" y="18293"/>
                  </a:lnTo>
                  <a:lnTo>
                    <a:pt x="32877" y="16492"/>
                  </a:lnTo>
                  <a:lnTo>
                    <a:pt x="30617" y="15574"/>
                  </a:lnTo>
                  <a:lnTo>
                    <a:pt x="28463" y="14691"/>
                  </a:lnTo>
                  <a:lnTo>
                    <a:pt x="26379" y="13808"/>
                  </a:lnTo>
                  <a:lnTo>
                    <a:pt x="24472" y="12961"/>
                  </a:lnTo>
                  <a:lnTo>
                    <a:pt x="22671" y="12149"/>
                  </a:lnTo>
                  <a:lnTo>
                    <a:pt x="21047" y="11336"/>
                  </a:lnTo>
                  <a:lnTo>
                    <a:pt x="19599" y="10559"/>
                  </a:lnTo>
                  <a:lnTo>
                    <a:pt x="18328" y="9818"/>
                  </a:lnTo>
                  <a:lnTo>
                    <a:pt x="17763" y="9465"/>
                  </a:lnTo>
                  <a:lnTo>
                    <a:pt x="17268" y="9112"/>
                  </a:lnTo>
                  <a:lnTo>
                    <a:pt x="16809" y="8794"/>
                  </a:lnTo>
                  <a:lnTo>
                    <a:pt x="16421" y="8441"/>
                  </a:lnTo>
                  <a:lnTo>
                    <a:pt x="16103" y="8158"/>
                  </a:lnTo>
                  <a:lnTo>
                    <a:pt x="15820" y="7840"/>
                  </a:lnTo>
                  <a:lnTo>
                    <a:pt x="15644" y="7558"/>
                  </a:lnTo>
                  <a:lnTo>
                    <a:pt x="15503" y="7275"/>
                  </a:lnTo>
                  <a:lnTo>
                    <a:pt x="15291" y="6746"/>
                  </a:lnTo>
                  <a:lnTo>
                    <a:pt x="15079" y="6181"/>
                  </a:lnTo>
                  <a:lnTo>
                    <a:pt x="14761" y="5051"/>
                  </a:lnTo>
                  <a:lnTo>
                    <a:pt x="14514" y="3885"/>
                  </a:lnTo>
                  <a:lnTo>
                    <a:pt x="14302" y="2755"/>
                  </a:lnTo>
                  <a:lnTo>
                    <a:pt x="11336" y="1343"/>
                  </a:lnTo>
                  <a:lnTo>
                    <a:pt x="8617" y="1"/>
                  </a:lnTo>
                  <a:close/>
                </a:path>
              </a:pathLst>
            </a:custGeom>
            <a:solidFill>
              <a:srgbClr val="38383B"/>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68" name="Google Shape;774;g2e0683f995c_0_0">
              <a:extLst>
                <a:ext uri="{FF2B5EF4-FFF2-40B4-BE49-F238E27FC236}">
                  <a16:creationId xmlns:a16="http://schemas.microsoft.com/office/drawing/2014/main" id="{14F959B1-EC92-A0BD-D32E-8A8E0E875EF7}"/>
                </a:ext>
              </a:extLst>
            </p:cNvPr>
            <p:cNvSpPr/>
            <p:nvPr/>
          </p:nvSpPr>
          <p:spPr>
            <a:xfrm>
              <a:off x="1289998" y="2478042"/>
              <a:ext cx="720709" cy="448631"/>
            </a:xfrm>
            <a:custGeom>
              <a:avLst/>
              <a:gdLst/>
              <a:ahLst/>
              <a:cxnLst/>
              <a:rect l="l" t="t" r="r" b="b"/>
              <a:pathLst>
                <a:path w="73523" h="45767" fill="none" extrusionOk="0">
                  <a:moveTo>
                    <a:pt x="8617" y="1"/>
                  </a:moveTo>
                  <a:lnTo>
                    <a:pt x="8617" y="1"/>
                  </a:lnTo>
                  <a:lnTo>
                    <a:pt x="5686" y="566"/>
                  </a:lnTo>
                  <a:lnTo>
                    <a:pt x="4096" y="813"/>
                  </a:lnTo>
                  <a:lnTo>
                    <a:pt x="4096" y="813"/>
                  </a:lnTo>
                  <a:lnTo>
                    <a:pt x="3849" y="884"/>
                  </a:lnTo>
                  <a:lnTo>
                    <a:pt x="3567" y="954"/>
                  </a:lnTo>
                  <a:lnTo>
                    <a:pt x="3320" y="1025"/>
                  </a:lnTo>
                  <a:lnTo>
                    <a:pt x="3108" y="1131"/>
                  </a:lnTo>
                  <a:lnTo>
                    <a:pt x="2649" y="1413"/>
                  </a:lnTo>
                  <a:lnTo>
                    <a:pt x="2225" y="1766"/>
                  </a:lnTo>
                  <a:lnTo>
                    <a:pt x="1872" y="2190"/>
                  </a:lnTo>
                  <a:lnTo>
                    <a:pt x="1519" y="2649"/>
                  </a:lnTo>
                  <a:lnTo>
                    <a:pt x="1236" y="3179"/>
                  </a:lnTo>
                  <a:lnTo>
                    <a:pt x="954" y="3744"/>
                  </a:lnTo>
                  <a:lnTo>
                    <a:pt x="742" y="4344"/>
                  </a:lnTo>
                  <a:lnTo>
                    <a:pt x="530" y="4980"/>
                  </a:lnTo>
                  <a:lnTo>
                    <a:pt x="389" y="5651"/>
                  </a:lnTo>
                  <a:lnTo>
                    <a:pt x="247" y="6322"/>
                  </a:lnTo>
                  <a:lnTo>
                    <a:pt x="141" y="7028"/>
                  </a:lnTo>
                  <a:lnTo>
                    <a:pt x="71" y="7734"/>
                  </a:lnTo>
                  <a:lnTo>
                    <a:pt x="35" y="8441"/>
                  </a:lnTo>
                  <a:lnTo>
                    <a:pt x="0" y="9147"/>
                  </a:lnTo>
                  <a:lnTo>
                    <a:pt x="0" y="9147"/>
                  </a:lnTo>
                  <a:lnTo>
                    <a:pt x="35" y="10171"/>
                  </a:lnTo>
                  <a:lnTo>
                    <a:pt x="141" y="11160"/>
                  </a:lnTo>
                  <a:lnTo>
                    <a:pt x="283" y="12078"/>
                  </a:lnTo>
                  <a:lnTo>
                    <a:pt x="495" y="12925"/>
                  </a:lnTo>
                  <a:lnTo>
                    <a:pt x="495" y="12925"/>
                  </a:lnTo>
                  <a:lnTo>
                    <a:pt x="565" y="13102"/>
                  </a:lnTo>
                  <a:lnTo>
                    <a:pt x="742" y="13314"/>
                  </a:lnTo>
                  <a:lnTo>
                    <a:pt x="1024" y="13561"/>
                  </a:lnTo>
                  <a:lnTo>
                    <a:pt x="1377" y="13844"/>
                  </a:lnTo>
                  <a:lnTo>
                    <a:pt x="2295" y="14479"/>
                  </a:lnTo>
                  <a:lnTo>
                    <a:pt x="3531" y="15221"/>
                  </a:lnTo>
                  <a:lnTo>
                    <a:pt x="5050" y="16033"/>
                  </a:lnTo>
                  <a:lnTo>
                    <a:pt x="6816" y="16951"/>
                  </a:lnTo>
                  <a:lnTo>
                    <a:pt x="8793" y="17975"/>
                  </a:lnTo>
                  <a:lnTo>
                    <a:pt x="11018" y="19070"/>
                  </a:lnTo>
                  <a:lnTo>
                    <a:pt x="13419" y="20200"/>
                  </a:lnTo>
                  <a:lnTo>
                    <a:pt x="15997" y="21401"/>
                  </a:lnTo>
                  <a:lnTo>
                    <a:pt x="21577" y="23943"/>
                  </a:lnTo>
                  <a:lnTo>
                    <a:pt x="27580" y="26627"/>
                  </a:lnTo>
                  <a:lnTo>
                    <a:pt x="33866" y="29346"/>
                  </a:lnTo>
                  <a:lnTo>
                    <a:pt x="40222" y="32101"/>
                  </a:lnTo>
                  <a:lnTo>
                    <a:pt x="46508" y="34749"/>
                  </a:lnTo>
                  <a:lnTo>
                    <a:pt x="58126" y="39658"/>
                  </a:lnTo>
                  <a:lnTo>
                    <a:pt x="67413" y="43507"/>
                  </a:lnTo>
                  <a:lnTo>
                    <a:pt x="72993" y="45767"/>
                  </a:lnTo>
                  <a:lnTo>
                    <a:pt x="72993" y="45767"/>
                  </a:lnTo>
                  <a:lnTo>
                    <a:pt x="72710" y="44708"/>
                  </a:lnTo>
                  <a:lnTo>
                    <a:pt x="72498" y="43754"/>
                  </a:lnTo>
                  <a:lnTo>
                    <a:pt x="72463" y="43366"/>
                  </a:lnTo>
                  <a:lnTo>
                    <a:pt x="72428" y="43012"/>
                  </a:lnTo>
                  <a:lnTo>
                    <a:pt x="72428" y="42695"/>
                  </a:lnTo>
                  <a:lnTo>
                    <a:pt x="72463" y="42447"/>
                  </a:lnTo>
                  <a:lnTo>
                    <a:pt x="72463" y="42447"/>
                  </a:lnTo>
                  <a:lnTo>
                    <a:pt x="72569" y="41918"/>
                  </a:lnTo>
                  <a:lnTo>
                    <a:pt x="72569" y="41918"/>
                  </a:lnTo>
                  <a:lnTo>
                    <a:pt x="72216" y="41494"/>
                  </a:lnTo>
                  <a:lnTo>
                    <a:pt x="71933" y="41035"/>
                  </a:lnTo>
                  <a:lnTo>
                    <a:pt x="71686" y="40541"/>
                  </a:lnTo>
                  <a:lnTo>
                    <a:pt x="71510" y="40011"/>
                  </a:lnTo>
                  <a:lnTo>
                    <a:pt x="71368" y="39481"/>
                  </a:lnTo>
                  <a:lnTo>
                    <a:pt x="71262" y="38881"/>
                  </a:lnTo>
                  <a:lnTo>
                    <a:pt x="71192" y="38280"/>
                  </a:lnTo>
                  <a:lnTo>
                    <a:pt x="71192" y="37680"/>
                  </a:lnTo>
                  <a:lnTo>
                    <a:pt x="71192" y="37680"/>
                  </a:lnTo>
                  <a:lnTo>
                    <a:pt x="71192" y="37115"/>
                  </a:lnTo>
                  <a:lnTo>
                    <a:pt x="71227" y="36550"/>
                  </a:lnTo>
                  <a:lnTo>
                    <a:pt x="71298" y="35985"/>
                  </a:lnTo>
                  <a:lnTo>
                    <a:pt x="71404" y="35420"/>
                  </a:lnTo>
                  <a:lnTo>
                    <a:pt x="71510" y="34855"/>
                  </a:lnTo>
                  <a:lnTo>
                    <a:pt x="71651" y="34290"/>
                  </a:lnTo>
                  <a:lnTo>
                    <a:pt x="71969" y="33266"/>
                  </a:lnTo>
                  <a:lnTo>
                    <a:pt x="72322" y="32313"/>
                  </a:lnTo>
                  <a:lnTo>
                    <a:pt x="72746" y="31536"/>
                  </a:lnTo>
                  <a:lnTo>
                    <a:pt x="72922" y="31182"/>
                  </a:lnTo>
                  <a:lnTo>
                    <a:pt x="73134" y="30865"/>
                  </a:lnTo>
                  <a:lnTo>
                    <a:pt x="73346" y="30617"/>
                  </a:lnTo>
                  <a:lnTo>
                    <a:pt x="73522" y="30406"/>
                  </a:lnTo>
                  <a:lnTo>
                    <a:pt x="73522" y="30406"/>
                  </a:lnTo>
                  <a:lnTo>
                    <a:pt x="68967" y="28993"/>
                  </a:lnTo>
                  <a:lnTo>
                    <a:pt x="61622" y="26592"/>
                  </a:lnTo>
                  <a:lnTo>
                    <a:pt x="57208" y="25144"/>
                  </a:lnTo>
                  <a:lnTo>
                    <a:pt x="52476" y="23555"/>
                  </a:lnTo>
                  <a:lnTo>
                    <a:pt x="47532" y="21860"/>
                  </a:lnTo>
                  <a:lnTo>
                    <a:pt x="42553" y="20094"/>
                  </a:lnTo>
                  <a:lnTo>
                    <a:pt x="37609" y="18293"/>
                  </a:lnTo>
                  <a:lnTo>
                    <a:pt x="32877" y="16492"/>
                  </a:lnTo>
                  <a:lnTo>
                    <a:pt x="30617" y="15574"/>
                  </a:lnTo>
                  <a:lnTo>
                    <a:pt x="28463" y="14691"/>
                  </a:lnTo>
                  <a:lnTo>
                    <a:pt x="26379" y="13808"/>
                  </a:lnTo>
                  <a:lnTo>
                    <a:pt x="24472" y="12961"/>
                  </a:lnTo>
                  <a:lnTo>
                    <a:pt x="22671" y="12149"/>
                  </a:lnTo>
                  <a:lnTo>
                    <a:pt x="21047" y="11336"/>
                  </a:lnTo>
                  <a:lnTo>
                    <a:pt x="19599" y="10559"/>
                  </a:lnTo>
                  <a:lnTo>
                    <a:pt x="18328" y="9818"/>
                  </a:lnTo>
                  <a:lnTo>
                    <a:pt x="17763" y="9465"/>
                  </a:lnTo>
                  <a:lnTo>
                    <a:pt x="17268" y="9112"/>
                  </a:lnTo>
                  <a:lnTo>
                    <a:pt x="16809" y="8794"/>
                  </a:lnTo>
                  <a:lnTo>
                    <a:pt x="16421" y="8441"/>
                  </a:lnTo>
                  <a:lnTo>
                    <a:pt x="16103" y="8158"/>
                  </a:lnTo>
                  <a:lnTo>
                    <a:pt x="15820" y="7840"/>
                  </a:lnTo>
                  <a:lnTo>
                    <a:pt x="15644" y="7558"/>
                  </a:lnTo>
                  <a:lnTo>
                    <a:pt x="15503" y="7275"/>
                  </a:lnTo>
                  <a:lnTo>
                    <a:pt x="15503" y="7275"/>
                  </a:lnTo>
                  <a:lnTo>
                    <a:pt x="15291" y="6746"/>
                  </a:lnTo>
                  <a:lnTo>
                    <a:pt x="15079" y="6181"/>
                  </a:lnTo>
                  <a:lnTo>
                    <a:pt x="14761" y="5051"/>
                  </a:lnTo>
                  <a:lnTo>
                    <a:pt x="14514" y="3885"/>
                  </a:lnTo>
                  <a:lnTo>
                    <a:pt x="14302" y="2755"/>
                  </a:lnTo>
                  <a:lnTo>
                    <a:pt x="14302" y="2755"/>
                  </a:lnTo>
                  <a:lnTo>
                    <a:pt x="11336" y="1343"/>
                  </a:lnTo>
                  <a:lnTo>
                    <a:pt x="8617"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69" name="Google Shape;775;g2e0683f995c_0_0">
              <a:extLst>
                <a:ext uri="{FF2B5EF4-FFF2-40B4-BE49-F238E27FC236}">
                  <a16:creationId xmlns:a16="http://schemas.microsoft.com/office/drawing/2014/main" id="{9E96E7B4-9417-CD03-C728-73D21135DD7A}"/>
                </a:ext>
              </a:extLst>
            </p:cNvPr>
            <p:cNvSpPr/>
            <p:nvPr/>
          </p:nvSpPr>
          <p:spPr>
            <a:xfrm>
              <a:off x="1958430" y="2442047"/>
              <a:ext cx="752558" cy="296663"/>
            </a:xfrm>
            <a:custGeom>
              <a:avLst/>
              <a:gdLst/>
              <a:ahLst/>
              <a:cxnLst/>
              <a:rect l="l" t="t" r="r" b="b"/>
              <a:pathLst>
                <a:path w="76772" h="30264" extrusionOk="0">
                  <a:moveTo>
                    <a:pt x="74370" y="0"/>
                  </a:moveTo>
                  <a:lnTo>
                    <a:pt x="10170" y="13066"/>
                  </a:lnTo>
                  <a:lnTo>
                    <a:pt x="6462" y="14655"/>
                  </a:lnTo>
                  <a:lnTo>
                    <a:pt x="3320" y="15997"/>
                  </a:lnTo>
                  <a:lnTo>
                    <a:pt x="1907" y="16633"/>
                  </a:lnTo>
                  <a:lnTo>
                    <a:pt x="706" y="17198"/>
                  </a:lnTo>
                  <a:lnTo>
                    <a:pt x="494" y="17339"/>
                  </a:lnTo>
                  <a:lnTo>
                    <a:pt x="283" y="17551"/>
                  </a:lnTo>
                  <a:lnTo>
                    <a:pt x="177" y="17798"/>
                  </a:lnTo>
                  <a:lnTo>
                    <a:pt x="71" y="18116"/>
                  </a:lnTo>
                  <a:lnTo>
                    <a:pt x="0" y="18434"/>
                  </a:lnTo>
                  <a:lnTo>
                    <a:pt x="0" y="18822"/>
                  </a:lnTo>
                  <a:lnTo>
                    <a:pt x="0" y="19211"/>
                  </a:lnTo>
                  <a:lnTo>
                    <a:pt x="71" y="19670"/>
                  </a:lnTo>
                  <a:lnTo>
                    <a:pt x="141" y="20129"/>
                  </a:lnTo>
                  <a:lnTo>
                    <a:pt x="247" y="20623"/>
                  </a:lnTo>
                  <a:lnTo>
                    <a:pt x="565" y="21683"/>
                  </a:lnTo>
                  <a:lnTo>
                    <a:pt x="954" y="22777"/>
                  </a:lnTo>
                  <a:lnTo>
                    <a:pt x="1413" y="23907"/>
                  </a:lnTo>
                  <a:lnTo>
                    <a:pt x="1907" y="25002"/>
                  </a:lnTo>
                  <a:lnTo>
                    <a:pt x="2472" y="26097"/>
                  </a:lnTo>
                  <a:lnTo>
                    <a:pt x="3037" y="27121"/>
                  </a:lnTo>
                  <a:lnTo>
                    <a:pt x="3602" y="28039"/>
                  </a:lnTo>
                  <a:lnTo>
                    <a:pt x="4132" y="28851"/>
                  </a:lnTo>
                  <a:lnTo>
                    <a:pt x="4661" y="29487"/>
                  </a:lnTo>
                  <a:lnTo>
                    <a:pt x="4909" y="29769"/>
                  </a:lnTo>
                  <a:lnTo>
                    <a:pt x="5121" y="29981"/>
                  </a:lnTo>
                  <a:lnTo>
                    <a:pt x="5332" y="30122"/>
                  </a:lnTo>
                  <a:lnTo>
                    <a:pt x="5509" y="30264"/>
                  </a:lnTo>
                  <a:lnTo>
                    <a:pt x="5862" y="30264"/>
                  </a:lnTo>
                  <a:lnTo>
                    <a:pt x="6604" y="30228"/>
                  </a:lnTo>
                  <a:lnTo>
                    <a:pt x="7663" y="30087"/>
                  </a:lnTo>
                  <a:lnTo>
                    <a:pt x="9040" y="29875"/>
                  </a:lnTo>
                  <a:lnTo>
                    <a:pt x="12642" y="29204"/>
                  </a:lnTo>
                  <a:lnTo>
                    <a:pt x="17198" y="28321"/>
                  </a:lnTo>
                  <a:lnTo>
                    <a:pt x="22530" y="27227"/>
                  </a:lnTo>
                  <a:lnTo>
                    <a:pt x="28427" y="25991"/>
                  </a:lnTo>
                  <a:lnTo>
                    <a:pt x="41175" y="23236"/>
                  </a:lnTo>
                  <a:lnTo>
                    <a:pt x="53959" y="20447"/>
                  </a:lnTo>
                  <a:lnTo>
                    <a:pt x="65153" y="17939"/>
                  </a:lnTo>
                  <a:lnTo>
                    <a:pt x="76771" y="15326"/>
                  </a:lnTo>
                  <a:lnTo>
                    <a:pt x="76453" y="14620"/>
                  </a:lnTo>
                  <a:lnTo>
                    <a:pt x="75782" y="12854"/>
                  </a:lnTo>
                  <a:lnTo>
                    <a:pt x="75394" y="11759"/>
                  </a:lnTo>
                  <a:lnTo>
                    <a:pt x="75006" y="10629"/>
                  </a:lnTo>
                  <a:lnTo>
                    <a:pt x="74688" y="9570"/>
                  </a:lnTo>
                  <a:lnTo>
                    <a:pt x="74441" y="8581"/>
                  </a:lnTo>
                  <a:lnTo>
                    <a:pt x="74370" y="8052"/>
                  </a:lnTo>
                  <a:lnTo>
                    <a:pt x="74299" y="7522"/>
                  </a:lnTo>
                  <a:lnTo>
                    <a:pt x="74193" y="6427"/>
                  </a:lnTo>
                  <a:lnTo>
                    <a:pt x="74158" y="5262"/>
                  </a:lnTo>
                  <a:lnTo>
                    <a:pt x="74193" y="4096"/>
                  </a:lnTo>
                  <a:lnTo>
                    <a:pt x="74264" y="1872"/>
                  </a:lnTo>
                  <a:lnTo>
                    <a:pt x="74370"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70" name="Google Shape;776;g2e0683f995c_0_0">
              <a:extLst>
                <a:ext uri="{FF2B5EF4-FFF2-40B4-BE49-F238E27FC236}">
                  <a16:creationId xmlns:a16="http://schemas.microsoft.com/office/drawing/2014/main" id="{4570B870-8D6D-EE68-339B-08FEE2CF30CE}"/>
                </a:ext>
              </a:extLst>
            </p:cNvPr>
            <p:cNvSpPr/>
            <p:nvPr/>
          </p:nvSpPr>
          <p:spPr>
            <a:xfrm>
              <a:off x="1958430" y="2442047"/>
              <a:ext cx="752558" cy="296663"/>
            </a:xfrm>
            <a:custGeom>
              <a:avLst/>
              <a:gdLst/>
              <a:ahLst/>
              <a:cxnLst/>
              <a:rect l="l" t="t" r="r" b="b"/>
              <a:pathLst>
                <a:path w="76772" h="30264" fill="none" extrusionOk="0">
                  <a:moveTo>
                    <a:pt x="74370" y="0"/>
                  </a:moveTo>
                  <a:lnTo>
                    <a:pt x="74370" y="0"/>
                  </a:lnTo>
                  <a:lnTo>
                    <a:pt x="74264" y="1872"/>
                  </a:lnTo>
                  <a:lnTo>
                    <a:pt x="74193" y="4096"/>
                  </a:lnTo>
                  <a:lnTo>
                    <a:pt x="74158" y="5262"/>
                  </a:lnTo>
                  <a:lnTo>
                    <a:pt x="74193" y="6427"/>
                  </a:lnTo>
                  <a:lnTo>
                    <a:pt x="74299" y="7522"/>
                  </a:lnTo>
                  <a:lnTo>
                    <a:pt x="74370" y="8052"/>
                  </a:lnTo>
                  <a:lnTo>
                    <a:pt x="74441" y="8581"/>
                  </a:lnTo>
                  <a:lnTo>
                    <a:pt x="74441" y="8581"/>
                  </a:lnTo>
                  <a:lnTo>
                    <a:pt x="74688" y="9570"/>
                  </a:lnTo>
                  <a:lnTo>
                    <a:pt x="75006" y="10629"/>
                  </a:lnTo>
                  <a:lnTo>
                    <a:pt x="75394" y="11759"/>
                  </a:lnTo>
                  <a:lnTo>
                    <a:pt x="75782" y="12854"/>
                  </a:lnTo>
                  <a:lnTo>
                    <a:pt x="76453" y="14620"/>
                  </a:lnTo>
                  <a:lnTo>
                    <a:pt x="76771" y="15326"/>
                  </a:lnTo>
                  <a:lnTo>
                    <a:pt x="76771" y="15326"/>
                  </a:lnTo>
                  <a:lnTo>
                    <a:pt x="65153" y="17939"/>
                  </a:lnTo>
                  <a:lnTo>
                    <a:pt x="53959" y="20447"/>
                  </a:lnTo>
                  <a:lnTo>
                    <a:pt x="41175" y="23236"/>
                  </a:lnTo>
                  <a:lnTo>
                    <a:pt x="28427" y="25991"/>
                  </a:lnTo>
                  <a:lnTo>
                    <a:pt x="22530" y="27227"/>
                  </a:lnTo>
                  <a:lnTo>
                    <a:pt x="17198" y="28321"/>
                  </a:lnTo>
                  <a:lnTo>
                    <a:pt x="12642" y="29204"/>
                  </a:lnTo>
                  <a:lnTo>
                    <a:pt x="9040" y="29875"/>
                  </a:lnTo>
                  <a:lnTo>
                    <a:pt x="7663" y="30087"/>
                  </a:lnTo>
                  <a:lnTo>
                    <a:pt x="6604" y="30228"/>
                  </a:lnTo>
                  <a:lnTo>
                    <a:pt x="5862" y="30264"/>
                  </a:lnTo>
                  <a:lnTo>
                    <a:pt x="5650" y="30264"/>
                  </a:lnTo>
                  <a:lnTo>
                    <a:pt x="5509" y="30264"/>
                  </a:lnTo>
                  <a:lnTo>
                    <a:pt x="5509" y="30264"/>
                  </a:lnTo>
                  <a:lnTo>
                    <a:pt x="5332" y="30122"/>
                  </a:lnTo>
                  <a:lnTo>
                    <a:pt x="5121" y="29981"/>
                  </a:lnTo>
                  <a:lnTo>
                    <a:pt x="4909" y="29769"/>
                  </a:lnTo>
                  <a:lnTo>
                    <a:pt x="4661" y="29487"/>
                  </a:lnTo>
                  <a:lnTo>
                    <a:pt x="4132" y="28851"/>
                  </a:lnTo>
                  <a:lnTo>
                    <a:pt x="3602" y="28039"/>
                  </a:lnTo>
                  <a:lnTo>
                    <a:pt x="3037" y="27121"/>
                  </a:lnTo>
                  <a:lnTo>
                    <a:pt x="2472" y="26097"/>
                  </a:lnTo>
                  <a:lnTo>
                    <a:pt x="1907" y="25002"/>
                  </a:lnTo>
                  <a:lnTo>
                    <a:pt x="1413" y="23907"/>
                  </a:lnTo>
                  <a:lnTo>
                    <a:pt x="954" y="22777"/>
                  </a:lnTo>
                  <a:lnTo>
                    <a:pt x="565" y="21683"/>
                  </a:lnTo>
                  <a:lnTo>
                    <a:pt x="247" y="20623"/>
                  </a:lnTo>
                  <a:lnTo>
                    <a:pt x="141" y="20129"/>
                  </a:lnTo>
                  <a:lnTo>
                    <a:pt x="71" y="19670"/>
                  </a:lnTo>
                  <a:lnTo>
                    <a:pt x="0" y="19211"/>
                  </a:lnTo>
                  <a:lnTo>
                    <a:pt x="0" y="18822"/>
                  </a:lnTo>
                  <a:lnTo>
                    <a:pt x="0" y="18434"/>
                  </a:lnTo>
                  <a:lnTo>
                    <a:pt x="71" y="18116"/>
                  </a:lnTo>
                  <a:lnTo>
                    <a:pt x="177" y="17798"/>
                  </a:lnTo>
                  <a:lnTo>
                    <a:pt x="283" y="17551"/>
                  </a:lnTo>
                  <a:lnTo>
                    <a:pt x="494" y="17339"/>
                  </a:lnTo>
                  <a:lnTo>
                    <a:pt x="706" y="17198"/>
                  </a:lnTo>
                  <a:lnTo>
                    <a:pt x="706" y="17198"/>
                  </a:lnTo>
                  <a:lnTo>
                    <a:pt x="1907" y="16633"/>
                  </a:lnTo>
                  <a:lnTo>
                    <a:pt x="3320" y="15997"/>
                  </a:lnTo>
                  <a:lnTo>
                    <a:pt x="6462" y="14655"/>
                  </a:lnTo>
                  <a:lnTo>
                    <a:pt x="10170" y="13066"/>
                  </a:lnTo>
                  <a:lnTo>
                    <a:pt x="74370"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71" name="Google Shape;777;g2e0683f995c_0_0">
              <a:extLst>
                <a:ext uri="{FF2B5EF4-FFF2-40B4-BE49-F238E27FC236}">
                  <a16:creationId xmlns:a16="http://schemas.microsoft.com/office/drawing/2014/main" id="{0F12EDC9-1B7B-8D9C-B47D-2391FCA34D29}"/>
                </a:ext>
              </a:extLst>
            </p:cNvPr>
            <p:cNvSpPr/>
            <p:nvPr/>
          </p:nvSpPr>
          <p:spPr>
            <a:xfrm>
              <a:off x="1288606" y="2199386"/>
              <a:ext cx="1441762" cy="555596"/>
            </a:xfrm>
            <a:custGeom>
              <a:avLst/>
              <a:gdLst/>
              <a:ahLst/>
              <a:cxnLst/>
              <a:rect l="l" t="t" r="r" b="b"/>
              <a:pathLst>
                <a:path w="147081" h="56679" extrusionOk="0">
                  <a:moveTo>
                    <a:pt x="71828" y="0"/>
                  </a:moveTo>
                  <a:lnTo>
                    <a:pt x="70804" y="36"/>
                  </a:lnTo>
                  <a:lnTo>
                    <a:pt x="69639" y="142"/>
                  </a:lnTo>
                  <a:lnTo>
                    <a:pt x="68297" y="248"/>
                  </a:lnTo>
                  <a:lnTo>
                    <a:pt x="65260" y="601"/>
                  </a:lnTo>
                  <a:lnTo>
                    <a:pt x="61764" y="1095"/>
                  </a:lnTo>
                  <a:lnTo>
                    <a:pt x="57844" y="1660"/>
                  </a:lnTo>
                  <a:lnTo>
                    <a:pt x="53606" y="2331"/>
                  </a:lnTo>
                  <a:lnTo>
                    <a:pt x="49157" y="3073"/>
                  </a:lnTo>
                  <a:lnTo>
                    <a:pt x="44531" y="3885"/>
                  </a:lnTo>
                  <a:lnTo>
                    <a:pt x="39799" y="4697"/>
                  </a:lnTo>
                  <a:lnTo>
                    <a:pt x="30406" y="6427"/>
                  </a:lnTo>
                  <a:lnTo>
                    <a:pt x="21542" y="8052"/>
                  </a:lnTo>
                  <a:lnTo>
                    <a:pt x="13879" y="9500"/>
                  </a:lnTo>
                  <a:lnTo>
                    <a:pt x="7346" y="10736"/>
                  </a:lnTo>
                  <a:lnTo>
                    <a:pt x="5263" y="11124"/>
                  </a:lnTo>
                  <a:lnTo>
                    <a:pt x="4097" y="11301"/>
                  </a:lnTo>
                  <a:lnTo>
                    <a:pt x="3709" y="11371"/>
                  </a:lnTo>
                  <a:lnTo>
                    <a:pt x="3391" y="11477"/>
                  </a:lnTo>
                  <a:lnTo>
                    <a:pt x="3038" y="11654"/>
                  </a:lnTo>
                  <a:lnTo>
                    <a:pt x="2720" y="11830"/>
                  </a:lnTo>
                  <a:lnTo>
                    <a:pt x="2437" y="12042"/>
                  </a:lnTo>
                  <a:lnTo>
                    <a:pt x="2155" y="12289"/>
                  </a:lnTo>
                  <a:lnTo>
                    <a:pt x="1908" y="12572"/>
                  </a:lnTo>
                  <a:lnTo>
                    <a:pt x="1661" y="12890"/>
                  </a:lnTo>
                  <a:lnTo>
                    <a:pt x="1449" y="13243"/>
                  </a:lnTo>
                  <a:lnTo>
                    <a:pt x="1237" y="13596"/>
                  </a:lnTo>
                  <a:lnTo>
                    <a:pt x="1060" y="13949"/>
                  </a:lnTo>
                  <a:lnTo>
                    <a:pt x="884" y="14373"/>
                  </a:lnTo>
                  <a:lnTo>
                    <a:pt x="601" y="15220"/>
                  </a:lnTo>
                  <a:lnTo>
                    <a:pt x="354" y="16139"/>
                  </a:lnTo>
                  <a:lnTo>
                    <a:pt x="177" y="17057"/>
                  </a:lnTo>
                  <a:lnTo>
                    <a:pt x="71" y="18046"/>
                  </a:lnTo>
                  <a:lnTo>
                    <a:pt x="1" y="18999"/>
                  </a:lnTo>
                  <a:lnTo>
                    <a:pt x="1" y="19988"/>
                  </a:lnTo>
                  <a:lnTo>
                    <a:pt x="36" y="20906"/>
                  </a:lnTo>
                  <a:lnTo>
                    <a:pt x="142" y="21789"/>
                  </a:lnTo>
                  <a:lnTo>
                    <a:pt x="283" y="22636"/>
                  </a:lnTo>
                  <a:lnTo>
                    <a:pt x="460" y="23413"/>
                  </a:lnTo>
                  <a:lnTo>
                    <a:pt x="566" y="23590"/>
                  </a:lnTo>
                  <a:lnTo>
                    <a:pt x="742" y="23802"/>
                  </a:lnTo>
                  <a:lnTo>
                    <a:pt x="990" y="24049"/>
                  </a:lnTo>
                  <a:lnTo>
                    <a:pt x="1343" y="24331"/>
                  </a:lnTo>
                  <a:lnTo>
                    <a:pt x="2296" y="24932"/>
                  </a:lnTo>
                  <a:lnTo>
                    <a:pt x="3532" y="25673"/>
                  </a:lnTo>
                  <a:lnTo>
                    <a:pt x="5015" y="26521"/>
                  </a:lnTo>
                  <a:lnTo>
                    <a:pt x="6781" y="27439"/>
                  </a:lnTo>
                  <a:lnTo>
                    <a:pt x="8794" y="28463"/>
                  </a:lnTo>
                  <a:lnTo>
                    <a:pt x="11019" y="29522"/>
                  </a:lnTo>
                  <a:lnTo>
                    <a:pt x="13420" y="30688"/>
                  </a:lnTo>
                  <a:lnTo>
                    <a:pt x="15998" y="31888"/>
                  </a:lnTo>
                  <a:lnTo>
                    <a:pt x="21577" y="34431"/>
                  </a:lnTo>
                  <a:lnTo>
                    <a:pt x="27581" y="37115"/>
                  </a:lnTo>
                  <a:lnTo>
                    <a:pt x="33866" y="39834"/>
                  </a:lnTo>
                  <a:lnTo>
                    <a:pt x="40223" y="42588"/>
                  </a:lnTo>
                  <a:lnTo>
                    <a:pt x="46473" y="45237"/>
                  </a:lnTo>
                  <a:lnTo>
                    <a:pt x="58127" y="50145"/>
                  </a:lnTo>
                  <a:lnTo>
                    <a:pt x="67414" y="53995"/>
                  </a:lnTo>
                  <a:lnTo>
                    <a:pt x="72958" y="56255"/>
                  </a:lnTo>
                  <a:lnTo>
                    <a:pt x="73947" y="56678"/>
                  </a:lnTo>
                  <a:lnTo>
                    <a:pt x="84506" y="54560"/>
                  </a:lnTo>
                  <a:lnTo>
                    <a:pt x="107989" y="49828"/>
                  </a:lnTo>
                  <a:lnTo>
                    <a:pt x="120808" y="47214"/>
                  </a:lnTo>
                  <a:lnTo>
                    <a:pt x="132284" y="44884"/>
                  </a:lnTo>
                  <a:lnTo>
                    <a:pt x="140936" y="43083"/>
                  </a:lnTo>
                  <a:lnTo>
                    <a:pt x="143726" y="42482"/>
                  </a:lnTo>
                  <a:lnTo>
                    <a:pt x="145244" y="42129"/>
                  </a:lnTo>
                  <a:lnTo>
                    <a:pt x="145915" y="41917"/>
                  </a:lnTo>
                  <a:lnTo>
                    <a:pt x="146445" y="41741"/>
                  </a:lnTo>
                  <a:lnTo>
                    <a:pt x="146798" y="41529"/>
                  </a:lnTo>
                  <a:lnTo>
                    <a:pt x="146904" y="41423"/>
                  </a:lnTo>
                  <a:lnTo>
                    <a:pt x="147010" y="41352"/>
                  </a:lnTo>
                  <a:lnTo>
                    <a:pt x="147045" y="41246"/>
                  </a:lnTo>
                  <a:lnTo>
                    <a:pt x="147081" y="41176"/>
                  </a:lnTo>
                  <a:lnTo>
                    <a:pt x="147081" y="41070"/>
                  </a:lnTo>
                  <a:lnTo>
                    <a:pt x="147045" y="40999"/>
                  </a:lnTo>
                  <a:lnTo>
                    <a:pt x="146940" y="40823"/>
                  </a:lnTo>
                  <a:lnTo>
                    <a:pt x="146763" y="40681"/>
                  </a:lnTo>
                  <a:lnTo>
                    <a:pt x="146516" y="40576"/>
                  </a:lnTo>
                  <a:lnTo>
                    <a:pt x="146233" y="40434"/>
                  </a:lnTo>
                  <a:lnTo>
                    <a:pt x="145704" y="40258"/>
                  </a:lnTo>
                  <a:lnTo>
                    <a:pt x="145103" y="40081"/>
                  </a:lnTo>
                  <a:lnTo>
                    <a:pt x="135604" y="42200"/>
                  </a:lnTo>
                  <a:lnTo>
                    <a:pt x="125681" y="44354"/>
                  </a:lnTo>
                  <a:lnTo>
                    <a:pt x="114063" y="46826"/>
                  </a:lnTo>
                  <a:lnTo>
                    <a:pt x="108024" y="48097"/>
                  </a:lnTo>
                  <a:lnTo>
                    <a:pt x="102056" y="49333"/>
                  </a:lnTo>
                  <a:lnTo>
                    <a:pt x="96300" y="50499"/>
                  </a:lnTo>
                  <a:lnTo>
                    <a:pt x="90933" y="51558"/>
                  </a:lnTo>
                  <a:lnTo>
                    <a:pt x="86130" y="52441"/>
                  </a:lnTo>
                  <a:lnTo>
                    <a:pt x="82034" y="53147"/>
                  </a:lnTo>
                  <a:lnTo>
                    <a:pt x="80339" y="53394"/>
                  </a:lnTo>
                  <a:lnTo>
                    <a:pt x="78855" y="53606"/>
                  </a:lnTo>
                  <a:lnTo>
                    <a:pt x="77620" y="53747"/>
                  </a:lnTo>
                  <a:lnTo>
                    <a:pt x="76666" y="53783"/>
                  </a:lnTo>
                  <a:lnTo>
                    <a:pt x="75995" y="53783"/>
                  </a:lnTo>
                  <a:lnTo>
                    <a:pt x="75324" y="53747"/>
                  </a:lnTo>
                  <a:lnTo>
                    <a:pt x="74759" y="53606"/>
                  </a:lnTo>
                  <a:lnTo>
                    <a:pt x="74229" y="53465"/>
                  </a:lnTo>
                  <a:lnTo>
                    <a:pt x="73735" y="53253"/>
                  </a:lnTo>
                  <a:lnTo>
                    <a:pt x="73276" y="53006"/>
                  </a:lnTo>
                  <a:lnTo>
                    <a:pt x="72888" y="52723"/>
                  </a:lnTo>
                  <a:lnTo>
                    <a:pt x="72570" y="52406"/>
                  </a:lnTo>
                  <a:lnTo>
                    <a:pt x="72287" y="52123"/>
                  </a:lnTo>
                  <a:lnTo>
                    <a:pt x="72075" y="51805"/>
                  </a:lnTo>
                  <a:lnTo>
                    <a:pt x="71863" y="51452"/>
                  </a:lnTo>
                  <a:lnTo>
                    <a:pt x="71687" y="51099"/>
                  </a:lnTo>
                  <a:lnTo>
                    <a:pt x="71546" y="50710"/>
                  </a:lnTo>
                  <a:lnTo>
                    <a:pt x="71440" y="50322"/>
                  </a:lnTo>
                  <a:lnTo>
                    <a:pt x="71334" y="49934"/>
                  </a:lnTo>
                  <a:lnTo>
                    <a:pt x="71263" y="49510"/>
                  </a:lnTo>
                  <a:lnTo>
                    <a:pt x="71192" y="49121"/>
                  </a:lnTo>
                  <a:lnTo>
                    <a:pt x="71157" y="48662"/>
                  </a:lnTo>
                  <a:lnTo>
                    <a:pt x="71157" y="47815"/>
                  </a:lnTo>
                  <a:lnTo>
                    <a:pt x="71228" y="46932"/>
                  </a:lnTo>
                  <a:lnTo>
                    <a:pt x="71369" y="46049"/>
                  </a:lnTo>
                  <a:lnTo>
                    <a:pt x="71546" y="45202"/>
                  </a:lnTo>
                  <a:lnTo>
                    <a:pt x="71757" y="44354"/>
                  </a:lnTo>
                  <a:lnTo>
                    <a:pt x="72005" y="43577"/>
                  </a:lnTo>
                  <a:lnTo>
                    <a:pt x="72287" y="42871"/>
                  </a:lnTo>
                  <a:lnTo>
                    <a:pt x="72605" y="42235"/>
                  </a:lnTo>
                  <a:lnTo>
                    <a:pt x="72888" y="41670"/>
                  </a:lnTo>
                  <a:lnTo>
                    <a:pt x="73205" y="41211"/>
                  </a:lnTo>
                  <a:lnTo>
                    <a:pt x="73523" y="40893"/>
                  </a:lnTo>
                  <a:lnTo>
                    <a:pt x="73700" y="40752"/>
                  </a:lnTo>
                  <a:lnTo>
                    <a:pt x="73947" y="40611"/>
                  </a:lnTo>
                  <a:lnTo>
                    <a:pt x="74653" y="40328"/>
                  </a:lnTo>
                  <a:lnTo>
                    <a:pt x="75677" y="40011"/>
                  </a:lnTo>
                  <a:lnTo>
                    <a:pt x="76913" y="39657"/>
                  </a:lnTo>
                  <a:lnTo>
                    <a:pt x="78396" y="39304"/>
                  </a:lnTo>
                  <a:lnTo>
                    <a:pt x="80127" y="38916"/>
                  </a:lnTo>
                  <a:lnTo>
                    <a:pt x="84152" y="38033"/>
                  </a:lnTo>
                  <a:lnTo>
                    <a:pt x="88814" y="37115"/>
                  </a:lnTo>
                  <a:lnTo>
                    <a:pt x="94040" y="36126"/>
                  </a:lnTo>
                  <a:lnTo>
                    <a:pt x="105482" y="33972"/>
                  </a:lnTo>
                  <a:lnTo>
                    <a:pt x="111414" y="32842"/>
                  </a:lnTo>
                  <a:lnTo>
                    <a:pt x="117276" y="31677"/>
                  </a:lnTo>
                  <a:lnTo>
                    <a:pt x="122997" y="30511"/>
                  </a:lnTo>
                  <a:lnTo>
                    <a:pt x="125716" y="29911"/>
                  </a:lnTo>
                  <a:lnTo>
                    <a:pt x="128365" y="29346"/>
                  </a:lnTo>
                  <a:lnTo>
                    <a:pt x="130872" y="28746"/>
                  </a:lnTo>
                  <a:lnTo>
                    <a:pt x="133238" y="28145"/>
                  </a:lnTo>
                  <a:lnTo>
                    <a:pt x="135463" y="27580"/>
                  </a:lnTo>
                  <a:lnTo>
                    <a:pt x="137511" y="26980"/>
                  </a:lnTo>
                  <a:lnTo>
                    <a:pt x="139382" y="26415"/>
                  </a:lnTo>
                  <a:lnTo>
                    <a:pt x="141042" y="25850"/>
                  </a:lnTo>
                  <a:lnTo>
                    <a:pt x="142490" y="25285"/>
                  </a:lnTo>
                  <a:lnTo>
                    <a:pt x="143090" y="25002"/>
                  </a:lnTo>
                  <a:lnTo>
                    <a:pt x="143655" y="24720"/>
                  </a:lnTo>
                  <a:lnTo>
                    <a:pt x="143691" y="24720"/>
                  </a:lnTo>
                  <a:lnTo>
                    <a:pt x="143726" y="24649"/>
                  </a:lnTo>
                  <a:lnTo>
                    <a:pt x="143691" y="24543"/>
                  </a:lnTo>
                  <a:lnTo>
                    <a:pt x="143549" y="24437"/>
                  </a:lnTo>
                  <a:lnTo>
                    <a:pt x="143338" y="24261"/>
                  </a:lnTo>
                  <a:lnTo>
                    <a:pt x="142631" y="23872"/>
                  </a:lnTo>
                  <a:lnTo>
                    <a:pt x="141572" y="23378"/>
                  </a:lnTo>
                  <a:lnTo>
                    <a:pt x="140230" y="22778"/>
                  </a:lnTo>
                  <a:lnTo>
                    <a:pt x="138570" y="22107"/>
                  </a:lnTo>
                  <a:lnTo>
                    <a:pt x="136663" y="21365"/>
                  </a:lnTo>
                  <a:lnTo>
                    <a:pt x="134545" y="20553"/>
                  </a:lnTo>
                  <a:lnTo>
                    <a:pt x="129636" y="18752"/>
                  </a:lnTo>
                  <a:lnTo>
                    <a:pt x="124056" y="16774"/>
                  </a:lnTo>
                  <a:lnTo>
                    <a:pt x="118018" y="14655"/>
                  </a:lnTo>
                  <a:lnTo>
                    <a:pt x="111662" y="12501"/>
                  </a:lnTo>
                  <a:lnTo>
                    <a:pt x="105270" y="10312"/>
                  </a:lnTo>
                  <a:lnTo>
                    <a:pt x="98949" y="8193"/>
                  </a:lnTo>
                  <a:lnTo>
                    <a:pt x="87366" y="4379"/>
                  </a:lnTo>
                  <a:lnTo>
                    <a:pt x="78467" y="1519"/>
                  </a:lnTo>
                  <a:lnTo>
                    <a:pt x="75536" y="601"/>
                  </a:lnTo>
                  <a:lnTo>
                    <a:pt x="73841" y="106"/>
                  </a:lnTo>
                  <a:lnTo>
                    <a:pt x="73347" y="36"/>
                  </a:lnTo>
                  <a:lnTo>
                    <a:pt x="72676" y="0"/>
                  </a:lnTo>
                  <a:close/>
                </a:path>
              </a:pathLst>
            </a:custGeom>
            <a:solidFill>
              <a:srgbClr val="F28E0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72" name="Google Shape;778;g2e0683f995c_0_0">
              <a:extLst>
                <a:ext uri="{FF2B5EF4-FFF2-40B4-BE49-F238E27FC236}">
                  <a16:creationId xmlns:a16="http://schemas.microsoft.com/office/drawing/2014/main" id="{0E8C1951-006F-DFB1-49FD-B3933C883039}"/>
                </a:ext>
              </a:extLst>
            </p:cNvPr>
            <p:cNvSpPr/>
            <p:nvPr/>
          </p:nvSpPr>
          <p:spPr>
            <a:xfrm>
              <a:off x="1288606" y="2199386"/>
              <a:ext cx="1441762" cy="555596"/>
            </a:xfrm>
            <a:custGeom>
              <a:avLst/>
              <a:gdLst/>
              <a:ahLst/>
              <a:cxnLst/>
              <a:rect l="l" t="t" r="r" b="b"/>
              <a:pathLst>
                <a:path w="147081" h="56679" fill="none" extrusionOk="0">
                  <a:moveTo>
                    <a:pt x="145244" y="42129"/>
                  </a:moveTo>
                  <a:lnTo>
                    <a:pt x="145244" y="42129"/>
                  </a:lnTo>
                  <a:lnTo>
                    <a:pt x="143726" y="42482"/>
                  </a:lnTo>
                  <a:lnTo>
                    <a:pt x="140936" y="43083"/>
                  </a:lnTo>
                  <a:lnTo>
                    <a:pt x="132284" y="44884"/>
                  </a:lnTo>
                  <a:lnTo>
                    <a:pt x="120808" y="47214"/>
                  </a:lnTo>
                  <a:lnTo>
                    <a:pt x="107989" y="49828"/>
                  </a:lnTo>
                  <a:lnTo>
                    <a:pt x="84506" y="54560"/>
                  </a:lnTo>
                  <a:lnTo>
                    <a:pt x="73947" y="56678"/>
                  </a:lnTo>
                  <a:lnTo>
                    <a:pt x="73947" y="56678"/>
                  </a:lnTo>
                  <a:lnTo>
                    <a:pt x="72958" y="56255"/>
                  </a:lnTo>
                  <a:lnTo>
                    <a:pt x="72958" y="56255"/>
                  </a:lnTo>
                  <a:lnTo>
                    <a:pt x="67414" y="53995"/>
                  </a:lnTo>
                  <a:lnTo>
                    <a:pt x="58127" y="50145"/>
                  </a:lnTo>
                  <a:lnTo>
                    <a:pt x="46473" y="45237"/>
                  </a:lnTo>
                  <a:lnTo>
                    <a:pt x="40223" y="42588"/>
                  </a:lnTo>
                  <a:lnTo>
                    <a:pt x="33866" y="39834"/>
                  </a:lnTo>
                  <a:lnTo>
                    <a:pt x="27581" y="37115"/>
                  </a:lnTo>
                  <a:lnTo>
                    <a:pt x="21577" y="34431"/>
                  </a:lnTo>
                  <a:lnTo>
                    <a:pt x="15998" y="31888"/>
                  </a:lnTo>
                  <a:lnTo>
                    <a:pt x="13420" y="30688"/>
                  </a:lnTo>
                  <a:lnTo>
                    <a:pt x="11019" y="29522"/>
                  </a:lnTo>
                  <a:lnTo>
                    <a:pt x="8794" y="28463"/>
                  </a:lnTo>
                  <a:lnTo>
                    <a:pt x="6781" y="27439"/>
                  </a:lnTo>
                  <a:lnTo>
                    <a:pt x="5015" y="26521"/>
                  </a:lnTo>
                  <a:lnTo>
                    <a:pt x="3532" y="25673"/>
                  </a:lnTo>
                  <a:lnTo>
                    <a:pt x="2296" y="24932"/>
                  </a:lnTo>
                  <a:lnTo>
                    <a:pt x="1343" y="24331"/>
                  </a:lnTo>
                  <a:lnTo>
                    <a:pt x="990" y="24049"/>
                  </a:lnTo>
                  <a:lnTo>
                    <a:pt x="742" y="23802"/>
                  </a:lnTo>
                  <a:lnTo>
                    <a:pt x="566" y="23590"/>
                  </a:lnTo>
                  <a:lnTo>
                    <a:pt x="460" y="23413"/>
                  </a:lnTo>
                  <a:lnTo>
                    <a:pt x="460" y="23413"/>
                  </a:lnTo>
                  <a:lnTo>
                    <a:pt x="283" y="22636"/>
                  </a:lnTo>
                  <a:lnTo>
                    <a:pt x="142" y="21789"/>
                  </a:lnTo>
                  <a:lnTo>
                    <a:pt x="36" y="20906"/>
                  </a:lnTo>
                  <a:lnTo>
                    <a:pt x="1" y="19988"/>
                  </a:lnTo>
                  <a:lnTo>
                    <a:pt x="1" y="18999"/>
                  </a:lnTo>
                  <a:lnTo>
                    <a:pt x="71" y="18046"/>
                  </a:lnTo>
                  <a:lnTo>
                    <a:pt x="177" y="17057"/>
                  </a:lnTo>
                  <a:lnTo>
                    <a:pt x="354" y="16139"/>
                  </a:lnTo>
                  <a:lnTo>
                    <a:pt x="601" y="15220"/>
                  </a:lnTo>
                  <a:lnTo>
                    <a:pt x="884" y="14373"/>
                  </a:lnTo>
                  <a:lnTo>
                    <a:pt x="1060" y="13949"/>
                  </a:lnTo>
                  <a:lnTo>
                    <a:pt x="1237" y="13596"/>
                  </a:lnTo>
                  <a:lnTo>
                    <a:pt x="1449" y="13243"/>
                  </a:lnTo>
                  <a:lnTo>
                    <a:pt x="1661" y="12890"/>
                  </a:lnTo>
                  <a:lnTo>
                    <a:pt x="1908" y="12572"/>
                  </a:lnTo>
                  <a:lnTo>
                    <a:pt x="2155" y="12289"/>
                  </a:lnTo>
                  <a:lnTo>
                    <a:pt x="2437" y="12042"/>
                  </a:lnTo>
                  <a:lnTo>
                    <a:pt x="2720" y="11830"/>
                  </a:lnTo>
                  <a:lnTo>
                    <a:pt x="3038" y="11654"/>
                  </a:lnTo>
                  <a:lnTo>
                    <a:pt x="3391" y="11477"/>
                  </a:lnTo>
                  <a:lnTo>
                    <a:pt x="3709" y="11371"/>
                  </a:lnTo>
                  <a:lnTo>
                    <a:pt x="4097" y="11301"/>
                  </a:lnTo>
                  <a:lnTo>
                    <a:pt x="4097" y="11301"/>
                  </a:lnTo>
                  <a:lnTo>
                    <a:pt x="5263" y="11124"/>
                  </a:lnTo>
                  <a:lnTo>
                    <a:pt x="7346" y="10736"/>
                  </a:lnTo>
                  <a:lnTo>
                    <a:pt x="13879" y="9500"/>
                  </a:lnTo>
                  <a:lnTo>
                    <a:pt x="13879" y="9500"/>
                  </a:lnTo>
                  <a:lnTo>
                    <a:pt x="21542" y="8052"/>
                  </a:lnTo>
                  <a:lnTo>
                    <a:pt x="30406" y="6427"/>
                  </a:lnTo>
                  <a:lnTo>
                    <a:pt x="39799" y="4697"/>
                  </a:lnTo>
                  <a:lnTo>
                    <a:pt x="44531" y="3885"/>
                  </a:lnTo>
                  <a:lnTo>
                    <a:pt x="49157" y="3073"/>
                  </a:lnTo>
                  <a:lnTo>
                    <a:pt x="53606" y="2331"/>
                  </a:lnTo>
                  <a:lnTo>
                    <a:pt x="57844" y="1660"/>
                  </a:lnTo>
                  <a:lnTo>
                    <a:pt x="61764" y="1095"/>
                  </a:lnTo>
                  <a:lnTo>
                    <a:pt x="65260" y="601"/>
                  </a:lnTo>
                  <a:lnTo>
                    <a:pt x="68297" y="248"/>
                  </a:lnTo>
                  <a:lnTo>
                    <a:pt x="69639" y="142"/>
                  </a:lnTo>
                  <a:lnTo>
                    <a:pt x="70804" y="36"/>
                  </a:lnTo>
                  <a:lnTo>
                    <a:pt x="71828" y="0"/>
                  </a:lnTo>
                  <a:lnTo>
                    <a:pt x="72676" y="0"/>
                  </a:lnTo>
                  <a:lnTo>
                    <a:pt x="73347" y="36"/>
                  </a:lnTo>
                  <a:lnTo>
                    <a:pt x="73841" y="106"/>
                  </a:lnTo>
                  <a:lnTo>
                    <a:pt x="73841" y="106"/>
                  </a:lnTo>
                  <a:lnTo>
                    <a:pt x="75536" y="601"/>
                  </a:lnTo>
                  <a:lnTo>
                    <a:pt x="78467" y="1519"/>
                  </a:lnTo>
                  <a:lnTo>
                    <a:pt x="87366" y="4379"/>
                  </a:lnTo>
                  <a:lnTo>
                    <a:pt x="98949" y="8193"/>
                  </a:lnTo>
                  <a:lnTo>
                    <a:pt x="105270" y="10312"/>
                  </a:lnTo>
                  <a:lnTo>
                    <a:pt x="111662" y="12501"/>
                  </a:lnTo>
                  <a:lnTo>
                    <a:pt x="118018" y="14655"/>
                  </a:lnTo>
                  <a:lnTo>
                    <a:pt x="124056" y="16774"/>
                  </a:lnTo>
                  <a:lnTo>
                    <a:pt x="129636" y="18752"/>
                  </a:lnTo>
                  <a:lnTo>
                    <a:pt x="134545" y="20553"/>
                  </a:lnTo>
                  <a:lnTo>
                    <a:pt x="136663" y="21365"/>
                  </a:lnTo>
                  <a:lnTo>
                    <a:pt x="138570" y="22107"/>
                  </a:lnTo>
                  <a:lnTo>
                    <a:pt x="140230" y="22778"/>
                  </a:lnTo>
                  <a:lnTo>
                    <a:pt x="141572" y="23378"/>
                  </a:lnTo>
                  <a:lnTo>
                    <a:pt x="142631" y="23872"/>
                  </a:lnTo>
                  <a:lnTo>
                    <a:pt x="143338" y="24261"/>
                  </a:lnTo>
                  <a:lnTo>
                    <a:pt x="143549" y="24437"/>
                  </a:lnTo>
                  <a:lnTo>
                    <a:pt x="143691" y="24543"/>
                  </a:lnTo>
                  <a:lnTo>
                    <a:pt x="143726" y="24649"/>
                  </a:lnTo>
                  <a:lnTo>
                    <a:pt x="143691" y="24720"/>
                  </a:lnTo>
                  <a:lnTo>
                    <a:pt x="143655" y="24720"/>
                  </a:lnTo>
                  <a:lnTo>
                    <a:pt x="143655" y="24720"/>
                  </a:lnTo>
                  <a:lnTo>
                    <a:pt x="143090" y="25002"/>
                  </a:lnTo>
                  <a:lnTo>
                    <a:pt x="142490" y="25285"/>
                  </a:lnTo>
                  <a:lnTo>
                    <a:pt x="141042" y="25850"/>
                  </a:lnTo>
                  <a:lnTo>
                    <a:pt x="139382" y="26415"/>
                  </a:lnTo>
                  <a:lnTo>
                    <a:pt x="137511" y="26980"/>
                  </a:lnTo>
                  <a:lnTo>
                    <a:pt x="135463" y="27580"/>
                  </a:lnTo>
                  <a:lnTo>
                    <a:pt x="133238" y="28145"/>
                  </a:lnTo>
                  <a:lnTo>
                    <a:pt x="130872" y="28746"/>
                  </a:lnTo>
                  <a:lnTo>
                    <a:pt x="128365" y="29346"/>
                  </a:lnTo>
                  <a:lnTo>
                    <a:pt x="125716" y="29911"/>
                  </a:lnTo>
                  <a:lnTo>
                    <a:pt x="122997" y="30511"/>
                  </a:lnTo>
                  <a:lnTo>
                    <a:pt x="117276" y="31677"/>
                  </a:lnTo>
                  <a:lnTo>
                    <a:pt x="111414" y="32842"/>
                  </a:lnTo>
                  <a:lnTo>
                    <a:pt x="105482" y="33972"/>
                  </a:lnTo>
                  <a:lnTo>
                    <a:pt x="94040" y="36126"/>
                  </a:lnTo>
                  <a:lnTo>
                    <a:pt x="88814" y="37115"/>
                  </a:lnTo>
                  <a:lnTo>
                    <a:pt x="84152" y="38033"/>
                  </a:lnTo>
                  <a:lnTo>
                    <a:pt x="80127" y="38916"/>
                  </a:lnTo>
                  <a:lnTo>
                    <a:pt x="78396" y="39304"/>
                  </a:lnTo>
                  <a:lnTo>
                    <a:pt x="76913" y="39657"/>
                  </a:lnTo>
                  <a:lnTo>
                    <a:pt x="75677" y="40011"/>
                  </a:lnTo>
                  <a:lnTo>
                    <a:pt x="74653" y="40328"/>
                  </a:lnTo>
                  <a:lnTo>
                    <a:pt x="73947" y="40611"/>
                  </a:lnTo>
                  <a:lnTo>
                    <a:pt x="73700" y="40752"/>
                  </a:lnTo>
                  <a:lnTo>
                    <a:pt x="73523" y="40893"/>
                  </a:lnTo>
                  <a:lnTo>
                    <a:pt x="73523" y="40893"/>
                  </a:lnTo>
                  <a:lnTo>
                    <a:pt x="73205" y="41211"/>
                  </a:lnTo>
                  <a:lnTo>
                    <a:pt x="72888" y="41670"/>
                  </a:lnTo>
                  <a:lnTo>
                    <a:pt x="72605" y="42235"/>
                  </a:lnTo>
                  <a:lnTo>
                    <a:pt x="72287" y="42871"/>
                  </a:lnTo>
                  <a:lnTo>
                    <a:pt x="72005" y="43577"/>
                  </a:lnTo>
                  <a:lnTo>
                    <a:pt x="71757" y="44354"/>
                  </a:lnTo>
                  <a:lnTo>
                    <a:pt x="71546" y="45202"/>
                  </a:lnTo>
                  <a:lnTo>
                    <a:pt x="71369" y="46049"/>
                  </a:lnTo>
                  <a:lnTo>
                    <a:pt x="71228" y="46932"/>
                  </a:lnTo>
                  <a:lnTo>
                    <a:pt x="71157" y="47815"/>
                  </a:lnTo>
                  <a:lnTo>
                    <a:pt x="71157" y="48662"/>
                  </a:lnTo>
                  <a:lnTo>
                    <a:pt x="71192" y="49121"/>
                  </a:lnTo>
                  <a:lnTo>
                    <a:pt x="71263" y="49510"/>
                  </a:lnTo>
                  <a:lnTo>
                    <a:pt x="71334" y="49934"/>
                  </a:lnTo>
                  <a:lnTo>
                    <a:pt x="71440" y="50322"/>
                  </a:lnTo>
                  <a:lnTo>
                    <a:pt x="71546" y="50710"/>
                  </a:lnTo>
                  <a:lnTo>
                    <a:pt x="71687" y="51099"/>
                  </a:lnTo>
                  <a:lnTo>
                    <a:pt x="71863" y="51452"/>
                  </a:lnTo>
                  <a:lnTo>
                    <a:pt x="72075" y="51805"/>
                  </a:lnTo>
                  <a:lnTo>
                    <a:pt x="72287" y="52123"/>
                  </a:lnTo>
                  <a:lnTo>
                    <a:pt x="72570" y="52406"/>
                  </a:lnTo>
                  <a:lnTo>
                    <a:pt x="72570" y="52406"/>
                  </a:lnTo>
                  <a:lnTo>
                    <a:pt x="72888" y="52723"/>
                  </a:lnTo>
                  <a:lnTo>
                    <a:pt x="73276" y="53006"/>
                  </a:lnTo>
                  <a:lnTo>
                    <a:pt x="73735" y="53253"/>
                  </a:lnTo>
                  <a:lnTo>
                    <a:pt x="74229" y="53465"/>
                  </a:lnTo>
                  <a:lnTo>
                    <a:pt x="74759" y="53606"/>
                  </a:lnTo>
                  <a:lnTo>
                    <a:pt x="75324" y="53747"/>
                  </a:lnTo>
                  <a:lnTo>
                    <a:pt x="75995" y="53783"/>
                  </a:lnTo>
                  <a:lnTo>
                    <a:pt x="76666" y="53783"/>
                  </a:lnTo>
                  <a:lnTo>
                    <a:pt x="76666" y="53783"/>
                  </a:lnTo>
                  <a:lnTo>
                    <a:pt x="77620" y="53747"/>
                  </a:lnTo>
                  <a:lnTo>
                    <a:pt x="78855" y="53606"/>
                  </a:lnTo>
                  <a:lnTo>
                    <a:pt x="80339" y="53394"/>
                  </a:lnTo>
                  <a:lnTo>
                    <a:pt x="82034" y="53147"/>
                  </a:lnTo>
                  <a:lnTo>
                    <a:pt x="86130" y="52441"/>
                  </a:lnTo>
                  <a:lnTo>
                    <a:pt x="90933" y="51558"/>
                  </a:lnTo>
                  <a:lnTo>
                    <a:pt x="96300" y="50499"/>
                  </a:lnTo>
                  <a:lnTo>
                    <a:pt x="102056" y="49333"/>
                  </a:lnTo>
                  <a:lnTo>
                    <a:pt x="108024" y="48097"/>
                  </a:lnTo>
                  <a:lnTo>
                    <a:pt x="114063" y="46826"/>
                  </a:lnTo>
                  <a:lnTo>
                    <a:pt x="125681" y="44354"/>
                  </a:lnTo>
                  <a:lnTo>
                    <a:pt x="135604" y="42200"/>
                  </a:lnTo>
                  <a:lnTo>
                    <a:pt x="145103" y="40081"/>
                  </a:lnTo>
                  <a:lnTo>
                    <a:pt x="145103" y="40081"/>
                  </a:lnTo>
                  <a:lnTo>
                    <a:pt x="145704" y="40258"/>
                  </a:lnTo>
                  <a:lnTo>
                    <a:pt x="146233" y="40434"/>
                  </a:lnTo>
                  <a:lnTo>
                    <a:pt x="146516" y="40576"/>
                  </a:lnTo>
                  <a:lnTo>
                    <a:pt x="146763" y="40681"/>
                  </a:lnTo>
                  <a:lnTo>
                    <a:pt x="146940" y="40823"/>
                  </a:lnTo>
                  <a:lnTo>
                    <a:pt x="147045" y="40999"/>
                  </a:lnTo>
                  <a:lnTo>
                    <a:pt x="147081" y="41070"/>
                  </a:lnTo>
                  <a:lnTo>
                    <a:pt x="147081" y="41176"/>
                  </a:lnTo>
                  <a:lnTo>
                    <a:pt x="147045" y="41246"/>
                  </a:lnTo>
                  <a:lnTo>
                    <a:pt x="147010" y="41352"/>
                  </a:lnTo>
                  <a:lnTo>
                    <a:pt x="146904" y="41423"/>
                  </a:lnTo>
                  <a:lnTo>
                    <a:pt x="146798" y="41529"/>
                  </a:lnTo>
                  <a:lnTo>
                    <a:pt x="146445" y="41741"/>
                  </a:lnTo>
                  <a:lnTo>
                    <a:pt x="145915" y="41917"/>
                  </a:lnTo>
                  <a:lnTo>
                    <a:pt x="145244" y="42129"/>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73" name="Google Shape;779;g2e0683f995c_0_0">
              <a:extLst>
                <a:ext uri="{FF2B5EF4-FFF2-40B4-BE49-F238E27FC236}">
                  <a16:creationId xmlns:a16="http://schemas.microsoft.com/office/drawing/2014/main" id="{BCB9D73C-1044-CCE8-C533-814627461B8D}"/>
                </a:ext>
              </a:extLst>
            </p:cNvPr>
            <p:cNvSpPr/>
            <p:nvPr/>
          </p:nvSpPr>
          <p:spPr>
            <a:xfrm>
              <a:off x="1288606" y="2308076"/>
              <a:ext cx="717602" cy="442750"/>
            </a:xfrm>
            <a:custGeom>
              <a:avLst/>
              <a:gdLst/>
              <a:ahLst/>
              <a:cxnLst/>
              <a:rect l="l" t="t" r="r" b="b"/>
              <a:pathLst>
                <a:path w="73206" h="45167" extrusionOk="0">
                  <a:moveTo>
                    <a:pt x="5439" y="1"/>
                  </a:moveTo>
                  <a:lnTo>
                    <a:pt x="4097" y="213"/>
                  </a:lnTo>
                  <a:lnTo>
                    <a:pt x="3815" y="283"/>
                  </a:lnTo>
                  <a:lnTo>
                    <a:pt x="3568" y="319"/>
                  </a:lnTo>
                  <a:lnTo>
                    <a:pt x="3320" y="425"/>
                  </a:lnTo>
                  <a:lnTo>
                    <a:pt x="3073" y="531"/>
                  </a:lnTo>
                  <a:lnTo>
                    <a:pt x="2614" y="813"/>
                  </a:lnTo>
                  <a:lnTo>
                    <a:pt x="2226" y="1166"/>
                  </a:lnTo>
                  <a:lnTo>
                    <a:pt x="1837" y="1590"/>
                  </a:lnTo>
                  <a:lnTo>
                    <a:pt x="1519" y="2049"/>
                  </a:lnTo>
                  <a:lnTo>
                    <a:pt x="1202" y="2579"/>
                  </a:lnTo>
                  <a:lnTo>
                    <a:pt x="954" y="3144"/>
                  </a:lnTo>
                  <a:lnTo>
                    <a:pt x="707" y="3744"/>
                  </a:lnTo>
                  <a:lnTo>
                    <a:pt x="531" y="4380"/>
                  </a:lnTo>
                  <a:lnTo>
                    <a:pt x="354" y="5051"/>
                  </a:lnTo>
                  <a:lnTo>
                    <a:pt x="213" y="5722"/>
                  </a:lnTo>
                  <a:lnTo>
                    <a:pt x="142" y="6428"/>
                  </a:lnTo>
                  <a:lnTo>
                    <a:pt x="71" y="7134"/>
                  </a:lnTo>
                  <a:lnTo>
                    <a:pt x="1" y="7840"/>
                  </a:lnTo>
                  <a:lnTo>
                    <a:pt x="1" y="8547"/>
                  </a:lnTo>
                  <a:lnTo>
                    <a:pt x="36" y="9571"/>
                  </a:lnTo>
                  <a:lnTo>
                    <a:pt x="107" y="10560"/>
                  </a:lnTo>
                  <a:lnTo>
                    <a:pt x="248" y="11478"/>
                  </a:lnTo>
                  <a:lnTo>
                    <a:pt x="460" y="12325"/>
                  </a:lnTo>
                  <a:lnTo>
                    <a:pt x="566" y="12502"/>
                  </a:lnTo>
                  <a:lnTo>
                    <a:pt x="742" y="12714"/>
                  </a:lnTo>
                  <a:lnTo>
                    <a:pt x="990" y="12961"/>
                  </a:lnTo>
                  <a:lnTo>
                    <a:pt x="1343" y="13243"/>
                  </a:lnTo>
                  <a:lnTo>
                    <a:pt x="2296" y="13844"/>
                  </a:lnTo>
                  <a:lnTo>
                    <a:pt x="3532" y="14585"/>
                  </a:lnTo>
                  <a:lnTo>
                    <a:pt x="5015" y="15433"/>
                  </a:lnTo>
                  <a:lnTo>
                    <a:pt x="6781" y="16351"/>
                  </a:lnTo>
                  <a:lnTo>
                    <a:pt x="8794" y="17375"/>
                  </a:lnTo>
                  <a:lnTo>
                    <a:pt x="11019" y="18434"/>
                  </a:lnTo>
                  <a:lnTo>
                    <a:pt x="13420" y="19600"/>
                  </a:lnTo>
                  <a:lnTo>
                    <a:pt x="15998" y="20800"/>
                  </a:lnTo>
                  <a:lnTo>
                    <a:pt x="21577" y="23343"/>
                  </a:lnTo>
                  <a:lnTo>
                    <a:pt x="27581" y="26027"/>
                  </a:lnTo>
                  <a:lnTo>
                    <a:pt x="33866" y="28746"/>
                  </a:lnTo>
                  <a:lnTo>
                    <a:pt x="40223" y="31500"/>
                  </a:lnTo>
                  <a:lnTo>
                    <a:pt x="46473" y="34149"/>
                  </a:lnTo>
                  <a:lnTo>
                    <a:pt x="58127" y="39057"/>
                  </a:lnTo>
                  <a:lnTo>
                    <a:pt x="67414" y="42907"/>
                  </a:lnTo>
                  <a:lnTo>
                    <a:pt x="72958" y="45167"/>
                  </a:lnTo>
                  <a:lnTo>
                    <a:pt x="72676" y="44107"/>
                  </a:lnTo>
                  <a:lnTo>
                    <a:pt x="72499" y="43154"/>
                  </a:lnTo>
                  <a:lnTo>
                    <a:pt x="72428" y="42765"/>
                  </a:lnTo>
                  <a:lnTo>
                    <a:pt x="72393" y="42412"/>
                  </a:lnTo>
                  <a:lnTo>
                    <a:pt x="72393" y="42094"/>
                  </a:lnTo>
                  <a:lnTo>
                    <a:pt x="72428" y="41847"/>
                  </a:lnTo>
                  <a:lnTo>
                    <a:pt x="72570" y="41318"/>
                  </a:lnTo>
                  <a:lnTo>
                    <a:pt x="72217" y="40894"/>
                  </a:lnTo>
                  <a:lnTo>
                    <a:pt x="71899" y="40435"/>
                  </a:lnTo>
                  <a:lnTo>
                    <a:pt x="71652" y="39940"/>
                  </a:lnTo>
                  <a:lnTo>
                    <a:pt x="71475" y="39411"/>
                  </a:lnTo>
                  <a:lnTo>
                    <a:pt x="71334" y="38846"/>
                  </a:lnTo>
                  <a:lnTo>
                    <a:pt x="71228" y="38281"/>
                  </a:lnTo>
                  <a:lnTo>
                    <a:pt x="71192" y="37680"/>
                  </a:lnTo>
                  <a:lnTo>
                    <a:pt x="71157" y="37080"/>
                  </a:lnTo>
                  <a:lnTo>
                    <a:pt x="71157" y="36586"/>
                  </a:lnTo>
                  <a:lnTo>
                    <a:pt x="71192" y="36056"/>
                  </a:lnTo>
                  <a:lnTo>
                    <a:pt x="71334" y="35032"/>
                  </a:lnTo>
                  <a:lnTo>
                    <a:pt x="71546" y="34008"/>
                  </a:lnTo>
                  <a:lnTo>
                    <a:pt x="71828" y="33054"/>
                  </a:lnTo>
                  <a:lnTo>
                    <a:pt x="72146" y="32171"/>
                  </a:lnTo>
                  <a:lnTo>
                    <a:pt x="72464" y="31359"/>
                  </a:lnTo>
                  <a:lnTo>
                    <a:pt x="72852" y="30688"/>
                  </a:lnTo>
                  <a:lnTo>
                    <a:pt x="73205" y="30158"/>
                  </a:lnTo>
                  <a:lnTo>
                    <a:pt x="68650" y="28287"/>
                  </a:lnTo>
                  <a:lnTo>
                    <a:pt x="62294" y="26239"/>
                  </a:lnTo>
                  <a:lnTo>
                    <a:pt x="58550" y="25003"/>
                  </a:lnTo>
                  <a:lnTo>
                    <a:pt x="54525" y="23661"/>
                  </a:lnTo>
                  <a:lnTo>
                    <a:pt x="50287" y="22213"/>
                  </a:lnTo>
                  <a:lnTo>
                    <a:pt x="45979" y="20730"/>
                  </a:lnTo>
                  <a:lnTo>
                    <a:pt x="41635" y="19176"/>
                  </a:lnTo>
                  <a:lnTo>
                    <a:pt x="37362" y="17587"/>
                  </a:lnTo>
                  <a:lnTo>
                    <a:pt x="33231" y="16033"/>
                  </a:lnTo>
                  <a:lnTo>
                    <a:pt x="29346" y="14479"/>
                  </a:lnTo>
                  <a:lnTo>
                    <a:pt x="27510" y="13702"/>
                  </a:lnTo>
                  <a:lnTo>
                    <a:pt x="25780" y="12961"/>
                  </a:lnTo>
                  <a:lnTo>
                    <a:pt x="24120" y="12219"/>
                  </a:lnTo>
                  <a:lnTo>
                    <a:pt x="22566" y="11478"/>
                  </a:lnTo>
                  <a:lnTo>
                    <a:pt x="21154" y="10807"/>
                  </a:lnTo>
                  <a:lnTo>
                    <a:pt x="19882" y="10100"/>
                  </a:lnTo>
                  <a:lnTo>
                    <a:pt x="18717" y="9465"/>
                  </a:lnTo>
                  <a:lnTo>
                    <a:pt x="17728" y="8829"/>
                  </a:lnTo>
                  <a:lnTo>
                    <a:pt x="16881" y="8229"/>
                  </a:lnTo>
                  <a:lnTo>
                    <a:pt x="16527" y="7946"/>
                  </a:lnTo>
                  <a:lnTo>
                    <a:pt x="16245" y="7699"/>
                  </a:lnTo>
                  <a:lnTo>
                    <a:pt x="15962" y="7417"/>
                  </a:lnTo>
                  <a:lnTo>
                    <a:pt x="15751" y="7169"/>
                  </a:lnTo>
                  <a:lnTo>
                    <a:pt x="15574" y="6922"/>
                  </a:lnTo>
                  <a:lnTo>
                    <a:pt x="15468" y="6675"/>
                  </a:lnTo>
                  <a:lnTo>
                    <a:pt x="15150" y="5828"/>
                  </a:lnTo>
                  <a:lnTo>
                    <a:pt x="14903" y="4945"/>
                  </a:lnTo>
                  <a:lnTo>
                    <a:pt x="11901" y="3497"/>
                  </a:lnTo>
                  <a:lnTo>
                    <a:pt x="9288" y="2155"/>
                  </a:lnTo>
                  <a:lnTo>
                    <a:pt x="7099" y="990"/>
                  </a:lnTo>
                  <a:lnTo>
                    <a:pt x="6216" y="460"/>
                  </a:lnTo>
                  <a:lnTo>
                    <a:pt x="5439" y="1"/>
                  </a:lnTo>
                  <a:close/>
                </a:path>
              </a:pathLst>
            </a:custGeom>
            <a:solidFill>
              <a:srgbClr val="B76F1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74" name="Google Shape;780;g2e0683f995c_0_0">
              <a:extLst>
                <a:ext uri="{FF2B5EF4-FFF2-40B4-BE49-F238E27FC236}">
                  <a16:creationId xmlns:a16="http://schemas.microsoft.com/office/drawing/2014/main" id="{E1B9C745-2271-47CA-D4C2-6C959BA17D64}"/>
                </a:ext>
              </a:extLst>
            </p:cNvPr>
            <p:cNvSpPr/>
            <p:nvPr/>
          </p:nvSpPr>
          <p:spPr>
            <a:xfrm>
              <a:off x="1288606" y="2308076"/>
              <a:ext cx="717602" cy="442750"/>
            </a:xfrm>
            <a:custGeom>
              <a:avLst/>
              <a:gdLst/>
              <a:ahLst/>
              <a:cxnLst/>
              <a:rect l="l" t="t" r="r" b="b"/>
              <a:pathLst>
                <a:path w="73206" h="45167" fill="none" extrusionOk="0">
                  <a:moveTo>
                    <a:pt x="5439" y="1"/>
                  </a:moveTo>
                  <a:lnTo>
                    <a:pt x="5439" y="1"/>
                  </a:lnTo>
                  <a:lnTo>
                    <a:pt x="4097" y="213"/>
                  </a:lnTo>
                  <a:lnTo>
                    <a:pt x="4097" y="213"/>
                  </a:lnTo>
                  <a:lnTo>
                    <a:pt x="3815" y="283"/>
                  </a:lnTo>
                  <a:lnTo>
                    <a:pt x="3568" y="319"/>
                  </a:lnTo>
                  <a:lnTo>
                    <a:pt x="3320" y="425"/>
                  </a:lnTo>
                  <a:lnTo>
                    <a:pt x="3073" y="531"/>
                  </a:lnTo>
                  <a:lnTo>
                    <a:pt x="2614" y="813"/>
                  </a:lnTo>
                  <a:lnTo>
                    <a:pt x="2226" y="1166"/>
                  </a:lnTo>
                  <a:lnTo>
                    <a:pt x="1837" y="1590"/>
                  </a:lnTo>
                  <a:lnTo>
                    <a:pt x="1519" y="2049"/>
                  </a:lnTo>
                  <a:lnTo>
                    <a:pt x="1202" y="2579"/>
                  </a:lnTo>
                  <a:lnTo>
                    <a:pt x="954" y="3144"/>
                  </a:lnTo>
                  <a:lnTo>
                    <a:pt x="707" y="3744"/>
                  </a:lnTo>
                  <a:lnTo>
                    <a:pt x="531" y="4380"/>
                  </a:lnTo>
                  <a:lnTo>
                    <a:pt x="354" y="5051"/>
                  </a:lnTo>
                  <a:lnTo>
                    <a:pt x="213" y="5722"/>
                  </a:lnTo>
                  <a:lnTo>
                    <a:pt x="142" y="6428"/>
                  </a:lnTo>
                  <a:lnTo>
                    <a:pt x="71" y="7134"/>
                  </a:lnTo>
                  <a:lnTo>
                    <a:pt x="1" y="7840"/>
                  </a:lnTo>
                  <a:lnTo>
                    <a:pt x="1" y="8547"/>
                  </a:lnTo>
                  <a:lnTo>
                    <a:pt x="1" y="8547"/>
                  </a:lnTo>
                  <a:lnTo>
                    <a:pt x="36" y="9571"/>
                  </a:lnTo>
                  <a:lnTo>
                    <a:pt x="107" y="10560"/>
                  </a:lnTo>
                  <a:lnTo>
                    <a:pt x="248" y="11478"/>
                  </a:lnTo>
                  <a:lnTo>
                    <a:pt x="460" y="12325"/>
                  </a:lnTo>
                  <a:lnTo>
                    <a:pt x="460" y="12325"/>
                  </a:lnTo>
                  <a:lnTo>
                    <a:pt x="566" y="12502"/>
                  </a:lnTo>
                  <a:lnTo>
                    <a:pt x="742" y="12714"/>
                  </a:lnTo>
                  <a:lnTo>
                    <a:pt x="990" y="12961"/>
                  </a:lnTo>
                  <a:lnTo>
                    <a:pt x="1343" y="13243"/>
                  </a:lnTo>
                  <a:lnTo>
                    <a:pt x="2296" y="13844"/>
                  </a:lnTo>
                  <a:lnTo>
                    <a:pt x="3532" y="14585"/>
                  </a:lnTo>
                  <a:lnTo>
                    <a:pt x="5015" y="15433"/>
                  </a:lnTo>
                  <a:lnTo>
                    <a:pt x="6781" y="16351"/>
                  </a:lnTo>
                  <a:lnTo>
                    <a:pt x="8794" y="17375"/>
                  </a:lnTo>
                  <a:lnTo>
                    <a:pt x="11019" y="18434"/>
                  </a:lnTo>
                  <a:lnTo>
                    <a:pt x="13420" y="19600"/>
                  </a:lnTo>
                  <a:lnTo>
                    <a:pt x="15998" y="20800"/>
                  </a:lnTo>
                  <a:lnTo>
                    <a:pt x="21577" y="23343"/>
                  </a:lnTo>
                  <a:lnTo>
                    <a:pt x="27581" y="26027"/>
                  </a:lnTo>
                  <a:lnTo>
                    <a:pt x="33866" y="28746"/>
                  </a:lnTo>
                  <a:lnTo>
                    <a:pt x="40223" y="31500"/>
                  </a:lnTo>
                  <a:lnTo>
                    <a:pt x="46473" y="34149"/>
                  </a:lnTo>
                  <a:lnTo>
                    <a:pt x="58127" y="39057"/>
                  </a:lnTo>
                  <a:lnTo>
                    <a:pt x="67414" y="42907"/>
                  </a:lnTo>
                  <a:lnTo>
                    <a:pt x="72958" y="45167"/>
                  </a:lnTo>
                  <a:lnTo>
                    <a:pt x="72958" y="45167"/>
                  </a:lnTo>
                  <a:lnTo>
                    <a:pt x="72676" y="44107"/>
                  </a:lnTo>
                  <a:lnTo>
                    <a:pt x="72499" y="43154"/>
                  </a:lnTo>
                  <a:lnTo>
                    <a:pt x="72428" y="42765"/>
                  </a:lnTo>
                  <a:lnTo>
                    <a:pt x="72393" y="42412"/>
                  </a:lnTo>
                  <a:lnTo>
                    <a:pt x="72393" y="42094"/>
                  </a:lnTo>
                  <a:lnTo>
                    <a:pt x="72428" y="41847"/>
                  </a:lnTo>
                  <a:lnTo>
                    <a:pt x="72428" y="41847"/>
                  </a:lnTo>
                  <a:lnTo>
                    <a:pt x="72570" y="41318"/>
                  </a:lnTo>
                  <a:lnTo>
                    <a:pt x="72570" y="41318"/>
                  </a:lnTo>
                  <a:lnTo>
                    <a:pt x="72217" y="40894"/>
                  </a:lnTo>
                  <a:lnTo>
                    <a:pt x="71899" y="40435"/>
                  </a:lnTo>
                  <a:lnTo>
                    <a:pt x="71652" y="39940"/>
                  </a:lnTo>
                  <a:lnTo>
                    <a:pt x="71475" y="39411"/>
                  </a:lnTo>
                  <a:lnTo>
                    <a:pt x="71334" y="38846"/>
                  </a:lnTo>
                  <a:lnTo>
                    <a:pt x="71228" y="38281"/>
                  </a:lnTo>
                  <a:lnTo>
                    <a:pt x="71192" y="37680"/>
                  </a:lnTo>
                  <a:lnTo>
                    <a:pt x="71157" y="37080"/>
                  </a:lnTo>
                  <a:lnTo>
                    <a:pt x="71157" y="37080"/>
                  </a:lnTo>
                  <a:lnTo>
                    <a:pt x="71157" y="36586"/>
                  </a:lnTo>
                  <a:lnTo>
                    <a:pt x="71192" y="36056"/>
                  </a:lnTo>
                  <a:lnTo>
                    <a:pt x="71334" y="35032"/>
                  </a:lnTo>
                  <a:lnTo>
                    <a:pt x="71546" y="34008"/>
                  </a:lnTo>
                  <a:lnTo>
                    <a:pt x="71828" y="33054"/>
                  </a:lnTo>
                  <a:lnTo>
                    <a:pt x="72146" y="32171"/>
                  </a:lnTo>
                  <a:lnTo>
                    <a:pt x="72464" y="31359"/>
                  </a:lnTo>
                  <a:lnTo>
                    <a:pt x="72852" y="30688"/>
                  </a:lnTo>
                  <a:lnTo>
                    <a:pt x="73205" y="30158"/>
                  </a:lnTo>
                  <a:lnTo>
                    <a:pt x="73205" y="30158"/>
                  </a:lnTo>
                  <a:lnTo>
                    <a:pt x="68650" y="28287"/>
                  </a:lnTo>
                  <a:lnTo>
                    <a:pt x="68650" y="28287"/>
                  </a:lnTo>
                  <a:lnTo>
                    <a:pt x="62294" y="26239"/>
                  </a:lnTo>
                  <a:lnTo>
                    <a:pt x="58550" y="25003"/>
                  </a:lnTo>
                  <a:lnTo>
                    <a:pt x="54525" y="23661"/>
                  </a:lnTo>
                  <a:lnTo>
                    <a:pt x="50287" y="22213"/>
                  </a:lnTo>
                  <a:lnTo>
                    <a:pt x="45979" y="20730"/>
                  </a:lnTo>
                  <a:lnTo>
                    <a:pt x="41635" y="19176"/>
                  </a:lnTo>
                  <a:lnTo>
                    <a:pt x="37362" y="17587"/>
                  </a:lnTo>
                  <a:lnTo>
                    <a:pt x="33231" y="16033"/>
                  </a:lnTo>
                  <a:lnTo>
                    <a:pt x="29346" y="14479"/>
                  </a:lnTo>
                  <a:lnTo>
                    <a:pt x="27510" y="13702"/>
                  </a:lnTo>
                  <a:lnTo>
                    <a:pt x="25780" y="12961"/>
                  </a:lnTo>
                  <a:lnTo>
                    <a:pt x="24120" y="12219"/>
                  </a:lnTo>
                  <a:lnTo>
                    <a:pt x="22566" y="11478"/>
                  </a:lnTo>
                  <a:lnTo>
                    <a:pt x="21154" y="10807"/>
                  </a:lnTo>
                  <a:lnTo>
                    <a:pt x="19882" y="10100"/>
                  </a:lnTo>
                  <a:lnTo>
                    <a:pt x="18717" y="9465"/>
                  </a:lnTo>
                  <a:lnTo>
                    <a:pt x="17728" y="8829"/>
                  </a:lnTo>
                  <a:lnTo>
                    <a:pt x="16881" y="8229"/>
                  </a:lnTo>
                  <a:lnTo>
                    <a:pt x="16527" y="7946"/>
                  </a:lnTo>
                  <a:lnTo>
                    <a:pt x="16245" y="7699"/>
                  </a:lnTo>
                  <a:lnTo>
                    <a:pt x="15962" y="7417"/>
                  </a:lnTo>
                  <a:lnTo>
                    <a:pt x="15751" y="7169"/>
                  </a:lnTo>
                  <a:lnTo>
                    <a:pt x="15574" y="6922"/>
                  </a:lnTo>
                  <a:lnTo>
                    <a:pt x="15468" y="6675"/>
                  </a:lnTo>
                  <a:lnTo>
                    <a:pt x="15468" y="6675"/>
                  </a:lnTo>
                  <a:lnTo>
                    <a:pt x="15150" y="5828"/>
                  </a:lnTo>
                  <a:lnTo>
                    <a:pt x="14903" y="4945"/>
                  </a:lnTo>
                  <a:lnTo>
                    <a:pt x="14903" y="4945"/>
                  </a:lnTo>
                  <a:lnTo>
                    <a:pt x="11901" y="3497"/>
                  </a:lnTo>
                  <a:lnTo>
                    <a:pt x="9288" y="2155"/>
                  </a:lnTo>
                  <a:lnTo>
                    <a:pt x="7099" y="990"/>
                  </a:lnTo>
                  <a:lnTo>
                    <a:pt x="6216" y="460"/>
                  </a:lnTo>
                  <a:lnTo>
                    <a:pt x="5439"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75" name="Google Shape;781;g2e0683f995c_0_0">
              <a:extLst>
                <a:ext uri="{FF2B5EF4-FFF2-40B4-BE49-F238E27FC236}">
                  <a16:creationId xmlns:a16="http://schemas.microsoft.com/office/drawing/2014/main" id="{6E214051-BA43-C7AE-9111-C8139E666F27}"/>
                </a:ext>
              </a:extLst>
            </p:cNvPr>
            <p:cNvSpPr/>
            <p:nvPr/>
          </p:nvSpPr>
          <p:spPr>
            <a:xfrm>
              <a:off x="1991308" y="2307390"/>
              <a:ext cx="761566" cy="296663"/>
            </a:xfrm>
            <a:custGeom>
              <a:avLst/>
              <a:gdLst/>
              <a:ahLst/>
              <a:cxnLst/>
              <a:rect l="l" t="t" r="r" b="b"/>
              <a:pathLst>
                <a:path w="77691" h="30264" extrusionOk="0">
                  <a:moveTo>
                    <a:pt x="74371" y="0"/>
                  </a:moveTo>
                  <a:lnTo>
                    <a:pt x="10206" y="13066"/>
                  </a:lnTo>
                  <a:lnTo>
                    <a:pt x="6463" y="14655"/>
                  </a:lnTo>
                  <a:lnTo>
                    <a:pt x="3356" y="15997"/>
                  </a:lnTo>
                  <a:lnTo>
                    <a:pt x="1908" y="16633"/>
                  </a:lnTo>
                  <a:lnTo>
                    <a:pt x="742" y="17198"/>
                  </a:lnTo>
                  <a:lnTo>
                    <a:pt x="495" y="17339"/>
                  </a:lnTo>
                  <a:lnTo>
                    <a:pt x="319" y="17551"/>
                  </a:lnTo>
                  <a:lnTo>
                    <a:pt x="177" y="17798"/>
                  </a:lnTo>
                  <a:lnTo>
                    <a:pt x="71" y="18081"/>
                  </a:lnTo>
                  <a:lnTo>
                    <a:pt x="36" y="18434"/>
                  </a:lnTo>
                  <a:lnTo>
                    <a:pt x="1" y="18822"/>
                  </a:lnTo>
                  <a:lnTo>
                    <a:pt x="36" y="19211"/>
                  </a:lnTo>
                  <a:lnTo>
                    <a:pt x="71" y="19670"/>
                  </a:lnTo>
                  <a:lnTo>
                    <a:pt x="177" y="20129"/>
                  </a:lnTo>
                  <a:lnTo>
                    <a:pt x="283" y="20623"/>
                  </a:lnTo>
                  <a:lnTo>
                    <a:pt x="566" y="21683"/>
                  </a:lnTo>
                  <a:lnTo>
                    <a:pt x="954" y="22777"/>
                  </a:lnTo>
                  <a:lnTo>
                    <a:pt x="1413" y="23872"/>
                  </a:lnTo>
                  <a:lnTo>
                    <a:pt x="1943" y="25002"/>
                  </a:lnTo>
                  <a:lnTo>
                    <a:pt x="2473" y="26097"/>
                  </a:lnTo>
                  <a:lnTo>
                    <a:pt x="3038" y="27086"/>
                  </a:lnTo>
                  <a:lnTo>
                    <a:pt x="3603" y="28039"/>
                  </a:lnTo>
                  <a:lnTo>
                    <a:pt x="4168" y="28851"/>
                  </a:lnTo>
                  <a:lnTo>
                    <a:pt x="4662" y="29487"/>
                  </a:lnTo>
                  <a:lnTo>
                    <a:pt x="4909" y="29769"/>
                  </a:lnTo>
                  <a:lnTo>
                    <a:pt x="5121" y="29981"/>
                  </a:lnTo>
                  <a:lnTo>
                    <a:pt x="5333" y="30123"/>
                  </a:lnTo>
                  <a:lnTo>
                    <a:pt x="5545" y="30228"/>
                  </a:lnTo>
                  <a:lnTo>
                    <a:pt x="5651" y="30264"/>
                  </a:lnTo>
                  <a:lnTo>
                    <a:pt x="5898" y="30264"/>
                  </a:lnTo>
                  <a:lnTo>
                    <a:pt x="6604" y="30228"/>
                  </a:lnTo>
                  <a:lnTo>
                    <a:pt x="7699" y="30087"/>
                  </a:lnTo>
                  <a:lnTo>
                    <a:pt x="9076" y="29840"/>
                  </a:lnTo>
                  <a:lnTo>
                    <a:pt x="12643" y="29204"/>
                  </a:lnTo>
                  <a:lnTo>
                    <a:pt x="17234" y="28286"/>
                  </a:lnTo>
                  <a:lnTo>
                    <a:pt x="22566" y="27192"/>
                  </a:lnTo>
                  <a:lnTo>
                    <a:pt x="28463" y="25920"/>
                  </a:lnTo>
                  <a:lnTo>
                    <a:pt x="41247" y="23130"/>
                  </a:lnTo>
                  <a:lnTo>
                    <a:pt x="54030" y="20305"/>
                  </a:lnTo>
                  <a:lnTo>
                    <a:pt x="65260" y="17798"/>
                  </a:lnTo>
                  <a:lnTo>
                    <a:pt x="73382" y="15962"/>
                  </a:lnTo>
                  <a:lnTo>
                    <a:pt x="75819" y="15432"/>
                  </a:lnTo>
                  <a:lnTo>
                    <a:pt x="76878" y="15220"/>
                  </a:lnTo>
                  <a:lnTo>
                    <a:pt x="77090" y="15185"/>
                  </a:lnTo>
                  <a:lnTo>
                    <a:pt x="77302" y="15150"/>
                  </a:lnTo>
                  <a:lnTo>
                    <a:pt x="77443" y="15044"/>
                  </a:lnTo>
                  <a:lnTo>
                    <a:pt x="77549" y="14938"/>
                  </a:lnTo>
                  <a:lnTo>
                    <a:pt x="77620" y="14832"/>
                  </a:lnTo>
                  <a:lnTo>
                    <a:pt x="77690" y="14691"/>
                  </a:lnTo>
                  <a:lnTo>
                    <a:pt x="77690" y="14549"/>
                  </a:lnTo>
                  <a:lnTo>
                    <a:pt x="77690" y="14408"/>
                  </a:lnTo>
                  <a:lnTo>
                    <a:pt x="77584" y="14020"/>
                  </a:lnTo>
                  <a:lnTo>
                    <a:pt x="77408" y="13631"/>
                  </a:lnTo>
                  <a:lnTo>
                    <a:pt x="77160" y="13172"/>
                  </a:lnTo>
                  <a:lnTo>
                    <a:pt x="76843" y="12678"/>
                  </a:lnTo>
                  <a:lnTo>
                    <a:pt x="76136" y="11654"/>
                  </a:lnTo>
                  <a:lnTo>
                    <a:pt x="75430" y="10559"/>
                  </a:lnTo>
                  <a:lnTo>
                    <a:pt x="75112" y="10029"/>
                  </a:lnTo>
                  <a:lnTo>
                    <a:pt x="74830" y="9535"/>
                  </a:lnTo>
                  <a:lnTo>
                    <a:pt x="74618" y="9040"/>
                  </a:lnTo>
                  <a:lnTo>
                    <a:pt x="74477" y="8581"/>
                  </a:lnTo>
                  <a:lnTo>
                    <a:pt x="74371" y="8052"/>
                  </a:lnTo>
                  <a:lnTo>
                    <a:pt x="74300" y="7522"/>
                  </a:lnTo>
                  <a:lnTo>
                    <a:pt x="74229" y="6392"/>
                  </a:lnTo>
                  <a:lnTo>
                    <a:pt x="74194" y="5262"/>
                  </a:lnTo>
                  <a:lnTo>
                    <a:pt x="74194" y="4097"/>
                  </a:lnTo>
                  <a:lnTo>
                    <a:pt x="74300" y="1872"/>
                  </a:lnTo>
                  <a:lnTo>
                    <a:pt x="74371"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76" name="Google Shape;782;g2e0683f995c_0_0">
              <a:extLst>
                <a:ext uri="{FF2B5EF4-FFF2-40B4-BE49-F238E27FC236}">
                  <a16:creationId xmlns:a16="http://schemas.microsoft.com/office/drawing/2014/main" id="{8C448BD0-933A-B76D-7809-04529DDDC4B5}"/>
                </a:ext>
              </a:extLst>
            </p:cNvPr>
            <p:cNvSpPr/>
            <p:nvPr/>
          </p:nvSpPr>
          <p:spPr>
            <a:xfrm>
              <a:off x="1991308" y="2307390"/>
              <a:ext cx="761566" cy="296663"/>
            </a:xfrm>
            <a:custGeom>
              <a:avLst/>
              <a:gdLst/>
              <a:ahLst/>
              <a:cxnLst/>
              <a:rect l="l" t="t" r="r" b="b"/>
              <a:pathLst>
                <a:path w="77691" h="30264" fill="none" extrusionOk="0">
                  <a:moveTo>
                    <a:pt x="74371" y="0"/>
                  </a:moveTo>
                  <a:lnTo>
                    <a:pt x="74371" y="0"/>
                  </a:lnTo>
                  <a:lnTo>
                    <a:pt x="74300" y="1872"/>
                  </a:lnTo>
                  <a:lnTo>
                    <a:pt x="74194" y="4097"/>
                  </a:lnTo>
                  <a:lnTo>
                    <a:pt x="74194" y="5262"/>
                  </a:lnTo>
                  <a:lnTo>
                    <a:pt x="74229" y="6392"/>
                  </a:lnTo>
                  <a:lnTo>
                    <a:pt x="74300" y="7522"/>
                  </a:lnTo>
                  <a:lnTo>
                    <a:pt x="74371" y="8052"/>
                  </a:lnTo>
                  <a:lnTo>
                    <a:pt x="74477" y="8581"/>
                  </a:lnTo>
                  <a:lnTo>
                    <a:pt x="74477" y="8581"/>
                  </a:lnTo>
                  <a:lnTo>
                    <a:pt x="74618" y="9040"/>
                  </a:lnTo>
                  <a:lnTo>
                    <a:pt x="74830" y="9535"/>
                  </a:lnTo>
                  <a:lnTo>
                    <a:pt x="75112" y="10029"/>
                  </a:lnTo>
                  <a:lnTo>
                    <a:pt x="75430" y="10559"/>
                  </a:lnTo>
                  <a:lnTo>
                    <a:pt x="76136" y="11654"/>
                  </a:lnTo>
                  <a:lnTo>
                    <a:pt x="76843" y="12678"/>
                  </a:lnTo>
                  <a:lnTo>
                    <a:pt x="77160" y="13172"/>
                  </a:lnTo>
                  <a:lnTo>
                    <a:pt x="77408" y="13631"/>
                  </a:lnTo>
                  <a:lnTo>
                    <a:pt x="77584" y="14020"/>
                  </a:lnTo>
                  <a:lnTo>
                    <a:pt x="77690" y="14408"/>
                  </a:lnTo>
                  <a:lnTo>
                    <a:pt x="77690" y="14549"/>
                  </a:lnTo>
                  <a:lnTo>
                    <a:pt x="77690" y="14691"/>
                  </a:lnTo>
                  <a:lnTo>
                    <a:pt x="77620" y="14832"/>
                  </a:lnTo>
                  <a:lnTo>
                    <a:pt x="77549" y="14938"/>
                  </a:lnTo>
                  <a:lnTo>
                    <a:pt x="77443" y="15044"/>
                  </a:lnTo>
                  <a:lnTo>
                    <a:pt x="77302" y="15150"/>
                  </a:lnTo>
                  <a:lnTo>
                    <a:pt x="77090" y="15185"/>
                  </a:lnTo>
                  <a:lnTo>
                    <a:pt x="76878" y="15220"/>
                  </a:lnTo>
                  <a:lnTo>
                    <a:pt x="76878" y="15220"/>
                  </a:lnTo>
                  <a:lnTo>
                    <a:pt x="75819" y="15432"/>
                  </a:lnTo>
                  <a:lnTo>
                    <a:pt x="73382" y="15962"/>
                  </a:lnTo>
                  <a:lnTo>
                    <a:pt x="65260" y="17798"/>
                  </a:lnTo>
                  <a:lnTo>
                    <a:pt x="54030" y="20305"/>
                  </a:lnTo>
                  <a:lnTo>
                    <a:pt x="41247" y="23130"/>
                  </a:lnTo>
                  <a:lnTo>
                    <a:pt x="28463" y="25920"/>
                  </a:lnTo>
                  <a:lnTo>
                    <a:pt x="22566" y="27192"/>
                  </a:lnTo>
                  <a:lnTo>
                    <a:pt x="17234" y="28286"/>
                  </a:lnTo>
                  <a:lnTo>
                    <a:pt x="12643" y="29204"/>
                  </a:lnTo>
                  <a:lnTo>
                    <a:pt x="9076" y="29840"/>
                  </a:lnTo>
                  <a:lnTo>
                    <a:pt x="7699" y="30087"/>
                  </a:lnTo>
                  <a:lnTo>
                    <a:pt x="6604" y="30228"/>
                  </a:lnTo>
                  <a:lnTo>
                    <a:pt x="5898" y="30264"/>
                  </a:lnTo>
                  <a:lnTo>
                    <a:pt x="5651" y="30264"/>
                  </a:lnTo>
                  <a:lnTo>
                    <a:pt x="5545" y="30228"/>
                  </a:lnTo>
                  <a:lnTo>
                    <a:pt x="5545" y="30228"/>
                  </a:lnTo>
                  <a:lnTo>
                    <a:pt x="5333" y="30123"/>
                  </a:lnTo>
                  <a:lnTo>
                    <a:pt x="5121" y="29981"/>
                  </a:lnTo>
                  <a:lnTo>
                    <a:pt x="4909" y="29769"/>
                  </a:lnTo>
                  <a:lnTo>
                    <a:pt x="4662" y="29487"/>
                  </a:lnTo>
                  <a:lnTo>
                    <a:pt x="4168" y="28851"/>
                  </a:lnTo>
                  <a:lnTo>
                    <a:pt x="3603" y="28039"/>
                  </a:lnTo>
                  <a:lnTo>
                    <a:pt x="3038" y="27086"/>
                  </a:lnTo>
                  <a:lnTo>
                    <a:pt x="2473" y="26097"/>
                  </a:lnTo>
                  <a:lnTo>
                    <a:pt x="1943" y="25002"/>
                  </a:lnTo>
                  <a:lnTo>
                    <a:pt x="1413" y="23872"/>
                  </a:lnTo>
                  <a:lnTo>
                    <a:pt x="954" y="22777"/>
                  </a:lnTo>
                  <a:lnTo>
                    <a:pt x="566" y="21683"/>
                  </a:lnTo>
                  <a:lnTo>
                    <a:pt x="283" y="20623"/>
                  </a:lnTo>
                  <a:lnTo>
                    <a:pt x="177" y="20129"/>
                  </a:lnTo>
                  <a:lnTo>
                    <a:pt x="71" y="19670"/>
                  </a:lnTo>
                  <a:lnTo>
                    <a:pt x="36" y="19211"/>
                  </a:lnTo>
                  <a:lnTo>
                    <a:pt x="1" y="18822"/>
                  </a:lnTo>
                  <a:lnTo>
                    <a:pt x="36" y="18434"/>
                  </a:lnTo>
                  <a:lnTo>
                    <a:pt x="71" y="18081"/>
                  </a:lnTo>
                  <a:lnTo>
                    <a:pt x="177" y="17798"/>
                  </a:lnTo>
                  <a:lnTo>
                    <a:pt x="319" y="17551"/>
                  </a:lnTo>
                  <a:lnTo>
                    <a:pt x="495" y="17339"/>
                  </a:lnTo>
                  <a:lnTo>
                    <a:pt x="742" y="17198"/>
                  </a:lnTo>
                  <a:lnTo>
                    <a:pt x="742" y="17198"/>
                  </a:lnTo>
                  <a:lnTo>
                    <a:pt x="1908" y="16633"/>
                  </a:lnTo>
                  <a:lnTo>
                    <a:pt x="3356" y="15997"/>
                  </a:lnTo>
                  <a:lnTo>
                    <a:pt x="6463" y="14655"/>
                  </a:lnTo>
                  <a:lnTo>
                    <a:pt x="10206" y="13066"/>
                  </a:lnTo>
                  <a:lnTo>
                    <a:pt x="74371"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77" name="Google Shape;783;g2e0683f995c_0_0">
              <a:extLst>
                <a:ext uri="{FF2B5EF4-FFF2-40B4-BE49-F238E27FC236}">
                  <a16:creationId xmlns:a16="http://schemas.microsoft.com/office/drawing/2014/main" id="{3355889D-CD3C-EA48-547C-5DF188AE2102}"/>
                </a:ext>
              </a:extLst>
            </p:cNvPr>
            <p:cNvSpPr/>
            <p:nvPr/>
          </p:nvSpPr>
          <p:spPr>
            <a:xfrm>
              <a:off x="1321836" y="2064386"/>
              <a:ext cx="1449731" cy="555596"/>
            </a:xfrm>
            <a:custGeom>
              <a:avLst/>
              <a:gdLst/>
              <a:ahLst/>
              <a:cxnLst/>
              <a:rect l="l" t="t" r="r" b="b"/>
              <a:pathLst>
                <a:path w="147894" h="56679" extrusionOk="0">
                  <a:moveTo>
                    <a:pt x="72640" y="0"/>
                  </a:moveTo>
                  <a:lnTo>
                    <a:pt x="71793" y="35"/>
                  </a:lnTo>
                  <a:lnTo>
                    <a:pt x="70769" y="71"/>
                  </a:lnTo>
                  <a:lnTo>
                    <a:pt x="69603" y="177"/>
                  </a:lnTo>
                  <a:lnTo>
                    <a:pt x="68297" y="283"/>
                  </a:lnTo>
                  <a:lnTo>
                    <a:pt x="65260" y="636"/>
                  </a:lnTo>
                  <a:lnTo>
                    <a:pt x="61729" y="1130"/>
                  </a:lnTo>
                  <a:lnTo>
                    <a:pt x="57844" y="1695"/>
                  </a:lnTo>
                  <a:lnTo>
                    <a:pt x="53607" y="2366"/>
                  </a:lnTo>
                  <a:lnTo>
                    <a:pt x="49157" y="3108"/>
                  </a:lnTo>
                  <a:lnTo>
                    <a:pt x="44496" y="3920"/>
                  </a:lnTo>
                  <a:lnTo>
                    <a:pt x="39799" y="4732"/>
                  </a:lnTo>
                  <a:lnTo>
                    <a:pt x="30370" y="6462"/>
                  </a:lnTo>
                  <a:lnTo>
                    <a:pt x="21542" y="8087"/>
                  </a:lnTo>
                  <a:lnTo>
                    <a:pt x="13879" y="9535"/>
                  </a:lnTo>
                  <a:lnTo>
                    <a:pt x="7346" y="10771"/>
                  </a:lnTo>
                  <a:lnTo>
                    <a:pt x="5227" y="11124"/>
                  </a:lnTo>
                  <a:lnTo>
                    <a:pt x="4062" y="11336"/>
                  </a:lnTo>
                  <a:lnTo>
                    <a:pt x="3709" y="11406"/>
                  </a:lnTo>
                  <a:lnTo>
                    <a:pt x="3356" y="11512"/>
                  </a:lnTo>
                  <a:lnTo>
                    <a:pt x="3038" y="11654"/>
                  </a:lnTo>
                  <a:lnTo>
                    <a:pt x="2720" y="11865"/>
                  </a:lnTo>
                  <a:lnTo>
                    <a:pt x="2438" y="12077"/>
                  </a:lnTo>
                  <a:lnTo>
                    <a:pt x="2155" y="12325"/>
                  </a:lnTo>
                  <a:lnTo>
                    <a:pt x="1908" y="12607"/>
                  </a:lnTo>
                  <a:lnTo>
                    <a:pt x="1661" y="12925"/>
                  </a:lnTo>
                  <a:lnTo>
                    <a:pt x="1449" y="13243"/>
                  </a:lnTo>
                  <a:lnTo>
                    <a:pt x="1237" y="13631"/>
                  </a:lnTo>
                  <a:lnTo>
                    <a:pt x="1060" y="13984"/>
                  </a:lnTo>
                  <a:lnTo>
                    <a:pt x="884" y="14408"/>
                  </a:lnTo>
                  <a:lnTo>
                    <a:pt x="566" y="15256"/>
                  </a:lnTo>
                  <a:lnTo>
                    <a:pt x="354" y="16138"/>
                  </a:lnTo>
                  <a:lnTo>
                    <a:pt x="178" y="17092"/>
                  </a:lnTo>
                  <a:lnTo>
                    <a:pt x="72" y="18081"/>
                  </a:lnTo>
                  <a:lnTo>
                    <a:pt x="1" y="19034"/>
                  </a:lnTo>
                  <a:lnTo>
                    <a:pt x="1" y="19988"/>
                  </a:lnTo>
                  <a:lnTo>
                    <a:pt x="36" y="20941"/>
                  </a:lnTo>
                  <a:lnTo>
                    <a:pt x="107" y="21824"/>
                  </a:lnTo>
                  <a:lnTo>
                    <a:pt x="248" y="22671"/>
                  </a:lnTo>
                  <a:lnTo>
                    <a:pt x="460" y="23413"/>
                  </a:lnTo>
                  <a:lnTo>
                    <a:pt x="531" y="23625"/>
                  </a:lnTo>
                  <a:lnTo>
                    <a:pt x="707" y="23837"/>
                  </a:lnTo>
                  <a:lnTo>
                    <a:pt x="990" y="24084"/>
                  </a:lnTo>
                  <a:lnTo>
                    <a:pt x="1343" y="24331"/>
                  </a:lnTo>
                  <a:lnTo>
                    <a:pt x="2261" y="24967"/>
                  </a:lnTo>
                  <a:lnTo>
                    <a:pt x="3497" y="25708"/>
                  </a:lnTo>
                  <a:lnTo>
                    <a:pt x="5015" y="26556"/>
                  </a:lnTo>
                  <a:lnTo>
                    <a:pt x="6781" y="27474"/>
                  </a:lnTo>
                  <a:lnTo>
                    <a:pt x="8759" y="28498"/>
                  </a:lnTo>
                  <a:lnTo>
                    <a:pt x="10983" y="29557"/>
                  </a:lnTo>
                  <a:lnTo>
                    <a:pt x="13385" y="30723"/>
                  </a:lnTo>
                  <a:lnTo>
                    <a:pt x="15963" y="31923"/>
                  </a:lnTo>
                  <a:lnTo>
                    <a:pt x="21542" y="34466"/>
                  </a:lnTo>
                  <a:lnTo>
                    <a:pt x="27581" y="37115"/>
                  </a:lnTo>
                  <a:lnTo>
                    <a:pt x="33831" y="39869"/>
                  </a:lnTo>
                  <a:lnTo>
                    <a:pt x="40187" y="42588"/>
                  </a:lnTo>
                  <a:lnTo>
                    <a:pt x="46473" y="45272"/>
                  </a:lnTo>
                  <a:lnTo>
                    <a:pt x="58127" y="50181"/>
                  </a:lnTo>
                  <a:lnTo>
                    <a:pt x="67379" y="53994"/>
                  </a:lnTo>
                  <a:lnTo>
                    <a:pt x="72958" y="56290"/>
                  </a:lnTo>
                  <a:lnTo>
                    <a:pt x="73947" y="56678"/>
                  </a:lnTo>
                  <a:lnTo>
                    <a:pt x="84612" y="54559"/>
                  </a:lnTo>
                  <a:lnTo>
                    <a:pt x="108413" y="49757"/>
                  </a:lnTo>
                  <a:lnTo>
                    <a:pt x="121373" y="47108"/>
                  </a:lnTo>
                  <a:lnTo>
                    <a:pt x="132991" y="44742"/>
                  </a:lnTo>
                  <a:lnTo>
                    <a:pt x="141749" y="42906"/>
                  </a:lnTo>
                  <a:lnTo>
                    <a:pt x="144538" y="42306"/>
                  </a:lnTo>
                  <a:lnTo>
                    <a:pt x="146057" y="41953"/>
                  </a:lnTo>
                  <a:lnTo>
                    <a:pt x="146763" y="41741"/>
                  </a:lnTo>
                  <a:lnTo>
                    <a:pt x="147257" y="41529"/>
                  </a:lnTo>
                  <a:lnTo>
                    <a:pt x="147611" y="41352"/>
                  </a:lnTo>
                  <a:lnTo>
                    <a:pt x="147716" y="41246"/>
                  </a:lnTo>
                  <a:lnTo>
                    <a:pt x="147822" y="41140"/>
                  </a:lnTo>
                  <a:lnTo>
                    <a:pt x="147858" y="41070"/>
                  </a:lnTo>
                  <a:lnTo>
                    <a:pt x="147893" y="40964"/>
                  </a:lnTo>
                  <a:lnTo>
                    <a:pt x="147893" y="40893"/>
                  </a:lnTo>
                  <a:lnTo>
                    <a:pt x="147858" y="40822"/>
                  </a:lnTo>
                  <a:lnTo>
                    <a:pt x="147752" y="40646"/>
                  </a:lnTo>
                  <a:lnTo>
                    <a:pt x="147575" y="40505"/>
                  </a:lnTo>
                  <a:lnTo>
                    <a:pt x="147328" y="40363"/>
                  </a:lnTo>
                  <a:lnTo>
                    <a:pt x="147081" y="40257"/>
                  </a:lnTo>
                  <a:lnTo>
                    <a:pt x="146516" y="40046"/>
                  </a:lnTo>
                  <a:lnTo>
                    <a:pt x="145916" y="39904"/>
                  </a:lnTo>
                  <a:lnTo>
                    <a:pt x="136275" y="42023"/>
                  </a:lnTo>
                  <a:lnTo>
                    <a:pt x="126246" y="44248"/>
                  </a:lnTo>
                  <a:lnTo>
                    <a:pt x="114451" y="46755"/>
                  </a:lnTo>
                  <a:lnTo>
                    <a:pt x="108342" y="48062"/>
                  </a:lnTo>
                  <a:lnTo>
                    <a:pt x="102304" y="49298"/>
                  </a:lnTo>
                  <a:lnTo>
                    <a:pt x="96477" y="50463"/>
                  </a:lnTo>
                  <a:lnTo>
                    <a:pt x="91039" y="51522"/>
                  </a:lnTo>
                  <a:lnTo>
                    <a:pt x="86201" y="52441"/>
                  </a:lnTo>
                  <a:lnTo>
                    <a:pt x="82069" y="53147"/>
                  </a:lnTo>
                  <a:lnTo>
                    <a:pt x="80339" y="53429"/>
                  </a:lnTo>
                  <a:lnTo>
                    <a:pt x="78856" y="53641"/>
                  </a:lnTo>
                  <a:lnTo>
                    <a:pt x="77620" y="53747"/>
                  </a:lnTo>
                  <a:lnTo>
                    <a:pt x="76666" y="53818"/>
                  </a:lnTo>
                  <a:lnTo>
                    <a:pt x="75960" y="53818"/>
                  </a:lnTo>
                  <a:lnTo>
                    <a:pt x="75324" y="53747"/>
                  </a:lnTo>
                  <a:lnTo>
                    <a:pt x="74724" y="53641"/>
                  </a:lnTo>
                  <a:lnTo>
                    <a:pt x="74194" y="53500"/>
                  </a:lnTo>
                  <a:lnTo>
                    <a:pt x="73700" y="53288"/>
                  </a:lnTo>
                  <a:lnTo>
                    <a:pt x="73276" y="53041"/>
                  </a:lnTo>
                  <a:lnTo>
                    <a:pt x="72888" y="52758"/>
                  </a:lnTo>
                  <a:lnTo>
                    <a:pt x="72534" y="52441"/>
                  </a:lnTo>
                  <a:lnTo>
                    <a:pt x="72287" y="52123"/>
                  </a:lnTo>
                  <a:lnTo>
                    <a:pt x="72040" y="51805"/>
                  </a:lnTo>
                  <a:lnTo>
                    <a:pt x="71864" y="51487"/>
                  </a:lnTo>
                  <a:lnTo>
                    <a:pt x="71687" y="51134"/>
                  </a:lnTo>
                  <a:lnTo>
                    <a:pt x="71546" y="50746"/>
                  </a:lnTo>
                  <a:lnTo>
                    <a:pt x="71404" y="50357"/>
                  </a:lnTo>
                  <a:lnTo>
                    <a:pt x="71334" y="49969"/>
                  </a:lnTo>
                  <a:lnTo>
                    <a:pt x="71228" y="49545"/>
                  </a:lnTo>
                  <a:lnTo>
                    <a:pt x="71193" y="49121"/>
                  </a:lnTo>
                  <a:lnTo>
                    <a:pt x="71157" y="48697"/>
                  </a:lnTo>
                  <a:lnTo>
                    <a:pt x="71157" y="47850"/>
                  </a:lnTo>
                  <a:lnTo>
                    <a:pt x="71228" y="46967"/>
                  </a:lnTo>
                  <a:lnTo>
                    <a:pt x="71334" y="46084"/>
                  </a:lnTo>
                  <a:lnTo>
                    <a:pt x="71510" y="45237"/>
                  </a:lnTo>
                  <a:lnTo>
                    <a:pt x="71722" y="44389"/>
                  </a:lnTo>
                  <a:lnTo>
                    <a:pt x="72005" y="43612"/>
                  </a:lnTo>
                  <a:lnTo>
                    <a:pt x="72287" y="42906"/>
                  </a:lnTo>
                  <a:lnTo>
                    <a:pt x="72570" y="42270"/>
                  </a:lnTo>
                  <a:lnTo>
                    <a:pt x="72888" y="41705"/>
                  </a:lnTo>
                  <a:lnTo>
                    <a:pt x="73205" y="41246"/>
                  </a:lnTo>
                  <a:lnTo>
                    <a:pt x="73488" y="40928"/>
                  </a:lnTo>
                  <a:lnTo>
                    <a:pt x="73664" y="40787"/>
                  </a:lnTo>
                  <a:lnTo>
                    <a:pt x="73947" y="40646"/>
                  </a:lnTo>
                  <a:lnTo>
                    <a:pt x="74653" y="40363"/>
                  </a:lnTo>
                  <a:lnTo>
                    <a:pt x="75642" y="40046"/>
                  </a:lnTo>
                  <a:lnTo>
                    <a:pt x="76913" y="39692"/>
                  </a:lnTo>
                  <a:lnTo>
                    <a:pt x="78396" y="39339"/>
                  </a:lnTo>
                  <a:lnTo>
                    <a:pt x="80127" y="38916"/>
                  </a:lnTo>
                  <a:lnTo>
                    <a:pt x="84117" y="38068"/>
                  </a:lnTo>
                  <a:lnTo>
                    <a:pt x="88814" y="37150"/>
                  </a:lnTo>
                  <a:lnTo>
                    <a:pt x="94040" y="36161"/>
                  </a:lnTo>
                  <a:lnTo>
                    <a:pt x="105446" y="34007"/>
                  </a:lnTo>
                  <a:lnTo>
                    <a:pt x="111379" y="32877"/>
                  </a:lnTo>
                  <a:lnTo>
                    <a:pt x="117276" y="31712"/>
                  </a:lnTo>
                  <a:lnTo>
                    <a:pt x="122962" y="30546"/>
                  </a:lnTo>
                  <a:lnTo>
                    <a:pt x="125716" y="29946"/>
                  </a:lnTo>
                  <a:lnTo>
                    <a:pt x="128329" y="29346"/>
                  </a:lnTo>
                  <a:lnTo>
                    <a:pt x="130872" y="28781"/>
                  </a:lnTo>
                  <a:lnTo>
                    <a:pt x="133238" y="28180"/>
                  </a:lnTo>
                  <a:lnTo>
                    <a:pt x="135463" y="27615"/>
                  </a:lnTo>
                  <a:lnTo>
                    <a:pt x="137511" y="27015"/>
                  </a:lnTo>
                  <a:lnTo>
                    <a:pt x="139383" y="26450"/>
                  </a:lnTo>
                  <a:lnTo>
                    <a:pt x="141042" y="25885"/>
                  </a:lnTo>
                  <a:lnTo>
                    <a:pt x="142455" y="25320"/>
                  </a:lnTo>
                  <a:lnTo>
                    <a:pt x="143090" y="25037"/>
                  </a:lnTo>
                  <a:lnTo>
                    <a:pt x="143655" y="24755"/>
                  </a:lnTo>
                  <a:lnTo>
                    <a:pt x="143691" y="24720"/>
                  </a:lnTo>
                  <a:lnTo>
                    <a:pt x="143726" y="24684"/>
                  </a:lnTo>
                  <a:lnTo>
                    <a:pt x="143691" y="24578"/>
                  </a:lnTo>
                  <a:lnTo>
                    <a:pt x="143550" y="24472"/>
                  </a:lnTo>
                  <a:lnTo>
                    <a:pt x="143338" y="24296"/>
                  </a:lnTo>
                  <a:lnTo>
                    <a:pt x="142596" y="23907"/>
                  </a:lnTo>
                  <a:lnTo>
                    <a:pt x="141572" y="23413"/>
                  </a:lnTo>
                  <a:lnTo>
                    <a:pt x="140195" y="22813"/>
                  </a:lnTo>
                  <a:lnTo>
                    <a:pt x="138570" y="22142"/>
                  </a:lnTo>
                  <a:lnTo>
                    <a:pt x="136663" y="21400"/>
                  </a:lnTo>
                  <a:lnTo>
                    <a:pt x="134509" y="20588"/>
                  </a:lnTo>
                  <a:lnTo>
                    <a:pt x="129601" y="18787"/>
                  </a:lnTo>
                  <a:lnTo>
                    <a:pt x="124021" y="16809"/>
                  </a:lnTo>
                  <a:lnTo>
                    <a:pt x="117983" y="14691"/>
                  </a:lnTo>
                  <a:lnTo>
                    <a:pt x="111662" y="12536"/>
                  </a:lnTo>
                  <a:lnTo>
                    <a:pt x="105235" y="10347"/>
                  </a:lnTo>
                  <a:lnTo>
                    <a:pt x="98914" y="8228"/>
                  </a:lnTo>
                  <a:lnTo>
                    <a:pt x="87331" y="4414"/>
                  </a:lnTo>
                  <a:lnTo>
                    <a:pt x="78467" y="1554"/>
                  </a:lnTo>
                  <a:lnTo>
                    <a:pt x="75501" y="636"/>
                  </a:lnTo>
                  <a:lnTo>
                    <a:pt x="73806" y="141"/>
                  </a:lnTo>
                  <a:lnTo>
                    <a:pt x="73311" y="35"/>
                  </a:lnTo>
                  <a:lnTo>
                    <a:pt x="72640" y="0"/>
                  </a:lnTo>
                  <a:close/>
                </a:path>
              </a:pathLst>
            </a:custGeom>
            <a:solidFill>
              <a:srgbClr val="DC536A"/>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78" name="Google Shape;784;g2e0683f995c_0_0">
              <a:extLst>
                <a:ext uri="{FF2B5EF4-FFF2-40B4-BE49-F238E27FC236}">
                  <a16:creationId xmlns:a16="http://schemas.microsoft.com/office/drawing/2014/main" id="{14566D72-C961-D0B7-9B67-3D11A0E4CED9}"/>
                </a:ext>
              </a:extLst>
            </p:cNvPr>
            <p:cNvSpPr/>
            <p:nvPr/>
          </p:nvSpPr>
          <p:spPr>
            <a:xfrm>
              <a:off x="1321836" y="2064386"/>
              <a:ext cx="1449731" cy="555596"/>
            </a:xfrm>
            <a:custGeom>
              <a:avLst/>
              <a:gdLst/>
              <a:ahLst/>
              <a:cxnLst/>
              <a:rect l="l" t="t" r="r" b="b"/>
              <a:pathLst>
                <a:path w="147894" h="56679" fill="none" extrusionOk="0">
                  <a:moveTo>
                    <a:pt x="146057" y="41953"/>
                  </a:moveTo>
                  <a:lnTo>
                    <a:pt x="146057" y="41953"/>
                  </a:lnTo>
                  <a:lnTo>
                    <a:pt x="144538" y="42306"/>
                  </a:lnTo>
                  <a:lnTo>
                    <a:pt x="141749" y="42906"/>
                  </a:lnTo>
                  <a:lnTo>
                    <a:pt x="132991" y="44742"/>
                  </a:lnTo>
                  <a:lnTo>
                    <a:pt x="121373" y="47108"/>
                  </a:lnTo>
                  <a:lnTo>
                    <a:pt x="108413" y="49757"/>
                  </a:lnTo>
                  <a:lnTo>
                    <a:pt x="84612" y="54559"/>
                  </a:lnTo>
                  <a:lnTo>
                    <a:pt x="73947" y="56678"/>
                  </a:lnTo>
                  <a:lnTo>
                    <a:pt x="73947" y="56678"/>
                  </a:lnTo>
                  <a:lnTo>
                    <a:pt x="72958" y="56290"/>
                  </a:lnTo>
                  <a:lnTo>
                    <a:pt x="72958" y="56290"/>
                  </a:lnTo>
                  <a:lnTo>
                    <a:pt x="67379" y="53994"/>
                  </a:lnTo>
                  <a:lnTo>
                    <a:pt x="58127" y="50181"/>
                  </a:lnTo>
                  <a:lnTo>
                    <a:pt x="46473" y="45272"/>
                  </a:lnTo>
                  <a:lnTo>
                    <a:pt x="40187" y="42588"/>
                  </a:lnTo>
                  <a:lnTo>
                    <a:pt x="33831" y="39869"/>
                  </a:lnTo>
                  <a:lnTo>
                    <a:pt x="27581" y="37115"/>
                  </a:lnTo>
                  <a:lnTo>
                    <a:pt x="21542" y="34466"/>
                  </a:lnTo>
                  <a:lnTo>
                    <a:pt x="15963" y="31923"/>
                  </a:lnTo>
                  <a:lnTo>
                    <a:pt x="13385" y="30723"/>
                  </a:lnTo>
                  <a:lnTo>
                    <a:pt x="10983" y="29557"/>
                  </a:lnTo>
                  <a:lnTo>
                    <a:pt x="8759" y="28498"/>
                  </a:lnTo>
                  <a:lnTo>
                    <a:pt x="6781" y="27474"/>
                  </a:lnTo>
                  <a:lnTo>
                    <a:pt x="5015" y="26556"/>
                  </a:lnTo>
                  <a:lnTo>
                    <a:pt x="3497" y="25708"/>
                  </a:lnTo>
                  <a:lnTo>
                    <a:pt x="2261" y="24967"/>
                  </a:lnTo>
                  <a:lnTo>
                    <a:pt x="1343" y="24331"/>
                  </a:lnTo>
                  <a:lnTo>
                    <a:pt x="990" y="24084"/>
                  </a:lnTo>
                  <a:lnTo>
                    <a:pt x="707" y="23837"/>
                  </a:lnTo>
                  <a:lnTo>
                    <a:pt x="531" y="23625"/>
                  </a:lnTo>
                  <a:lnTo>
                    <a:pt x="460" y="23413"/>
                  </a:lnTo>
                  <a:lnTo>
                    <a:pt x="460" y="23413"/>
                  </a:lnTo>
                  <a:lnTo>
                    <a:pt x="248" y="22671"/>
                  </a:lnTo>
                  <a:lnTo>
                    <a:pt x="107" y="21824"/>
                  </a:lnTo>
                  <a:lnTo>
                    <a:pt x="36" y="20941"/>
                  </a:lnTo>
                  <a:lnTo>
                    <a:pt x="1" y="19988"/>
                  </a:lnTo>
                  <a:lnTo>
                    <a:pt x="1" y="19034"/>
                  </a:lnTo>
                  <a:lnTo>
                    <a:pt x="72" y="18081"/>
                  </a:lnTo>
                  <a:lnTo>
                    <a:pt x="178" y="17092"/>
                  </a:lnTo>
                  <a:lnTo>
                    <a:pt x="354" y="16138"/>
                  </a:lnTo>
                  <a:lnTo>
                    <a:pt x="566" y="15256"/>
                  </a:lnTo>
                  <a:lnTo>
                    <a:pt x="884" y="14408"/>
                  </a:lnTo>
                  <a:lnTo>
                    <a:pt x="1060" y="13984"/>
                  </a:lnTo>
                  <a:lnTo>
                    <a:pt x="1237" y="13631"/>
                  </a:lnTo>
                  <a:lnTo>
                    <a:pt x="1449" y="13243"/>
                  </a:lnTo>
                  <a:lnTo>
                    <a:pt x="1661" y="12925"/>
                  </a:lnTo>
                  <a:lnTo>
                    <a:pt x="1908" y="12607"/>
                  </a:lnTo>
                  <a:lnTo>
                    <a:pt x="2155" y="12325"/>
                  </a:lnTo>
                  <a:lnTo>
                    <a:pt x="2438" y="12077"/>
                  </a:lnTo>
                  <a:lnTo>
                    <a:pt x="2720" y="11865"/>
                  </a:lnTo>
                  <a:lnTo>
                    <a:pt x="3038" y="11654"/>
                  </a:lnTo>
                  <a:lnTo>
                    <a:pt x="3356" y="11512"/>
                  </a:lnTo>
                  <a:lnTo>
                    <a:pt x="3709" y="11406"/>
                  </a:lnTo>
                  <a:lnTo>
                    <a:pt x="4062" y="11336"/>
                  </a:lnTo>
                  <a:lnTo>
                    <a:pt x="4062" y="11336"/>
                  </a:lnTo>
                  <a:lnTo>
                    <a:pt x="5227" y="11124"/>
                  </a:lnTo>
                  <a:lnTo>
                    <a:pt x="7346" y="10771"/>
                  </a:lnTo>
                  <a:lnTo>
                    <a:pt x="13879" y="9535"/>
                  </a:lnTo>
                  <a:lnTo>
                    <a:pt x="13879" y="9535"/>
                  </a:lnTo>
                  <a:lnTo>
                    <a:pt x="21542" y="8087"/>
                  </a:lnTo>
                  <a:lnTo>
                    <a:pt x="30370" y="6462"/>
                  </a:lnTo>
                  <a:lnTo>
                    <a:pt x="39799" y="4732"/>
                  </a:lnTo>
                  <a:lnTo>
                    <a:pt x="44496" y="3920"/>
                  </a:lnTo>
                  <a:lnTo>
                    <a:pt x="49157" y="3108"/>
                  </a:lnTo>
                  <a:lnTo>
                    <a:pt x="53607" y="2366"/>
                  </a:lnTo>
                  <a:lnTo>
                    <a:pt x="57844" y="1695"/>
                  </a:lnTo>
                  <a:lnTo>
                    <a:pt x="61729" y="1130"/>
                  </a:lnTo>
                  <a:lnTo>
                    <a:pt x="65260" y="636"/>
                  </a:lnTo>
                  <a:lnTo>
                    <a:pt x="68297" y="283"/>
                  </a:lnTo>
                  <a:lnTo>
                    <a:pt x="69603" y="177"/>
                  </a:lnTo>
                  <a:lnTo>
                    <a:pt x="70769" y="71"/>
                  </a:lnTo>
                  <a:lnTo>
                    <a:pt x="71793" y="35"/>
                  </a:lnTo>
                  <a:lnTo>
                    <a:pt x="72640" y="0"/>
                  </a:lnTo>
                  <a:lnTo>
                    <a:pt x="73311" y="35"/>
                  </a:lnTo>
                  <a:lnTo>
                    <a:pt x="73806" y="141"/>
                  </a:lnTo>
                  <a:lnTo>
                    <a:pt x="73806" y="141"/>
                  </a:lnTo>
                  <a:lnTo>
                    <a:pt x="75501" y="636"/>
                  </a:lnTo>
                  <a:lnTo>
                    <a:pt x="78467" y="1554"/>
                  </a:lnTo>
                  <a:lnTo>
                    <a:pt x="87331" y="4414"/>
                  </a:lnTo>
                  <a:lnTo>
                    <a:pt x="98914" y="8228"/>
                  </a:lnTo>
                  <a:lnTo>
                    <a:pt x="105235" y="10347"/>
                  </a:lnTo>
                  <a:lnTo>
                    <a:pt x="111662" y="12536"/>
                  </a:lnTo>
                  <a:lnTo>
                    <a:pt x="117983" y="14691"/>
                  </a:lnTo>
                  <a:lnTo>
                    <a:pt x="124021" y="16809"/>
                  </a:lnTo>
                  <a:lnTo>
                    <a:pt x="129601" y="18787"/>
                  </a:lnTo>
                  <a:lnTo>
                    <a:pt x="134509" y="20588"/>
                  </a:lnTo>
                  <a:lnTo>
                    <a:pt x="136663" y="21400"/>
                  </a:lnTo>
                  <a:lnTo>
                    <a:pt x="138570" y="22142"/>
                  </a:lnTo>
                  <a:lnTo>
                    <a:pt x="140195" y="22813"/>
                  </a:lnTo>
                  <a:lnTo>
                    <a:pt x="141572" y="23413"/>
                  </a:lnTo>
                  <a:lnTo>
                    <a:pt x="142596" y="23907"/>
                  </a:lnTo>
                  <a:lnTo>
                    <a:pt x="143338" y="24296"/>
                  </a:lnTo>
                  <a:lnTo>
                    <a:pt x="143550" y="24472"/>
                  </a:lnTo>
                  <a:lnTo>
                    <a:pt x="143691" y="24578"/>
                  </a:lnTo>
                  <a:lnTo>
                    <a:pt x="143726" y="24684"/>
                  </a:lnTo>
                  <a:lnTo>
                    <a:pt x="143691" y="24720"/>
                  </a:lnTo>
                  <a:lnTo>
                    <a:pt x="143655" y="24755"/>
                  </a:lnTo>
                  <a:lnTo>
                    <a:pt x="143655" y="24755"/>
                  </a:lnTo>
                  <a:lnTo>
                    <a:pt x="143090" y="25037"/>
                  </a:lnTo>
                  <a:lnTo>
                    <a:pt x="142455" y="25320"/>
                  </a:lnTo>
                  <a:lnTo>
                    <a:pt x="141042" y="25885"/>
                  </a:lnTo>
                  <a:lnTo>
                    <a:pt x="139383" y="26450"/>
                  </a:lnTo>
                  <a:lnTo>
                    <a:pt x="137511" y="27015"/>
                  </a:lnTo>
                  <a:lnTo>
                    <a:pt x="135463" y="27615"/>
                  </a:lnTo>
                  <a:lnTo>
                    <a:pt x="133238" y="28180"/>
                  </a:lnTo>
                  <a:lnTo>
                    <a:pt x="130872" y="28781"/>
                  </a:lnTo>
                  <a:lnTo>
                    <a:pt x="128329" y="29346"/>
                  </a:lnTo>
                  <a:lnTo>
                    <a:pt x="125716" y="29946"/>
                  </a:lnTo>
                  <a:lnTo>
                    <a:pt x="122962" y="30546"/>
                  </a:lnTo>
                  <a:lnTo>
                    <a:pt x="117276" y="31712"/>
                  </a:lnTo>
                  <a:lnTo>
                    <a:pt x="111379" y="32877"/>
                  </a:lnTo>
                  <a:lnTo>
                    <a:pt x="105446" y="34007"/>
                  </a:lnTo>
                  <a:lnTo>
                    <a:pt x="94040" y="36161"/>
                  </a:lnTo>
                  <a:lnTo>
                    <a:pt x="88814" y="37150"/>
                  </a:lnTo>
                  <a:lnTo>
                    <a:pt x="84117" y="38068"/>
                  </a:lnTo>
                  <a:lnTo>
                    <a:pt x="80127" y="38916"/>
                  </a:lnTo>
                  <a:lnTo>
                    <a:pt x="78396" y="39339"/>
                  </a:lnTo>
                  <a:lnTo>
                    <a:pt x="76913" y="39692"/>
                  </a:lnTo>
                  <a:lnTo>
                    <a:pt x="75642" y="40046"/>
                  </a:lnTo>
                  <a:lnTo>
                    <a:pt x="74653" y="40363"/>
                  </a:lnTo>
                  <a:lnTo>
                    <a:pt x="73947" y="40646"/>
                  </a:lnTo>
                  <a:lnTo>
                    <a:pt x="73664" y="40787"/>
                  </a:lnTo>
                  <a:lnTo>
                    <a:pt x="73488" y="40928"/>
                  </a:lnTo>
                  <a:lnTo>
                    <a:pt x="73488" y="40928"/>
                  </a:lnTo>
                  <a:lnTo>
                    <a:pt x="73205" y="41246"/>
                  </a:lnTo>
                  <a:lnTo>
                    <a:pt x="72888" y="41705"/>
                  </a:lnTo>
                  <a:lnTo>
                    <a:pt x="72570" y="42270"/>
                  </a:lnTo>
                  <a:lnTo>
                    <a:pt x="72287" y="42906"/>
                  </a:lnTo>
                  <a:lnTo>
                    <a:pt x="72005" y="43612"/>
                  </a:lnTo>
                  <a:lnTo>
                    <a:pt x="71722" y="44389"/>
                  </a:lnTo>
                  <a:lnTo>
                    <a:pt x="71510" y="45237"/>
                  </a:lnTo>
                  <a:lnTo>
                    <a:pt x="71334" y="46084"/>
                  </a:lnTo>
                  <a:lnTo>
                    <a:pt x="71228" y="46967"/>
                  </a:lnTo>
                  <a:lnTo>
                    <a:pt x="71157" y="47850"/>
                  </a:lnTo>
                  <a:lnTo>
                    <a:pt x="71157" y="48697"/>
                  </a:lnTo>
                  <a:lnTo>
                    <a:pt x="71193" y="49121"/>
                  </a:lnTo>
                  <a:lnTo>
                    <a:pt x="71228" y="49545"/>
                  </a:lnTo>
                  <a:lnTo>
                    <a:pt x="71334" y="49969"/>
                  </a:lnTo>
                  <a:lnTo>
                    <a:pt x="71404" y="50357"/>
                  </a:lnTo>
                  <a:lnTo>
                    <a:pt x="71546" y="50746"/>
                  </a:lnTo>
                  <a:lnTo>
                    <a:pt x="71687" y="51134"/>
                  </a:lnTo>
                  <a:lnTo>
                    <a:pt x="71864" y="51487"/>
                  </a:lnTo>
                  <a:lnTo>
                    <a:pt x="72040" y="51805"/>
                  </a:lnTo>
                  <a:lnTo>
                    <a:pt x="72287" y="52123"/>
                  </a:lnTo>
                  <a:lnTo>
                    <a:pt x="72534" y="52441"/>
                  </a:lnTo>
                  <a:lnTo>
                    <a:pt x="72534" y="52441"/>
                  </a:lnTo>
                  <a:lnTo>
                    <a:pt x="72888" y="52758"/>
                  </a:lnTo>
                  <a:lnTo>
                    <a:pt x="73276" y="53041"/>
                  </a:lnTo>
                  <a:lnTo>
                    <a:pt x="73700" y="53288"/>
                  </a:lnTo>
                  <a:lnTo>
                    <a:pt x="74194" y="53500"/>
                  </a:lnTo>
                  <a:lnTo>
                    <a:pt x="74724" y="53641"/>
                  </a:lnTo>
                  <a:lnTo>
                    <a:pt x="75324" y="53747"/>
                  </a:lnTo>
                  <a:lnTo>
                    <a:pt x="75960" y="53818"/>
                  </a:lnTo>
                  <a:lnTo>
                    <a:pt x="76666" y="53818"/>
                  </a:lnTo>
                  <a:lnTo>
                    <a:pt x="76666" y="53818"/>
                  </a:lnTo>
                  <a:lnTo>
                    <a:pt x="77620" y="53747"/>
                  </a:lnTo>
                  <a:lnTo>
                    <a:pt x="78856" y="53641"/>
                  </a:lnTo>
                  <a:lnTo>
                    <a:pt x="80339" y="53429"/>
                  </a:lnTo>
                  <a:lnTo>
                    <a:pt x="82069" y="53147"/>
                  </a:lnTo>
                  <a:lnTo>
                    <a:pt x="86201" y="52441"/>
                  </a:lnTo>
                  <a:lnTo>
                    <a:pt x="91039" y="51522"/>
                  </a:lnTo>
                  <a:lnTo>
                    <a:pt x="96477" y="50463"/>
                  </a:lnTo>
                  <a:lnTo>
                    <a:pt x="102304" y="49298"/>
                  </a:lnTo>
                  <a:lnTo>
                    <a:pt x="108342" y="48062"/>
                  </a:lnTo>
                  <a:lnTo>
                    <a:pt x="114451" y="46755"/>
                  </a:lnTo>
                  <a:lnTo>
                    <a:pt x="126246" y="44248"/>
                  </a:lnTo>
                  <a:lnTo>
                    <a:pt x="136275" y="42023"/>
                  </a:lnTo>
                  <a:lnTo>
                    <a:pt x="145916" y="39904"/>
                  </a:lnTo>
                  <a:lnTo>
                    <a:pt x="145916" y="39904"/>
                  </a:lnTo>
                  <a:lnTo>
                    <a:pt x="146516" y="40046"/>
                  </a:lnTo>
                  <a:lnTo>
                    <a:pt x="147081" y="40257"/>
                  </a:lnTo>
                  <a:lnTo>
                    <a:pt x="147328" y="40363"/>
                  </a:lnTo>
                  <a:lnTo>
                    <a:pt x="147575" y="40505"/>
                  </a:lnTo>
                  <a:lnTo>
                    <a:pt x="147752" y="40646"/>
                  </a:lnTo>
                  <a:lnTo>
                    <a:pt x="147858" y="40822"/>
                  </a:lnTo>
                  <a:lnTo>
                    <a:pt x="147893" y="40893"/>
                  </a:lnTo>
                  <a:lnTo>
                    <a:pt x="147893" y="40964"/>
                  </a:lnTo>
                  <a:lnTo>
                    <a:pt x="147858" y="41070"/>
                  </a:lnTo>
                  <a:lnTo>
                    <a:pt x="147822" y="41140"/>
                  </a:lnTo>
                  <a:lnTo>
                    <a:pt x="147716" y="41246"/>
                  </a:lnTo>
                  <a:lnTo>
                    <a:pt x="147611" y="41352"/>
                  </a:lnTo>
                  <a:lnTo>
                    <a:pt x="147257" y="41529"/>
                  </a:lnTo>
                  <a:lnTo>
                    <a:pt x="146763" y="41741"/>
                  </a:lnTo>
                  <a:lnTo>
                    <a:pt x="146057" y="41953"/>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79" name="Google Shape;785;g2e0683f995c_0_0">
              <a:extLst>
                <a:ext uri="{FF2B5EF4-FFF2-40B4-BE49-F238E27FC236}">
                  <a16:creationId xmlns:a16="http://schemas.microsoft.com/office/drawing/2014/main" id="{0453E921-F329-4D3B-1319-2DD1D254FCB7}"/>
                </a:ext>
              </a:extLst>
            </p:cNvPr>
            <p:cNvSpPr/>
            <p:nvPr/>
          </p:nvSpPr>
          <p:spPr>
            <a:xfrm>
              <a:off x="1321836" y="2169273"/>
              <a:ext cx="720366" cy="446896"/>
            </a:xfrm>
            <a:custGeom>
              <a:avLst/>
              <a:gdLst/>
              <a:ahLst/>
              <a:cxnLst/>
              <a:rect l="l" t="t" r="r" b="b"/>
              <a:pathLst>
                <a:path w="73488" h="45590" extrusionOk="0">
                  <a:moveTo>
                    <a:pt x="7558" y="0"/>
                  </a:moveTo>
                  <a:lnTo>
                    <a:pt x="5333" y="424"/>
                  </a:lnTo>
                  <a:lnTo>
                    <a:pt x="4062" y="636"/>
                  </a:lnTo>
                  <a:lnTo>
                    <a:pt x="3815" y="671"/>
                  </a:lnTo>
                  <a:lnTo>
                    <a:pt x="3532" y="742"/>
                  </a:lnTo>
                  <a:lnTo>
                    <a:pt x="3285" y="848"/>
                  </a:lnTo>
                  <a:lnTo>
                    <a:pt x="3073" y="954"/>
                  </a:lnTo>
                  <a:lnTo>
                    <a:pt x="2614" y="1236"/>
                  </a:lnTo>
                  <a:lnTo>
                    <a:pt x="2190" y="1589"/>
                  </a:lnTo>
                  <a:lnTo>
                    <a:pt x="1837" y="1978"/>
                  </a:lnTo>
                  <a:lnTo>
                    <a:pt x="1484" y="2472"/>
                  </a:lnTo>
                  <a:lnTo>
                    <a:pt x="1202" y="2966"/>
                  </a:lnTo>
                  <a:lnTo>
                    <a:pt x="919" y="3567"/>
                  </a:lnTo>
                  <a:lnTo>
                    <a:pt x="707" y="4167"/>
                  </a:lnTo>
                  <a:lnTo>
                    <a:pt x="495" y="4803"/>
                  </a:lnTo>
                  <a:lnTo>
                    <a:pt x="354" y="5474"/>
                  </a:lnTo>
                  <a:lnTo>
                    <a:pt x="213" y="6145"/>
                  </a:lnTo>
                  <a:lnTo>
                    <a:pt x="107" y="6851"/>
                  </a:lnTo>
                  <a:lnTo>
                    <a:pt x="36" y="7557"/>
                  </a:lnTo>
                  <a:lnTo>
                    <a:pt x="1" y="8263"/>
                  </a:lnTo>
                  <a:lnTo>
                    <a:pt x="1" y="8970"/>
                  </a:lnTo>
                  <a:lnTo>
                    <a:pt x="1" y="9994"/>
                  </a:lnTo>
                  <a:lnTo>
                    <a:pt x="107" y="10983"/>
                  </a:lnTo>
                  <a:lnTo>
                    <a:pt x="248" y="11901"/>
                  </a:lnTo>
                  <a:lnTo>
                    <a:pt x="460" y="12713"/>
                  </a:lnTo>
                  <a:lnTo>
                    <a:pt x="531" y="12925"/>
                  </a:lnTo>
                  <a:lnTo>
                    <a:pt x="707" y="13137"/>
                  </a:lnTo>
                  <a:lnTo>
                    <a:pt x="990" y="13384"/>
                  </a:lnTo>
                  <a:lnTo>
                    <a:pt x="1343" y="13631"/>
                  </a:lnTo>
                  <a:lnTo>
                    <a:pt x="2261" y="14267"/>
                  </a:lnTo>
                  <a:lnTo>
                    <a:pt x="3497" y="15008"/>
                  </a:lnTo>
                  <a:lnTo>
                    <a:pt x="5015" y="15856"/>
                  </a:lnTo>
                  <a:lnTo>
                    <a:pt x="6781" y="16774"/>
                  </a:lnTo>
                  <a:lnTo>
                    <a:pt x="8759" y="17798"/>
                  </a:lnTo>
                  <a:lnTo>
                    <a:pt x="10983" y="18857"/>
                  </a:lnTo>
                  <a:lnTo>
                    <a:pt x="13385" y="20023"/>
                  </a:lnTo>
                  <a:lnTo>
                    <a:pt x="15963" y="21223"/>
                  </a:lnTo>
                  <a:lnTo>
                    <a:pt x="21542" y="23766"/>
                  </a:lnTo>
                  <a:lnTo>
                    <a:pt x="27581" y="26415"/>
                  </a:lnTo>
                  <a:lnTo>
                    <a:pt x="33831" y="29169"/>
                  </a:lnTo>
                  <a:lnTo>
                    <a:pt x="40187" y="31888"/>
                  </a:lnTo>
                  <a:lnTo>
                    <a:pt x="46473" y="34572"/>
                  </a:lnTo>
                  <a:lnTo>
                    <a:pt x="58127" y="39481"/>
                  </a:lnTo>
                  <a:lnTo>
                    <a:pt x="67379" y="43294"/>
                  </a:lnTo>
                  <a:lnTo>
                    <a:pt x="72958" y="45590"/>
                  </a:lnTo>
                  <a:lnTo>
                    <a:pt x="72676" y="44530"/>
                  </a:lnTo>
                  <a:lnTo>
                    <a:pt x="72464" y="43577"/>
                  </a:lnTo>
                  <a:lnTo>
                    <a:pt x="72429" y="43188"/>
                  </a:lnTo>
                  <a:lnTo>
                    <a:pt x="72393" y="42835"/>
                  </a:lnTo>
                  <a:lnTo>
                    <a:pt x="72393" y="42517"/>
                  </a:lnTo>
                  <a:lnTo>
                    <a:pt x="72429" y="42270"/>
                  </a:lnTo>
                  <a:lnTo>
                    <a:pt x="72534" y="41741"/>
                  </a:lnTo>
                  <a:lnTo>
                    <a:pt x="72181" y="41317"/>
                  </a:lnTo>
                  <a:lnTo>
                    <a:pt x="71899" y="40858"/>
                  </a:lnTo>
                  <a:lnTo>
                    <a:pt x="71652" y="40363"/>
                  </a:lnTo>
                  <a:lnTo>
                    <a:pt x="71475" y="39834"/>
                  </a:lnTo>
                  <a:lnTo>
                    <a:pt x="71334" y="39269"/>
                  </a:lnTo>
                  <a:lnTo>
                    <a:pt x="71228" y="38704"/>
                  </a:lnTo>
                  <a:lnTo>
                    <a:pt x="71157" y="38103"/>
                  </a:lnTo>
                  <a:lnTo>
                    <a:pt x="71157" y="37503"/>
                  </a:lnTo>
                  <a:lnTo>
                    <a:pt x="71157" y="36938"/>
                  </a:lnTo>
                  <a:lnTo>
                    <a:pt x="71193" y="36373"/>
                  </a:lnTo>
                  <a:lnTo>
                    <a:pt x="71263" y="35773"/>
                  </a:lnTo>
                  <a:lnTo>
                    <a:pt x="71369" y="35208"/>
                  </a:lnTo>
                  <a:lnTo>
                    <a:pt x="71475" y="34678"/>
                  </a:lnTo>
                  <a:lnTo>
                    <a:pt x="71616" y="34113"/>
                  </a:lnTo>
                  <a:lnTo>
                    <a:pt x="71934" y="33089"/>
                  </a:lnTo>
                  <a:lnTo>
                    <a:pt x="72287" y="32135"/>
                  </a:lnTo>
                  <a:lnTo>
                    <a:pt x="72711" y="31323"/>
                  </a:lnTo>
                  <a:lnTo>
                    <a:pt x="72888" y="30970"/>
                  </a:lnTo>
                  <a:lnTo>
                    <a:pt x="73099" y="30687"/>
                  </a:lnTo>
                  <a:lnTo>
                    <a:pt x="73311" y="30440"/>
                  </a:lnTo>
                  <a:lnTo>
                    <a:pt x="73488" y="30228"/>
                  </a:lnTo>
                  <a:lnTo>
                    <a:pt x="68933" y="28781"/>
                  </a:lnTo>
                  <a:lnTo>
                    <a:pt x="61587" y="26415"/>
                  </a:lnTo>
                  <a:lnTo>
                    <a:pt x="57173" y="24967"/>
                  </a:lnTo>
                  <a:lnTo>
                    <a:pt x="52441" y="23378"/>
                  </a:lnTo>
                  <a:lnTo>
                    <a:pt x="47497" y="21683"/>
                  </a:lnTo>
                  <a:lnTo>
                    <a:pt x="42518" y="19917"/>
                  </a:lnTo>
                  <a:lnTo>
                    <a:pt x="37574" y="18116"/>
                  </a:lnTo>
                  <a:lnTo>
                    <a:pt x="32842" y="16280"/>
                  </a:lnTo>
                  <a:lnTo>
                    <a:pt x="30582" y="15397"/>
                  </a:lnTo>
                  <a:lnTo>
                    <a:pt x="28428" y="14514"/>
                  </a:lnTo>
                  <a:lnTo>
                    <a:pt x="26345" y="13631"/>
                  </a:lnTo>
                  <a:lnTo>
                    <a:pt x="24438" y="12784"/>
                  </a:lnTo>
                  <a:lnTo>
                    <a:pt x="22637" y="11936"/>
                  </a:lnTo>
                  <a:lnTo>
                    <a:pt x="21012" y="11159"/>
                  </a:lnTo>
                  <a:lnTo>
                    <a:pt x="19565" y="10382"/>
                  </a:lnTo>
                  <a:lnTo>
                    <a:pt x="18293" y="9641"/>
                  </a:lnTo>
                  <a:lnTo>
                    <a:pt x="17728" y="9288"/>
                  </a:lnTo>
                  <a:lnTo>
                    <a:pt x="17234" y="8934"/>
                  </a:lnTo>
                  <a:lnTo>
                    <a:pt x="16775" y="8581"/>
                  </a:lnTo>
                  <a:lnTo>
                    <a:pt x="16386" y="8263"/>
                  </a:lnTo>
                  <a:lnTo>
                    <a:pt x="16069" y="7946"/>
                  </a:lnTo>
                  <a:lnTo>
                    <a:pt x="15786" y="7663"/>
                  </a:lnTo>
                  <a:lnTo>
                    <a:pt x="15609" y="7381"/>
                  </a:lnTo>
                  <a:lnTo>
                    <a:pt x="15468" y="7098"/>
                  </a:lnTo>
                  <a:lnTo>
                    <a:pt x="15115" y="6180"/>
                  </a:lnTo>
                  <a:lnTo>
                    <a:pt x="14833" y="5226"/>
                  </a:lnTo>
                  <a:lnTo>
                    <a:pt x="14621" y="4273"/>
                  </a:lnTo>
                  <a:lnTo>
                    <a:pt x="14409" y="3320"/>
                  </a:lnTo>
                  <a:lnTo>
                    <a:pt x="10772" y="1589"/>
                  </a:lnTo>
                  <a:lnTo>
                    <a:pt x="7558" y="0"/>
                  </a:lnTo>
                  <a:close/>
                </a:path>
              </a:pathLst>
            </a:custGeom>
            <a:solidFill>
              <a:srgbClr val="A7455C"/>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80" name="Google Shape;786;g2e0683f995c_0_0">
              <a:extLst>
                <a:ext uri="{FF2B5EF4-FFF2-40B4-BE49-F238E27FC236}">
                  <a16:creationId xmlns:a16="http://schemas.microsoft.com/office/drawing/2014/main" id="{3650F398-927D-AEDA-DCB7-85CCD965D9E1}"/>
                </a:ext>
              </a:extLst>
            </p:cNvPr>
            <p:cNvSpPr/>
            <p:nvPr/>
          </p:nvSpPr>
          <p:spPr>
            <a:xfrm>
              <a:off x="1321836" y="2169273"/>
              <a:ext cx="720366" cy="446896"/>
            </a:xfrm>
            <a:custGeom>
              <a:avLst/>
              <a:gdLst/>
              <a:ahLst/>
              <a:cxnLst/>
              <a:rect l="l" t="t" r="r" b="b"/>
              <a:pathLst>
                <a:path w="73488" h="45590" fill="none" extrusionOk="0">
                  <a:moveTo>
                    <a:pt x="7558" y="0"/>
                  </a:moveTo>
                  <a:lnTo>
                    <a:pt x="7558" y="0"/>
                  </a:lnTo>
                  <a:lnTo>
                    <a:pt x="5333" y="424"/>
                  </a:lnTo>
                  <a:lnTo>
                    <a:pt x="4062" y="636"/>
                  </a:lnTo>
                  <a:lnTo>
                    <a:pt x="4062" y="636"/>
                  </a:lnTo>
                  <a:lnTo>
                    <a:pt x="3815" y="671"/>
                  </a:lnTo>
                  <a:lnTo>
                    <a:pt x="3532" y="742"/>
                  </a:lnTo>
                  <a:lnTo>
                    <a:pt x="3285" y="848"/>
                  </a:lnTo>
                  <a:lnTo>
                    <a:pt x="3073" y="954"/>
                  </a:lnTo>
                  <a:lnTo>
                    <a:pt x="2614" y="1236"/>
                  </a:lnTo>
                  <a:lnTo>
                    <a:pt x="2190" y="1589"/>
                  </a:lnTo>
                  <a:lnTo>
                    <a:pt x="1837" y="1978"/>
                  </a:lnTo>
                  <a:lnTo>
                    <a:pt x="1484" y="2472"/>
                  </a:lnTo>
                  <a:lnTo>
                    <a:pt x="1202" y="2966"/>
                  </a:lnTo>
                  <a:lnTo>
                    <a:pt x="919" y="3567"/>
                  </a:lnTo>
                  <a:lnTo>
                    <a:pt x="707" y="4167"/>
                  </a:lnTo>
                  <a:lnTo>
                    <a:pt x="495" y="4803"/>
                  </a:lnTo>
                  <a:lnTo>
                    <a:pt x="354" y="5474"/>
                  </a:lnTo>
                  <a:lnTo>
                    <a:pt x="213" y="6145"/>
                  </a:lnTo>
                  <a:lnTo>
                    <a:pt x="107" y="6851"/>
                  </a:lnTo>
                  <a:lnTo>
                    <a:pt x="36" y="7557"/>
                  </a:lnTo>
                  <a:lnTo>
                    <a:pt x="1" y="8263"/>
                  </a:lnTo>
                  <a:lnTo>
                    <a:pt x="1" y="8970"/>
                  </a:lnTo>
                  <a:lnTo>
                    <a:pt x="1" y="8970"/>
                  </a:lnTo>
                  <a:lnTo>
                    <a:pt x="1" y="9994"/>
                  </a:lnTo>
                  <a:lnTo>
                    <a:pt x="107" y="10983"/>
                  </a:lnTo>
                  <a:lnTo>
                    <a:pt x="248" y="11901"/>
                  </a:lnTo>
                  <a:lnTo>
                    <a:pt x="460" y="12713"/>
                  </a:lnTo>
                  <a:lnTo>
                    <a:pt x="460" y="12713"/>
                  </a:lnTo>
                  <a:lnTo>
                    <a:pt x="531" y="12925"/>
                  </a:lnTo>
                  <a:lnTo>
                    <a:pt x="707" y="13137"/>
                  </a:lnTo>
                  <a:lnTo>
                    <a:pt x="990" y="13384"/>
                  </a:lnTo>
                  <a:lnTo>
                    <a:pt x="1343" y="13631"/>
                  </a:lnTo>
                  <a:lnTo>
                    <a:pt x="2261" y="14267"/>
                  </a:lnTo>
                  <a:lnTo>
                    <a:pt x="3497" y="15008"/>
                  </a:lnTo>
                  <a:lnTo>
                    <a:pt x="5015" y="15856"/>
                  </a:lnTo>
                  <a:lnTo>
                    <a:pt x="6781" y="16774"/>
                  </a:lnTo>
                  <a:lnTo>
                    <a:pt x="8759" y="17798"/>
                  </a:lnTo>
                  <a:lnTo>
                    <a:pt x="10983" y="18857"/>
                  </a:lnTo>
                  <a:lnTo>
                    <a:pt x="13385" y="20023"/>
                  </a:lnTo>
                  <a:lnTo>
                    <a:pt x="15963" y="21223"/>
                  </a:lnTo>
                  <a:lnTo>
                    <a:pt x="21542" y="23766"/>
                  </a:lnTo>
                  <a:lnTo>
                    <a:pt x="27581" y="26415"/>
                  </a:lnTo>
                  <a:lnTo>
                    <a:pt x="33831" y="29169"/>
                  </a:lnTo>
                  <a:lnTo>
                    <a:pt x="40187" y="31888"/>
                  </a:lnTo>
                  <a:lnTo>
                    <a:pt x="46473" y="34572"/>
                  </a:lnTo>
                  <a:lnTo>
                    <a:pt x="58127" y="39481"/>
                  </a:lnTo>
                  <a:lnTo>
                    <a:pt x="67379" y="43294"/>
                  </a:lnTo>
                  <a:lnTo>
                    <a:pt x="72958" y="45590"/>
                  </a:lnTo>
                  <a:lnTo>
                    <a:pt x="72958" y="45590"/>
                  </a:lnTo>
                  <a:lnTo>
                    <a:pt x="72676" y="44530"/>
                  </a:lnTo>
                  <a:lnTo>
                    <a:pt x="72464" y="43577"/>
                  </a:lnTo>
                  <a:lnTo>
                    <a:pt x="72429" y="43188"/>
                  </a:lnTo>
                  <a:lnTo>
                    <a:pt x="72393" y="42835"/>
                  </a:lnTo>
                  <a:lnTo>
                    <a:pt x="72393" y="42517"/>
                  </a:lnTo>
                  <a:lnTo>
                    <a:pt x="72429" y="42270"/>
                  </a:lnTo>
                  <a:lnTo>
                    <a:pt x="72429" y="42270"/>
                  </a:lnTo>
                  <a:lnTo>
                    <a:pt x="72534" y="41741"/>
                  </a:lnTo>
                  <a:lnTo>
                    <a:pt x="72534" y="41741"/>
                  </a:lnTo>
                  <a:lnTo>
                    <a:pt x="72181" y="41317"/>
                  </a:lnTo>
                  <a:lnTo>
                    <a:pt x="71899" y="40858"/>
                  </a:lnTo>
                  <a:lnTo>
                    <a:pt x="71652" y="40363"/>
                  </a:lnTo>
                  <a:lnTo>
                    <a:pt x="71475" y="39834"/>
                  </a:lnTo>
                  <a:lnTo>
                    <a:pt x="71334" y="39269"/>
                  </a:lnTo>
                  <a:lnTo>
                    <a:pt x="71228" y="38704"/>
                  </a:lnTo>
                  <a:lnTo>
                    <a:pt x="71157" y="38103"/>
                  </a:lnTo>
                  <a:lnTo>
                    <a:pt x="71157" y="37503"/>
                  </a:lnTo>
                  <a:lnTo>
                    <a:pt x="71157" y="37503"/>
                  </a:lnTo>
                  <a:lnTo>
                    <a:pt x="71157" y="36938"/>
                  </a:lnTo>
                  <a:lnTo>
                    <a:pt x="71193" y="36373"/>
                  </a:lnTo>
                  <a:lnTo>
                    <a:pt x="71263" y="35773"/>
                  </a:lnTo>
                  <a:lnTo>
                    <a:pt x="71369" y="35208"/>
                  </a:lnTo>
                  <a:lnTo>
                    <a:pt x="71475" y="34678"/>
                  </a:lnTo>
                  <a:lnTo>
                    <a:pt x="71616" y="34113"/>
                  </a:lnTo>
                  <a:lnTo>
                    <a:pt x="71934" y="33089"/>
                  </a:lnTo>
                  <a:lnTo>
                    <a:pt x="72287" y="32135"/>
                  </a:lnTo>
                  <a:lnTo>
                    <a:pt x="72711" y="31323"/>
                  </a:lnTo>
                  <a:lnTo>
                    <a:pt x="72888" y="30970"/>
                  </a:lnTo>
                  <a:lnTo>
                    <a:pt x="73099" y="30687"/>
                  </a:lnTo>
                  <a:lnTo>
                    <a:pt x="73311" y="30440"/>
                  </a:lnTo>
                  <a:lnTo>
                    <a:pt x="73488" y="30228"/>
                  </a:lnTo>
                  <a:lnTo>
                    <a:pt x="73488" y="30228"/>
                  </a:lnTo>
                  <a:lnTo>
                    <a:pt x="68933" y="28781"/>
                  </a:lnTo>
                  <a:lnTo>
                    <a:pt x="61587" y="26415"/>
                  </a:lnTo>
                  <a:lnTo>
                    <a:pt x="57173" y="24967"/>
                  </a:lnTo>
                  <a:lnTo>
                    <a:pt x="52441" y="23378"/>
                  </a:lnTo>
                  <a:lnTo>
                    <a:pt x="47497" y="21683"/>
                  </a:lnTo>
                  <a:lnTo>
                    <a:pt x="42518" y="19917"/>
                  </a:lnTo>
                  <a:lnTo>
                    <a:pt x="37574" y="18116"/>
                  </a:lnTo>
                  <a:lnTo>
                    <a:pt x="32842" y="16280"/>
                  </a:lnTo>
                  <a:lnTo>
                    <a:pt x="30582" y="15397"/>
                  </a:lnTo>
                  <a:lnTo>
                    <a:pt x="28428" y="14514"/>
                  </a:lnTo>
                  <a:lnTo>
                    <a:pt x="26345" y="13631"/>
                  </a:lnTo>
                  <a:lnTo>
                    <a:pt x="24438" y="12784"/>
                  </a:lnTo>
                  <a:lnTo>
                    <a:pt x="22637" y="11936"/>
                  </a:lnTo>
                  <a:lnTo>
                    <a:pt x="21012" y="11159"/>
                  </a:lnTo>
                  <a:lnTo>
                    <a:pt x="19565" y="10382"/>
                  </a:lnTo>
                  <a:lnTo>
                    <a:pt x="18293" y="9641"/>
                  </a:lnTo>
                  <a:lnTo>
                    <a:pt x="17728" y="9288"/>
                  </a:lnTo>
                  <a:lnTo>
                    <a:pt x="17234" y="8934"/>
                  </a:lnTo>
                  <a:lnTo>
                    <a:pt x="16775" y="8581"/>
                  </a:lnTo>
                  <a:lnTo>
                    <a:pt x="16386" y="8263"/>
                  </a:lnTo>
                  <a:lnTo>
                    <a:pt x="16069" y="7946"/>
                  </a:lnTo>
                  <a:lnTo>
                    <a:pt x="15786" y="7663"/>
                  </a:lnTo>
                  <a:lnTo>
                    <a:pt x="15609" y="7381"/>
                  </a:lnTo>
                  <a:lnTo>
                    <a:pt x="15468" y="7098"/>
                  </a:lnTo>
                  <a:lnTo>
                    <a:pt x="15468" y="7098"/>
                  </a:lnTo>
                  <a:lnTo>
                    <a:pt x="15115" y="6180"/>
                  </a:lnTo>
                  <a:lnTo>
                    <a:pt x="14833" y="5226"/>
                  </a:lnTo>
                  <a:lnTo>
                    <a:pt x="14621" y="4273"/>
                  </a:lnTo>
                  <a:lnTo>
                    <a:pt x="14409" y="3320"/>
                  </a:lnTo>
                  <a:lnTo>
                    <a:pt x="14409" y="3320"/>
                  </a:lnTo>
                  <a:lnTo>
                    <a:pt x="10772" y="1589"/>
                  </a:lnTo>
                  <a:lnTo>
                    <a:pt x="7558"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81" name="Google Shape;787;g2e0683f995c_0_0">
              <a:extLst>
                <a:ext uri="{FF2B5EF4-FFF2-40B4-BE49-F238E27FC236}">
                  <a16:creationId xmlns:a16="http://schemas.microsoft.com/office/drawing/2014/main" id="{A29F2037-1EE0-7D6E-9438-53A53093BC85}"/>
                </a:ext>
              </a:extLst>
            </p:cNvPr>
            <p:cNvSpPr/>
            <p:nvPr/>
          </p:nvSpPr>
          <p:spPr>
            <a:xfrm>
              <a:off x="1993043" y="2139846"/>
              <a:ext cx="752558" cy="296673"/>
            </a:xfrm>
            <a:custGeom>
              <a:avLst/>
              <a:gdLst/>
              <a:ahLst/>
              <a:cxnLst/>
              <a:rect l="l" t="t" r="r" b="b"/>
              <a:pathLst>
                <a:path w="76772" h="30265" extrusionOk="0">
                  <a:moveTo>
                    <a:pt x="74370" y="0"/>
                  </a:moveTo>
                  <a:lnTo>
                    <a:pt x="10171" y="13066"/>
                  </a:lnTo>
                  <a:lnTo>
                    <a:pt x="6463" y="14656"/>
                  </a:lnTo>
                  <a:lnTo>
                    <a:pt x="3320" y="15997"/>
                  </a:lnTo>
                  <a:lnTo>
                    <a:pt x="1907" y="16633"/>
                  </a:lnTo>
                  <a:lnTo>
                    <a:pt x="707" y="17198"/>
                  </a:lnTo>
                  <a:lnTo>
                    <a:pt x="495" y="17339"/>
                  </a:lnTo>
                  <a:lnTo>
                    <a:pt x="318" y="17551"/>
                  </a:lnTo>
                  <a:lnTo>
                    <a:pt x="177" y="17798"/>
                  </a:lnTo>
                  <a:lnTo>
                    <a:pt x="71" y="18081"/>
                  </a:lnTo>
                  <a:lnTo>
                    <a:pt x="0" y="18434"/>
                  </a:lnTo>
                  <a:lnTo>
                    <a:pt x="0" y="18823"/>
                  </a:lnTo>
                  <a:lnTo>
                    <a:pt x="0" y="19211"/>
                  </a:lnTo>
                  <a:lnTo>
                    <a:pt x="71" y="19670"/>
                  </a:lnTo>
                  <a:lnTo>
                    <a:pt x="142" y="20129"/>
                  </a:lnTo>
                  <a:lnTo>
                    <a:pt x="248" y="20624"/>
                  </a:lnTo>
                  <a:lnTo>
                    <a:pt x="565" y="21683"/>
                  </a:lnTo>
                  <a:lnTo>
                    <a:pt x="954" y="22778"/>
                  </a:lnTo>
                  <a:lnTo>
                    <a:pt x="1413" y="23908"/>
                  </a:lnTo>
                  <a:lnTo>
                    <a:pt x="1907" y="25002"/>
                  </a:lnTo>
                  <a:lnTo>
                    <a:pt x="2472" y="26097"/>
                  </a:lnTo>
                  <a:lnTo>
                    <a:pt x="3037" y="27121"/>
                  </a:lnTo>
                  <a:lnTo>
                    <a:pt x="3602" y="28039"/>
                  </a:lnTo>
                  <a:lnTo>
                    <a:pt x="4132" y="28852"/>
                  </a:lnTo>
                  <a:lnTo>
                    <a:pt x="4662" y="29487"/>
                  </a:lnTo>
                  <a:lnTo>
                    <a:pt x="4909" y="29770"/>
                  </a:lnTo>
                  <a:lnTo>
                    <a:pt x="5121" y="29982"/>
                  </a:lnTo>
                  <a:lnTo>
                    <a:pt x="5333" y="30123"/>
                  </a:lnTo>
                  <a:lnTo>
                    <a:pt x="5509" y="30229"/>
                  </a:lnTo>
                  <a:lnTo>
                    <a:pt x="5651" y="30264"/>
                  </a:lnTo>
                  <a:lnTo>
                    <a:pt x="5898" y="30264"/>
                  </a:lnTo>
                  <a:lnTo>
                    <a:pt x="6604" y="30229"/>
                  </a:lnTo>
                  <a:lnTo>
                    <a:pt x="7663" y="30088"/>
                  </a:lnTo>
                  <a:lnTo>
                    <a:pt x="9041" y="29876"/>
                  </a:lnTo>
                  <a:lnTo>
                    <a:pt x="12643" y="29205"/>
                  </a:lnTo>
                  <a:lnTo>
                    <a:pt x="17198" y="28322"/>
                  </a:lnTo>
                  <a:lnTo>
                    <a:pt x="22530" y="27227"/>
                  </a:lnTo>
                  <a:lnTo>
                    <a:pt x="28428" y="25991"/>
                  </a:lnTo>
                  <a:lnTo>
                    <a:pt x="41211" y="23237"/>
                  </a:lnTo>
                  <a:lnTo>
                    <a:pt x="53959" y="20447"/>
                  </a:lnTo>
                  <a:lnTo>
                    <a:pt x="65153" y="17940"/>
                  </a:lnTo>
                  <a:lnTo>
                    <a:pt x="76772" y="15327"/>
                  </a:lnTo>
                  <a:lnTo>
                    <a:pt x="76489" y="14620"/>
                  </a:lnTo>
                  <a:lnTo>
                    <a:pt x="75783" y="12855"/>
                  </a:lnTo>
                  <a:lnTo>
                    <a:pt x="75394" y="11760"/>
                  </a:lnTo>
                  <a:lnTo>
                    <a:pt x="75041" y="10630"/>
                  </a:lnTo>
                  <a:lnTo>
                    <a:pt x="74688" y="9535"/>
                  </a:lnTo>
                  <a:lnTo>
                    <a:pt x="74476" y="8582"/>
                  </a:lnTo>
                  <a:lnTo>
                    <a:pt x="74370" y="8052"/>
                  </a:lnTo>
                  <a:lnTo>
                    <a:pt x="74300" y="7522"/>
                  </a:lnTo>
                  <a:lnTo>
                    <a:pt x="74194" y="6428"/>
                  </a:lnTo>
                  <a:lnTo>
                    <a:pt x="74194" y="5262"/>
                  </a:lnTo>
                  <a:lnTo>
                    <a:pt x="74194" y="4097"/>
                  </a:lnTo>
                  <a:lnTo>
                    <a:pt x="74264" y="1872"/>
                  </a:lnTo>
                  <a:lnTo>
                    <a:pt x="74370"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82" name="Google Shape;788;g2e0683f995c_0_0">
              <a:extLst>
                <a:ext uri="{FF2B5EF4-FFF2-40B4-BE49-F238E27FC236}">
                  <a16:creationId xmlns:a16="http://schemas.microsoft.com/office/drawing/2014/main" id="{16F70D38-BFDE-D073-9747-9325990A8AD5}"/>
                </a:ext>
              </a:extLst>
            </p:cNvPr>
            <p:cNvSpPr/>
            <p:nvPr/>
          </p:nvSpPr>
          <p:spPr>
            <a:xfrm>
              <a:off x="1993043" y="2139846"/>
              <a:ext cx="752558" cy="296673"/>
            </a:xfrm>
            <a:custGeom>
              <a:avLst/>
              <a:gdLst/>
              <a:ahLst/>
              <a:cxnLst/>
              <a:rect l="l" t="t" r="r" b="b"/>
              <a:pathLst>
                <a:path w="76772" h="30265" fill="none" extrusionOk="0">
                  <a:moveTo>
                    <a:pt x="74370" y="0"/>
                  </a:moveTo>
                  <a:lnTo>
                    <a:pt x="74370" y="0"/>
                  </a:lnTo>
                  <a:lnTo>
                    <a:pt x="74264" y="1872"/>
                  </a:lnTo>
                  <a:lnTo>
                    <a:pt x="74194" y="4097"/>
                  </a:lnTo>
                  <a:lnTo>
                    <a:pt x="74194" y="5262"/>
                  </a:lnTo>
                  <a:lnTo>
                    <a:pt x="74194" y="6428"/>
                  </a:lnTo>
                  <a:lnTo>
                    <a:pt x="74300" y="7522"/>
                  </a:lnTo>
                  <a:lnTo>
                    <a:pt x="74370" y="8052"/>
                  </a:lnTo>
                  <a:lnTo>
                    <a:pt x="74476" y="8582"/>
                  </a:lnTo>
                  <a:lnTo>
                    <a:pt x="74476" y="8582"/>
                  </a:lnTo>
                  <a:lnTo>
                    <a:pt x="74688" y="9535"/>
                  </a:lnTo>
                  <a:lnTo>
                    <a:pt x="75041" y="10630"/>
                  </a:lnTo>
                  <a:lnTo>
                    <a:pt x="75394" y="11760"/>
                  </a:lnTo>
                  <a:lnTo>
                    <a:pt x="75783" y="12855"/>
                  </a:lnTo>
                  <a:lnTo>
                    <a:pt x="76489" y="14620"/>
                  </a:lnTo>
                  <a:lnTo>
                    <a:pt x="76772" y="15327"/>
                  </a:lnTo>
                  <a:lnTo>
                    <a:pt x="76772" y="15327"/>
                  </a:lnTo>
                  <a:lnTo>
                    <a:pt x="65153" y="17940"/>
                  </a:lnTo>
                  <a:lnTo>
                    <a:pt x="53959" y="20447"/>
                  </a:lnTo>
                  <a:lnTo>
                    <a:pt x="41211" y="23237"/>
                  </a:lnTo>
                  <a:lnTo>
                    <a:pt x="28428" y="25991"/>
                  </a:lnTo>
                  <a:lnTo>
                    <a:pt x="22530" y="27227"/>
                  </a:lnTo>
                  <a:lnTo>
                    <a:pt x="17198" y="28322"/>
                  </a:lnTo>
                  <a:lnTo>
                    <a:pt x="12643" y="29205"/>
                  </a:lnTo>
                  <a:lnTo>
                    <a:pt x="9041" y="29876"/>
                  </a:lnTo>
                  <a:lnTo>
                    <a:pt x="7663" y="30088"/>
                  </a:lnTo>
                  <a:lnTo>
                    <a:pt x="6604" y="30229"/>
                  </a:lnTo>
                  <a:lnTo>
                    <a:pt x="5898" y="30264"/>
                  </a:lnTo>
                  <a:lnTo>
                    <a:pt x="5651" y="30264"/>
                  </a:lnTo>
                  <a:lnTo>
                    <a:pt x="5509" y="30229"/>
                  </a:lnTo>
                  <a:lnTo>
                    <a:pt x="5509" y="30229"/>
                  </a:lnTo>
                  <a:lnTo>
                    <a:pt x="5333" y="30123"/>
                  </a:lnTo>
                  <a:lnTo>
                    <a:pt x="5121" y="29982"/>
                  </a:lnTo>
                  <a:lnTo>
                    <a:pt x="4909" y="29770"/>
                  </a:lnTo>
                  <a:lnTo>
                    <a:pt x="4662" y="29487"/>
                  </a:lnTo>
                  <a:lnTo>
                    <a:pt x="4132" y="28852"/>
                  </a:lnTo>
                  <a:lnTo>
                    <a:pt x="3602" y="28039"/>
                  </a:lnTo>
                  <a:lnTo>
                    <a:pt x="3037" y="27121"/>
                  </a:lnTo>
                  <a:lnTo>
                    <a:pt x="2472" y="26097"/>
                  </a:lnTo>
                  <a:lnTo>
                    <a:pt x="1907" y="25002"/>
                  </a:lnTo>
                  <a:lnTo>
                    <a:pt x="1413" y="23908"/>
                  </a:lnTo>
                  <a:lnTo>
                    <a:pt x="954" y="22778"/>
                  </a:lnTo>
                  <a:lnTo>
                    <a:pt x="565" y="21683"/>
                  </a:lnTo>
                  <a:lnTo>
                    <a:pt x="248" y="20624"/>
                  </a:lnTo>
                  <a:lnTo>
                    <a:pt x="142" y="20129"/>
                  </a:lnTo>
                  <a:lnTo>
                    <a:pt x="71" y="19670"/>
                  </a:lnTo>
                  <a:lnTo>
                    <a:pt x="0" y="19211"/>
                  </a:lnTo>
                  <a:lnTo>
                    <a:pt x="0" y="18823"/>
                  </a:lnTo>
                  <a:lnTo>
                    <a:pt x="0" y="18434"/>
                  </a:lnTo>
                  <a:lnTo>
                    <a:pt x="71" y="18081"/>
                  </a:lnTo>
                  <a:lnTo>
                    <a:pt x="177" y="17798"/>
                  </a:lnTo>
                  <a:lnTo>
                    <a:pt x="318" y="17551"/>
                  </a:lnTo>
                  <a:lnTo>
                    <a:pt x="495" y="17339"/>
                  </a:lnTo>
                  <a:lnTo>
                    <a:pt x="707" y="17198"/>
                  </a:lnTo>
                  <a:lnTo>
                    <a:pt x="707" y="17198"/>
                  </a:lnTo>
                  <a:lnTo>
                    <a:pt x="1907" y="16633"/>
                  </a:lnTo>
                  <a:lnTo>
                    <a:pt x="3320" y="15997"/>
                  </a:lnTo>
                  <a:lnTo>
                    <a:pt x="6463" y="14656"/>
                  </a:lnTo>
                  <a:lnTo>
                    <a:pt x="10171" y="13066"/>
                  </a:lnTo>
                  <a:lnTo>
                    <a:pt x="74370"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83" name="Google Shape;789;g2e0683f995c_0_0">
              <a:extLst>
                <a:ext uri="{FF2B5EF4-FFF2-40B4-BE49-F238E27FC236}">
                  <a16:creationId xmlns:a16="http://schemas.microsoft.com/office/drawing/2014/main" id="{CB3C4287-BAB2-676E-C22F-A9A8EDA2C79F}"/>
                </a:ext>
              </a:extLst>
            </p:cNvPr>
            <p:cNvSpPr/>
            <p:nvPr/>
          </p:nvSpPr>
          <p:spPr>
            <a:xfrm>
              <a:off x="1323228" y="1896842"/>
              <a:ext cx="1441762" cy="555939"/>
            </a:xfrm>
            <a:custGeom>
              <a:avLst/>
              <a:gdLst/>
              <a:ahLst/>
              <a:cxnLst/>
              <a:rect l="l" t="t" r="r" b="b"/>
              <a:pathLst>
                <a:path w="147081" h="56714" extrusionOk="0">
                  <a:moveTo>
                    <a:pt x="72675" y="0"/>
                  </a:moveTo>
                  <a:lnTo>
                    <a:pt x="71827" y="36"/>
                  </a:lnTo>
                  <a:lnTo>
                    <a:pt x="70803" y="71"/>
                  </a:lnTo>
                  <a:lnTo>
                    <a:pt x="69638" y="177"/>
                  </a:lnTo>
                  <a:lnTo>
                    <a:pt x="68331" y="283"/>
                  </a:lnTo>
                  <a:lnTo>
                    <a:pt x="65259" y="636"/>
                  </a:lnTo>
                  <a:lnTo>
                    <a:pt x="61763" y="1130"/>
                  </a:lnTo>
                  <a:lnTo>
                    <a:pt x="57843" y="1695"/>
                  </a:lnTo>
                  <a:lnTo>
                    <a:pt x="53641" y="2366"/>
                  </a:lnTo>
                  <a:lnTo>
                    <a:pt x="49156" y="3108"/>
                  </a:lnTo>
                  <a:lnTo>
                    <a:pt x="44530" y="3920"/>
                  </a:lnTo>
                  <a:lnTo>
                    <a:pt x="39798" y="4732"/>
                  </a:lnTo>
                  <a:lnTo>
                    <a:pt x="30405" y="6463"/>
                  </a:lnTo>
                  <a:lnTo>
                    <a:pt x="21577" y="8087"/>
                  </a:lnTo>
                  <a:lnTo>
                    <a:pt x="13914" y="9535"/>
                  </a:lnTo>
                  <a:lnTo>
                    <a:pt x="7381" y="10771"/>
                  </a:lnTo>
                  <a:lnTo>
                    <a:pt x="5262" y="11159"/>
                  </a:lnTo>
                  <a:lnTo>
                    <a:pt x="4097" y="11336"/>
                  </a:lnTo>
                  <a:lnTo>
                    <a:pt x="3743" y="11407"/>
                  </a:lnTo>
                  <a:lnTo>
                    <a:pt x="3390" y="11513"/>
                  </a:lnTo>
                  <a:lnTo>
                    <a:pt x="3072" y="11689"/>
                  </a:lnTo>
                  <a:lnTo>
                    <a:pt x="2755" y="11866"/>
                  </a:lnTo>
                  <a:lnTo>
                    <a:pt x="2437" y="12078"/>
                  </a:lnTo>
                  <a:lnTo>
                    <a:pt x="2190" y="12325"/>
                  </a:lnTo>
                  <a:lnTo>
                    <a:pt x="1907" y="12607"/>
                  </a:lnTo>
                  <a:lnTo>
                    <a:pt x="1695" y="12925"/>
                  </a:lnTo>
                  <a:lnTo>
                    <a:pt x="1448" y="13243"/>
                  </a:lnTo>
                  <a:lnTo>
                    <a:pt x="1271" y="13631"/>
                  </a:lnTo>
                  <a:lnTo>
                    <a:pt x="1060" y="13985"/>
                  </a:lnTo>
                  <a:lnTo>
                    <a:pt x="883" y="14408"/>
                  </a:lnTo>
                  <a:lnTo>
                    <a:pt x="601" y="15256"/>
                  </a:lnTo>
                  <a:lnTo>
                    <a:pt x="353" y="16174"/>
                  </a:lnTo>
                  <a:lnTo>
                    <a:pt x="212" y="17092"/>
                  </a:lnTo>
                  <a:lnTo>
                    <a:pt x="71" y="18081"/>
                  </a:lnTo>
                  <a:lnTo>
                    <a:pt x="0" y="19034"/>
                  </a:lnTo>
                  <a:lnTo>
                    <a:pt x="0" y="20023"/>
                  </a:lnTo>
                  <a:lnTo>
                    <a:pt x="36" y="20941"/>
                  </a:lnTo>
                  <a:lnTo>
                    <a:pt x="141" y="21824"/>
                  </a:lnTo>
                  <a:lnTo>
                    <a:pt x="283" y="22672"/>
                  </a:lnTo>
                  <a:lnTo>
                    <a:pt x="459" y="23449"/>
                  </a:lnTo>
                  <a:lnTo>
                    <a:pt x="565" y="23625"/>
                  </a:lnTo>
                  <a:lnTo>
                    <a:pt x="742" y="23837"/>
                  </a:lnTo>
                  <a:lnTo>
                    <a:pt x="1024" y="24084"/>
                  </a:lnTo>
                  <a:lnTo>
                    <a:pt x="1342" y="24367"/>
                  </a:lnTo>
                  <a:lnTo>
                    <a:pt x="2296" y="24967"/>
                  </a:lnTo>
                  <a:lnTo>
                    <a:pt x="3532" y="25709"/>
                  </a:lnTo>
                  <a:lnTo>
                    <a:pt x="5050" y="26556"/>
                  </a:lnTo>
                  <a:lnTo>
                    <a:pt x="6816" y="27474"/>
                  </a:lnTo>
                  <a:lnTo>
                    <a:pt x="8793" y="28498"/>
                  </a:lnTo>
                  <a:lnTo>
                    <a:pt x="11018" y="29558"/>
                  </a:lnTo>
                  <a:lnTo>
                    <a:pt x="13419" y="30723"/>
                  </a:lnTo>
                  <a:lnTo>
                    <a:pt x="15997" y="31924"/>
                  </a:lnTo>
                  <a:lnTo>
                    <a:pt x="21577" y="34466"/>
                  </a:lnTo>
                  <a:lnTo>
                    <a:pt x="27580" y="37150"/>
                  </a:lnTo>
                  <a:lnTo>
                    <a:pt x="33866" y="39869"/>
                  </a:lnTo>
                  <a:lnTo>
                    <a:pt x="40222" y="42624"/>
                  </a:lnTo>
                  <a:lnTo>
                    <a:pt x="46508" y="45272"/>
                  </a:lnTo>
                  <a:lnTo>
                    <a:pt x="58126" y="50181"/>
                  </a:lnTo>
                  <a:lnTo>
                    <a:pt x="67413" y="54030"/>
                  </a:lnTo>
                  <a:lnTo>
                    <a:pt x="72957" y="56290"/>
                  </a:lnTo>
                  <a:lnTo>
                    <a:pt x="73946" y="56714"/>
                  </a:lnTo>
                  <a:lnTo>
                    <a:pt x="84505" y="54595"/>
                  </a:lnTo>
                  <a:lnTo>
                    <a:pt x="108024" y="49863"/>
                  </a:lnTo>
                  <a:lnTo>
                    <a:pt x="120807" y="47250"/>
                  </a:lnTo>
                  <a:lnTo>
                    <a:pt x="132319" y="44919"/>
                  </a:lnTo>
                  <a:lnTo>
                    <a:pt x="140971" y="43118"/>
                  </a:lnTo>
                  <a:lnTo>
                    <a:pt x="143725" y="42518"/>
                  </a:lnTo>
                  <a:lnTo>
                    <a:pt x="145244" y="42165"/>
                  </a:lnTo>
                  <a:lnTo>
                    <a:pt x="145950" y="41953"/>
                  </a:lnTo>
                  <a:lnTo>
                    <a:pt x="146444" y="41776"/>
                  </a:lnTo>
                  <a:lnTo>
                    <a:pt x="146798" y="41564"/>
                  </a:lnTo>
                  <a:lnTo>
                    <a:pt x="146904" y="41458"/>
                  </a:lnTo>
                  <a:lnTo>
                    <a:pt x="147009" y="41388"/>
                  </a:lnTo>
                  <a:lnTo>
                    <a:pt x="147045" y="41282"/>
                  </a:lnTo>
                  <a:lnTo>
                    <a:pt x="147080" y="41211"/>
                  </a:lnTo>
                  <a:lnTo>
                    <a:pt x="147080" y="41105"/>
                  </a:lnTo>
                  <a:lnTo>
                    <a:pt x="147045" y="41035"/>
                  </a:lnTo>
                  <a:lnTo>
                    <a:pt x="146939" y="40858"/>
                  </a:lnTo>
                  <a:lnTo>
                    <a:pt x="146762" y="40717"/>
                  </a:lnTo>
                  <a:lnTo>
                    <a:pt x="146515" y="40611"/>
                  </a:lnTo>
                  <a:lnTo>
                    <a:pt x="146268" y="40470"/>
                  </a:lnTo>
                  <a:lnTo>
                    <a:pt x="145703" y="40293"/>
                  </a:lnTo>
                  <a:lnTo>
                    <a:pt x="145103" y="40117"/>
                  </a:lnTo>
                  <a:lnTo>
                    <a:pt x="135603" y="42235"/>
                  </a:lnTo>
                  <a:lnTo>
                    <a:pt x="125680" y="44389"/>
                  </a:lnTo>
                  <a:lnTo>
                    <a:pt x="114062" y="46861"/>
                  </a:lnTo>
                  <a:lnTo>
                    <a:pt x="108024" y="48133"/>
                  </a:lnTo>
                  <a:lnTo>
                    <a:pt x="102056" y="49369"/>
                  </a:lnTo>
                  <a:lnTo>
                    <a:pt x="96300" y="50534"/>
                  </a:lnTo>
                  <a:lnTo>
                    <a:pt x="90932" y="51593"/>
                  </a:lnTo>
                  <a:lnTo>
                    <a:pt x="86129" y="52476"/>
                  </a:lnTo>
                  <a:lnTo>
                    <a:pt x="82068" y="53182"/>
                  </a:lnTo>
                  <a:lnTo>
                    <a:pt x="80338" y="53430"/>
                  </a:lnTo>
                  <a:lnTo>
                    <a:pt x="78855" y="53642"/>
                  </a:lnTo>
                  <a:lnTo>
                    <a:pt x="77619" y="53783"/>
                  </a:lnTo>
                  <a:lnTo>
                    <a:pt x="76701" y="53818"/>
                  </a:lnTo>
                  <a:lnTo>
                    <a:pt x="75994" y="53818"/>
                  </a:lnTo>
                  <a:lnTo>
                    <a:pt x="75359" y="53783"/>
                  </a:lnTo>
                  <a:lnTo>
                    <a:pt x="74758" y="53642"/>
                  </a:lnTo>
                  <a:lnTo>
                    <a:pt x="74229" y="53500"/>
                  </a:lnTo>
                  <a:lnTo>
                    <a:pt x="73734" y="53288"/>
                  </a:lnTo>
                  <a:lnTo>
                    <a:pt x="73311" y="53041"/>
                  </a:lnTo>
                  <a:lnTo>
                    <a:pt x="72922" y="52759"/>
                  </a:lnTo>
                  <a:lnTo>
                    <a:pt x="72569" y="52441"/>
                  </a:lnTo>
                  <a:lnTo>
                    <a:pt x="72287" y="52123"/>
                  </a:lnTo>
                  <a:lnTo>
                    <a:pt x="72075" y="51805"/>
                  </a:lnTo>
                  <a:lnTo>
                    <a:pt x="71863" y="51487"/>
                  </a:lnTo>
                  <a:lnTo>
                    <a:pt x="71722" y="51134"/>
                  </a:lnTo>
                  <a:lnTo>
                    <a:pt x="71545" y="50746"/>
                  </a:lnTo>
                  <a:lnTo>
                    <a:pt x="71439" y="50357"/>
                  </a:lnTo>
                  <a:lnTo>
                    <a:pt x="71333" y="49969"/>
                  </a:lnTo>
                  <a:lnTo>
                    <a:pt x="71262" y="49545"/>
                  </a:lnTo>
                  <a:lnTo>
                    <a:pt x="71227" y="49121"/>
                  </a:lnTo>
                  <a:lnTo>
                    <a:pt x="71192" y="48698"/>
                  </a:lnTo>
                  <a:lnTo>
                    <a:pt x="71192" y="47850"/>
                  </a:lnTo>
                  <a:lnTo>
                    <a:pt x="71227" y="46967"/>
                  </a:lnTo>
                  <a:lnTo>
                    <a:pt x="71368" y="46084"/>
                  </a:lnTo>
                  <a:lnTo>
                    <a:pt x="71545" y="45237"/>
                  </a:lnTo>
                  <a:lnTo>
                    <a:pt x="71757" y="44389"/>
                  </a:lnTo>
                  <a:lnTo>
                    <a:pt x="72004" y="43613"/>
                  </a:lnTo>
                  <a:lnTo>
                    <a:pt x="72287" y="42906"/>
                  </a:lnTo>
                  <a:lnTo>
                    <a:pt x="72604" y="42271"/>
                  </a:lnTo>
                  <a:lnTo>
                    <a:pt x="72922" y="41706"/>
                  </a:lnTo>
                  <a:lnTo>
                    <a:pt x="73205" y="41247"/>
                  </a:lnTo>
                  <a:lnTo>
                    <a:pt x="73522" y="40929"/>
                  </a:lnTo>
                  <a:lnTo>
                    <a:pt x="73699" y="40787"/>
                  </a:lnTo>
                  <a:lnTo>
                    <a:pt x="73946" y="40646"/>
                  </a:lnTo>
                  <a:lnTo>
                    <a:pt x="74688" y="40364"/>
                  </a:lnTo>
                  <a:lnTo>
                    <a:pt x="75677" y="40046"/>
                  </a:lnTo>
                  <a:lnTo>
                    <a:pt x="76913" y="39693"/>
                  </a:lnTo>
                  <a:lnTo>
                    <a:pt x="78431" y="39340"/>
                  </a:lnTo>
                  <a:lnTo>
                    <a:pt x="80126" y="38916"/>
                  </a:lnTo>
                  <a:lnTo>
                    <a:pt x="84152" y="38068"/>
                  </a:lnTo>
                  <a:lnTo>
                    <a:pt x="88848" y="37150"/>
                  </a:lnTo>
                  <a:lnTo>
                    <a:pt x="94040" y="36161"/>
                  </a:lnTo>
                  <a:lnTo>
                    <a:pt x="105481" y="34007"/>
                  </a:lnTo>
                  <a:lnTo>
                    <a:pt x="111414" y="32877"/>
                  </a:lnTo>
                  <a:lnTo>
                    <a:pt x="117311" y="31712"/>
                  </a:lnTo>
                  <a:lnTo>
                    <a:pt x="122996" y="30547"/>
                  </a:lnTo>
                  <a:lnTo>
                    <a:pt x="125716" y="29946"/>
                  </a:lnTo>
                  <a:lnTo>
                    <a:pt x="128364" y="29381"/>
                  </a:lnTo>
                  <a:lnTo>
                    <a:pt x="130871" y="28781"/>
                  </a:lnTo>
                  <a:lnTo>
                    <a:pt x="133273" y="28181"/>
                  </a:lnTo>
                  <a:lnTo>
                    <a:pt x="135497" y="27616"/>
                  </a:lnTo>
                  <a:lnTo>
                    <a:pt x="137546" y="27015"/>
                  </a:lnTo>
                  <a:lnTo>
                    <a:pt x="139382" y="26450"/>
                  </a:lnTo>
                  <a:lnTo>
                    <a:pt x="141042" y="25885"/>
                  </a:lnTo>
                  <a:lnTo>
                    <a:pt x="142489" y="25320"/>
                  </a:lnTo>
                  <a:lnTo>
                    <a:pt x="143125" y="25038"/>
                  </a:lnTo>
                  <a:lnTo>
                    <a:pt x="143655" y="24755"/>
                  </a:lnTo>
                  <a:lnTo>
                    <a:pt x="143725" y="24755"/>
                  </a:lnTo>
                  <a:lnTo>
                    <a:pt x="143725" y="24685"/>
                  </a:lnTo>
                  <a:lnTo>
                    <a:pt x="143690" y="24579"/>
                  </a:lnTo>
                  <a:lnTo>
                    <a:pt x="143584" y="24473"/>
                  </a:lnTo>
                  <a:lnTo>
                    <a:pt x="143337" y="24296"/>
                  </a:lnTo>
                  <a:lnTo>
                    <a:pt x="142631" y="23908"/>
                  </a:lnTo>
                  <a:lnTo>
                    <a:pt x="141571" y="23413"/>
                  </a:lnTo>
                  <a:lnTo>
                    <a:pt x="140229" y="22813"/>
                  </a:lnTo>
                  <a:lnTo>
                    <a:pt x="138605" y="22142"/>
                  </a:lnTo>
                  <a:lnTo>
                    <a:pt x="136698" y="21400"/>
                  </a:lnTo>
                  <a:lnTo>
                    <a:pt x="134544" y="20588"/>
                  </a:lnTo>
                  <a:lnTo>
                    <a:pt x="129635" y="18787"/>
                  </a:lnTo>
                  <a:lnTo>
                    <a:pt x="124056" y="16810"/>
                  </a:lnTo>
                  <a:lnTo>
                    <a:pt x="118017" y="14691"/>
                  </a:lnTo>
                  <a:lnTo>
                    <a:pt x="111696" y="12537"/>
                  </a:lnTo>
                  <a:lnTo>
                    <a:pt x="105269" y="10347"/>
                  </a:lnTo>
                  <a:lnTo>
                    <a:pt x="98948" y="8228"/>
                  </a:lnTo>
                  <a:lnTo>
                    <a:pt x="87365" y="4415"/>
                  </a:lnTo>
                  <a:lnTo>
                    <a:pt x="78466" y="1554"/>
                  </a:lnTo>
                  <a:lnTo>
                    <a:pt x="75535" y="636"/>
                  </a:lnTo>
                  <a:lnTo>
                    <a:pt x="73840" y="142"/>
                  </a:lnTo>
                  <a:lnTo>
                    <a:pt x="73346" y="36"/>
                  </a:lnTo>
                  <a:lnTo>
                    <a:pt x="72675" y="0"/>
                  </a:lnTo>
                  <a:close/>
                </a:path>
              </a:pathLst>
            </a:custGeom>
            <a:solidFill>
              <a:srgbClr val="FCBF0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84" name="Google Shape;790;g2e0683f995c_0_0">
              <a:extLst>
                <a:ext uri="{FF2B5EF4-FFF2-40B4-BE49-F238E27FC236}">
                  <a16:creationId xmlns:a16="http://schemas.microsoft.com/office/drawing/2014/main" id="{1898A98E-DFBC-D731-3A7C-3BF9963F67B4}"/>
                </a:ext>
              </a:extLst>
            </p:cNvPr>
            <p:cNvSpPr/>
            <p:nvPr/>
          </p:nvSpPr>
          <p:spPr>
            <a:xfrm>
              <a:off x="1323228" y="1896842"/>
              <a:ext cx="1441762" cy="555939"/>
            </a:xfrm>
            <a:custGeom>
              <a:avLst/>
              <a:gdLst/>
              <a:ahLst/>
              <a:cxnLst/>
              <a:rect l="l" t="t" r="r" b="b"/>
              <a:pathLst>
                <a:path w="147081" h="56714" fill="none" extrusionOk="0">
                  <a:moveTo>
                    <a:pt x="145244" y="42165"/>
                  </a:moveTo>
                  <a:lnTo>
                    <a:pt x="145244" y="42165"/>
                  </a:lnTo>
                  <a:lnTo>
                    <a:pt x="143725" y="42518"/>
                  </a:lnTo>
                  <a:lnTo>
                    <a:pt x="140971" y="43118"/>
                  </a:lnTo>
                  <a:lnTo>
                    <a:pt x="132319" y="44919"/>
                  </a:lnTo>
                  <a:lnTo>
                    <a:pt x="120807" y="47250"/>
                  </a:lnTo>
                  <a:lnTo>
                    <a:pt x="108024" y="49863"/>
                  </a:lnTo>
                  <a:lnTo>
                    <a:pt x="84505" y="54595"/>
                  </a:lnTo>
                  <a:lnTo>
                    <a:pt x="73946" y="56714"/>
                  </a:lnTo>
                  <a:lnTo>
                    <a:pt x="73946" y="56714"/>
                  </a:lnTo>
                  <a:lnTo>
                    <a:pt x="72957" y="56290"/>
                  </a:lnTo>
                  <a:lnTo>
                    <a:pt x="72957" y="56290"/>
                  </a:lnTo>
                  <a:lnTo>
                    <a:pt x="67413" y="54030"/>
                  </a:lnTo>
                  <a:lnTo>
                    <a:pt x="58126" y="50181"/>
                  </a:lnTo>
                  <a:lnTo>
                    <a:pt x="46508" y="45272"/>
                  </a:lnTo>
                  <a:lnTo>
                    <a:pt x="40222" y="42624"/>
                  </a:lnTo>
                  <a:lnTo>
                    <a:pt x="33866" y="39869"/>
                  </a:lnTo>
                  <a:lnTo>
                    <a:pt x="27580" y="37150"/>
                  </a:lnTo>
                  <a:lnTo>
                    <a:pt x="21577" y="34466"/>
                  </a:lnTo>
                  <a:lnTo>
                    <a:pt x="15997" y="31924"/>
                  </a:lnTo>
                  <a:lnTo>
                    <a:pt x="13419" y="30723"/>
                  </a:lnTo>
                  <a:lnTo>
                    <a:pt x="11018" y="29558"/>
                  </a:lnTo>
                  <a:lnTo>
                    <a:pt x="8793" y="28498"/>
                  </a:lnTo>
                  <a:lnTo>
                    <a:pt x="6816" y="27474"/>
                  </a:lnTo>
                  <a:lnTo>
                    <a:pt x="5050" y="26556"/>
                  </a:lnTo>
                  <a:lnTo>
                    <a:pt x="3532" y="25709"/>
                  </a:lnTo>
                  <a:lnTo>
                    <a:pt x="2296" y="24967"/>
                  </a:lnTo>
                  <a:lnTo>
                    <a:pt x="1342" y="24367"/>
                  </a:lnTo>
                  <a:lnTo>
                    <a:pt x="1024" y="24084"/>
                  </a:lnTo>
                  <a:lnTo>
                    <a:pt x="742" y="23837"/>
                  </a:lnTo>
                  <a:lnTo>
                    <a:pt x="565" y="23625"/>
                  </a:lnTo>
                  <a:lnTo>
                    <a:pt x="459" y="23449"/>
                  </a:lnTo>
                  <a:lnTo>
                    <a:pt x="459" y="23449"/>
                  </a:lnTo>
                  <a:lnTo>
                    <a:pt x="283" y="22672"/>
                  </a:lnTo>
                  <a:lnTo>
                    <a:pt x="141" y="21824"/>
                  </a:lnTo>
                  <a:lnTo>
                    <a:pt x="36" y="20941"/>
                  </a:lnTo>
                  <a:lnTo>
                    <a:pt x="0" y="20023"/>
                  </a:lnTo>
                  <a:lnTo>
                    <a:pt x="0" y="19034"/>
                  </a:lnTo>
                  <a:lnTo>
                    <a:pt x="71" y="18081"/>
                  </a:lnTo>
                  <a:lnTo>
                    <a:pt x="212" y="17092"/>
                  </a:lnTo>
                  <a:lnTo>
                    <a:pt x="353" y="16174"/>
                  </a:lnTo>
                  <a:lnTo>
                    <a:pt x="601" y="15256"/>
                  </a:lnTo>
                  <a:lnTo>
                    <a:pt x="883" y="14408"/>
                  </a:lnTo>
                  <a:lnTo>
                    <a:pt x="1060" y="13985"/>
                  </a:lnTo>
                  <a:lnTo>
                    <a:pt x="1271" y="13631"/>
                  </a:lnTo>
                  <a:lnTo>
                    <a:pt x="1448" y="13243"/>
                  </a:lnTo>
                  <a:lnTo>
                    <a:pt x="1695" y="12925"/>
                  </a:lnTo>
                  <a:lnTo>
                    <a:pt x="1907" y="12607"/>
                  </a:lnTo>
                  <a:lnTo>
                    <a:pt x="2190" y="12325"/>
                  </a:lnTo>
                  <a:lnTo>
                    <a:pt x="2437" y="12078"/>
                  </a:lnTo>
                  <a:lnTo>
                    <a:pt x="2755" y="11866"/>
                  </a:lnTo>
                  <a:lnTo>
                    <a:pt x="3072" y="11689"/>
                  </a:lnTo>
                  <a:lnTo>
                    <a:pt x="3390" y="11513"/>
                  </a:lnTo>
                  <a:lnTo>
                    <a:pt x="3743" y="11407"/>
                  </a:lnTo>
                  <a:lnTo>
                    <a:pt x="4097" y="11336"/>
                  </a:lnTo>
                  <a:lnTo>
                    <a:pt x="4097" y="11336"/>
                  </a:lnTo>
                  <a:lnTo>
                    <a:pt x="5262" y="11159"/>
                  </a:lnTo>
                  <a:lnTo>
                    <a:pt x="7381" y="10771"/>
                  </a:lnTo>
                  <a:lnTo>
                    <a:pt x="13914" y="9535"/>
                  </a:lnTo>
                  <a:lnTo>
                    <a:pt x="13914" y="9535"/>
                  </a:lnTo>
                  <a:lnTo>
                    <a:pt x="21577" y="8087"/>
                  </a:lnTo>
                  <a:lnTo>
                    <a:pt x="30405" y="6463"/>
                  </a:lnTo>
                  <a:lnTo>
                    <a:pt x="39798" y="4732"/>
                  </a:lnTo>
                  <a:lnTo>
                    <a:pt x="44530" y="3920"/>
                  </a:lnTo>
                  <a:lnTo>
                    <a:pt x="49156" y="3108"/>
                  </a:lnTo>
                  <a:lnTo>
                    <a:pt x="53641" y="2366"/>
                  </a:lnTo>
                  <a:lnTo>
                    <a:pt x="57843" y="1695"/>
                  </a:lnTo>
                  <a:lnTo>
                    <a:pt x="61763" y="1130"/>
                  </a:lnTo>
                  <a:lnTo>
                    <a:pt x="65259" y="636"/>
                  </a:lnTo>
                  <a:lnTo>
                    <a:pt x="68331" y="283"/>
                  </a:lnTo>
                  <a:lnTo>
                    <a:pt x="69638" y="177"/>
                  </a:lnTo>
                  <a:lnTo>
                    <a:pt x="70803" y="71"/>
                  </a:lnTo>
                  <a:lnTo>
                    <a:pt x="71827" y="36"/>
                  </a:lnTo>
                  <a:lnTo>
                    <a:pt x="72675" y="0"/>
                  </a:lnTo>
                  <a:lnTo>
                    <a:pt x="73346" y="36"/>
                  </a:lnTo>
                  <a:lnTo>
                    <a:pt x="73840" y="142"/>
                  </a:lnTo>
                  <a:lnTo>
                    <a:pt x="73840" y="142"/>
                  </a:lnTo>
                  <a:lnTo>
                    <a:pt x="75535" y="636"/>
                  </a:lnTo>
                  <a:lnTo>
                    <a:pt x="78466" y="1554"/>
                  </a:lnTo>
                  <a:lnTo>
                    <a:pt x="87365" y="4415"/>
                  </a:lnTo>
                  <a:lnTo>
                    <a:pt x="98948" y="8228"/>
                  </a:lnTo>
                  <a:lnTo>
                    <a:pt x="105269" y="10347"/>
                  </a:lnTo>
                  <a:lnTo>
                    <a:pt x="111696" y="12537"/>
                  </a:lnTo>
                  <a:lnTo>
                    <a:pt x="118017" y="14691"/>
                  </a:lnTo>
                  <a:lnTo>
                    <a:pt x="124056" y="16810"/>
                  </a:lnTo>
                  <a:lnTo>
                    <a:pt x="129635" y="18787"/>
                  </a:lnTo>
                  <a:lnTo>
                    <a:pt x="134544" y="20588"/>
                  </a:lnTo>
                  <a:lnTo>
                    <a:pt x="136698" y="21400"/>
                  </a:lnTo>
                  <a:lnTo>
                    <a:pt x="138605" y="22142"/>
                  </a:lnTo>
                  <a:lnTo>
                    <a:pt x="140229" y="22813"/>
                  </a:lnTo>
                  <a:lnTo>
                    <a:pt x="141571" y="23413"/>
                  </a:lnTo>
                  <a:lnTo>
                    <a:pt x="142631" y="23908"/>
                  </a:lnTo>
                  <a:lnTo>
                    <a:pt x="143337" y="24296"/>
                  </a:lnTo>
                  <a:lnTo>
                    <a:pt x="143584" y="24473"/>
                  </a:lnTo>
                  <a:lnTo>
                    <a:pt x="143690" y="24579"/>
                  </a:lnTo>
                  <a:lnTo>
                    <a:pt x="143725" y="24685"/>
                  </a:lnTo>
                  <a:lnTo>
                    <a:pt x="143725" y="24755"/>
                  </a:lnTo>
                  <a:lnTo>
                    <a:pt x="143655" y="24755"/>
                  </a:lnTo>
                  <a:lnTo>
                    <a:pt x="143655" y="24755"/>
                  </a:lnTo>
                  <a:lnTo>
                    <a:pt x="143125" y="25038"/>
                  </a:lnTo>
                  <a:lnTo>
                    <a:pt x="142489" y="25320"/>
                  </a:lnTo>
                  <a:lnTo>
                    <a:pt x="141042" y="25885"/>
                  </a:lnTo>
                  <a:lnTo>
                    <a:pt x="139382" y="26450"/>
                  </a:lnTo>
                  <a:lnTo>
                    <a:pt x="137546" y="27015"/>
                  </a:lnTo>
                  <a:lnTo>
                    <a:pt x="135497" y="27616"/>
                  </a:lnTo>
                  <a:lnTo>
                    <a:pt x="133273" y="28181"/>
                  </a:lnTo>
                  <a:lnTo>
                    <a:pt x="130871" y="28781"/>
                  </a:lnTo>
                  <a:lnTo>
                    <a:pt x="128364" y="29381"/>
                  </a:lnTo>
                  <a:lnTo>
                    <a:pt x="125716" y="29946"/>
                  </a:lnTo>
                  <a:lnTo>
                    <a:pt x="122996" y="30547"/>
                  </a:lnTo>
                  <a:lnTo>
                    <a:pt x="117311" y="31712"/>
                  </a:lnTo>
                  <a:lnTo>
                    <a:pt x="111414" y="32877"/>
                  </a:lnTo>
                  <a:lnTo>
                    <a:pt x="105481" y="34007"/>
                  </a:lnTo>
                  <a:lnTo>
                    <a:pt x="94040" y="36161"/>
                  </a:lnTo>
                  <a:lnTo>
                    <a:pt x="88848" y="37150"/>
                  </a:lnTo>
                  <a:lnTo>
                    <a:pt x="84152" y="38068"/>
                  </a:lnTo>
                  <a:lnTo>
                    <a:pt x="80126" y="38916"/>
                  </a:lnTo>
                  <a:lnTo>
                    <a:pt x="78431" y="39340"/>
                  </a:lnTo>
                  <a:lnTo>
                    <a:pt x="76913" y="39693"/>
                  </a:lnTo>
                  <a:lnTo>
                    <a:pt x="75677" y="40046"/>
                  </a:lnTo>
                  <a:lnTo>
                    <a:pt x="74688" y="40364"/>
                  </a:lnTo>
                  <a:lnTo>
                    <a:pt x="73946" y="40646"/>
                  </a:lnTo>
                  <a:lnTo>
                    <a:pt x="73699" y="40787"/>
                  </a:lnTo>
                  <a:lnTo>
                    <a:pt x="73522" y="40929"/>
                  </a:lnTo>
                  <a:lnTo>
                    <a:pt x="73522" y="40929"/>
                  </a:lnTo>
                  <a:lnTo>
                    <a:pt x="73205" y="41247"/>
                  </a:lnTo>
                  <a:lnTo>
                    <a:pt x="72922" y="41706"/>
                  </a:lnTo>
                  <a:lnTo>
                    <a:pt x="72604" y="42271"/>
                  </a:lnTo>
                  <a:lnTo>
                    <a:pt x="72287" y="42906"/>
                  </a:lnTo>
                  <a:lnTo>
                    <a:pt x="72004" y="43613"/>
                  </a:lnTo>
                  <a:lnTo>
                    <a:pt x="71757" y="44389"/>
                  </a:lnTo>
                  <a:lnTo>
                    <a:pt x="71545" y="45237"/>
                  </a:lnTo>
                  <a:lnTo>
                    <a:pt x="71368" y="46084"/>
                  </a:lnTo>
                  <a:lnTo>
                    <a:pt x="71227" y="46967"/>
                  </a:lnTo>
                  <a:lnTo>
                    <a:pt x="71192" y="47850"/>
                  </a:lnTo>
                  <a:lnTo>
                    <a:pt x="71192" y="48698"/>
                  </a:lnTo>
                  <a:lnTo>
                    <a:pt x="71227" y="49121"/>
                  </a:lnTo>
                  <a:lnTo>
                    <a:pt x="71262" y="49545"/>
                  </a:lnTo>
                  <a:lnTo>
                    <a:pt x="71333" y="49969"/>
                  </a:lnTo>
                  <a:lnTo>
                    <a:pt x="71439" y="50357"/>
                  </a:lnTo>
                  <a:lnTo>
                    <a:pt x="71545" y="50746"/>
                  </a:lnTo>
                  <a:lnTo>
                    <a:pt x="71722" y="51134"/>
                  </a:lnTo>
                  <a:lnTo>
                    <a:pt x="71863" y="51487"/>
                  </a:lnTo>
                  <a:lnTo>
                    <a:pt x="72075" y="51805"/>
                  </a:lnTo>
                  <a:lnTo>
                    <a:pt x="72287" y="52123"/>
                  </a:lnTo>
                  <a:lnTo>
                    <a:pt x="72569" y="52441"/>
                  </a:lnTo>
                  <a:lnTo>
                    <a:pt x="72569" y="52441"/>
                  </a:lnTo>
                  <a:lnTo>
                    <a:pt x="72922" y="52759"/>
                  </a:lnTo>
                  <a:lnTo>
                    <a:pt x="73311" y="53041"/>
                  </a:lnTo>
                  <a:lnTo>
                    <a:pt x="73734" y="53288"/>
                  </a:lnTo>
                  <a:lnTo>
                    <a:pt x="74229" y="53500"/>
                  </a:lnTo>
                  <a:lnTo>
                    <a:pt x="74758" y="53642"/>
                  </a:lnTo>
                  <a:lnTo>
                    <a:pt x="75359" y="53783"/>
                  </a:lnTo>
                  <a:lnTo>
                    <a:pt x="75994" y="53818"/>
                  </a:lnTo>
                  <a:lnTo>
                    <a:pt x="76701" y="53818"/>
                  </a:lnTo>
                  <a:lnTo>
                    <a:pt x="76701" y="53818"/>
                  </a:lnTo>
                  <a:lnTo>
                    <a:pt x="77619" y="53783"/>
                  </a:lnTo>
                  <a:lnTo>
                    <a:pt x="78855" y="53642"/>
                  </a:lnTo>
                  <a:lnTo>
                    <a:pt x="80338" y="53430"/>
                  </a:lnTo>
                  <a:lnTo>
                    <a:pt x="82068" y="53182"/>
                  </a:lnTo>
                  <a:lnTo>
                    <a:pt x="86129" y="52476"/>
                  </a:lnTo>
                  <a:lnTo>
                    <a:pt x="90932" y="51593"/>
                  </a:lnTo>
                  <a:lnTo>
                    <a:pt x="96300" y="50534"/>
                  </a:lnTo>
                  <a:lnTo>
                    <a:pt x="102056" y="49369"/>
                  </a:lnTo>
                  <a:lnTo>
                    <a:pt x="108024" y="48133"/>
                  </a:lnTo>
                  <a:lnTo>
                    <a:pt x="114062" y="46861"/>
                  </a:lnTo>
                  <a:lnTo>
                    <a:pt x="125680" y="44389"/>
                  </a:lnTo>
                  <a:lnTo>
                    <a:pt x="135603" y="42235"/>
                  </a:lnTo>
                  <a:lnTo>
                    <a:pt x="145103" y="40117"/>
                  </a:lnTo>
                  <a:lnTo>
                    <a:pt x="145103" y="40117"/>
                  </a:lnTo>
                  <a:lnTo>
                    <a:pt x="145703" y="40293"/>
                  </a:lnTo>
                  <a:lnTo>
                    <a:pt x="146268" y="40470"/>
                  </a:lnTo>
                  <a:lnTo>
                    <a:pt x="146515" y="40611"/>
                  </a:lnTo>
                  <a:lnTo>
                    <a:pt x="146762" y="40717"/>
                  </a:lnTo>
                  <a:lnTo>
                    <a:pt x="146939" y="40858"/>
                  </a:lnTo>
                  <a:lnTo>
                    <a:pt x="147045" y="41035"/>
                  </a:lnTo>
                  <a:lnTo>
                    <a:pt x="147080" y="41105"/>
                  </a:lnTo>
                  <a:lnTo>
                    <a:pt x="147080" y="41211"/>
                  </a:lnTo>
                  <a:lnTo>
                    <a:pt x="147045" y="41282"/>
                  </a:lnTo>
                  <a:lnTo>
                    <a:pt x="147009" y="41388"/>
                  </a:lnTo>
                  <a:lnTo>
                    <a:pt x="146904" y="41458"/>
                  </a:lnTo>
                  <a:lnTo>
                    <a:pt x="146798" y="41564"/>
                  </a:lnTo>
                  <a:lnTo>
                    <a:pt x="146444" y="41776"/>
                  </a:lnTo>
                  <a:lnTo>
                    <a:pt x="145950" y="41953"/>
                  </a:lnTo>
                  <a:lnTo>
                    <a:pt x="145244" y="42165"/>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85" name="Google Shape;791;g2e0683f995c_0_0">
              <a:extLst>
                <a:ext uri="{FF2B5EF4-FFF2-40B4-BE49-F238E27FC236}">
                  <a16:creationId xmlns:a16="http://schemas.microsoft.com/office/drawing/2014/main" id="{7131017B-9A60-CF51-0905-3135051B94C7}"/>
                </a:ext>
              </a:extLst>
            </p:cNvPr>
            <p:cNvSpPr/>
            <p:nvPr/>
          </p:nvSpPr>
          <p:spPr>
            <a:xfrm>
              <a:off x="1323228" y="2003111"/>
              <a:ext cx="720709" cy="445524"/>
            </a:xfrm>
            <a:custGeom>
              <a:avLst/>
              <a:gdLst/>
              <a:ahLst/>
              <a:cxnLst/>
              <a:rect l="l" t="t" r="r" b="b"/>
              <a:pathLst>
                <a:path w="73523" h="45450" extrusionOk="0">
                  <a:moveTo>
                    <a:pt x="6992" y="1"/>
                  </a:moveTo>
                  <a:lnTo>
                    <a:pt x="5156" y="318"/>
                  </a:lnTo>
                  <a:lnTo>
                    <a:pt x="4097" y="495"/>
                  </a:lnTo>
                  <a:lnTo>
                    <a:pt x="3814" y="530"/>
                  </a:lnTo>
                  <a:lnTo>
                    <a:pt x="3567" y="601"/>
                  </a:lnTo>
                  <a:lnTo>
                    <a:pt x="3320" y="707"/>
                  </a:lnTo>
                  <a:lnTo>
                    <a:pt x="3072" y="813"/>
                  </a:lnTo>
                  <a:lnTo>
                    <a:pt x="2649" y="1095"/>
                  </a:lnTo>
                  <a:lnTo>
                    <a:pt x="2225" y="1449"/>
                  </a:lnTo>
                  <a:lnTo>
                    <a:pt x="1872" y="1872"/>
                  </a:lnTo>
                  <a:lnTo>
                    <a:pt x="1519" y="2331"/>
                  </a:lnTo>
                  <a:lnTo>
                    <a:pt x="1236" y="2861"/>
                  </a:lnTo>
                  <a:lnTo>
                    <a:pt x="954" y="3426"/>
                  </a:lnTo>
                  <a:lnTo>
                    <a:pt x="742" y="4026"/>
                  </a:lnTo>
                  <a:lnTo>
                    <a:pt x="530" y="4662"/>
                  </a:lnTo>
                  <a:lnTo>
                    <a:pt x="353" y="5333"/>
                  </a:lnTo>
                  <a:lnTo>
                    <a:pt x="247" y="6004"/>
                  </a:lnTo>
                  <a:lnTo>
                    <a:pt x="141" y="6710"/>
                  </a:lnTo>
                  <a:lnTo>
                    <a:pt x="71" y="7416"/>
                  </a:lnTo>
                  <a:lnTo>
                    <a:pt x="36" y="8123"/>
                  </a:lnTo>
                  <a:lnTo>
                    <a:pt x="0" y="8829"/>
                  </a:lnTo>
                  <a:lnTo>
                    <a:pt x="36" y="9853"/>
                  </a:lnTo>
                  <a:lnTo>
                    <a:pt x="141" y="10842"/>
                  </a:lnTo>
                  <a:lnTo>
                    <a:pt x="283" y="11760"/>
                  </a:lnTo>
                  <a:lnTo>
                    <a:pt x="459" y="12608"/>
                  </a:lnTo>
                  <a:lnTo>
                    <a:pt x="565" y="12784"/>
                  </a:lnTo>
                  <a:lnTo>
                    <a:pt x="742" y="12996"/>
                  </a:lnTo>
                  <a:lnTo>
                    <a:pt x="1024" y="13243"/>
                  </a:lnTo>
                  <a:lnTo>
                    <a:pt x="1342" y="13526"/>
                  </a:lnTo>
                  <a:lnTo>
                    <a:pt x="2296" y="14126"/>
                  </a:lnTo>
                  <a:lnTo>
                    <a:pt x="3532" y="14868"/>
                  </a:lnTo>
                  <a:lnTo>
                    <a:pt x="5050" y="15715"/>
                  </a:lnTo>
                  <a:lnTo>
                    <a:pt x="6816" y="16633"/>
                  </a:lnTo>
                  <a:lnTo>
                    <a:pt x="8793" y="17657"/>
                  </a:lnTo>
                  <a:lnTo>
                    <a:pt x="11018" y="18717"/>
                  </a:lnTo>
                  <a:lnTo>
                    <a:pt x="13419" y="19882"/>
                  </a:lnTo>
                  <a:lnTo>
                    <a:pt x="15997" y="21083"/>
                  </a:lnTo>
                  <a:lnTo>
                    <a:pt x="21577" y="23625"/>
                  </a:lnTo>
                  <a:lnTo>
                    <a:pt x="27580" y="26309"/>
                  </a:lnTo>
                  <a:lnTo>
                    <a:pt x="33866" y="29028"/>
                  </a:lnTo>
                  <a:lnTo>
                    <a:pt x="40222" y="31783"/>
                  </a:lnTo>
                  <a:lnTo>
                    <a:pt x="46508" y="34431"/>
                  </a:lnTo>
                  <a:lnTo>
                    <a:pt x="58126" y="39340"/>
                  </a:lnTo>
                  <a:lnTo>
                    <a:pt x="67413" y="43189"/>
                  </a:lnTo>
                  <a:lnTo>
                    <a:pt x="72957" y="45449"/>
                  </a:lnTo>
                  <a:lnTo>
                    <a:pt x="72675" y="44390"/>
                  </a:lnTo>
                  <a:lnTo>
                    <a:pt x="72498" y="43436"/>
                  </a:lnTo>
                  <a:lnTo>
                    <a:pt x="72428" y="43048"/>
                  </a:lnTo>
                  <a:lnTo>
                    <a:pt x="72428" y="42695"/>
                  </a:lnTo>
                  <a:lnTo>
                    <a:pt x="72428" y="42377"/>
                  </a:lnTo>
                  <a:lnTo>
                    <a:pt x="72463" y="42130"/>
                  </a:lnTo>
                  <a:lnTo>
                    <a:pt x="72569" y="41600"/>
                  </a:lnTo>
                  <a:lnTo>
                    <a:pt x="72216" y="41176"/>
                  </a:lnTo>
                  <a:lnTo>
                    <a:pt x="71933" y="40717"/>
                  </a:lnTo>
                  <a:lnTo>
                    <a:pt x="71686" y="40223"/>
                  </a:lnTo>
                  <a:lnTo>
                    <a:pt x="71474" y="39693"/>
                  </a:lnTo>
                  <a:lnTo>
                    <a:pt x="71333" y="39128"/>
                  </a:lnTo>
                  <a:lnTo>
                    <a:pt x="71262" y="38563"/>
                  </a:lnTo>
                  <a:lnTo>
                    <a:pt x="71192" y="37963"/>
                  </a:lnTo>
                  <a:lnTo>
                    <a:pt x="71157" y="37362"/>
                  </a:lnTo>
                  <a:lnTo>
                    <a:pt x="71192" y="36797"/>
                  </a:lnTo>
                  <a:lnTo>
                    <a:pt x="71227" y="36232"/>
                  </a:lnTo>
                  <a:lnTo>
                    <a:pt x="71298" y="35667"/>
                  </a:lnTo>
                  <a:lnTo>
                    <a:pt x="71404" y="35067"/>
                  </a:lnTo>
                  <a:lnTo>
                    <a:pt x="71510" y="34537"/>
                  </a:lnTo>
                  <a:lnTo>
                    <a:pt x="71651" y="33972"/>
                  </a:lnTo>
                  <a:lnTo>
                    <a:pt x="71969" y="32948"/>
                  </a:lnTo>
                  <a:lnTo>
                    <a:pt x="72322" y="31995"/>
                  </a:lnTo>
                  <a:lnTo>
                    <a:pt x="72710" y="31182"/>
                  </a:lnTo>
                  <a:lnTo>
                    <a:pt x="72922" y="30865"/>
                  </a:lnTo>
                  <a:lnTo>
                    <a:pt x="73134" y="30547"/>
                  </a:lnTo>
                  <a:lnTo>
                    <a:pt x="73311" y="30300"/>
                  </a:lnTo>
                  <a:lnTo>
                    <a:pt x="73522" y="30088"/>
                  </a:lnTo>
                  <a:lnTo>
                    <a:pt x="68967" y="28640"/>
                  </a:lnTo>
                  <a:lnTo>
                    <a:pt x="61622" y="26274"/>
                  </a:lnTo>
                  <a:lnTo>
                    <a:pt x="57208" y="24826"/>
                  </a:lnTo>
                  <a:lnTo>
                    <a:pt x="52476" y="23237"/>
                  </a:lnTo>
                  <a:lnTo>
                    <a:pt x="47532" y="21542"/>
                  </a:lnTo>
                  <a:lnTo>
                    <a:pt x="42553" y="19776"/>
                  </a:lnTo>
                  <a:lnTo>
                    <a:pt x="37609" y="17975"/>
                  </a:lnTo>
                  <a:lnTo>
                    <a:pt x="32877" y="16174"/>
                  </a:lnTo>
                  <a:lnTo>
                    <a:pt x="30617" y="15256"/>
                  </a:lnTo>
                  <a:lnTo>
                    <a:pt x="28427" y="14373"/>
                  </a:lnTo>
                  <a:lnTo>
                    <a:pt x="26379" y="13490"/>
                  </a:lnTo>
                  <a:lnTo>
                    <a:pt x="24437" y="12643"/>
                  </a:lnTo>
                  <a:lnTo>
                    <a:pt x="22671" y="11831"/>
                  </a:lnTo>
                  <a:lnTo>
                    <a:pt x="21047" y="11018"/>
                  </a:lnTo>
                  <a:lnTo>
                    <a:pt x="19599" y="10242"/>
                  </a:lnTo>
                  <a:lnTo>
                    <a:pt x="18328" y="9500"/>
                  </a:lnTo>
                  <a:lnTo>
                    <a:pt x="17763" y="9147"/>
                  </a:lnTo>
                  <a:lnTo>
                    <a:pt x="17268" y="8794"/>
                  </a:lnTo>
                  <a:lnTo>
                    <a:pt x="16809" y="8441"/>
                  </a:lnTo>
                  <a:lnTo>
                    <a:pt x="16421" y="8123"/>
                  </a:lnTo>
                  <a:lnTo>
                    <a:pt x="16103" y="7805"/>
                  </a:lnTo>
                  <a:lnTo>
                    <a:pt x="15821" y="7522"/>
                  </a:lnTo>
                  <a:lnTo>
                    <a:pt x="15609" y="7240"/>
                  </a:lnTo>
                  <a:lnTo>
                    <a:pt x="15467" y="6957"/>
                  </a:lnTo>
                  <a:lnTo>
                    <a:pt x="15185" y="6181"/>
                  </a:lnTo>
                  <a:lnTo>
                    <a:pt x="14938" y="5439"/>
                  </a:lnTo>
                  <a:lnTo>
                    <a:pt x="14726" y="4627"/>
                  </a:lnTo>
                  <a:lnTo>
                    <a:pt x="14549" y="3850"/>
                  </a:lnTo>
                  <a:lnTo>
                    <a:pt x="12360" y="2755"/>
                  </a:lnTo>
                  <a:lnTo>
                    <a:pt x="10347" y="1766"/>
                  </a:lnTo>
                  <a:lnTo>
                    <a:pt x="8546" y="848"/>
                  </a:lnTo>
                  <a:lnTo>
                    <a:pt x="6992" y="1"/>
                  </a:lnTo>
                  <a:close/>
                </a:path>
              </a:pathLst>
            </a:custGeom>
            <a:solidFill>
              <a:srgbClr val="BE921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86" name="Google Shape;792;g2e0683f995c_0_0">
              <a:extLst>
                <a:ext uri="{FF2B5EF4-FFF2-40B4-BE49-F238E27FC236}">
                  <a16:creationId xmlns:a16="http://schemas.microsoft.com/office/drawing/2014/main" id="{567048A4-7147-A0BA-D5A6-0B74B18CBA7A}"/>
                </a:ext>
              </a:extLst>
            </p:cNvPr>
            <p:cNvSpPr/>
            <p:nvPr/>
          </p:nvSpPr>
          <p:spPr>
            <a:xfrm>
              <a:off x="1323228" y="2003111"/>
              <a:ext cx="720709" cy="445524"/>
            </a:xfrm>
            <a:custGeom>
              <a:avLst/>
              <a:gdLst/>
              <a:ahLst/>
              <a:cxnLst/>
              <a:rect l="l" t="t" r="r" b="b"/>
              <a:pathLst>
                <a:path w="73523" h="45450" fill="none" extrusionOk="0">
                  <a:moveTo>
                    <a:pt x="6992" y="1"/>
                  </a:moveTo>
                  <a:lnTo>
                    <a:pt x="6992" y="1"/>
                  </a:lnTo>
                  <a:lnTo>
                    <a:pt x="5156" y="318"/>
                  </a:lnTo>
                  <a:lnTo>
                    <a:pt x="4097" y="495"/>
                  </a:lnTo>
                  <a:lnTo>
                    <a:pt x="4097" y="495"/>
                  </a:lnTo>
                  <a:lnTo>
                    <a:pt x="3814" y="530"/>
                  </a:lnTo>
                  <a:lnTo>
                    <a:pt x="3567" y="601"/>
                  </a:lnTo>
                  <a:lnTo>
                    <a:pt x="3320" y="707"/>
                  </a:lnTo>
                  <a:lnTo>
                    <a:pt x="3072" y="813"/>
                  </a:lnTo>
                  <a:lnTo>
                    <a:pt x="2649" y="1095"/>
                  </a:lnTo>
                  <a:lnTo>
                    <a:pt x="2225" y="1449"/>
                  </a:lnTo>
                  <a:lnTo>
                    <a:pt x="1872" y="1872"/>
                  </a:lnTo>
                  <a:lnTo>
                    <a:pt x="1519" y="2331"/>
                  </a:lnTo>
                  <a:lnTo>
                    <a:pt x="1236" y="2861"/>
                  </a:lnTo>
                  <a:lnTo>
                    <a:pt x="954" y="3426"/>
                  </a:lnTo>
                  <a:lnTo>
                    <a:pt x="742" y="4026"/>
                  </a:lnTo>
                  <a:lnTo>
                    <a:pt x="530" y="4662"/>
                  </a:lnTo>
                  <a:lnTo>
                    <a:pt x="353" y="5333"/>
                  </a:lnTo>
                  <a:lnTo>
                    <a:pt x="247" y="6004"/>
                  </a:lnTo>
                  <a:lnTo>
                    <a:pt x="141" y="6710"/>
                  </a:lnTo>
                  <a:lnTo>
                    <a:pt x="71" y="7416"/>
                  </a:lnTo>
                  <a:lnTo>
                    <a:pt x="36" y="8123"/>
                  </a:lnTo>
                  <a:lnTo>
                    <a:pt x="0" y="8829"/>
                  </a:lnTo>
                  <a:lnTo>
                    <a:pt x="0" y="8829"/>
                  </a:lnTo>
                  <a:lnTo>
                    <a:pt x="36" y="9853"/>
                  </a:lnTo>
                  <a:lnTo>
                    <a:pt x="141" y="10842"/>
                  </a:lnTo>
                  <a:lnTo>
                    <a:pt x="283" y="11760"/>
                  </a:lnTo>
                  <a:lnTo>
                    <a:pt x="459" y="12608"/>
                  </a:lnTo>
                  <a:lnTo>
                    <a:pt x="459" y="12608"/>
                  </a:lnTo>
                  <a:lnTo>
                    <a:pt x="565" y="12784"/>
                  </a:lnTo>
                  <a:lnTo>
                    <a:pt x="742" y="12996"/>
                  </a:lnTo>
                  <a:lnTo>
                    <a:pt x="1024" y="13243"/>
                  </a:lnTo>
                  <a:lnTo>
                    <a:pt x="1342" y="13526"/>
                  </a:lnTo>
                  <a:lnTo>
                    <a:pt x="2296" y="14126"/>
                  </a:lnTo>
                  <a:lnTo>
                    <a:pt x="3532" y="14868"/>
                  </a:lnTo>
                  <a:lnTo>
                    <a:pt x="5050" y="15715"/>
                  </a:lnTo>
                  <a:lnTo>
                    <a:pt x="6816" y="16633"/>
                  </a:lnTo>
                  <a:lnTo>
                    <a:pt x="8793" y="17657"/>
                  </a:lnTo>
                  <a:lnTo>
                    <a:pt x="11018" y="18717"/>
                  </a:lnTo>
                  <a:lnTo>
                    <a:pt x="13419" y="19882"/>
                  </a:lnTo>
                  <a:lnTo>
                    <a:pt x="15997" y="21083"/>
                  </a:lnTo>
                  <a:lnTo>
                    <a:pt x="21577" y="23625"/>
                  </a:lnTo>
                  <a:lnTo>
                    <a:pt x="27580" y="26309"/>
                  </a:lnTo>
                  <a:lnTo>
                    <a:pt x="33866" y="29028"/>
                  </a:lnTo>
                  <a:lnTo>
                    <a:pt x="40222" y="31783"/>
                  </a:lnTo>
                  <a:lnTo>
                    <a:pt x="46508" y="34431"/>
                  </a:lnTo>
                  <a:lnTo>
                    <a:pt x="58126" y="39340"/>
                  </a:lnTo>
                  <a:lnTo>
                    <a:pt x="67413" y="43189"/>
                  </a:lnTo>
                  <a:lnTo>
                    <a:pt x="72957" y="45449"/>
                  </a:lnTo>
                  <a:lnTo>
                    <a:pt x="72957" y="45449"/>
                  </a:lnTo>
                  <a:lnTo>
                    <a:pt x="72675" y="44390"/>
                  </a:lnTo>
                  <a:lnTo>
                    <a:pt x="72498" y="43436"/>
                  </a:lnTo>
                  <a:lnTo>
                    <a:pt x="72428" y="43048"/>
                  </a:lnTo>
                  <a:lnTo>
                    <a:pt x="72428" y="42695"/>
                  </a:lnTo>
                  <a:lnTo>
                    <a:pt x="72428" y="42377"/>
                  </a:lnTo>
                  <a:lnTo>
                    <a:pt x="72463" y="42130"/>
                  </a:lnTo>
                  <a:lnTo>
                    <a:pt x="72463" y="42130"/>
                  </a:lnTo>
                  <a:lnTo>
                    <a:pt x="72569" y="41600"/>
                  </a:lnTo>
                  <a:lnTo>
                    <a:pt x="72569" y="41600"/>
                  </a:lnTo>
                  <a:lnTo>
                    <a:pt x="72216" y="41176"/>
                  </a:lnTo>
                  <a:lnTo>
                    <a:pt x="71933" y="40717"/>
                  </a:lnTo>
                  <a:lnTo>
                    <a:pt x="71686" y="40223"/>
                  </a:lnTo>
                  <a:lnTo>
                    <a:pt x="71474" y="39693"/>
                  </a:lnTo>
                  <a:lnTo>
                    <a:pt x="71333" y="39128"/>
                  </a:lnTo>
                  <a:lnTo>
                    <a:pt x="71262" y="38563"/>
                  </a:lnTo>
                  <a:lnTo>
                    <a:pt x="71192" y="37963"/>
                  </a:lnTo>
                  <a:lnTo>
                    <a:pt x="71157" y="37362"/>
                  </a:lnTo>
                  <a:lnTo>
                    <a:pt x="71157" y="37362"/>
                  </a:lnTo>
                  <a:lnTo>
                    <a:pt x="71192" y="36797"/>
                  </a:lnTo>
                  <a:lnTo>
                    <a:pt x="71227" y="36232"/>
                  </a:lnTo>
                  <a:lnTo>
                    <a:pt x="71298" y="35667"/>
                  </a:lnTo>
                  <a:lnTo>
                    <a:pt x="71404" y="35067"/>
                  </a:lnTo>
                  <a:lnTo>
                    <a:pt x="71510" y="34537"/>
                  </a:lnTo>
                  <a:lnTo>
                    <a:pt x="71651" y="33972"/>
                  </a:lnTo>
                  <a:lnTo>
                    <a:pt x="71969" y="32948"/>
                  </a:lnTo>
                  <a:lnTo>
                    <a:pt x="72322" y="31995"/>
                  </a:lnTo>
                  <a:lnTo>
                    <a:pt x="72710" y="31182"/>
                  </a:lnTo>
                  <a:lnTo>
                    <a:pt x="72922" y="30865"/>
                  </a:lnTo>
                  <a:lnTo>
                    <a:pt x="73134" y="30547"/>
                  </a:lnTo>
                  <a:lnTo>
                    <a:pt x="73311" y="30300"/>
                  </a:lnTo>
                  <a:lnTo>
                    <a:pt x="73522" y="30088"/>
                  </a:lnTo>
                  <a:lnTo>
                    <a:pt x="73522" y="30088"/>
                  </a:lnTo>
                  <a:lnTo>
                    <a:pt x="68967" y="28640"/>
                  </a:lnTo>
                  <a:lnTo>
                    <a:pt x="61622" y="26274"/>
                  </a:lnTo>
                  <a:lnTo>
                    <a:pt x="57208" y="24826"/>
                  </a:lnTo>
                  <a:lnTo>
                    <a:pt x="52476" y="23237"/>
                  </a:lnTo>
                  <a:lnTo>
                    <a:pt x="47532" y="21542"/>
                  </a:lnTo>
                  <a:lnTo>
                    <a:pt x="42553" y="19776"/>
                  </a:lnTo>
                  <a:lnTo>
                    <a:pt x="37609" y="17975"/>
                  </a:lnTo>
                  <a:lnTo>
                    <a:pt x="32877" y="16174"/>
                  </a:lnTo>
                  <a:lnTo>
                    <a:pt x="30617" y="15256"/>
                  </a:lnTo>
                  <a:lnTo>
                    <a:pt x="28427" y="14373"/>
                  </a:lnTo>
                  <a:lnTo>
                    <a:pt x="26379" y="13490"/>
                  </a:lnTo>
                  <a:lnTo>
                    <a:pt x="24437" y="12643"/>
                  </a:lnTo>
                  <a:lnTo>
                    <a:pt x="22671" y="11831"/>
                  </a:lnTo>
                  <a:lnTo>
                    <a:pt x="21047" y="11018"/>
                  </a:lnTo>
                  <a:lnTo>
                    <a:pt x="19599" y="10242"/>
                  </a:lnTo>
                  <a:lnTo>
                    <a:pt x="18328" y="9500"/>
                  </a:lnTo>
                  <a:lnTo>
                    <a:pt x="17763" y="9147"/>
                  </a:lnTo>
                  <a:lnTo>
                    <a:pt x="17268" y="8794"/>
                  </a:lnTo>
                  <a:lnTo>
                    <a:pt x="16809" y="8441"/>
                  </a:lnTo>
                  <a:lnTo>
                    <a:pt x="16421" y="8123"/>
                  </a:lnTo>
                  <a:lnTo>
                    <a:pt x="16103" y="7805"/>
                  </a:lnTo>
                  <a:lnTo>
                    <a:pt x="15821" y="7522"/>
                  </a:lnTo>
                  <a:lnTo>
                    <a:pt x="15609" y="7240"/>
                  </a:lnTo>
                  <a:lnTo>
                    <a:pt x="15467" y="6957"/>
                  </a:lnTo>
                  <a:lnTo>
                    <a:pt x="15467" y="6957"/>
                  </a:lnTo>
                  <a:lnTo>
                    <a:pt x="15185" y="6181"/>
                  </a:lnTo>
                  <a:lnTo>
                    <a:pt x="14938" y="5439"/>
                  </a:lnTo>
                  <a:lnTo>
                    <a:pt x="14726" y="4627"/>
                  </a:lnTo>
                  <a:lnTo>
                    <a:pt x="14549" y="3850"/>
                  </a:lnTo>
                  <a:lnTo>
                    <a:pt x="14549" y="3850"/>
                  </a:lnTo>
                  <a:lnTo>
                    <a:pt x="12360" y="2755"/>
                  </a:lnTo>
                  <a:lnTo>
                    <a:pt x="10347" y="1766"/>
                  </a:lnTo>
                  <a:lnTo>
                    <a:pt x="8546" y="848"/>
                  </a:lnTo>
                  <a:lnTo>
                    <a:pt x="6992"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87" name="Google Shape;793;g2e0683f995c_0_0">
              <a:extLst>
                <a:ext uri="{FF2B5EF4-FFF2-40B4-BE49-F238E27FC236}">
                  <a16:creationId xmlns:a16="http://schemas.microsoft.com/office/drawing/2014/main" id="{920ADBA3-0613-9FB2-7FDA-FB9731F83CAE}"/>
                </a:ext>
              </a:extLst>
            </p:cNvPr>
            <p:cNvSpPr/>
            <p:nvPr/>
          </p:nvSpPr>
          <p:spPr>
            <a:xfrm>
              <a:off x="2023852" y="1992034"/>
              <a:ext cx="752214" cy="296673"/>
            </a:xfrm>
            <a:custGeom>
              <a:avLst/>
              <a:gdLst/>
              <a:ahLst/>
              <a:cxnLst/>
              <a:rect l="l" t="t" r="r" b="b"/>
              <a:pathLst>
                <a:path w="76737" h="30265" extrusionOk="0">
                  <a:moveTo>
                    <a:pt x="74335" y="1"/>
                  </a:moveTo>
                  <a:lnTo>
                    <a:pt x="10171" y="13067"/>
                  </a:lnTo>
                  <a:lnTo>
                    <a:pt x="6463" y="14620"/>
                  </a:lnTo>
                  <a:lnTo>
                    <a:pt x="3320" y="15998"/>
                  </a:lnTo>
                  <a:lnTo>
                    <a:pt x="1872" y="16633"/>
                  </a:lnTo>
                  <a:lnTo>
                    <a:pt x="707" y="17198"/>
                  </a:lnTo>
                  <a:lnTo>
                    <a:pt x="459" y="17340"/>
                  </a:lnTo>
                  <a:lnTo>
                    <a:pt x="283" y="17551"/>
                  </a:lnTo>
                  <a:lnTo>
                    <a:pt x="142" y="17799"/>
                  </a:lnTo>
                  <a:lnTo>
                    <a:pt x="71" y="18081"/>
                  </a:lnTo>
                  <a:lnTo>
                    <a:pt x="0" y="18434"/>
                  </a:lnTo>
                  <a:lnTo>
                    <a:pt x="0" y="18787"/>
                  </a:lnTo>
                  <a:lnTo>
                    <a:pt x="0" y="19211"/>
                  </a:lnTo>
                  <a:lnTo>
                    <a:pt x="36" y="19670"/>
                  </a:lnTo>
                  <a:lnTo>
                    <a:pt x="142" y="20129"/>
                  </a:lnTo>
                  <a:lnTo>
                    <a:pt x="248" y="20624"/>
                  </a:lnTo>
                  <a:lnTo>
                    <a:pt x="530" y="21648"/>
                  </a:lnTo>
                  <a:lnTo>
                    <a:pt x="918" y="22778"/>
                  </a:lnTo>
                  <a:lnTo>
                    <a:pt x="1378" y="23873"/>
                  </a:lnTo>
                  <a:lnTo>
                    <a:pt x="1907" y="25003"/>
                  </a:lnTo>
                  <a:lnTo>
                    <a:pt x="2437" y="26062"/>
                  </a:lnTo>
                  <a:lnTo>
                    <a:pt x="3002" y="27086"/>
                  </a:lnTo>
                  <a:lnTo>
                    <a:pt x="3567" y="28004"/>
                  </a:lnTo>
                  <a:lnTo>
                    <a:pt x="4132" y="28816"/>
                  </a:lnTo>
                  <a:lnTo>
                    <a:pt x="4662" y="29487"/>
                  </a:lnTo>
                  <a:lnTo>
                    <a:pt x="4874" y="29735"/>
                  </a:lnTo>
                  <a:lnTo>
                    <a:pt x="5121" y="29946"/>
                  </a:lnTo>
                  <a:lnTo>
                    <a:pt x="5333" y="30123"/>
                  </a:lnTo>
                  <a:lnTo>
                    <a:pt x="5509" y="30229"/>
                  </a:lnTo>
                  <a:lnTo>
                    <a:pt x="5650" y="30264"/>
                  </a:lnTo>
                  <a:lnTo>
                    <a:pt x="5862" y="30264"/>
                  </a:lnTo>
                  <a:lnTo>
                    <a:pt x="6604" y="30194"/>
                  </a:lnTo>
                  <a:lnTo>
                    <a:pt x="7663" y="30088"/>
                  </a:lnTo>
                  <a:lnTo>
                    <a:pt x="9041" y="29840"/>
                  </a:lnTo>
                  <a:lnTo>
                    <a:pt x="12607" y="29205"/>
                  </a:lnTo>
                  <a:lnTo>
                    <a:pt x="17163" y="28322"/>
                  </a:lnTo>
                  <a:lnTo>
                    <a:pt x="22495" y="27227"/>
                  </a:lnTo>
                  <a:lnTo>
                    <a:pt x="28428" y="25991"/>
                  </a:lnTo>
                  <a:lnTo>
                    <a:pt x="41176" y="23237"/>
                  </a:lnTo>
                  <a:lnTo>
                    <a:pt x="53924" y="20447"/>
                  </a:lnTo>
                  <a:lnTo>
                    <a:pt x="65153" y="17940"/>
                  </a:lnTo>
                  <a:lnTo>
                    <a:pt x="76736" y="15327"/>
                  </a:lnTo>
                  <a:lnTo>
                    <a:pt x="76454" y="14620"/>
                  </a:lnTo>
                  <a:lnTo>
                    <a:pt x="75783" y="12855"/>
                  </a:lnTo>
                  <a:lnTo>
                    <a:pt x="75394" y="11760"/>
                  </a:lnTo>
                  <a:lnTo>
                    <a:pt x="75006" y="10630"/>
                  </a:lnTo>
                  <a:lnTo>
                    <a:pt x="74688" y="9535"/>
                  </a:lnTo>
                  <a:lnTo>
                    <a:pt x="74441" y="8546"/>
                  </a:lnTo>
                  <a:lnTo>
                    <a:pt x="74370" y="8052"/>
                  </a:lnTo>
                  <a:lnTo>
                    <a:pt x="74300" y="7522"/>
                  </a:lnTo>
                  <a:lnTo>
                    <a:pt x="74194" y="6392"/>
                  </a:lnTo>
                  <a:lnTo>
                    <a:pt x="74158" y="5262"/>
                  </a:lnTo>
                  <a:lnTo>
                    <a:pt x="74158" y="4097"/>
                  </a:lnTo>
                  <a:lnTo>
                    <a:pt x="74264" y="1872"/>
                  </a:lnTo>
                  <a:lnTo>
                    <a:pt x="74335" y="1"/>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88" name="Google Shape;794;g2e0683f995c_0_0">
              <a:extLst>
                <a:ext uri="{FF2B5EF4-FFF2-40B4-BE49-F238E27FC236}">
                  <a16:creationId xmlns:a16="http://schemas.microsoft.com/office/drawing/2014/main" id="{59F9F858-5268-B2B2-F2E4-E84ED101062B}"/>
                </a:ext>
              </a:extLst>
            </p:cNvPr>
            <p:cNvSpPr/>
            <p:nvPr/>
          </p:nvSpPr>
          <p:spPr>
            <a:xfrm>
              <a:off x="2023852" y="1992034"/>
              <a:ext cx="752214" cy="296673"/>
            </a:xfrm>
            <a:custGeom>
              <a:avLst/>
              <a:gdLst/>
              <a:ahLst/>
              <a:cxnLst/>
              <a:rect l="l" t="t" r="r" b="b"/>
              <a:pathLst>
                <a:path w="76737" h="30265" fill="none" extrusionOk="0">
                  <a:moveTo>
                    <a:pt x="74335" y="1"/>
                  </a:moveTo>
                  <a:lnTo>
                    <a:pt x="74335" y="1"/>
                  </a:lnTo>
                  <a:lnTo>
                    <a:pt x="74264" y="1872"/>
                  </a:lnTo>
                  <a:lnTo>
                    <a:pt x="74158" y="4097"/>
                  </a:lnTo>
                  <a:lnTo>
                    <a:pt x="74158" y="5262"/>
                  </a:lnTo>
                  <a:lnTo>
                    <a:pt x="74194" y="6392"/>
                  </a:lnTo>
                  <a:lnTo>
                    <a:pt x="74300" y="7522"/>
                  </a:lnTo>
                  <a:lnTo>
                    <a:pt x="74370" y="8052"/>
                  </a:lnTo>
                  <a:lnTo>
                    <a:pt x="74441" y="8546"/>
                  </a:lnTo>
                  <a:lnTo>
                    <a:pt x="74441" y="8546"/>
                  </a:lnTo>
                  <a:lnTo>
                    <a:pt x="74688" y="9535"/>
                  </a:lnTo>
                  <a:lnTo>
                    <a:pt x="75006" y="10630"/>
                  </a:lnTo>
                  <a:lnTo>
                    <a:pt x="75394" y="11760"/>
                  </a:lnTo>
                  <a:lnTo>
                    <a:pt x="75783" y="12855"/>
                  </a:lnTo>
                  <a:lnTo>
                    <a:pt x="76454" y="14620"/>
                  </a:lnTo>
                  <a:lnTo>
                    <a:pt x="76736" y="15327"/>
                  </a:lnTo>
                  <a:lnTo>
                    <a:pt x="76736" y="15327"/>
                  </a:lnTo>
                  <a:lnTo>
                    <a:pt x="65153" y="17940"/>
                  </a:lnTo>
                  <a:lnTo>
                    <a:pt x="53924" y="20447"/>
                  </a:lnTo>
                  <a:lnTo>
                    <a:pt x="41176" y="23237"/>
                  </a:lnTo>
                  <a:lnTo>
                    <a:pt x="28428" y="25991"/>
                  </a:lnTo>
                  <a:lnTo>
                    <a:pt x="22495" y="27227"/>
                  </a:lnTo>
                  <a:lnTo>
                    <a:pt x="17163" y="28322"/>
                  </a:lnTo>
                  <a:lnTo>
                    <a:pt x="12607" y="29205"/>
                  </a:lnTo>
                  <a:lnTo>
                    <a:pt x="9041" y="29840"/>
                  </a:lnTo>
                  <a:lnTo>
                    <a:pt x="7663" y="30088"/>
                  </a:lnTo>
                  <a:lnTo>
                    <a:pt x="6604" y="30194"/>
                  </a:lnTo>
                  <a:lnTo>
                    <a:pt x="5862" y="30264"/>
                  </a:lnTo>
                  <a:lnTo>
                    <a:pt x="5650" y="30264"/>
                  </a:lnTo>
                  <a:lnTo>
                    <a:pt x="5509" y="30229"/>
                  </a:lnTo>
                  <a:lnTo>
                    <a:pt x="5509" y="30229"/>
                  </a:lnTo>
                  <a:lnTo>
                    <a:pt x="5333" y="30123"/>
                  </a:lnTo>
                  <a:lnTo>
                    <a:pt x="5121" y="29946"/>
                  </a:lnTo>
                  <a:lnTo>
                    <a:pt x="4874" y="29735"/>
                  </a:lnTo>
                  <a:lnTo>
                    <a:pt x="4662" y="29487"/>
                  </a:lnTo>
                  <a:lnTo>
                    <a:pt x="4132" y="28816"/>
                  </a:lnTo>
                  <a:lnTo>
                    <a:pt x="3567" y="28004"/>
                  </a:lnTo>
                  <a:lnTo>
                    <a:pt x="3002" y="27086"/>
                  </a:lnTo>
                  <a:lnTo>
                    <a:pt x="2437" y="26062"/>
                  </a:lnTo>
                  <a:lnTo>
                    <a:pt x="1907" y="25003"/>
                  </a:lnTo>
                  <a:lnTo>
                    <a:pt x="1378" y="23873"/>
                  </a:lnTo>
                  <a:lnTo>
                    <a:pt x="918" y="22778"/>
                  </a:lnTo>
                  <a:lnTo>
                    <a:pt x="530" y="21648"/>
                  </a:lnTo>
                  <a:lnTo>
                    <a:pt x="248" y="20624"/>
                  </a:lnTo>
                  <a:lnTo>
                    <a:pt x="142" y="20129"/>
                  </a:lnTo>
                  <a:lnTo>
                    <a:pt x="36" y="19670"/>
                  </a:lnTo>
                  <a:lnTo>
                    <a:pt x="0" y="19211"/>
                  </a:lnTo>
                  <a:lnTo>
                    <a:pt x="0" y="18787"/>
                  </a:lnTo>
                  <a:lnTo>
                    <a:pt x="0" y="18434"/>
                  </a:lnTo>
                  <a:lnTo>
                    <a:pt x="71" y="18081"/>
                  </a:lnTo>
                  <a:lnTo>
                    <a:pt x="142" y="17799"/>
                  </a:lnTo>
                  <a:lnTo>
                    <a:pt x="283" y="17551"/>
                  </a:lnTo>
                  <a:lnTo>
                    <a:pt x="459" y="17340"/>
                  </a:lnTo>
                  <a:lnTo>
                    <a:pt x="707" y="17198"/>
                  </a:lnTo>
                  <a:lnTo>
                    <a:pt x="707" y="17198"/>
                  </a:lnTo>
                  <a:lnTo>
                    <a:pt x="1872" y="16633"/>
                  </a:lnTo>
                  <a:lnTo>
                    <a:pt x="3320" y="15998"/>
                  </a:lnTo>
                  <a:lnTo>
                    <a:pt x="6463" y="14620"/>
                  </a:lnTo>
                  <a:lnTo>
                    <a:pt x="10171" y="13067"/>
                  </a:lnTo>
                  <a:lnTo>
                    <a:pt x="74335"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89" name="Google Shape;795;g2e0683f995c_0_0">
              <a:extLst>
                <a:ext uri="{FF2B5EF4-FFF2-40B4-BE49-F238E27FC236}">
                  <a16:creationId xmlns:a16="http://schemas.microsoft.com/office/drawing/2014/main" id="{9D25E8D5-7DFA-80DA-F620-3BA68B928952}"/>
                </a:ext>
              </a:extLst>
            </p:cNvPr>
            <p:cNvSpPr/>
            <p:nvPr/>
          </p:nvSpPr>
          <p:spPr>
            <a:xfrm>
              <a:off x="1354038" y="1749030"/>
              <a:ext cx="1441752" cy="555596"/>
            </a:xfrm>
            <a:custGeom>
              <a:avLst/>
              <a:gdLst/>
              <a:ahLst/>
              <a:cxnLst/>
              <a:rect l="l" t="t" r="r" b="b"/>
              <a:pathLst>
                <a:path w="147080" h="56679" extrusionOk="0">
                  <a:moveTo>
                    <a:pt x="71792" y="1"/>
                  </a:moveTo>
                  <a:lnTo>
                    <a:pt x="70803" y="71"/>
                  </a:lnTo>
                  <a:lnTo>
                    <a:pt x="69603" y="142"/>
                  </a:lnTo>
                  <a:lnTo>
                    <a:pt x="68296" y="283"/>
                  </a:lnTo>
                  <a:lnTo>
                    <a:pt x="65259" y="636"/>
                  </a:lnTo>
                  <a:lnTo>
                    <a:pt x="61763" y="1095"/>
                  </a:lnTo>
                  <a:lnTo>
                    <a:pt x="57843" y="1696"/>
                  </a:lnTo>
                  <a:lnTo>
                    <a:pt x="53606" y="2367"/>
                  </a:lnTo>
                  <a:lnTo>
                    <a:pt x="49156" y="3108"/>
                  </a:lnTo>
                  <a:lnTo>
                    <a:pt x="44530" y="3885"/>
                  </a:lnTo>
                  <a:lnTo>
                    <a:pt x="39798" y="4733"/>
                  </a:lnTo>
                  <a:lnTo>
                    <a:pt x="30370" y="6428"/>
                  </a:lnTo>
                  <a:lnTo>
                    <a:pt x="21541" y="8087"/>
                  </a:lnTo>
                  <a:lnTo>
                    <a:pt x="13878" y="9535"/>
                  </a:lnTo>
                  <a:lnTo>
                    <a:pt x="7345" y="10736"/>
                  </a:lnTo>
                  <a:lnTo>
                    <a:pt x="5262" y="11124"/>
                  </a:lnTo>
                  <a:lnTo>
                    <a:pt x="4096" y="11336"/>
                  </a:lnTo>
                  <a:lnTo>
                    <a:pt x="3708" y="11407"/>
                  </a:lnTo>
                  <a:lnTo>
                    <a:pt x="3355" y="11513"/>
                  </a:lnTo>
                  <a:lnTo>
                    <a:pt x="3037" y="11654"/>
                  </a:lnTo>
                  <a:lnTo>
                    <a:pt x="2719" y="11866"/>
                  </a:lnTo>
                  <a:lnTo>
                    <a:pt x="2437" y="12078"/>
                  </a:lnTo>
                  <a:lnTo>
                    <a:pt x="2154" y="12325"/>
                  </a:lnTo>
                  <a:lnTo>
                    <a:pt x="1907" y="12607"/>
                  </a:lnTo>
                  <a:lnTo>
                    <a:pt x="1660" y="12925"/>
                  </a:lnTo>
                  <a:lnTo>
                    <a:pt x="1448" y="13243"/>
                  </a:lnTo>
                  <a:lnTo>
                    <a:pt x="1236" y="13596"/>
                  </a:lnTo>
                  <a:lnTo>
                    <a:pt x="1059" y="13985"/>
                  </a:lnTo>
                  <a:lnTo>
                    <a:pt x="883" y="14373"/>
                  </a:lnTo>
                  <a:lnTo>
                    <a:pt x="600" y="15256"/>
                  </a:lnTo>
                  <a:lnTo>
                    <a:pt x="353" y="16139"/>
                  </a:lnTo>
                  <a:lnTo>
                    <a:pt x="177" y="17092"/>
                  </a:lnTo>
                  <a:lnTo>
                    <a:pt x="71" y="18046"/>
                  </a:lnTo>
                  <a:lnTo>
                    <a:pt x="0" y="19035"/>
                  </a:lnTo>
                  <a:lnTo>
                    <a:pt x="0" y="19988"/>
                  </a:lnTo>
                  <a:lnTo>
                    <a:pt x="35" y="20941"/>
                  </a:lnTo>
                  <a:lnTo>
                    <a:pt x="141" y="21824"/>
                  </a:lnTo>
                  <a:lnTo>
                    <a:pt x="283" y="22672"/>
                  </a:lnTo>
                  <a:lnTo>
                    <a:pt x="459" y="23413"/>
                  </a:lnTo>
                  <a:lnTo>
                    <a:pt x="530" y="23590"/>
                  </a:lnTo>
                  <a:lnTo>
                    <a:pt x="742" y="23802"/>
                  </a:lnTo>
                  <a:lnTo>
                    <a:pt x="989" y="24049"/>
                  </a:lnTo>
                  <a:lnTo>
                    <a:pt x="1342" y="24332"/>
                  </a:lnTo>
                  <a:lnTo>
                    <a:pt x="2260" y="24967"/>
                  </a:lnTo>
                  <a:lnTo>
                    <a:pt x="3496" y="25709"/>
                  </a:lnTo>
                  <a:lnTo>
                    <a:pt x="5015" y="26556"/>
                  </a:lnTo>
                  <a:lnTo>
                    <a:pt x="6780" y="27474"/>
                  </a:lnTo>
                  <a:lnTo>
                    <a:pt x="8793" y="28463"/>
                  </a:lnTo>
                  <a:lnTo>
                    <a:pt x="10983" y="29558"/>
                  </a:lnTo>
                  <a:lnTo>
                    <a:pt x="13419" y="30723"/>
                  </a:lnTo>
                  <a:lnTo>
                    <a:pt x="15962" y="31924"/>
                  </a:lnTo>
                  <a:lnTo>
                    <a:pt x="21577" y="34467"/>
                  </a:lnTo>
                  <a:lnTo>
                    <a:pt x="27580" y="37115"/>
                  </a:lnTo>
                  <a:lnTo>
                    <a:pt x="33830" y="39869"/>
                  </a:lnTo>
                  <a:lnTo>
                    <a:pt x="40187" y="42589"/>
                  </a:lnTo>
                  <a:lnTo>
                    <a:pt x="46472" y="45272"/>
                  </a:lnTo>
                  <a:lnTo>
                    <a:pt x="58126" y="50146"/>
                  </a:lnTo>
                  <a:lnTo>
                    <a:pt x="67413" y="53995"/>
                  </a:lnTo>
                  <a:lnTo>
                    <a:pt x="72957" y="56290"/>
                  </a:lnTo>
                  <a:lnTo>
                    <a:pt x="73946" y="56679"/>
                  </a:lnTo>
                  <a:lnTo>
                    <a:pt x="84470" y="54560"/>
                  </a:lnTo>
                  <a:lnTo>
                    <a:pt x="107988" y="49863"/>
                  </a:lnTo>
                  <a:lnTo>
                    <a:pt x="120807" y="47250"/>
                  </a:lnTo>
                  <a:lnTo>
                    <a:pt x="132284" y="44919"/>
                  </a:lnTo>
                  <a:lnTo>
                    <a:pt x="140935" y="43118"/>
                  </a:lnTo>
                  <a:lnTo>
                    <a:pt x="143725" y="42518"/>
                  </a:lnTo>
                  <a:lnTo>
                    <a:pt x="145208" y="42165"/>
                  </a:lnTo>
                  <a:lnTo>
                    <a:pt x="145915" y="41953"/>
                  </a:lnTo>
                  <a:lnTo>
                    <a:pt x="146444" y="41741"/>
                  </a:lnTo>
                  <a:lnTo>
                    <a:pt x="146797" y="41565"/>
                  </a:lnTo>
                  <a:lnTo>
                    <a:pt x="146903" y="41459"/>
                  </a:lnTo>
                  <a:lnTo>
                    <a:pt x="146974" y="41353"/>
                  </a:lnTo>
                  <a:lnTo>
                    <a:pt x="147045" y="41282"/>
                  </a:lnTo>
                  <a:lnTo>
                    <a:pt x="147080" y="41176"/>
                  </a:lnTo>
                  <a:lnTo>
                    <a:pt x="147080" y="41105"/>
                  </a:lnTo>
                  <a:lnTo>
                    <a:pt x="147045" y="41035"/>
                  </a:lnTo>
                  <a:lnTo>
                    <a:pt x="146939" y="40858"/>
                  </a:lnTo>
                  <a:lnTo>
                    <a:pt x="146727" y="40717"/>
                  </a:lnTo>
                  <a:lnTo>
                    <a:pt x="146515" y="40576"/>
                  </a:lnTo>
                  <a:lnTo>
                    <a:pt x="146232" y="40470"/>
                  </a:lnTo>
                  <a:lnTo>
                    <a:pt x="145703" y="40258"/>
                  </a:lnTo>
                  <a:lnTo>
                    <a:pt x="145067" y="40117"/>
                  </a:lnTo>
                  <a:lnTo>
                    <a:pt x="135568" y="42200"/>
                  </a:lnTo>
                  <a:lnTo>
                    <a:pt x="125680" y="44390"/>
                  </a:lnTo>
                  <a:lnTo>
                    <a:pt x="114062" y="46862"/>
                  </a:lnTo>
                  <a:lnTo>
                    <a:pt x="108023" y="48133"/>
                  </a:lnTo>
                  <a:lnTo>
                    <a:pt x="102020" y="49369"/>
                  </a:lnTo>
                  <a:lnTo>
                    <a:pt x="96299" y="50534"/>
                  </a:lnTo>
                  <a:lnTo>
                    <a:pt x="90932" y="51558"/>
                  </a:lnTo>
                  <a:lnTo>
                    <a:pt x="86129" y="52441"/>
                  </a:lnTo>
                  <a:lnTo>
                    <a:pt x="82033" y="53147"/>
                  </a:lnTo>
                  <a:lnTo>
                    <a:pt x="80303" y="53430"/>
                  </a:lnTo>
                  <a:lnTo>
                    <a:pt x="78819" y="53606"/>
                  </a:lnTo>
                  <a:lnTo>
                    <a:pt x="77619" y="53748"/>
                  </a:lnTo>
                  <a:lnTo>
                    <a:pt x="76665" y="53818"/>
                  </a:lnTo>
                  <a:lnTo>
                    <a:pt x="75959" y="53818"/>
                  </a:lnTo>
                  <a:lnTo>
                    <a:pt x="75323" y="53748"/>
                  </a:lnTo>
                  <a:lnTo>
                    <a:pt x="74758" y="53642"/>
                  </a:lnTo>
                  <a:lnTo>
                    <a:pt x="74193" y="53500"/>
                  </a:lnTo>
                  <a:lnTo>
                    <a:pt x="73734" y="53289"/>
                  </a:lnTo>
                  <a:lnTo>
                    <a:pt x="73275" y="53041"/>
                  </a:lnTo>
                  <a:lnTo>
                    <a:pt x="72887" y="52759"/>
                  </a:lnTo>
                  <a:lnTo>
                    <a:pt x="72534" y="52441"/>
                  </a:lnTo>
                  <a:lnTo>
                    <a:pt x="72286" y="52123"/>
                  </a:lnTo>
                  <a:lnTo>
                    <a:pt x="72075" y="51805"/>
                  </a:lnTo>
                  <a:lnTo>
                    <a:pt x="71863" y="51488"/>
                  </a:lnTo>
                  <a:lnTo>
                    <a:pt x="71686" y="51134"/>
                  </a:lnTo>
                  <a:lnTo>
                    <a:pt x="71545" y="50746"/>
                  </a:lnTo>
                  <a:lnTo>
                    <a:pt x="71439" y="50358"/>
                  </a:lnTo>
                  <a:lnTo>
                    <a:pt x="71333" y="49969"/>
                  </a:lnTo>
                  <a:lnTo>
                    <a:pt x="71262" y="49545"/>
                  </a:lnTo>
                  <a:lnTo>
                    <a:pt x="71192" y="49122"/>
                  </a:lnTo>
                  <a:lnTo>
                    <a:pt x="71156" y="48698"/>
                  </a:lnTo>
                  <a:lnTo>
                    <a:pt x="71156" y="47815"/>
                  </a:lnTo>
                  <a:lnTo>
                    <a:pt x="71227" y="46932"/>
                  </a:lnTo>
                  <a:lnTo>
                    <a:pt x="71333" y="46085"/>
                  </a:lnTo>
                  <a:lnTo>
                    <a:pt x="71510" y="45202"/>
                  </a:lnTo>
                  <a:lnTo>
                    <a:pt x="71757" y="44390"/>
                  </a:lnTo>
                  <a:lnTo>
                    <a:pt x="72004" y="43613"/>
                  </a:lnTo>
                  <a:lnTo>
                    <a:pt x="72286" y="42906"/>
                  </a:lnTo>
                  <a:lnTo>
                    <a:pt x="72569" y="42271"/>
                  </a:lnTo>
                  <a:lnTo>
                    <a:pt x="72887" y="41706"/>
                  </a:lnTo>
                  <a:lnTo>
                    <a:pt x="73205" y="41247"/>
                  </a:lnTo>
                  <a:lnTo>
                    <a:pt x="73522" y="40929"/>
                  </a:lnTo>
                  <a:lnTo>
                    <a:pt x="73699" y="40788"/>
                  </a:lnTo>
                  <a:lnTo>
                    <a:pt x="73946" y="40646"/>
                  </a:lnTo>
                  <a:lnTo>
                    <a:pt x="74652" y="40364"/>
                  </a:lnTo>
                  <a:lnTo>
                    <a:pt x="75641" y="40046"/>
                  </a:lnTo>
                  <a:lnTo>
                    <a:pt x="76912" y="39693"/>
                  </a:lnTo>
                  <a:lnTo>
                    <a:pt x="78396" y="39304"/>
                  </a:lnTo>
                  <a:lnTo>
                    <a:pt x="80126" y="38916"/>
                  </a:lnTo>
                  <a:lnTo>
                    <a:pt x="84116" y="38068"/>
                  </a:lnTo>
                  <a:lnTo>
                    <a:pt x="88813" y="37150"/>
                  </a:lnTo>
                  <a:lnTo>
                    <a:pt x="94039" y="36162"/>
                  </a:lnTo>
                  <a:lnTo>
                    <a:pt x="105446" y="34007"/>
                  </a:lnTo>
                  <a:lnTo>
                    <a:pt x="111378" y="32877"/>
                  </a:lnTo>
                  <a:lnTo>
                    <a:pt x="117276" y="31712"/>
                  </a:lnTo>
                  <a:lnTo>
                    <a:pt x="122961" y="30547"/>
                  </a:lnTo>
                  <a:lnTo>
                    <a:pt x="125715" y="29946"/>
                  </a:lnTo>
                  <a:lnTo>
                    <a:pt x="128364" y="29346"/>
                  </a:lnTo>
                  <a:lnTo>
                    <a:pt x="130871" y="28781"/>
                  </a:lnTo>
                  <a:lnTo>
                    <a:pt x="133237" y="28181"/>
                  </a:lnTo>
                  <a:lnTo>
                    <a:pt x="135462" y="27580"/>
                  </a:lnTo>
                  <a:lnTo>
                    <a:pt x="137510" y="27015"/>
                  </a:lnTo>
                  <a:lnTo>
                    <a:pt x="139382" y="26450"/>
                  </a:lnTo>
                  <a:lnTo>
                    <a:pt x="141041" y="25885"/>
                  </a:lnTo>
                  <a:lnTo>
                    <a:pt x="142454" y="25320"/>
                  </a:lnTo>
                  <a:lnTo>
                    <a:pt x="143090" y="25038"/>
                  </a:lnTo>
                  <a:lnTo>
                    <a:pt x="143655" y="24755"/>
                  </a:lnTo>
                  <a:lnTo>
                    <a:pt x="143690" y="24720"/>
                  </a:lnTo>
                  <a:lnTo>
                    <a:pt x="143725" y="24685"/>
                  </a:lnTo>
                  <a:lnTo>
                    <a:pt x="143690" y="24579"/>
                  </a:lnTo>
                  <a:lnTo>
                    <a:pt x="143549" y="24437"/>
                  </a:lnTo>
                  <a:lnTo>
                    <a:pt x="143337" y="24296"/>
                  </a:lnTo>
                  <a:lnTo>
                    <a:pt x="142631" y="23908"/>
                  </a:lnTo>
                  <a:lnTo>
                    <a:pt x="141571" y="23413"/>
                  </a:lnTo>
                  <a:lnTo>
                    <a:pt x="140229" y="22813"/>
                  </a:lnTo>
                  <a:lnTo>
                    <a:pt x="138569" y="22142"/>
                  </a:lnTo>
                  <a:lnTo>
                    <a:pt x="136663" y="21401"/>
                  </a:lnTo>
                  <a:lnTo>
                    <a:pt x="134508" y="20588"/>
                  </a:lnTo>
                  <a:lnTo>
                    <a:pt x="129600" y="18787"/>
                  </a:lnTo>
                  <a:lnTo>
                    <a:pt x="124056" y="16810"/>
                  </a:lnTo>
                  <a:lnTo>
                    <a:pt x="117982" y="14691"/>
                  </a:lnTo>
                  <a:lnTo>
                    <a:pt x="111661" y="12502"/>
                  </a:lnTo>
                  <a:lnTo>
                    <a:pt x="105234" y="10347"/>
                  </a:lnTo>
                  <a:lnTo>
                    <a:pt x="98913" y="8229"/>
                  </a:lnTo>
                  <a:lnTo>
                    <a:pt x="87330" y="4415"/>
                  </a:lnTo>
                  <a:lnTo>
                    <a:pt x="78466" y="1554"/>
                  </a:lnTo>
                  <a:lnTo>
                    <a:pt x="75535" y="636"/>
                  </a:lnTo>
                  <a:lnTo>
                    <a:pt x="73805" y="107"/>
                  </a:lnTo>
                  <a:lnTo>
                    <a:pt x="73346" y="36"/>
                  </a:lnTo>
                  <a:lnTo>
                    <a:pt x="72640" y="1"/>
                  </a:lnTo>
                  <a:close/>
                </a:path>
              </a:pathLst>
            </a:custGeom>
            <a:solidFill>
              <a:srgbClr val="64636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90" name="Google Shape;796;g2e0683f995c_0_0">
              <a:extLst>
                <a:ext uri="{FF2B5EF4-FFF2-40B4-BE49-F238E27FC236}">
                  <a16:creationId xmlns:a16="http://schemas.microsoft.com/office/drawing/2014/main" id="{038EA579-4B8D-E85E-5227-F8794909E4CA}"/>
                </a:ext>
              </a:extLst>
            </p:cNvPr>
            <p:cNvSpPr/>
            <p:nvPr/>
          </p:nvSpPr>
          <p:spPr>
            <a:xfrm>
              <a:off x="1354038" y="1749030"/>
              <a:ext cx="1441752" cy="555596"/>
            </a:xfrm>
            <a:custGeom>
              <a:avLst/>
              <a:gdLst/>
              <a:ahLst/>
              <a:cxnLst/>
              <a:rect l="l" t="t" r="r" b="b"/>
              <a:pathLst>
                <a:path w="147080" h="56679" fill="none" extrusionOk="0">
                  <a:moveTo>
                    <a:pt x="145208" y="42165"/>
                  </a:moveTo>
                  <a:lnTo>
                    <a:pt x="145208" y="42165"/>
                  </a:lnTo>
                  <a:lnTo>
                    <a:pt x="143725" y="42518"/>
                  </a:lnTo>
                  <a:lnTo>
                    <a:pt x="140935" y="43118"/>
                  </a:lnTo>
                  <a:lnTo>
                    <a:pt x="132284" y="44919"/>
                  </a:lnTo>
                  <a:lnTo>
                    <a:pt x="120807" y="47250"/>
                  </a:lnTo>
                  <a:lnTo>
                    <a:pt x="107988" y="49863"/>
                  </a:lnTo>
                  <a:lnTo>
                    <a:pt x="84470" y="54560"/>
                  </a:lnTo>
                  <a:lnTo>
                    <a:pt x="73946" y="56679"/>
                  </a:lnTo>
                  <a:lnTo>
                    <a:pt x="73946" y="56679"/>
                  </a:lnTo>
                  <a:lnTo>
                    <a:pt x="72957" y="56290"/>
                  </a:lnTo>
                  <a:lnTo>
                    <a:pt x="72957" y="56290"/>
                  </a:lnTo>
                  <a:lnTo>
                    <a:pt x="67413" y="53995"/>
                  </a:lnTo>
                  <a:lnTo>
                    <a:pt x="58126" y="50146"/>
                  </a:lnTo>
                  <a:lnTo>
                    <a:pt x="46472" y="45272"/>
                  </a:lnTo>
                  <a:lnTo>
                    <a:pt x="40187" y="42589"/>
                  </a:lnTo>
                  <a:lnTo>
                    <a:pt x="33830" y="39869"/>
                  </a:lnTo>
                  <a:lnTo>
                    <a:pt x="27580" y="37115"/>
                  </a:lnTo>
                  <a:lnTo>
                    <a:pt x="21577" y="34467"/>
                  </a:lnTo>
                  <a:lnTo>
                    <a:pt x="15962" y="31924"/>
                  </a:lnTo>
                  <a:lnTo>
                    <a:pt x="13419" y="30723"/>
                  </a:lnTo>
                  <a:lnTo>
                    <a:pt x="10983" y="29558"/>
                  </a:lnTo>
                  <a:lnTo>
                    <a:pt x="8793" y="28463"/>
                  </a:lnTo>
                  <a:lnTo>
                    <a:pt x="6780" y="27474"/>
                  </a:lnTo>
                  <a:lnTo>
                    <a:pt x="5015" y="26556"/>
                  </a:lnTo>
                  <a:lnTo>
                    <a:pt x="3496" y="25709"/>
                  </a:lnTo>
                  <a:lnTo>
                    <a:pt x="2260" y="24967"/>
                  </a:lnTo>
                  <a:lnTo>
                    <a:pt x="1342" y="24332"/>
                  </a:lnTo>
                  <a:lnTo>
                    <a:pt x="989" y="24049"/>
                  </a:lnTo>
                  <a:lnTo>
                    <a:pt x="742" y="23802"/>
                  </a:lnTo>
                  <a:lnTo>
                    <a:pt x="530" y="23590"/>
                  </a:lnTo>
                  <a:lnTo>
                    <a:pt x="459" y="23413"/>
                  </a:lnTo>
                  <a:lnTo>
                    <a:pt x="459" y="23413"/>
                  </a:lnTo>
                  <a:lnTo>
                    <a:pt x="283" y="22672"/>
                  </a:lnTo>
                  <a:lnTo>
                    <a:pt x="141" y="21824"/>
                  </a:lnTo>
                  <a:lnTo>
                    <a:pt x="35" y="20941"/>
                  </a:lnTo>
                  <a:lnTo>
                    <a:pt x="0" y="19988"/>
                  </a:lnTo>
                  <a:lnTo>
                    <a:pt x="0" y="19035"/>
                  </a:lnTo>
                  <a:lnTo>
                    <a:pt x="71" y="18046"/>
                  </a:lnTo>
                  <a:lnTo>
                    <a:pt x="177" y="17092"/>
                  </a:lnTo>
                  <a:lnTo>
                    <a:pt x="353" y="16139"/>
                  </a:lnTo>
                  <a:lnTo>
                    <a:pt x="600" y="15256"/>
                  </a:lnTo>
                  <a:lnTo>
                    <a:pt x="883" y="14373"/>
                  </a:lnTo>
                  <a:lnTo>
                    <a:pt x="1059" y="13985"/>
                  </a:lnTo>
                  <a:lnTo>
                    <a:pt x="1236" y="13596"/>
                  </a:lnTo>
                  <a:lnTo>
                    <a:pt x="1448" y="13243"/>
                  </a:lnTo>
                  <a:lnTo>
                    <a:pt x="1660" y="12925"/>
                  </a:lnTo>
                  <a:lnTo>
                    <a:pt x="1907" y="12607"/>
                  </a:lnTo>
                  <a:lnTo>
                    <a:pt x="2154" y="12325"/>
                  </a:lnTo>
                  <a:lnTo>
                    <a:pt x="2437" y="12078"/>
                  </a:lnTo>
                  <a:lnTo>
                    <a:pt x="2719" y="11866"/>
                  </a:lnTo>
                  <a:lnTo>
                    <a:pt x="3037" y="11654"/>
                  </a:lnTo>
                  <a:lnTo>
                    <a:pt x="3355" y="11513"/>
                  </a:lnTo>
                  <a:lnTo>
                    <a:pt x="3708" y="11407"/>
                  </a:lnTo>
                  <a:lnTo>
                    <a:pt x="4096" y="11336"/>
                  </a:lnTo>
                  <a:lnTo>
                    <a:pt x="4096" y="11336"/>
                  </a:lnTo>
                  <a:lnTo>
                    <a:pt x="5262" y="11124"/>
                  </a:lnTo>
                  <a:lnTo>
                    <a:pt x="7345" y="10736"/>
                  </a:lnTo>
                  <a:lnTo>
                    <a:pt x="13878" y="9535"/>
                  </a:lnTo>
                  <a:lnTo>
                    <a:pt x="13878" y="9535"/>
                  </a:lnTo>
                  <a:lnTo>
                    <a:pt x="21541" y="8087"/>
                  </a:lnTo>
                  <a:lnTo>
                    <a:pt x="30370" y="6428"/>
                  </a:lnTo>
                  <a:lnTo>
                    <a:pt x="39798" y="4733"/>
                  </a:lnTo>
                  <a:lnTo>
                    <a:pt x="44530" y="3885"/>
                  </a:lnTo>
                  <a:lnTo>
                    <a:pt x="49156" y="3108"/>
                  </a:lnTo>
                  <a:lnTo>
                    <a:pt x="53606" y="2367"/>
                  </a:lnTo>
                  <a:lnTo>
                    <a:pt x="57843" y="1696"/>
                  </a:lnTo>
                  <a:lnTo>
                    <a:pt x="61763" y="1095"/>
                  </a:lnTo>
                  <a:lnTo>
                    <a:pt x="65259" y="636"/>
                  </a:lnTo>
                  <a:lnTo>
                    <a:pt x="68296" y="283"/>
                  </a:lnTo>
                  <a:lnTo>
                    <a:pt x="69603" y="142"/>
                  </a:lnTo>
                  <a:lnTo>
                    <a:pt x="70803" y="71"/>
                  </a:lnTo>
                  <a:lnTo>
                    <a:pt x="71792" y="1"/>
                  </a:lnTo>
                  <a:lnTo>
                    <a:pt x="72640" y="1"/>
                  </a:lnTo>
                  <a:lnTo>
                    <a:pt x="73346" y="36"/>
                  </a:lnTo>
                  <a:lnTo>
                    <a:pt x="73805" y="107"/>
                  </a:lnTo>
                  <a:lnTo>
                    <a:pt x="73805" y="107"/>
                  </a:lnTo>
                  <a:lnTo>
                    <a:pt x="75535" y="636"/>
                  </a:lnTo>
                  <a:lnTo>
                    <a:pt x="78466" y="1554"/>
                  </a:lnTo>
                  <a:lnTo>
                    <a:pt x="87330" y="4415"/>
                  </a:lnTo>
                  <a:lnTo>
                    <a:pt x="98913" y="8229"/>
                  </a:lnTo>
                  <a:lnTo>
                    <a:pt x="105234" y="10347"/>
                  </a:lnTo>
                  <a:lnTo>
                    <a:pt x="111661" y="12502"/>
                  </a:lnTo>
                  <a:lnTo>
                    <a:pt x="117982" y="14691"/>
                  </a:lnTo>
                  <a:lnTo>
                    <a:pt x="124056" y="16810"/>
                  </a:lnTo>
                  <a:lnTo>
                    <a:pt x="129600" y="18787"/>
                  </a:lnTo>
                  <a:lnTo>
                    <a:pt x="134508" y="20588"/>
                  </a:lnTo>
                  <a:lnTo>
                    <a:pt x="136663" y="21401"/>
                  </a:lnTo>
                  <a:lnTo>
                    <a:pt x="138569" y="22142"/>
                  </a:lnTo>
                  <a:lnTo>
                    <a:pt x="140229" y="22813"/>
                  </a:lnTo>
                  <a:lnTo>
                    <a:pt x="141571" y="23413"/>
                  </a:lnTo>
                  <a:lnTo>
                    <a:pt x="142631" y="23908"/>
                  </a:lnTo>
                  <a:lnTo>
                    <a:pt x="143337" y="24296"/>
                  </a:lnTo>
                  <a:lnTo>
                    <a:pt x="143549" y="24437"/>
                  </a:lnTo>
                  <a:lnTo>
                    <a:pt x="143690" y="24579"/>
                  </a:lnTo>
                  <a:lnTo>
                    <a:pt x="143725" y="24685"/>
                  </a:lnTo>
                  <a:lnTo>
                    <a:pt x="143690" y="24720"/>
                  </a:lnTo>
                  <a:lnTo>
                    <a:pt x="143655" y="24755"/>
                  </a:lnTo>
                  <a:lnTo>
                    <a:pt x="143655" y="24755"/>
                  </a:lnTo>
                  <a:lnTo>
                    <a:pt x="143090" y="25038"/>
                  </a:lnTo>
                  <a:lnTo>
                    <a:pt x="142454" y="25320"/>
                  </a:lnTo>
                  <a:lnTo>
                    <a:pt x="141041" y="25885"/>
                  </a:lnTo>
                  <a:lnTo>
                    <a:pt x="139382" y="26450"/>
                  </a:lnTo>
                  <a:lnTo>
                    <a:pt x="137510" y="27015"/>
                  </a:lnTo>
                  <a:lnTo>
                    <a:pt x="135462" y="27580"/>
                  </a:lnTo>
                  <a:lnTo>
                    <a:pt x="133237" y="28181"/>
                  </a:lnTo>
                  <a:lnTo>
                    <a:pt x="130871" y="28781"/>
                  </a:lnTo>
                  <a:lnTo>
                    <a:pt x="128364" y="29346"/>
                  </a:lnTo>
                  <a:lnTo>
                    <a:pt x="125715" y="29946"/>
                  </a:lnTo>
                  <a:lnTo>
                    <a:pt x="122961" y="30547"/>
                  </a:lnTo>
                  <a:lnTo>
                    <a:pt x="117276" y="31712"/>
                  </a:lnTo>
                  <a:lnTo>
                    <a:pt x="111378" y="32877"/>
                  </a:lnTo>
                  <a:lnTo>
                    <a:pt x="105446" y="34007"/>
                  </a:lnTo>
                  <a:lnTo>
                    <a:pt x="94039" y="36162"/>
                  </a:lnTo>
                  <a:lnTo>
                    <a:pt x="88813" y="37150"/>
                  </a:lnTo>
                  <a:lnTo>
                    <a:pt x="84116" y="38068"/>
                  </a:lnTo>
                  <a:lnTo>
                    <a:pt x="80126" y="38916"/>
                  </a:lnTo>
                  <a:lnTo>
                    <a:pt x="78396" y="39304"/>
                  </a:lnTo>
                  <a:lnTo>
                    <a:pt x="76912" y="39693"/>
                  </a:lnTo>
                  <a:lnTo>
                    <a:pt x="75641" y="40046"/>
                  </a:lnTo>
                  <a:lnTo>
                    <a:pt x="74652" y="40364"/>
                  </a:lnTo>
                  <a:lnTo>
                    <a:pt x="73946" y="40646"/>
                  </a:lnTo>
                  <a:lnTo>
                    <a:pt x="73699" y="40788"/>
                  </a:lnTo>
                  <a:lnTo>
                    <a:pt x="73522" y="40929"/>
                  </a:lnTo>
                  <a:lnTo>
                    <a:pt x="73522" y="40929"/>
                  </a:lnTo>
                  <a:lnTo>
                    <a:pt x="73205" y="41247"/>
                  </a:lnTo>
                  <a:lnTo>
                    <a:pt x="72887" y="41706"/>
                  </a:lnTo>
                  <a:lnTo>
                    <a:pt x="72569" y="42271"/>
                  </a:lnTo>
                  <a:lnTo>
                    <a:pt x="72286" y="42906"/>
                  </a:lnTo>
                  <a:lnTo>
                    <a:pt x="72004" y="43613"/>
                  </a:lnTo>
                  <a:lnTo>
                    <a:pt x="71757" y="44390"/>
                  </a:lnTo>
                  <a:lnTo>
                    <a:pt x="71510" y="45202"/>
                  </a:lnTo>
                  <a:lnTo>
                    <a:pt x="71333" y="46085"/>
                  </a:lnTo>
                  <a:lnTo>
                    <a:pt x="71227" y="46932"/>
                  </a:lnTo>
                  <a:lnTo>
                    <a:pt x="71156" y="47815"/>
                  </a:lnTo>
                  <a:lnTo>
                    <a:pt x="71156" y="48698"/>
                  </a:lnTo>
                  <a:lnTo>
                    <a:pt x="71192" y="49122"/>
                  </a:lnTo>
                  <a:lnTo>
                    <a:pt x="71262" y="49545"/>
                  </a:lnTo>
                  <a:lnTo>
                    <a:pt x="71333" y="49969"/>
                  </a:lnTo>
                  <a:lnTo>
                    <a:pt x="71439" y="50358"/>
                  </a:lnTo>
                  <a:lnTo>
                    <a:pt x="71545" y="50746"/>
                  </a:lnTo>
                  <a:lnTo>
                    <a:pt x="71686" y="51134"/>
                  </a:lnTo>
                  <a:lnTo>
                    <a:pt x="71863" y="51488"/>
                  </a:lnTo>
                  <a:lnTo>
                    <a:pt x="72075" y="51805"/>
                  </a:lnTo>
                  <a:lnTo>
                    <a:pt x="72286" y="52123"/>
                  </a:lnTo>
                  <a:lnTo>
                    <a:pt x="72534" y="52441"/>
                  </a:lnTo>
                  <a:lnTo>
                    <a:pt x="72534" y="52441"/>
                  </a:lnTo>
                  <a:lnTo>
                    <a:pt x="72887" y="52759"/>
                  </a:lnTo>
                  <a:lnTo>
                    <a:pt x="73275" y="53041"/>
                  </a:lnTo>
                  <a:lnTo>
                    <a:pt x="73734" y="53289"/>
                  </a:lnTo>
                  <a:lnTo>
                    <a:pt x="74193" y="53500"/>
                  </a:lnTo>
                  <a:lnTo>
                    <a:pt x="74758" y="53642"/>
                  </a:lnTo>
                  <a:lnTo>
                    <a:pt x="75323" y="53748"/>
                  </a:lnTo>
                  <a:lnTo>
                    <a:pt x="75959" y="53818"/>
                  </a:lnTo>
                  <a:lnTo>
                    <a:pt x="76665" y="53818"/>
                  </a:lnTo>
                  <a:lnTo>
                    <a:pt x="76665" y="53818"/>
                  </a:lnTo>
                  <a:lnTo>
                    <a:pt x="77619" y="53748"/>
                  </a:lnTo>
                  <a:lnTo>
                    <a:pt x="78819" y="53606"/>
                  </a:lnTo>
                  <a:lnTo>
                    <a:pt x="80303" y="53430"/>
                  </a:lnTo>
                  <a:lnTo>
                    <a:pt x="82033" y="53147"/>
                  </a:lnTo>
                  <a:lnTo>
                    <a:pt x="86129" y="52441"/>
                  </a:lnTo>
                  <a:lnTo>
                    <a:pt x="90932" y="51558"/>
                  </a:lnTo>
                  <a:lnTo>
                    <a:pt x="96299" y="50534"/>
                  </a:lnTo>
                  <a:lnTo>
                    <a:pt x="102020" y="49369"/>
                  </a:lnTo>
                  <a:lnTo>
                    <a:pt x="108023" y="48133"/>
                  </a:lnTo>
                  <a:lnTo>
                    <a:pt x="114062" y="46862"/>
                  </a:lnTo>
                  <a:lnTo>
                    <a:pt x="125680" y="44390"/>
                  </a:lnTo>
                  <a:lnTo>
                    <a:pt x="135568" y="42200"/>
                  </a:lnTo>
                  <a:lnTo>
                    <a:pt x="145067" y="40117"/>
                  </a:lnTo>
                  <a:lnTo>
                    <a:pt x="145067" y="40117"/>
                  </a:lnTo>
                  <a:lnTo>
                    <a:pt x="145703" y="40258"/>
                  </a:lnTo>
                  <a:lnTo>
                    <a:pt x="146232" y="40470"/>
                  </a:lnTo>
                  <a:lnTo>
                    <a:pt x="146515" y="40576"/>
                  </a:lnTo>
                  <a:lnTo>
                    <a:pt x="146727" y="40717"/>
                  </a:lnTo>
                  <a:lnTo>
                    <a:pt x="146939" y="40858"/>
                  </a:lnTo>
                  <a:lnTo>
                    <a:pt x="147045" y="41035"/>
                  </a:lnTo>
                  <a:lnTo>
                    <a:pt x="147080" y="41105"/>
                  </a:lnTo>
                  <a:lnTo>
                    <a:pt x="147080" y="41176"/>
                  </a:lnTo>
                  <a:lnTo>
                    <a:pt x="147045" y="41282"/>
                  </a:lnTo>
                  <a:lnTo>
                    <a:pt x="146974" y="41353"/>
                  </a:lnTo>
                  <a:lnTo>
                    <a:pt x="146903" y="41459"/>
                  </a:lnTo>
                  <a:lnTo>
                    <a:pt x="146797" y="41565"/>
                  </a:lnTo>
                  <a:lnTo>
                    <a:pt x="146444" y="41741"/>
                  </a:lnTo>
                  <a:lnTo>
                    <a:pt x="145915" y="41953"/>
                  </a:lnTo>
                  <a:lnTo>
                    <a:pt x="145208" y="42165"/>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91" name="Google Shape;797;g2e0683f995c_0_0">
              <a:extLst>
                <a:ext uri="{FF2B5EF4-FFF2-40B4-BE49-F238E27FC236}">
                  <a16:creationId xmlns:a16="http://schemas.microsoft.com/office/drawing/2014/main" id="{F35D6FC5-C6B1-5F69-08AE-47612645E144}"/>
                </a:ext>
              </a:extLst>
            </p:cNvPr>
            <p:cNvSpPr/>
            <p:nvPr/>
          </p:nvSpPr>
          <p:spPr>
            <a:xfrm>
              <a:off x="1354038" y="1853221"/>
              <a:ext cx="720709" cy="447602"/>
            </a:xfrm>
            <a:custGeom>
              <a:avLst/>
              <a:gdLst/>
              <a:ahLst/>
              <a:cxnLst/>
              <a:rect l="l" t="t" r="r" b="b"/>
              <a:pathLst>
                <a:path w="73523" h="45662" extrusionOk="0">
                  <a:moveTo>
                    <a:pt x="7981" y="1"/>
                  </a:moveTo>
                  <a:lnTo>
                    <a:pt x="5438" y="460"/>
                  </a:lnTo>
                  <a:lnTo>
                    <a:pt x="4096" y="707"/>
                  </a:lnTo>
                  <a:lnTo>
                    <a:pt x="3814" y="743"/>
                  </a:lnTo>
                  <a:lnTo>
                    <a:pt x="3567" y="813"/>
                  </a:lnTo>
                  <a:lnTo>
                    <a:pt x="3320" y="919"/>
                  </a:lnTo>
                  <a:lnTo>
                    <a:pt x="3072" y="1025"/>
                  </a:lnTo>
                  <a:lnTo>
                    <a:pt x="2613" y="1308"/>
                  </a:lnTo>
                  <a:lnTo>
                    <a:pt x="2225" y="1661"/>
                  </a:lnTo>
                  <a:lnTo>
                    <a:pt x="1836" y="2049"/>
                  </a:lnTo>
                  <a:lnTo>
                    <a:pt x="1519" y="2543"/>
                  </a:lnTo>
                  <a:lnTo>
                    <a:pt x="1201" y="3038"/>
                  </a:lnTo>
                  <a:lnTo>
                    <a:pt x="954" y="3603"/>
                  </a:lnTo>
                  <a:lnTo>
                    <a:pt x="706" y="4203"/>
                  </a:lnTo>
                  <a:lnTo>
                    <a:pt x="530" y="4874"/>
                  </a:lnTo>
                  <a:lnTo>
                    <a:pt x="353" y="5510"/>
                  </a:lnTo>
                  <a:lnTo>
                    <a:pt x="212" y="6216"/>
                  </a:lnTo>
                  <a:lnTo>
                    <a:pt x="106" y="6922"/>
                  </a:lnTo>
                  <a:lnTo>
                    <a:pt x="35" y="7629"/>
                  </a:lnTo>
                  <a:lnTo>
                    <a:pt x="0" y="8335"/>
                  </a:lnTo>
                  <a:lnTo>
                    <a:pt x="0" y="9006"/>
                  </a:lnTo>
                  <a:lnTo>
                    <a:pt x="35" y="10065"/>
                  </a:lnTo>
                  <a:lnTo>
                    <a:pt x="106" y="11054"/>
                  </a:lnTo>
                  <a:lnTo>
                    <a:pt x="247" y="11972"/>
                  </a:lnTo>
                  <a:lnTo>
                    <a:pt x="459" y="12784"/>
                  </a:lnTo>
                  <a:lnTo>
                    <a:pt x="530" y="12961"/>
                  </a:lnTo>
                  <a:lnTo>
                    <a:pt x="742" y="13173"/>
                  </a:lnTo>
                  <a:lnTo>
                    <a:pt x="989" y="13420"/>
                  </a:lnTo>
                  <a:lnTo>
                    <a:pt x="1342" y="13703"/>
                  </a:lnTo>
                  <a:lnTo>
                    <a:pt x="2260" y="14338"/>
                  </a:lnTo>
                  <a:lnTo>
                    <a:pt x="3496" y="15080"/>
                  </a:lnTo>
                  <a:lnTo>
                    <a:pt x="5015" y="15927"/>
                  </a:lnTo>
                  <a:lnTo>
                    <a:pt x="6780" y="16845"/>
                  </a:lnTo>
                  <a:lnTo>
                    <a:pt x="8793" y="17834"/>
                  </a:lnTo>
                  <a:lnTo>
                    <a:pt x="10983" y="18929"/>
                  </a:lnTo>
                  <a:lnTo>
                    <a:pt x="13419" y="20094"/>
                  </a:lnTo>
                  <a:lnTo>
                    <a:pt x="15962" y="21295"/>
                  </a:lnTo>
                  <a:lnTo>
                    <a:pt x="21577" y="23838"/>
                  </a:lnTo>
                  <a:lnTo>
                    <a:pt x="27580" y="26486"/>
                  </a:lnTo>
                  <a:lnTo>
                    <a:pt x="33830" y="29240"/>
                  </a:lnTo>
                  <a:lnTo>
                    <a:pt x="40187" y="31960"/>
                  </a:lnTo>
                  <a:lnTo>
                    <a:pt x="46472" y="34643"/>
                  </a:lnTo>
                  <a:lnTo>
                    <a:pt x="58126" y="39517"/>
                  </a:lnTo>
                  <a:lnTo>
                    <a:pt x="67413" y="43366"/>
                  </a:lnTo>
                  <a:lnTo>
                    <a:pt x="72957" y="45661"/>
                  </a:lnTo>
                  <a:lnTo>
                    <a:pt x="72675" y="44567"/>
                  </a:lnTo>
                  <a:lnTo>
                    <a:pt x="72498" y="43648"/>
                  </a:lnTo>
                  <a:lnTo>
                    <a:pt x="72428" y="43260"/>
                  </a:lnTo>
                  <a:lnTo>
                    <a:pt x="72392" y="42871"/>
                  </a:lnTo>
                  <a:lnTo>
                    <a:pt x="72392" y="42589"/>
                  </a:lnTo>
                  <a:lnTo>
                    <a:pt x="72428" y="42342"/>
                  </a:lnTo>
                  <a:lnTo>
                    <a:pt x="72534" y="41812"/>
                  </a:lnTo>
                  <a:lnTo>
                    <a:pt x="72180" y="41388"/>
                  </a:lnTo>
                  <a:lnTo>
                    <a:pt x="71898" y="40929"/>
                  </a:lnTo>
                  <a:lnTo>
                    <a:pt x="71651" y="40435"/>
                  </a:lnTo>
                  <a:lnTo>
                    <a:pt x="71474" y="39905"/>
                  </a:lnTo>
                  <a:lnTo>
                    <a:pt x="71333" y="39340"/>
                  </a:lnTo>
                  <a:lnTo>
                    <a:pt x="71227" y="38775"/>
                  </a:lnTo>
                  <a:lnTo>
                    <a:pt x="71156" y="38175"/>
                  </a:lnTo>
                  <a:lnTo>
                    <a:pt x="71156" y="37574"/>
                  </a:lnTo>
                  <a:lnTo>
                    <a:pt x="71156" y="37009"/>
                  </a:lnTo>
                  <a:lnTo>
                    <a:pt x="71227" y="36409"/>
                  </a:lnTo>
                  <a:lnTo>
                    <a:pt x="71298" y="35844"/>
                  </a:lnTo>
                  <a:lnTo>
                    <a:pt x="71368" y="35279"/>
                  </a:lnTo>
                  <a:lnTo>
                    <a:pt x="71510" y="34714"/>
                  </a:lnTo>
                  <a:lnTo>
                    <a:pt x="71615" y="34184"/>
                  </a:lnTo>
                  <a:lnTo>
                    <a:pt x="71933" y="33160"/>
                  </a:lnTo>
                  <a:lnTo>
                    <a:pt x="72322" y="32207"/>
                  </a:lnTo>
                  <a:lnTo>
                    <a:pt x="72710" y="31395"/>
                  </a:lnTo>
                  <a:lnTo>
                    <a:pt x="72922" y="31041"/>
                  </a:lnTo>
                  <a:lnTo>
                    <a:pt x="73099" y="30759"/>
                  </a:lnTo>
                  <a:lnTo>
                    <a:pt x="73310" y="30476"/>
                  </a:lnTo>
                  <a:lnTo>
                    <a:pt x="73522" y="30300"/>
                  </a:lnTo>
                  <a:lnTo>
                    <a:pt x="68967" y="28852"/>
                  </a:lnTo>
                  <a:lnTo>
                    <a:pt x="61586" y="26486"/>
                  </a:lnTo>
                  <a:lnTo>
                    <a:pt x="57172" y="25038"/>
                  </a:lnTo>
                  <a:lnTo>
                    <a:pt x="52440" y="23449"/>
                  </a:lnTo>
                  <a:lnTo>
                    <a:pt x="47532" y="21754"/>
                  </a:lnTo>
                  <a:lnTo>
                    <a:pt x="42517" y="19988"/>
                  </a:lnTo>
                  <a:lnTo>
                    <a:pt x="37609" y="18187"/>
                  </a:lnTo>
                  <a:lnTo>
                    <a:pt x="32841" y="16351"/>
                  </a:lnTo>
                  <a:lnTo>
                    <a:pt x="30581" y="15468"/>
                  </a:lnTo>
                  <a:lnTo>
                    <a:pt x="28427" y="14585"/>
                  </a:lnTo>
                  <a:lnTo>
                    <a:pt x="26379" y="13703"/>
                  </a:lnTo>
                  <a:lnTo>
                    <a:pt x="24437" y="12855"/>
                  </a:lnTo>
                  <a:lnTo>
                    <a:pt x="22636" y="12007"/>
                  </a:lnTo>
                  <a:lnTo>
                    <a:pt x="21011" y="11195"/>
                  </a:lnTo>
                  <a:lnTo>
                    <a:pt x="19564" y="10418"/>
                  </a:lnTo>
                  <a:lnTo>
                    <a:pt x="18292" y="9677"/>
                  </a:lnTo>
                  <a:lnTo>
                    <a:pt x="17763" y="9324"/>
                  </a:lnTo>
                  <a:lnTo>
                    <a:pt x="17233" y="9006"/>
                  </a:lnTo>
                  <a:lnTo>
                    <a:pt x="16809" y="8653"/>
                  </a:lnTo>
                  <a:lnTo>
                    <a:pt x="16421" y="8335"/>
                  </a:lnTo>
                  <a:lnTo>
                    <a:pt x="16068" y="8017"/>
                  </a:lnTo>
                  <a:lnTo>
                    <a:pt x="15820" y="7735"/>
                  </a:lnTo>
                  <a:lnTo>
                    <a:pt x="15609" y="7452"/>
                  </a:lnTo>
                  <a:lnTo>
                    <a:pt x="15467" y="7170"/>
                  </a:lnTo>
                  <a:lnTo>
                    <a:pt x="15114" y="6145"/>
                  </a:lnTo>
                  <a:lnTo>
                    <a:pt x="14796" y="5121"/>
                  </a:lnTo>
                  <a:lnTo>
                    <a:pt x="14549" y="4062"/>
                  </a:lnTo>
                  <a:lnTo>
                    <a:pt x="14373" y="3038"/>
                  </a:lnTo>
                  <a:lnTo>
                    <a:pt x="11018" y="1449"/>
                  </a:lnTo>
                  <a:lnTo>
                    <a:pt x="7981" y="1"/>
                  </a:lnTo>
                  <a:close/>
                </a:path>
              </a:pathLst>
            </a:custGeom>
            <a:solidFill>
              <a:srgbClr val="51505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92" name="Google Shape;798;g2e0683f995c_0_0">
              <a:extLst>
                <a:ext uri="{FF2B5EF4-FFF2-40B4-BE49-F238E27FC236}">
                  <a16:creationId xmlns:a16="http://schemas.microsoft.com/office/drawing/2014/main" id="{C5237276-F55D-5A65-53FE-AAF7A82DF531}"/>
                </a:ext>
              </a:extLst>
            </p:cNvPr>
            <p:cNvSpPr/>
            <p:nvPr/>
          </p:nvSpPr>
          <p:spPr>
            <a:xfrm>
              <a:off x="1354038" y="1853221"/>
              <a:ext cx="720709" cy="447602"/>
            </a:xfrm>
            <a:custGeom>
              <a:avLst/>
              <a:gdLst/>
              <a:ahLst/>
              <a:cxnLst/>
              <a:rect l="l" t="t" r="r" b="b"/>
              <a:pathLst>
                <a:path w="73523" h="45662" fill="none" extrusionOk="0">
                  <a:moveTo>
                    <a:pt x="7981" y="1"/>
                  </a:moveTo>
                  <a:lnTo>
                    <a:pt x="7981" y="1"/>
                  </a:lnTo>
                  <a:lnTo>
                    <a:pt x="5438" y="460"/>
                  </a:lnTo>
                  <a:lnTo>
                    <a:pt x="4096" y="707"/>
                  </a:lnTo>
                  <a:lnTo>
                    <a:pt x="4096" y="707"/>
                  </a:lnTo>
                  <a:lnTo>
                    <a:pt x="3814" y="743"/>
                  </a:lnTo>
                  <a:lnTo>
                    <a:pt x="3567" y="813"/>
                  </a:lnTo>
                  <a:lnTo>
                    <a:pt x="3320" y="919"/>
                  </a:lnTo>
                  <a:lnTo>
                    <a:pt x="3072" y="1025"/>
                  </a:lnTo>
                  <a:lnTo>
                    <a:pt x="2613" y="1308"/>
                  </a:lnTo>
                  <a:lnTo>
                    <a:pt x="2225" y="1661"/>
                  </a:lnTo>
                  <a:lnTo>
                    <a:pt x="1836" y="2049"/>
                  </a:lnTo>
                  <a:lnTo>
                    <a:pt x="1519" y="2543"/>
                  </a:lnTo>
                  <a:lnTo>
                    <a:pt x="1201" y="3038"/>
                  </a:lnTo>
                  <a:lnTo>
                    <a:pt x="954" y="3603"/>
                  </a:lnTo>
                  <a:lnTo>
                    <a:pt x="706" y="4203"/>
                  </a:lnTo>
                  <a:lnTo>
                    <a:pt x="530" y="4874"/>
                  </a:lnTo>
                  <a:lnTo>
                    <a:pt x="353" y="5510"/>
                  </a:lnTo>
                  <a:lnTo>
                    <a:pt x="212" y="6216"/>
                  </a:lnTo>
                  <a:lnTo>
                    <a:pt x="106" y="6922"/>
                  </a:lnTo>
                  <a:lnTo>
                    <a:pt x="35" y="7629"/>
                  </a:lnTo>
                  <a:lnTo>
                    <a:pt x="0" y="8335"/>
                  </a:lnTo>
                  <a:lnTo>
                    <a:pt x="0" y="9006"/>
                  </a:lnTo>
                  <a:lnTo>
                    <a:pt x="0" y="9006"/>
                  </a:lnTo>
                  <a:lnTo>
                    <a:pt x="35" y="10065"/>
                  </a:lnTo>
                  <a:lnTo>
                    <a:pt x="106" y="11054"/>
                  </a:lnTo>
                  <a:lnTo>
                    <a:pt x="247" y="11972"/>
                  </a:lnTo>
                  <a:lnTo>
                    <a:pt x="459" y="12784"/>
                  </a:lnTo>
                  <a:lnTo>
                    <a:pt x="459" y="12784"/>
                  </a:lnTo>
                  <a:lnTo>
                    <a:pt x="530" y="12961"/>
                  </a:lnTo>
                  <a:lnTo>
                    <a:pt x="742" y="13173"/>
                  </a:lnTo>
                  <a:lnTo>
                    <a:pt x="989" y="13420"/>
                  </a:lnTo>
                  <a:lnTo>
                    <a:pt x="1342" y="13703"/>
                  </a:lnTo>
                  <a:lnTo>
                    <a:pt x="2260" y="14338"/>
                  </a:lnTo>
                  <a:lnTo>
                    <a:pt x="3496" y="15080"/>
                  </a:lnTo>
                  <a:lnTo>
                    <a:pt x="5015" y="15927"/>
                  </a:lnTo>
                  <a:lnTo>
                    <a:pt x="6780" y="16845"/>
                  </a:lnTo>
                  <a:lnTo>
                    <a:pt x="8793" y="17834"/>
                  </a:lnTo>
                  <a:lnTo>
                    <a:pt x="10983" y="18929"/>
                  </a:lnTo>
                  <a:lnTo>
                    <a:pt x="13419" y="20094"/>
                  </a:lnTo>
                  <a:lnTo>
                    <a:pt x="15962" y="21295"/>
                  </a:lnTo>
                  <a:lnTo>
                    <a:pt x="21577" y="23838"/>
                  </a:lnTo>
                  <a:lnTo>
                    <a:pt x="27580" y="26486"/>
                  </a:lnTo>
                  <a:lnTo>
                    <a:pt x="33830" y="29240"/>
                  </a:lnTo>
                  <a:lnTo>
                    <a:pt x="40187" y="31960"/>
                  </a:lnTo>
                  <a:lnTo>
                    <a:pt x="46472" y="34643"/>
                  </a:lnTo>
                  <a:lnTo>
                    <a:pt x="58126" y="39517"/>
                  </a:lnTo>
                  <a:lnTo>
                    <a:pt x="67413" y="43366"/>
                  </a:lnTo>
                  <a:lnTo>
                    <a:pt x="72957" y="45661"/>
                  </a:lnTo>
                  <a:lnTo>
                    <a:pt x="72957" y="45661"/>
                  </a:lnTo>
                  <a:lnTo>
                    <a:pt x="72675" y="44567"/>
                  </a:lnTo>
                  <a:lnTo>
                    <a:pt x="72498" y="43648"/>
                  </a:lnTo>
                  <a:lnTo>
                    <a:pt x="72428" y="43260"/>
                  </a:lnTo>
                  <a:lnTo>
                    <a:pt x="72392" y="42871"/>
                  </a:lnTo>
                  <a:lnTo>
                    <a:pt x="72392" y="42589"/>
                  </a:lnTo>
                  <a:lnTo>
                    <a:pt x="72428" y="42342"/>
                  </a:lnTo>
                  <a:lnTo>
                    <a:pt x="72428" y="42342"/>
                  </a:lnTo>
                  <a:lnTo>
                    <a:pt x="72534" y="41812"/>
                  </a:lnTo>
                  <a:lnTo>
                    <a:pt x="72534" y="41812"/>
                  </a:lnTo>
                  <a:lnTo>
                    <a:pt x="72180" y="41388"/>
                  </a:lnTo>
                  <a:lnTo>
                    <a:pt x="71898" y="40929"/>
                  </a:lnTo>
                  <a:lnTo>
                    <a:pt x="71651" y="40435"/>
                  </a:lnTo>
                  <a:lnTo>
                    <a:pt x="71474" y="39905"/>
                  </a:lnTo>
                  <a:lnTo>
                    <a:pt x="71333" y="39340"/>
                  </a:lnTo>
                  <a:lnTo>
                    <a:pt x="71227" y="38775"/>
                  </a:lnTo>
                  <a:lnTo>
                    <a:pt x="71156" y="38175"/>
                  </a:lnTo>
                  <a:lnTo>
                    <a:pt x="71156" y="37574"/>
                  </a:lnTo>
                  <a:lnTo>
                    <a:pt x="71156" y="37574"/>
                  </a:lnTo>
                  <a:lnTo>
                    <a:pt x="71156" y="37009"/>
                  </a:lnTo>
                  <a:lnTo>
                    <a:pt x="71227" y="36409"/>
                  </a:lnTo>
                  <a:lnTo>
                    <a:pt x="71298" y="35844"/>
                  </a:lnTo>
                  <a:lnTo>
                    <a:pt x="71368" y="35279"/>
                  </a:lnTo>
                  <a:lnTo>
                    <a:pt x="71510" y="34714"/>
                  </a:lnTo>
                  <a:lnTo>
                    <a:pt x="71615" y="34184"/>
                  </a:lnTo>
                  <a:lnTo>
                    <a:pt x="71933" y="33160"/>
                  </a:lnTo>
                  <a:lnTo>
                    <a:pt x="72322" y="32207"/>
                  </a:lnTo>
                  <a:lnTo>
                    <a:pt x="72710" y="31395"/>
                  </a:lnTo>
                  <a:lnTo>
                    <a:pt x="72922" y="31041"/>
                  </a:lnTo>
                  <a:lnTo>
                    <a:pt x="73099" y="30759"/>
                  </a:lnTo>
                  <a:lnTo>
                    <a:pt x="73310" y="30476"/>
                  </a:lnTo>
                  <a:lnTo>
                    <a:pt x="73522" y="30300"/>
                  </a:lnTo>
                  <a:lnTo>
                    <a:pt x="73522" y="30300"/>
                  </a:lnTo>
                  <a:lnTo>
                    <a:pt x="68967" y="28852"/>
                  </a:lnTo>
                  <a:lnTo>
                    <a:pt x="61586" y="26486"/>
                  </a:lnTo>
                  <a:lnTo>
                    <a:pt x="57172" y="25038"/>
                  </a:lnTo>
                  <a:lnTo>
                    <a:pt x="52440" y="23449"/>
                  </a:lnTo>
                  <a:lnTo>
                    <a:pt x="47532" y="21754"/>
                  </a:lnTo>
                  <a:lnTo>
                    <a:pt x="42517" y="19988"/>
                  </a:lnTo>
                  <a:lnTo>
                    <a:pt x="37609" y="18187"/>
                  </a:lnTo>
                  <a:lnTo>
                    <a:pt x="32841" y="16351"/>
                  </a:lnTo>
                  <a:lnTo>
                    <a:pt x="30581" y="15468"/>
                  </a:lnTo>
                  <a:lnTo>
                    <a:pt x="28427" y="14585"/>
                  </a:lnTo>
                  <a:lnTo>
                    <a:pt x="26379" y="13703"/>
                  </a:lnTo>
                  <a:lnTo>
                    <a:pt x="24437" y="12855"/>
                  </a:lnTo>
                  <a:lnTo>
                    <a:pt x="22636" y="12007"/>
                  </a:lnTo>
                  <a:lnTo>
                    <a:pt x="21011" y="11195"/>
                  </a:lnTo>
                  <a:lnTo>
                    <a:pt x="19564" y="10418"/>
                  </a:lnTo>
                  <a:lnTo>
                    <a:pt x="18292" y="9677"/>
                  </a:lnTo>
                  <a:lnTo>
                    <a:pt x="17763" y="9324"/>
                  </a:lnTo>
                  <a:lnTo>
                    <a:pt x="17233" y="9006"/>
                  </a:lnTo>
                  <a:lnTo>
                    <a:pt x="16809" y="8653"/>
                  </a:lnTo>
                  <a:lnTo>
                    <a:pt x="16421" y="8335"/>
                  </a:lnTo>
                  <a:lnTo>
                    <a:pt x="16068" y="8017"/>
                  </a:lnTo>
                  <a:lnTo>
                    <a:pt x="15820" y="7735"/>
                  </a:lnTo>
                  <a:lnTo>
                    <a:pt x="15609" y="7452"/>
                  </a:lnTo>
                  <a:lnTo>
                    <a:pt x="15467" y="7170"/>
                  </a:lnTo>
                  <a:lnTo>
                    <a:pt x="15467" y="7170"/>
                  </a:lnTo>
                  <a:lnTo>
                    <a:pt x="15114" y="6145"/>
                  </a:lnTo>
                  <a:lnTo>
                    <a:pt x="14796" y="5121"/>
                  </a:lnTo>
                  <a:lnTo>
                    <a:pt x="14549" y="4062"/>
                  </a:lnTo>
                  <a:lnTo>
                    <a:pt x="14373" y="3038"/>
                  </a:lnTo>
                  <a:lnTo>
                    <a:pt x="14373" y="3038"/>
                  </a:lnTo>
                  <a:lnTo>
                    <a:pt x="11018" y="1449"/>
                  </a:lnTo>
                  <a:lnTo>
                    <a:pt x="7981"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93" name="Google Shape;799;g2e0683f995c_0_0">
              <a:extLst>
                <a:ext uri="{FF2B5EF4-FFF2-40B4-BE49-F238E27FC236}">
                  <a16:creationId xmlns:a16="http://schemas.microsoft.com/office/drawing/2014/main" id="{039708DD-0B7A-9122-E44E-C0C3ABB7C00F}"/>
                </a:ext>
              </a:extLst>
            </p:cNvPr>
            <p:cNvSpPr/>
            <p:nvPr/>
          </p:nvSpPr>
          <p:spPr>
            <a:xfrm>
              <a:off x="2003777" y="1811335"/>
              <a:ext cx="761556" cy="296673"/>
            </a:xfrm>
            <a:custGeom>
              <a:avLst/>
              <a:gdLst/>
              <a:ahLst/>
              <a:cxnLst/>
              <a:rect l="l" t="t" r="r" b="b"/>
              <a:pathLst>
                <a:path w="77690" h="30265" extrusionOk="0">
                  <a:moveTo>
                    <a:pt x="74370" y="1"/>
                  </a:moveTo>
                  <a:lnTo>
                    <a:pt x="10170" y="13032"/>
                  </a:lnTo>
                  <a:lnTo>
                    <a:pt x="6462" y="14621"/>
                  </a:lnTo>
                  <a:lnTo>
                    <a:pt x="3320" y="15963"/>
                  </a:lnTo>
                  <a:lnTo>
                    <a:pt x="1907" y="16634"/>
                  </a:lnTo>
                  <a:lnTo>
                    <a:pt x="706" y="17163"/>
                  </a:lnTo>
                  <a:lnTo>
                    <a:pt x="495" y="17340"/>
                  </a:lnTo>
                  <a:lnTo>
                    <a:pt x="283" y="17516"/>
                  </a:lnTo>
                  <a:lnTo>
                    <a:pt x="177" y="17764"/>
                  </a:lnTo>
                  <a:lnTo>
                    <a:pt x="71" y="18081"/>
                  </a:lnTo>
                  <a:lnTo>
                    <a:pt x="0" y="18399"/>
                  </a:lnTo>
                  <a:lnTo>
                    <a:pt x="0" y="18788"/>
                  </a:lnTo>
                  <a:lnTo>
                    <a:pt x="0" y="19212"/>
                  </a:lnTo>
                  <a:lnTo>
                    <a:pt x="71" y="19635"/>
                  </a:lnTo>
                  <a:lnTo>
                    <a:pt x="141" y="20094"/>
                  </a:lnTo>
                  <a:lnTo>
                    <a:pt x="247" y="20589"/>
                  </a:lnTo>
                  <a:lnTo>
                    <a:pt x="565" y="21648"/>
                  </a:lnTo>
                  <a:lnTo>
                    <a:pt x="954" y="22743"/>
                  </a:lnTo>
                  <a:lnTo>
                    <a:pt x="1413" y="23873"/>
                  </a:lnTo>
                  <a:lnTo>
                    <a:pt x="1907" y="24968"/>
                  </a:lnTo>
                  <a:lnTo>
                    <a:pt x="2472" y="26062"/>
                  </a:lnTo>
                  <a:lnTo>
                    <a:pt x="3037" y="27086"/>
                  </a:lnTo>
                  <a:lnTo>
                    <a:pt x="3602" y="28005"/>
                  </a:lnTo>
                  <a:lnTo>
                    <a:pt x="4132" y="28817"/>
                  </a:lnTo>
                  <a:lnTo>
                    <a:pt x="4662" y="29452"/>
                  </a:lnTo>
                  <a:lnTo>
                    <a:pt x="4909" y="29735"/>
                  </a:lnTo>
                  <a:lnTo>
                    <a:pt x="5121" y="29947"/>
                  </a:lnTo>
                  <a:lnTo>
                    <a:pt x="5332" y="30123"/>
                  </a:lnTo>
                  <a:lnTo>
                    <a:pt x="5509" y="30229"/>
                  </a:lnTo>
                  <a:lnTo>
                    <a:pt x="5650" y="30265"/>
                  </a:lnTo>
                  <a:lnTo>
                    <a:pt x="5862" y="30265"/>
                  </a:lnTo>
                  <a:lnTo>
                    <a:pt x="6604" y="30194"/>
                  </a:lnTo>
                  <a:lnTo>
                    <a:pt x="7663" y="30053"/>
                  </a:lnTo>
                  <a:lnTo>
                    <a:pt x="9040" y="29841"/>
                  </a:lnTo>
                  <a:lnTo>
                    <a:pt x="12642" y="29170"/>
                  </a:lnTo>
                  <a:lnTo>
                    <a:pt x="17198" y="28252"/>
                  </a:lnTo>
                  <a:lnTo>
                    <a:pt x="22530" y="27157"/>
                  </a:lnTo>
                  <a:lnTo>
                    <a:pt x="28427" y="25886"/>
                  </a:lnTo>
                  <a:lnTo>
                    <a:pt x="41211" y="23131"/>
                  </a:lnTo>
                  <a:lnTo>
                    <a:pt x="53994" y="20271"/>
                  </a:lnTo>
                  <a:lnTo>
                    <a:pt x="65224" y="17764"/>
                  </a:lnTo>
                  <a:lnTo>
                    <a:pt x="73381" y="15963"/>
                  </a:lnTo>
                  <a:lnTo>
                    <a:pt x="75782" y="15433"/>
                  </a:lnTo>
                  <a:lnTo>
                    <a:pt x="76842" y="15221"/>
                  </a:lnTo>
                  <a:lnTo>
                    <a:pt x="77089" y="15186"/>
                  </a:lnTo>
                  <a:lnTo>
                    <a:pt x="77266" y="15115"/>
                  </a:lnTo>
                  <a:lnTo>
                    <a:pt x="77407" y="15045"/>
                  </a:lnTo>
                  <a:lnTo>
                    <a:pt x="77548" y="14939"/>
                  </a:lnTo>
                  <a:lnTo>
                    <a:pt x="77619" y="14833"/>
                  </a:lnTo>
                  <a:lnTo>
                    <a:pt x="77654" y="14691"/>
                  </a:lnTo>
                  <a:lnTo>
                    <a:pt x="77689" y="14550"/>
                  </a:lnTo>
                  <a:lnTo>
                    <a:pt x="77654" y="14374"/>
                  </a:lnTo>
                  <a:lnTo>
                    <a:pt x="77583" y="14020"/>
                  </a:lnTo>
                  <a:lnTo>
                    <a:pt x="77372" y="13597"/>
                  </a:lnTo>
                  <a:lnTo>
                    <a:pt x="77124" y="13138"/>
                  </a:lnTo>
                  <a:lnTo>
                    <a:pt x="76842" y="12643"/>
                  </a:lnTo>
                  <a:lnTo>
                    <a:pt x="76136" y="11619"/>
                  </a:lnTo>
                  <a:lnTo>
                    <a:pt x="75394" y="10560"/>
                  </a:lnTo>
                  <a:lnTo>
                    <a:pt x="75076" y="10030"/>
                  </a:lnTo>
                  <a:lnTo>
                    <a:pt x="74794" y="9500"/>
                  </a:lnTo>
                  <a:lnTo>
                    <a:pt x="74582" y="9006"/>
                  </a:lnTo>
                  <a:lnTo>
                    <a:pt x="74476" y="8547"/>
                  </a:lnTo>
                  <a:lnTo>
                    <a:pt x="74370" y="8052"/>
                  </a:lnTo>
                  <a:lnTo>
                    <a:pt x="74299" y="7487"/>
                  </a:lnTo>
                  <a:lnTo>
                    <a:pt x="74193" y="6393"/>
                  </a:lnTo>
                  <a:lnTo>
                    <a:pt x="74158" y="5227"/>
                  </a:lnTo>
                  <a:lnTo>
                    <a:pt x="74193" y="4062"/>
                  </a:lnTo>
                  <a:lnTo>
                    <a:pt x="74264" y="1873"/>
                  </a:lnTo>
                  <a:lnTo>
                    <a:pt x="74370" y="1"/>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94" name="Google Shape;800;g2e0683f995c_0_0">
              <a:extLst>
                <a:ext uri="{FF2B5EF4-FFF2-40B4-BE49-F238E27FC236}">
                  <a16:creationId xmlns:a16="http://schemas.microsoft.com/office/drawing/2014/main" id="{A44858C5-41E6-55B1-182F-E836CB88A6A7}"/>
                </a:ext>
              </a:extLst>
            </p:cNvPr>
            <p:cNvSpPr/>
            <p:nvPr/>
          </p:nvSpPr>
          <p:spPr>
            <a:xfrm>
              <a:off x="2003777" y="1811335"/>
              <a:ext cx="761556" cy="296673"/>
            </a:xfrm>
            <a:custGeom>
              <a:avLst/>
              <a:gdLst/>
              <a:ahLst/>
              <a:cxnLst/>
              <a:rect l="l" t="t" r="r" b="b"/>
              <a:pathLst>
                <a:path w="77690" h="30265" fill="none" extrusionOk="0">
                  <a:moveTo>
                    <a:pt x="74370" y="1"/>
                  </a:moveTo>
                  <a:lnTo>
                    <a:pt x="74370" y="1"/>
                  </a:lnTo>
                  <a:lnTo>
                    <a:pt x="74264" y="1873"/>
                  </a:lnTo>
                  <a:lnTo>
                    <a:pt x="74193" y="4062"/>
                  </a:lnTo>
                  <a:lnTo>
                    <a:pt x="74158" y="5227"/>
                  </a:lnTo>
                  <a:lnTo>
                    <a:pt x="74193" y="6393"/>
                  </a:lnTo>
                  <a:lnTo>
                    <a:pt x="74299" y="7487"/>
                  </a:lnTo>
                  <a:lnTo>
                    <a:pt x="74370" y="8052"/>
                  </a:lnTo>
                  <a:lnTo>
                    <a:pt x="74476" y="8547"/>
                  </a:lnTo>
                  <a:lnTo>
                    <a:pt x="74476" y="8547"/>
                  </a:lnTo>
                  <a:lnTo>
                    <a:pt x="74582" y="9006"/>
                  </a:lnTo>
                  <a:lnTo>
                    <a:pt x="74794" y="9500"/>
                  </a:lnTo>
                  <a:lnTo>
                    <a:pt x="75076" y="10030"/>
                  </a:lnTo>
                  <a:lnTo>
                    <a:pt x="75394" y="10560"/>
                  </a:lnTo>
                  <a:lnTo>
                    <a:pt x="76136" y="11619"/>
                  </a:lnTo>
                  <a:lnTo>
                    <a:pt x="76842" y="12643"/>
                  </a:lnTo>
                  <a:lnTo>
                    <a:pt x="77124" y="13138"/>
                  </a:lnTo>
                  <a:lnTo>
                    <a:pt x="77372" y="13597"/>
                  </a:lnTo>
                  <a:lnTo>
                    <a:pt x="77583" y="14020"/>
                  </a:lnTo>
                  <a:lnTo>
                    <a:pt x="77654" y="14374"/>
                  </a:lnTo>
                  <a:lnTo>
                    <a:pt x="77689" y="14550"/>
                  </a:lnTo>
                  <a:lnTo>
                    <a:pt x="77654" y="14691"/>
                  </a:lnTo>
                  <a:lnTo>
                    <a:pt x="77619" y="14833"/>
                  </a:lnTo>
                  <a:lnTo>
                    <a:pt x="77548" y="14939"/>
                  </a:lnTo>
                  <a:lnTo>
                    <a:pt x="77407" y="15045"/>
                  </a:lnTo>
                  <a:lnTo>
                    <a:pt x="77266" y="15115"/>
                  </a:lnTo>
                  <a:lnTo>
                    <a:pt x="77089" y="15186"/>
                  </a:lnTo>
                  <a:lnTo>
                    <a:pt x="76842" y="15221"/>
                  </a:lnTo>
                  <a:lnTo>
                    <a:pt x="76842" y="15221"/>
                  </a:lnTo>
                  <a:lnTo>
                    <a:pt x="75782" y="15433"/>
                  </a:lnTo>
                  <a:lnTo>
                    <a:pt x="73381" y="15963"/>
                  </a:lnTo>
                  <a:lnTo>
                    <a:pt x="65224" y="17764"/>
                  </a:lnTo>
                  <a:lnTo>
                    <a:pt x="53994" y="20271"/>
                  </a:lnTo>
                  <a:lnTo>
                    <a:pt x="41211" y="23131"/>
                  </a:lnTo>
                  <a:lnTo>
                    <a:pt x="28427" y="25886"/>
                  </a:lnTo>
                  <a:lnTo>
                    <a:pt x="22530" y="27157"/>
                  </a:lnTo>
                  <a:lnTo>
                    <a:pt x="17198" y="28252"/>
                  </a:lnTo>
                  <a:lnTo>
                    <a:pt x="12642" y="29170"/>
                  </a:lnTo>
                  <a:lnTo>
                    <a:pt x="9040" y="29841"/>
                  </a:lnTo>
                  <a:lnTo>
                    <a:pt x="7663" y="30053"/>
                  </a:lnTo>
                  <a:lnTo>
                    <a:pt x="6604" y="30194"/>
                  </a:lnTo>
                  <a:lnTo>
                    <a:pt x="5862" y="30265"/>
                  </a:lnTo>
                  <a:lnTo>
                    <a:pt x="5650" y="30265"/>
                  </a:lnTo>
                  <a:lnTo>
                    <a:pt x="5509" y="30229"/>
                  </a:lnTo>
                  <a:lnTo>
                    <a:pt x="5509" y="30229"/>
                  </a:lnTo>
                  <a:lnTo>
                    <a:pt x="5332" y="30123"/>
                  </a:lnTo>
                  <a:lnTo>
                    <a:pt x="5121" y="29947"/>
                  </a:lnTo>
                  <a:lnTo>
                    <a:pt x="4909" y="29735"/>
                  </a:lnTo>
                  <a:lnTo>
                    <a:pt x="4662" y="29452"/>
                  </a:lnTo>
                  <a:lnTo>
                    <a:pt x="4132" y="28817"/>
                  </a:lnTo>
                  <a:lnTo>
                    <a:pt x="3602" y="28005"/>
                  </a:lnTo>
                  <a:lnTo>
                    <a:pt x="3037" y="27086"/>
                  </a:lnTo>
                  <a:lnTo>
                    <a:pt x="2472" y="26062"/>
                  </a:lnTo>
                  <a:lnTo>
                    <a:pt x="1907" y="24968"/>
                  </a:lnTo>
                  <a:lnTo>
                    <a:pt x="1413" y="23873"/>
                  </a:lnTo>
                  <a:lnTo>
                    <a:pt x="954" y="22743"/>
                  </a:lnTo>
                  <a:lnTo>
                    <a:pt x="565" y="21648"/>
                  </a:lnTo>
                  <a:lnTo>
                    <a:pt x="247" y="20589"/>
                  </a:lnTo>
                  <a:lnTo>
                    <a:pt x="141" y="20094"/>
                  </a:lnTo>
                  <a:lnTo>
                    <a:pt x="71" y="19635"/>
                  </a:lnTo>
                  <a:lnTo>
                    <a:pt x="0" y="19212"/>
                  </a:lnTo>
                  <a:lnTo>
                    <a:pt x="0" y="18788"/>
                  </a:lnTo>
                  <a:lnTo>
                    <a:pt x="0" y="18399"/>
                  </a:lnTo>
                  <a:lnTo>
                    <a:pt x="71" y="18081"/>
                  </a:lnTo>
                  <a:lnTo>
                    <a:pt x="177" y="17764"/>
                  </a:lnTo>
                  <a:lnTo>
                    <a:pt x="283" y="17516"/>
                  </a:lnTo>
                  <a:lnTo>
                    <a:pt x="495" y="17340"/>
                  </a:lnTo>
                  <a:lnTo>
                    <a:pt x="706" y="17163"/>
                  </a:lnTo>
                  <a:lnTo>
                    <a:pt x="706" y="17163"/>
                  </a:lnTo>
                  <a:lnTo>
                    <a:pt x="1907" y="16634"/>
                  </a:lnTo>
                  <a:lnTo>
                    <a:pt x="3320" y="15963"/>
                  </a:lnTo>
                  <a:lnTo>
                    <a:pt x="6462" y="14621"/>
                  </a:lnTo>
                  <a:lnTo>
                    <a:pt x="10170" y="13032"/>
                  </a:lnTo>
                  <a:lnTo>
                    <a:pt x="74370"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95" name="Google Shape;801;g2e0683f995c_0_0">
              <a:extLst>
                <a:ext uri="{FF2B5EF4-FFF2-40B4-BE49-F238E27FC236}">
                  <a16:creationId xmlns:a16="http://schemas.microsoft.com/office/drawing/2014/main" id="{B087A07E-5A79-743D-707C-776517FFF8BE}"/>
                </a:ext>
              </a:extLst>
            </p:cNvPr>
            <p:cNvSpPr/>
            <p:nvPr/>
          </p:nvSpPr>
          <p:spPr>
            <a:xfrm>
              <a:off x="1333952" y="1568331"/>
              <a:ext cx="1450074" cy="555606"/>
            </a:xfrm>
            <a:custGeom>
              <a:avLst/>
              <a:gdLst/>
              <a:ahLst/>
              <a:cxnLst/>
              <a:rect l="l" t="t" r="r" b="b"/>
              <a:pathLst>
                <a:path w="147929" h="56680" extrusionOk="0">
                  <a:moveTo>
                    <a:pt x="71828" y="1"/>
                  </a:moveTo>
                  <a:lnTo>
                    <a:pt x="70804" y="36"/>
                  </a:lnTo>
                  <a:lnTo>
                    <a:pt x="69639" y="142"/>
                  </a:lnTo>
                  <a:lnTo>
                    <a:pt x="68297" y="248"/>
                  </a:lnTo>
                  <a:lnTo>
                    <a:pt x="65260" y="637"/>
                  </a:lnTo>
                  <a:lnTo>
                    <a:pt x="61764" y="1096"/>
                  </a:lnTo>
                  <a:lnTo>
                    <a:pt x="57844" y="1696"/>
                  </a:lnTo>
                  <a:lnTo>
                    <a:pt x="53642" y="2367"/>
                  </a:lnTo>
                  <a:lnTo>
                    <a:pt x="49157" y="3109"/>
                  </a:lnTo>
                  <a:lnTo>
                    <a:pt x="44531" y="3885"/>
                  </a:lnTo>
                  <a:lnTo>
                    <a:pt x="39799" y="4733"/>
                  </a:lnTo>
                  <a:lnTo>
                    <a:pt x="30406" y="6428"/>
                  </a:lnTo>
                  <a:lnTo>
                    <a:pt x="21542" y="8052"/>
                  </a:lnTo>
                  <a:lnTo>
                    <a:pt x="13879" y="9500"/>
                  </a:lnTo>
                  <a:lnTo>
                    <a:pt x="7346" y="10736"/>
                  </a:lnTo>
                  <a:lnTo>
                    <a:pt x="5263" y="11125"/>
                  </a:lnTo>
                  <a:lnTo>
                    <a:pt x="4097" y="11301"/>
                  </a:lnTo>
                  <a:lnTo>
                    <a:pt x="3709" y="11372"/>
                  </a:lnTo>
                  <a:lnTo>
                    <a:pt x="3391" y="11513"/>
                  </a:lnTo>
                  <a:lnTo>
                    <a:pt x="3038" y="11654"/>
                  </a:lnTo>
                  <a:lnTo>
                    <a:pt x="2755" y="11831"/>
                  </a:lnTo>
                  <a:lnTo>
                    <a:pt x="2438" y="12043"/>
                  </a:lnTo>
                  <a:lnTo>
                    <a:pt x="2190" y="12290"/>
                  </a:lnTo>
                  <a:lnTo>
                    <a:pt x="1908" y="12573"/>
                  </a:lnTo>
                  <a:lnTo>
                    <a:pt x="1696" y="12890"/>
                  </a:lnTo>
                  <a:lnTo>
                    <a:pt x="1449" y="13244"/>
                  </a:lnTo>
                  <a:lnTo>
                    <a:pt x="1237" y="13597"/>
                  </a:lnTo>
                  <a:lnTo>
                    <a:pt x="1060" y="13985"/>
                  </a:lnTo>
                  <a:lnTo>
                    <a:pt x="884" y="14374"/>
                  </a:lnTo>
                  <a:lnTo>
                    <a:pt x="601" y="15221"/>
                  </a:lnTo>
                  <a:lnTo>
                    <a:pt x="354" y="16139"/>
                  </a:lnTo>
                  <a:lnTo>
                    <a:pt x="177" y="17093"/>
                  </a:lnTo>
                  <a:lnTo>
                    <a:pt x="72" y="18046"/>
                  </a:lnTo>
                  <a:lnTo>
                    <a:pt x="1" y="19035"/>
                  </a:lnTo>
                  <a:lnTo>
                    <a:pt x="1" y="19988"/>
                  </a:lnTo>
                  <a:lnTo>
                    <a:pt x="36" y="20907"/>
                  </a:lnTo>
                  <a:lnTo>
                    <a:pt x="142" y="21825"/>
                  </a:lnTo>
                  <a:lnTo>
                    <a:pt x="283" y="22637"/>
                  </a:lnTo>
                  <a:lnTo>
                    <a:pt x="460" y="23414"/>
                  </a:lnTo>
                  <a:lnTo>
                    <a:pt x="566" y="23590"/>
                  </a:lnTo>
                  <a:lnTo>
                    <a:pt x="742" y="23802"/>
                  </a:lnTo>
                  <a:lnTo>
                    <a:pt x="990" y="24049"/>
                  </a:lnTo>
                  <a:lnTo>
                    <a:pt x="1343" y="24332"/>
                  </a:lnTo>
                  <a:lnTo>
                    <a:pt x="2296" y="24968"/>
                  </a:lnTo>
                  <a:lnTo>
                    <a:pt x="3532" y="25709"/>
                  </a:lnTo>
                  <a:lnTo>
                    <a:pt x="5015" y="26521"/>
                  </a:lnTo>
                  <a:lnTo>
                    <a:pt x="6781" y="27475"/>
                  </a:lnTo>
                  <a:lnTo>
                    <a:pt x="8794" y="28464"/>
                  </a:lnTo>
                  <a:lnTo>
                    <a:pt x="11019" y="29558"/>
                  </a:lnTo>
                  <a:lnTo>
                    <a:pt x="13420" y="30688"/>
                  </a:lnTo>
                  <a:lnTo>
                    <a:pt x="15998" y="31889"/>
                  </a:lnTo>
                  <a:lnTo>
                    <a:pt x="21577" y="34432"/>
                  </a:lnTo>
                  <a:lnTo>
                    <a:pt x="27581" y="37115"/>
                  </a:lnTo>
                  <a:lnTo>
                    <a:pt x="33866" y="39835"/>
                  </a:lnTo>
                  <a:lnTo>
                    <a:pt x="40223" y="42589"/>
                  </a:lnTo>
                  <a:lnTo>
                    <a:pt x="46473" y="45273"/>
                  </a:lnTo>
                  <a:lnTo>
                    <a:pt x="58127" y="50146"/>
                  </a:lnTo>
                  <a:lnTo>
                    <a:pt x="67414" y="53995"/>
                  </a:lnTo>
                  <a:lnTo>
                    <a:pt x="72958" y="56255"/>
                  </a:lnTo>
                  <a:lnTo>
                    <a:pt x="73947" y="56679"/>
                  </a:lnTo>
                  <a:lnTo>
                    <a:pt x="84612" y="54525"/>
                  </a:lnTo>
                  <a:lnTo>
                    <a:pt x="108413" y="49722"/>
                  </a:lnTo>
                  <a:lnTo>
                    <a:pt x="121373" y="47074"/>
                  </a:lnTo>
                  <a:lnTo>
                    <a:pt x="133026" y="44708"/>
                  </a:lnTo>
                  <a:lnTo>
                    <a:pt x="141748" y="42871"/>
                  </a:lnTo>
                  <a:lnTo>
                    <a:pt x="144574" y="42271"/>
                  </a:lnTo>
                  <a:lnTo>
                    <a:pt x="146057" y="41918"/>
                  </a:lnTo>
                  <a:lnTo>
                    <a:pt x="146763" y="41706"/>
                  </a:lnTo>
                  <a:lnTo>
                    <a:pt x="147293" y="41530"/>
                  </a:lnTo>
                  <a:lnTo>
                    <a:pt x="147646" y="41318"/>
                  </a:lnTo>
                  <a:lnTo>
                    <a:pt x="147752" y="41212"/>
                  </a:lnTo>
                  <a:lnTo>
                    <a:pt x="147822" y="41141"/>
                  </a:lnTo>
                  <a:lnTo>
                    <a:pt x="147893" y="41035"/>
                  </a:lnTo>
                  <a:lnTo>
                    <a:pt x="147928" y="40965"/>
                  </a:lnTo>
                  <a:lnTo>
                    <a:pt x="147928" y="40859"/>
                  </a:lnTo>
                  <a:lnTo>
                    <a:pt x="147893" y="40788"/>
                  </a:lnTo>
                  <a:lnTo>
                    <a:pt x="147787" y="40611"/>
                  </a:lnTo>
                  <a:lnTo>
                    <a:pt x="147575" y="40470"/>
                  </a:lnTo>
                  <a:lnTo>
                    <a:pt x="147363" y="40364"/>
                  </a:lnTo>
                  <a:lnTo>
                    <a:pt x="147081" y="40223"/>
                  </a:lnTo>
                  <a:lnTo>
                    <a:pt x="146551" y="40046"/>
                  </a:lnTo>
                  <a:lnTo>
                    <a:pt x="145915" y="39870"/>
                  </a:lnTo>
                  <a:lnTo>
                    <a:pt x="136310" y="42024"/>
                  </a:lnTo>
                  <a:lnTo>
                    <a:pt x="126246" y="44213"/>
                  </a:lnTo>
                  <a:lnTo>
                    <a:pt x="114487" y="46756"/>
                  </a:lnTo>
                  <a:lnTo>
                    <a:pt x="108342" y="48027"/>
                  </a:lnTo>
                  <a:lnTo>
                    <a:pt x="102304" y="49299"/>
                  </a:lnTo>
                  <a:lnTo>
                    <a:pt x="96477" y="50464"/>
                  </a:lnTo>
                  <a:lnTo>
                    <a:pt x="91074" y="51523"/>
                  </a:lnTo>
                  <a:lnTo>
                    <a:pt x="86201" y="52406"/>
                  </a:lnTo>
                  <a:lnTo>
                    <a:pt x="82069" y="53148"/>
                  </a:lnTo>
                  <a:lnTo>
                    <a:pt x="80339" y="53395"/>
                  </a:lnTo>
                  <a:lnTo>
                    <a:pt x="78856" y="53607"/>
                  </a:lnTo>
                  <a:lnTo>
                    <a:pt x="77620" y="53748"/>
                  </a:lnTo>
                  <a:lnTo>
                    <a:pt x="76701" y="53819"/>
                  </a:lnTo>
                  <a:lnTo>
                    <a:pt x="75995" y="53783"/>
                  </a:lnTo>
                  <a:lnTo>
                    <a:pt x="75324" y="53748"/>
                  </a:lnTo>
                  <a:lnTo>
                    <a:pt x="74759" y="53642"/>
                  </a:lnTo>
                  <a:lnTo>
                    <a:pt x="74229" y="53466"/>
                  </a:lnTo>
                  <a:lnTo>
                    <a:pt x="73735" y="53254"/>
                  </a:lnTo>
                  <a:lnTo>
                    <a:pt x="73276" y="53006"/>
                  </a:lnTo>
                  <a:lnTo>
                    <a:pt x="72888" y="52724"/>
                  </a:lnTo>
                  <a:lnTo>
                    <a:pt x="72570" y="52406"/>
                  </a:lnTo>
                  <a:lnTo>
                    <a:pt x="72287" y="52124"/>
                  </a:lnTo>
                  <a:lnTo>
                    <a:pt x="72075" y="51806"/>
                  </a:lnTo>
                  <a:lnTo>
                    <a:pt x="71863" y="51453"/>
                  </a:lnTo>
                  <a:lnTo>
                    <a:pt x="71687" y="51100"/>
                  </a:lnTo>
                  <a:lnTo>
                    <a:pt x="71546" y="50746"/>
                  </a:lnTo>
                  <a:lnTo>
                    <a:pt x="71440" y="50358"/>
                  </a:lnTo>
                  <a:lnTo>
                    <a:pt x="71334" y="49934"/>
                  </a:lnTo>
                  <a:lnTo>
                    <a:pt x="71263" y="49546"/>
                  </a:lnTo>
                  <a:lnTo>
                    <a:pt x="71193" y="49122"/>
                  </a:lnTo>
                  <a:lnTo>
                    <a:pt x="71193" y="48698"/>
                  </a:lnTo>
                  <a:lnTo>
                    <a:pt x="71157" y="47815"/>
                  </a:lnTo>
                  <a:lnTo>
                    <a:pt x="71228" y="46933"/>
                  </a:lnTo>
                  <a:lnTo>
                    <a:pt x="71369" y="46050"/>
                  </a:lnTo>
                  <a:lnTo>
                    <a:pt x="71546" y="45202"/>
                  </a:lnTo>
                  <a:lnTo>
                    <a:pt x="71758" y="44390"/>
                  </a:lnTo>
                  <a:lnTo>
                    <a:pt x="72005" y="43613"/>
                  </a:lnTo>
                  <a:lnTo>
                    <a:pt x="72287" y="42871"/>
                  </a:lnTo>
                  <a:lnTo>
                    <a:pt x="72605" y="42236"/>
                  </a:lnTo>
                  <a:lnTo>
                    <a:pt x="72888" y="41671"/>
                  </a:lnTo>
                  <a:lnTo>
                    <a:pt x="73205" y="41247"/>
                  </a:lnTo>
                  <a:lnTo>
                    <a:pt x="73523" y="40894"/>
                  </a:lnTo>
                  <a:lnTo>
                    <a:pt x="73700" y="40788"/>
                  </a:lnTo>
                  <a:lnTo>
                    <a:pt x="73947" y="40647"/>
                  </a:lnTo>
                  <a:lnTo>
                    <a:pt x="74653" y="40329"/>
                  </a:lnTo>
                  <a:lnTo>
                    <a:pt x="75677" y="40011"/>
                  </a:lnTo>
                  <a:lnTo>
                    <a:pt x="76913" y="39658"/>
                  </a:lnTo>
                  <a:lnTo>
                    <a:pt x="78396" y="39305"/>
                  </a:lnTo>
                  <a:lnTo>
                    <a:pt x="80127" y="38916"/>
                  </a:lnTo>
                  <a:lnTo>
                    <a:pt x="84153" y="38069"/>
                  </a:lnTo>
                  <a:lnTo>
                    <a:pt x="88814" y="37115"/>
                  </a:lnTo>
                  <a:lnTo>
                    <a:pt x="94040" y="36127"/>
                  </a:lnTo>
                  <a:lnTo>
                    <a:pt x="105482" y="34008"/>
                  </a:lnTo>
                  <a:lnTo>
                    <a:pt x="111414" y="32842"/>
                  </a:lnTo>
                  <a:lnTo>
                    <a:pt x="117276" y="31712"/>
                  </a:lnTo>
                  <a:lnTo>
                    <a:pt x="122997" y="30512"/>
                  </a:lnTo>
                  <a:lnTo>
                    <a:pt x="125716" y="29947"/>
                  </a:lnTo>
                  <a:lnTo>
                    <a:pt x="128365" y="29346"/>
                  </a:lnTo>
                  <a:lnTo>
                    <a:pt x="130872" y="28746"/>
                  </a:lnTo>
                  <a:lnTo>
                    <a:pt x="133238" y="28146"/>
                  </a:lnTo>
                  <a:lnTo>
                    <a:pt x="135463" y="27581"/>
                  </a:lnTo>
                  <a:lnTo>
                    <a:pt x="137546" y="26980"/>
                  </a:lnTo>
                  <a:lnTo>
                    <a:pt x="139383" y="26415"/>
                  </a:lnTo>
                  <a:lnTo>
                    <a:pt x="141042" y="25850"/>
                  </a:lnTo>
                  <a:lnTo>
                    <a:pt x="142490" y="25285"/>
                  </a:lnTo>
                  <a:lnTo>
                    <a:pt x="143090" y="25003"/>
                  </a:lnTo>
                  <a:lnTo>
                    <a:pt x="143655" y="24756"/>
                  </a:lnTo>
                  <a:lnTo>
                    <a:pt x="143726" y="24720"/>
                  </a:lnTo>
                  <a:lnTo>
                    <a:pt x="143726" y="24685"/>
                  </a:lnTo>
                  <a:lnTo>
                    <a:pt x="143691" y="24579"/>
                  </a:lnTo>
                  <a:lnTo>
                    <a:pt x="143549" y="24438"/>
                  </a:lnTo>
                  <a:lnTo>
                    <a:pt x="143338" y="24261"/>
                  </a:lnTo>
                  <a:lnTo>
                    <a:pt x="142631" y="23873"/>
                  </a:lnTo>
                  <a:lnTo>
                    <a:pt x="141572" y="23378"/>
                  </a:lnTo>
                  <a:lnTo>
                    <a:pt x="140230" y="22813"/>
                  </a:lnTo>
                  <a:lnTo>
                    <a:pt x="138570" y="22142"/>
                  </a:lnTo>
                  <a:lnTo>
                    <a:pt x="136663" y="21401"/>
                  </a:lnTo>
                  <a:lnTo>
                    <a:pt x="134545" y="20589"/>
                  </a:lnTo>
                  <a:lnTo>
                    <a:pt x="129636" y="18752"/>
                  </a:lnTo>
                  <a:lnTo>
                    <a:pt x="124057" y="16775"/>
                  </a:lnTo>
                  <a:lnTo>
                    <a:pt x="118018" y="14656"/>
                  </a:lnTo>
                  <a:lnTo>
                    <a:pt x="111662" y="12502"/>
                  </a:lnTo>
                  <a:lnTo>
                    <a:pt x="105270" y="10312"/>
                  </a:lnTo>
                  <a:lnTo>
                    <a:pt x="98949" y="8194"/>
                  </a:lnTo>
                  <a:lnTo>
                    <a:pt x="87366" y="4380"/>
                  </a:lnTo>
                  <a:lnTo>
                    <a:pt x="78467" y="1519"/>
                  </a:lnTo>
                  <a:lnTo>
                    <a:pt x="75536" y="601"/>
                  </a:lnTo>
                  <a:lnTo>
                    <a:pt x="73841" y="107"/>
                  </a:lnTo>
                  <a:lnTo>
                    <a:pt x="73347" y="36"/>
                  </a:lnTo>
                  <a:lnTo>
                    <a:pt x="72676" y="1"/>
                  </a:lnTo>
                  <a:close/>
                </a:path>
              </a:pathLst>
            </a:custGeom>
            <a:solidFill>
              <a:srgbClr val="D76009"/>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96" name="Google Shape;802;g2e0683f995c_0_0">
              <a:extLst>
                <a:ext uri="{FF2B5EF4-FFF2-40B4-BE49-F238E27FC236}">
                  <a16:creationId xmlns:a16="http://schemas.microsoft.com/office/drawing/2014/main" id="{8DE75C6E-18D4-2964-E7E7-1C3475F04E89}"/>
                </a:ext>
              </a:extLst>
            </p:cNvPr>
            <p:cNvSpPr/>
            <p:nvPr/>
          </p:nvSpPr>
          <p:spPr>
            <a:xfrm>
              <a:off x="1333952" y="1568331"/>
              <a:ext cx="1450074" cy="555606"/>
            </a:xfrm>
            <a:custGeom>
              <a:avLst/>
              <a:gdLst/>
              <a:ahLst/>
              <a:cxnLst/>
              <a:rect l="l" t="t" r="r" b="b"/>
              <a:pathLst>
                <a:path w="147929" h="56680" fill="none" extrusionOk="0">
                  <a:moveTo>
                    <a:pt x="146057" y="41918"/>
                  </a:moveTo>
                  <a:lnTo>
                    <a:pt x="146057" y="41918"/>
                  </a:lnTo>
                  <a:lnTo>
                    <a:pt x="144574" y="42271"/>
                  </a:lnTo>
                  <a:lnTo>
                    <a:pt x="141748" y="42871"/>
                  </a:lnTo>
                  <a:lnTo>
                    <a:pt x="133026" y="44708"/>
                  </a:lnTo>
                  <a:lnTo>
                    <a:pt x="121373" y="47074"/>
                  </a:lnTo>
                  <a:lnTo>
                    <a:pt x="108413" y="49722"/>
                  </a:lnTo>
                  <a:lnTo>
                    <a:pt x="84612" y="54525"/>
                  </a:lnTo>
                  <a:lnTo>
                    <a:pt x="73947" y="56679"/>
                  </a:lnTo>
                  <a:lnTo>
                    <a:pt x="73947" y="56679"/>
                  </a:lnTo>
                  <a:lnTo>
                    <a:pt x="72958" y="56255"/>
                  </a:lnTo>
                  <a:lnTo>
                    <a:pt x="72958" y="56255"/>
                  </a:lnTo>
                  <a:lnTo>
                    <a:pt x="67414" y="53995"/>
                  </a:lnTo>
                  <a:lnTo>
                    <a:pt x="58127" y="50146"/>
                  </a:lnTo>
                  <a:lnTo>
                    <a:pt x="46473" y="45273"/>
                  </a:lnTo>
                  <a:lnTo>
                    <a:pt x="40223" y="42589"/>
                  </a:lnTo>
                  <a:lnTo>
                    <a:pt x="33866" y="39835"/>
                  </a:lnTo>
                  <a:lnTo>
                    <a:pt x="27581" y="37115"/>
                  </a:lnTo>
                  <a:lnTo>
                    <a:pt x="21577" y="34432"/>
                  </a:lnTo>
                  <a:lnTo>
                    <a:pt x="15998" y="31889"/>
                  </a:lnTo>
                  <a:lnTo>
                    <a:pt x="13420" y="30688"/>
                  </a:lnTo>
                  <a:lnTo>
                    <a:pt x="11019" y="29558"/>
                  </a:lnTo>
                  <a:lnTo>
                    <a:pt x="8794" y="28464"/>
                  </a:lnTo>
                  <a:lnTo>
                    <a:pt x="6781" y="27475"/>
                  </a:lnTo>
                  <a:lnTo>
                    <a:pt x="5015" y="26521"/>
                  </a:lnTo>
                  <a:lnTo>
                    <a:pt x="3532" y="25709"/>
                  </a:lnTo>
                  <a:lnTo>
                    <a:pt x="2296" y="24968"/>
                  </a:lnTo>
                  <a:lnTo>
                    <a:pt x="1343" y="24332"/>
                  </a:lnTo>
                  <a:lnTo>
                    <a:pt x="990" y="24049"/>
                  </a:lnTo>
                  <a:lnTo>
                    <a:pt x="742" y="23802"/>
                  </a:lnTo>
                  <a:lnTo>
                    <a:pt x="566" y="23590"/>
                  </a:lnTo>
                  <a:lnTo>
                    <a:pt x="460" y="23414"/>
                  </a:lnTo>
                  <a:lnTo>
                    <a:pt x="460" y="23414"/>
                  </a:lnTo>
                  <a:lnTo>
                    <a:pt x="283" y="22637"/>
                  </a:lnTo>
                  <a:lnTo>
                    <a:pt x="142" y="21825"/>
                  </a:lnTo>
                  <a:lnTo>
                    <a:pt x="36" y="20907"/>
                  </a:lnTo>
                  <a:lnTo>
                    <a:pt x="1" y="19988"/>
                  </a:lnTo>
                  <a:lnTo>
                    <a:pt x="1" y="19035"/>
                  </a:lnTo>
                  <a:lnTo>
                    <a:pt x="72" y="18046"/>
                  </a:lnTo>
                  <a:lnTo>
                    <a:pt x="177" y="17093"/>
                  </a:lnTo>
                  <a:lnTo>
                    <a:pt x="354" y="16139"/>
                  </a:lnTo>
                  <a:lnTo>
                    <a:pt x="601" y="15221"/>
                  </a:lnTo>
                  <a:lnTo>
                    <a:pt x="884" y="14374"/>
                  </a:lnTo>
                  <a:lnTo>
                    <a:pt x="1060" y="13985"/>
                  </a:lnTo>
                  <a:lnTo>
                    <a:pt x="1237" y="13597"/>
                  </a:lnTo>
                  <a:lnTo>
                    <a:pt x="1449" y="13244"/>
                  </a:lnTo>
                  <a:lnTo>
                    <a:pt x="1696" y="12890"/>
                  </a:lnTo>
                  <a:lnTo>
                    <a:pt x="1908" y="12573"/>
                  </a:lnTo>
                  <a:lnTo>
                    <a:pt x="2190" y="12290"/>
                  </a:lnTo>
                  <a:lnTo>
                    <a:pt x="2438" y="12043"/>
                  </a:lnTo>
                  <a:lnTo>
                    <a:pt x="2755" y="11831"/>
                  </a:lnTo>
                  <a:lnTo>
                    <a:pt x="3038" y="11654"/>
                  </a:lnTo>
                  <a:lnTo>
                    <a:pt x="3391" y="11513"/>
                  </a:lnTo>
                  <a:lnTo>
                    <a:pt x="3709" y="11372"/>
                  </a:lnTo>
                  <a:lnTo>
                    <a:pt x="4097" y="11301"/>
                  </a:lnTo>
                  <a:lnTo>
                    <a:pt x="4097" y="11301"/>
                  </a:lnTo>
                  <a:lnTo>
                    <a:pt x="5263" y="11125"/>
                  </a:lnTo>
                  <a:lnTo>
                    <a:pt x="7346" y="10736"/>
                  </a:lnTo>
                  <a:lnTo>
                    <a:pt x="13879" y="9500"/>
                  </a:lnTo>
                  <a:lnTo>
                    <a:pt x="13879" y="9500"/>
                  </a:lnTo>
                  <a:lnTo>
                    <a:pt x="21542" y="8052"/>
                  </a:lnTo>
                  <a:lnTo>
                    <a:pt x="30406" y="6428"/>
                  </a:lnTo>
                  <a:lnTo>
                    <a:pt x="39799" y="4733"/>
                  </a:lnTo>
                  <a:lnTo>
                    <a:pt x="44531" y="3885"/>
                  </a:lnTo>
                  <a:lnTo>
                    <a:pt x="49157" y="3109"/>
                  </a:lnTo>
                  <a:lnTo>
                    <a:pt x="53642" y="2367"/>
                  </a:lnTo>
                  <a:lnTo>
                    <a:pt x="57844" y="1696"/>
                  </a:lnTo>
                  <a:lnTo>
                    <a:pt x="61764" y="1096"/>
                  </a:lnTo>
                  <a:lnTo>
                    <a:pt x="65260" y="637"/>
                  </a:lnTo>
                  <a:lnTo>
                    <a:pt x="68297" y="248"/>
                  </a:lnTo>
                  <a:lnTo>
                    <a:pt x="69639" y="142"/>
                  </a:lnTo>
                  <a:lnTo>
                    <a:pt x="70804" y="36"/>
                  </a:lnTo>
                  <a:lnTo>
                    <a:pt x="71828" y="1"/>
                  </a:lnTo>
                  <a:lnTo>
                    <a:pt x="72676" y="1"/>
                  </a:lnTo>
                  <a:lnTo>
                    <a:pt x="73347" y="36"/>
                  </a:lnTo>
                  <a:lnTo>
                    <a:pt x="73841" y="107"/>
                  </a:lnTo>
                  <a:lnTo>
                    <a:pt x="73841" y="107"/>
                  </a:lnTo>
                  <a:lnTo>
                    <a:pt x="75536" y="601"/>
                  </a:lnTo>
                  <a:lnTo>
                    <a:pt x="78467" y="1519"/>
                  </a:lnTo>
                  <a:lnTo>
                    <a:pt x="87366" y="4380"/>
                  </a:lnTo>
                  <a:lnTo>
                    <a:pt x="98949" y="8194"/>
                  </a:lnTo>
                  <a:lnTo>
                    <a:pt x="105270" y="10312"/>
                  </a:lnTo>
                  <a:lnTo>
                    <a:pt x="111662" y="12502"/>
                  </a:lnTo>
                  <a:lnTo>
                    <a:pt x="118018" y="14656"/>
                  </a:lnTo>
                  <a:lnTo>
                    <a:pt x="124057" y="16775"/>
                  </a:lnTo>
                  <a:lnTo>
                    <a:pt x="129636" y="18752"/>
                  </a:lnTo>
                  <a:lnTo>
                    <a:pt x="134545" y="20589"/>
                  </a:lnTo>
                  <a:lnTo>
                    <a:pt x="136663" y="21401"/>
                  </a:lnTo>
                  <a:lnTo>
                    <a:pt x="138570" y="22142"/>
                  </a:lnTo>
                  <a:lnTo>
                    <a:pt x="140230" y="22813"/>
                  </a:lnTo>
                  <a:lnTo>
                    <a:pt x="141572" y="23378"/>
                  </a:lnTo>
                  <a:lnTo>
                    <a:pt x="142631" y="23873"/>
                  </a:lnTo>
                  <a:lnTo>
                    <a:pt x="143338" y="24261"/>
                  </a:lnTo>
                  <a:lnTo>
                    <a:pt x="143549" y="24438"/>
                  </a:lnTo>
                  <a:lnTo>
                    <a:pt x="143691" y="24579"/>
                  </a:lnTo>
                  <a:lnTo>
                    <a:pt x="143726" y="24685"/>
                  </a:lnTo>
                  <a:lnTo>
                    <a:pt x="143726" y="24720"/>
                  </a:lnTo>
                  <a:lnTo>
                    <a:pt x="143655" y="24756"/>
                  </a:lnTo>
                  <a:lnTo>
                    <a:pt x="143655" y="24756"/>
                  </a:lnTo>
                  <a:lnTo>
                    <a:pt x="143090" y="25003"/>
                  </a:lnTo>
                  <a:lnTo>
                    <a:pt x="142490" y="25285"/>
                  </a:lnTo>
                  <a:lnTo>
                    <a:pt x="141042" y="25850"/>
                  </a:lnTo>
                  <a:lnTo>
                    <a:pt x="139383" y="26415"/>
                  </a:lnTo>
                  <a:lnTo>
                    <a:pt x="137546" y="26980"/>
                  </a:lnTo>
                  <a:lnTo>
                    <a:pt x="135463" y="27581"/>
                  </a:lnTo>
                  <a:lnTo>
                    <a:pt x="133238" y="28146"/>
                  </a:lnTo>
                  <a:lnTo>
                    <a:pt x="130872" y="28746"/>
                  </a:lnTo>
                  <a:lnTo>
                    <a:pt x="128365" y="29346"/>
                  </a:lnTo>
                  <a:lnTo>
                    <a:pt x="125716" y="29947"/>
                  </a:lnTo>
                  <a:lnTo>
                    <a:pt x="122997" y="30512"/>
                  </a:lnTo>
                  <a:lnTo>
                    <a:pt x="117276" y="31712"/>
                  </a:lnTo>
                  <a:lnTo>
                    <a:pt x="111414" y="32842"/>
                  </a:lnTo>
                  <a:lnTo>
                    <a:pt x="105482" y="34008"/>
                  </a:lnTo>
                  <a:lnTo>
                    <a:pt x="94040" y="36127"/>
                  </a:lnTo>
                  <a:lnTo>
                    <a:pt x="88814" y="37115"/>
                  </a:lnTo>
                  <a:lnTo>
                    <a:pt x="84153" y="38069"/>
                  </a:lnTo>
                  <a:lnTo>
                    <a:pt x="80127" y="38916"/>
                  </a:lnTo>
                  <a:lnTo>
                    <a:pt x="78396" y="39305"/>
                  </a:lnTo>
                  <a:lnTo>
                    <a:pt x="76913" y="39658"/>
                  </a:lnTo>
                  <a:lnTo>
                    <a:pt x="75677" y="40011"/>
                  </a:lnTo>
                  <a:lnTo>
                    <a:pt x="74653" y="40329"/>
                  </a:lnTo>
                  <a:lnTo>
                    <a:pt x="73947" y="40647"/>
                  </a:lnTo>
                  <a:lnTo>
                    <a:pt x="73700" y="40788"/>
                  </a:lnTo>
                  <a:lnTo>
                    <a:pt x="73523" y="40894"/>
                  </a:lnTo>
                  <a:lnTo>
                    <a:pt x="73523" y="40894"/>
                  </a:lnTo>
                  <a:lnTo>
                    <a:pt x="73205" y="41247"/>
                  </a:lnTo>
                  <a:lnTo>
                    <a:pt x="72888" y="41671"/>
                  </a:lnTo>
                  <a:lnTo>
                    <a:pt x="72605" y="42236"/>
                  </a:lnTo>
                  <a:lnTo>
                    <a:pt x="72287" y="42871"/>
                  </a:lnTo>
                  <a:lnTo>
                    <a:pt x="72005" y="43613"/>
                  </a:lnTo>
                  <a:lnTo>
                    <a:pt x="71758" y="44390"/>
                  </a:lnTo>
                  <a:lnTo>
                    <a:pt x="71546" y="45202"/>
                  </a:lnTo>
                  <a:lnTo>
                    <a:pt x="71369" y="46050"/>
                  </a:lnTo>
                  <a:lnTo>
                    <a:pt x="71228" y="46933"/>
                  </a:lnTo>
                  <a:lnTo>
                    <a:pt x="71157" y="47815"/>
                  </a:lnTo>
                  <a:lnTo>
                    <a:pt x="71193" y="48698"/>
                  </a:lnTo>
                  <a:lnTo>
                    <a:pt x="71193" y="49122"/>
                  </a:lnTo>
                  <a:lnTo>
                    <a:pt x="71263" y="49546"/>
                  </a:lnTo>
                  <a:lnTo>
                    <a:pt x="71334" y="49934"/>
                  </a:lnTo>
                  <a:lnTo>
                    <a:pt x="71440" y="50358"/>
                  </a:lnTo>
                  <a:lnTo>
                    <a:pt x="71546" y="50746"/>
                  </a:lnTo>
                  <a:lnTo>
                    <a:pt x="71687" y="51100"/>
                  </a:lnTo>
                  <a:lnTo>
                    <a:pt x="71863" y="51453"/>
                  </a:lnTo>
                  <a:lnTo>
                    <a:pt x="72075" y="51806"/>
                  </a:lnTo>
                  <a:lnTo>
                    <a:pt x="72287" y="52124"/>
                  </a:lnTo>
                  <a:lnTo>
                    <a:pt x="72570" y="52406"/>
                  </a:lnTo>
                  <a:lnTo>
                    <a:pt x="72570" y="52406"/>
                  </a:lnTo>
                  <a:lnTo>
                    <a:pt x="72888" y="52724"/>
                  </a:lnTo>
                  <a:lnTo>
                    <a:pt x="73276" y="53006"/>
                  </a:lnTo>
                  <a:lnTo>
                    <a:pt x="73735" y="53254"/>
                  </a:lnTo>
                  <a:lnTo>
                    <a:pt x="74229" y="53466"/>
                  </a:lnTo>
                  <a:lnTo>
                    <a:pt x="74759" y="53642"/>
                  </a:lnTo>
                  <a:lnTo>
                    <a:pt x="75324" y="53748"/>
                  </a:lnTo>
                  <a:lnTo>
                    <a:pt x="75995" y="53783"/>
                  </a:lnTo>
                  <a:lnTo>
                    <a:pt x="76701" y="53819"/>
                  </a:lnTo>
                  <a:lnTo>
                    <a:pt x="76701" y="53819"/>
                  </a:lnTo>
                  <a:lnTo>
                    <a:pt x="77620" y="53748"/>
                  </a:lnTo>
                  <a:lnTo>
                    <a:pt x="78856" y="53607"/>
                  </a:lnTo>
                  <a:lnTo>
                    <a:pt x="80339" y="53395"/>
                  </a:lnTo>
                  <a:lnTo>
                    <a:pt x="82069" y="53148"/>
                  </a:lnTo>
                  <a:lnTo>
                    <a:pt x="86201" y="52406"/>
                  </a:lnTo>
                  <a:lnTo>
                    <a:pt x="91074" y="51523"/>
                  </a:lnTo>
                  <a:lnTo>
                    <a:pt x="96477" y="50464"/>
                  </a:lnTo>
                  <a:lnTo>
                    <a:pt x="102304" y="49299"/>
                  </a:lnTo>
                  <a:lnTo>
                    <a:pt x="108342" y="48027"/>
                  </a:lnTo>
                  <a:lnTo>
                    <a:pt x="114487" y="46756"/>
                  </a:lnTo>
                  <a:lnTo>
                    <a:pt x="126246" y="44213"/>
                  </a:lnTo>
                  <a:lnTo>
                    <a:pt x="136310" y="42024"/>
                  </a:lnTo>
                  <a:lnTo>
                    <a:pt x="145915" y="39870"/>
                  </a:lnTo>
                  <a:lnTo>
                    <a:pt x="145915" y="39870"/>
                  </a:lnTo>
                  <a:lnTo>
                    <a:pt x="146551" y="40046"/>
                  </a:lnTo>
                  <a:lnTo>
                    <a:pt x="147081" y="40223"/>
                  </a:lnTo>
                  <a:lnTo>
                    <a:pt x="147363" y="40364"/>
                  </a:lnTo>
                  <a:lnTo>
                    <a:pt x="147575" y="40470"/>
                  </a:lnTo>
                  <a:lnTo>
                    <a:pt x="147787" y="40611"/>
                  </a:lnTo>
                  <a:lnTo>
                    <a:pt x="147893" y="40788"/>
                  </a:lnTo>
                  <a:lnTo>
                    <a:pt x="147928" y="40859"/>
                  </a:lnTo>
                  <a:lnTo>
                    <a:pt x="147928" y="40965"/>
                  </a:lnTo>
                  <a:lnTo>
                    <a:pt x="147893" y="41035"/>
                  </a:lnTo>
                  <a:lnTo>
                    <a:pt x="147822" y="41141"/>
                  </a:lnTo>
                  <a:lnTo>
                    <a:pt x="147752" y="41212"/>
                  </a:lnTo>
                  <a:lnTo>
                    <a:pt x="147646" y="41318"/>
                  </a:lnTo>
                  <a:lnTo>
                    <a:pt x="147293" y="41530"/>
                  </a:lnTo>
                  <a:lnTo>
                    <a:pt x="146763" y="41706"/>
                  </a:lnTo>
                  <a:lnTo>
                    <a:pt x="146057" y="41918"/>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97" name="Google Shape;803;g2e0683f995c_0_0">
              <a:extLst>
                <a:ext uri="{FF2B5EF4-FFF2-40B4-BE49-F238E27FC236}">
                  <a16:creationId xmlns:a16="http://schemas.microsoft.com/office/drawing/2014/main" id="{43B6B6F7-4649-E2C0-E453-42155C7BA1DF}"/>
                </a:ext>
              </a:extLst>
            </p:cNvPr>
            <p:cNvSpPr/>
            <p:nvPr/>
          </p:nvSpPr>
          <p:spPr>
            <a:xfrm>
              <a:off x="1333952" y="1661454"/>
              <a:ext cx="720719" cy="458326"/>
            </a:xfrm>
            <a:custGeom>
              <a:avLst/>
              <a:gdLst/>
              <a:ahLst/>
              <a:cxnLst/>
              <a:rect l="l" t="t" r="r" b="b"/>
              <a:pathLst>
                <a:path w="73524" h="46756" extrusionOk="0">
                  <a:moveTo>
                    <a:pt x="13879" y="0"/>
                  </a:moveTo>
                  <a:lnTo>
                    <a:pt x="7346" y="1236"/>
                  </a:lnTo>
                  <a:lnTo>
                    <a:pt x="5263" y="1625"/>
                  </a:lnTo>
                  <a:lnTo>
                    <a:pt x="4097" y="1801"/>
                  </a:lnTo>
                  <a:lnTo>
                    <a:pt x="3815" y="1872"/>
                  </a:lnTo>
                  <a:lnTo>
                    <a:pt x="3568" y="1943"/>
                  </a:lnTo>
                  <a:lnTo>
                    <a:pt x="3320" y="2013"/>
                  </a:lnTo>
                  <a:lnTo>
                    <a:pt x="3073" y="2119"/>
                  </a:lnTo>
                  <a:lnTo>
                    <a:pt x="2614" y="2402"/>
                  </a:lnTo>
                  <a:lnTo>
                    <a:pt x="2226" y="2755"/>
                  </a:lnTo>
                  <a:lnTo>
                    <a:pt x="1837" y="3178"/>
                  </a:lnTo>
                  <a:lnTo>
                    <a:pt x="1519" y="3638"/>
                  </a:lnTo>
                  <a:lnTo>
                    <a:pt x="1202" y="4167"/>
                  </a:lnTo>
                  <a:lnTo>
                    <a:pt x="954" y="4732"/>
                  </a:lnTo>
                  <a:lnTo>
                    <a:pt x="707" y="5333"/>
                  </a:lnTo>
                  <a:lnTo>
                    <a:pt x="531" y="5968"/>
                  </a:lnTo>
                  <a:lnTo>
                    <a:pt x="354" y="6639"/>
                  </a:lnTo>
                  <a:lnTo>
                    <a:pt x="213" y="7310"/>
                  </a:lnTo>
                  <a:lnTo>
                    <a:pt x="142" y="8016"/>
                  </a:lnTo>
                  <a:lnTo>
                    <a:pt x="72" y="8723"/>
                  </a:lnTo>
                  <a:lnTo>
                    <a:pt x="1" y="9429"/>
                  </a:lnTo>
                  <a:lnTo>
                    <a:pt x="1" y="10135"/>
                  </a:lnTo>
                  <a:lnTo>
                    <a:pt x="36" y="11159"/>
                  </a:lnTo>
                  <a:lnTo>
                    <a:pt x="107" y="12148"/>
                  </a:lnTo>
                  <a:lnTo>
                    <a:pt x="248" y="13066"/>
                  </a:lnTo>
                  <a:lnTo>
                    <a:pt x="460" y="13914"/>
                  </a:lnTo>
                  <a:lnTo>
                    <a:pt x="566" y="14090"/>
                  </a:lnTo>
                  <a:lnTo>
                    <a:pt x="742" y="14302"/>
                  </a:lnTo>
                  <a:lnTo>
                    <a:pt x="990" y="14549"/>
                  </a:lnTo>
                  <a:lnTo>
                    <a:pt x="1343" y="14832"/>
                  </a:lnTo>
                  <a:lnTo>
                    <a:pt x="2296" y="15468"/>
                  </a:lnTo>
                  <a:lnTo>
                    <a:pt x="3532" y="16209"/>
                  </a:lnTo>
                  <a:lnTo>
                    <a:pt x="5015" y="17021"/>
                  </a:lnTo>
                  <a:lnTo>
                    <a:pt x="6781" y="17975"/>
                  </a:lnTo>
                  <a:lnTo>
                    <a:pt x="8794" y="18964"/>
                  </a:lnTo>
                  <a:lnTo>
                    <a:pt x="11019" y="20058"/>
                  </a:lnTo>
                  <a:lnTo>
                    <a:pt x="13420" y="21188"/>
                  </a:lnTo>
                  <a:lnTo>
                    <a:pt x="15998" y="22389"/>
                  </a:lnTo>
                  <a:lnTo>
                    <a:pt x="21577" y="24932"/>
                  </a:lnTo>
                  <a:lnTo>
                    <a:pt x="27581" y="27615"/>
                  </a:lnTo>
                  <a:lnTo>
                    <a:pt x="33866" y="30335"/>
                  </a:lnTo>
                  <a:lnTo>
                    <a:pt x="40223" y="33089"/>
                  </a:lnTo>
                  <a:lnTo>
                    <a:pt x="46473" y="35773"/>
                  </a:lnTo>
                  <a:lnTo>
                    <a:pt x="58127" y="40646"/>
                  </a:lnTo>
                  <a:lnTo>
                    <a:pt x="67414" y="44495"/>
                  </a:lnTo>
                  <a:lnTo>
                    <a:pt x="72958" y="46755"/>
                  </a:lnTo>
                  <a:lnTo>
                    <a:pt x="72676" y="45696"/>
                  </a:lnTo>
                  <a:lnTo>
                    <a:pt x="72499" y="44778"/>
                  </a:lnTo>
                  <a:lnTo>
                    <a:pt x="72428" y="44354"/>
                  </a:lnTo>
                  <a:lnTo>
                    <a:pt x="72393" y="44001"/>
                  </a:lnTo>
                  <a:lnTo>
                    <a:pt x="72393" y="43683"/>
                  </a:lnTo>
                  <a:lnTo>
                    <a:pt x="72428" y="43436"/>
                  </a:lnTo>
                  <a:lnTo>
                    <a:pt x="72570" y="42906"/>
                  </a:lnTo>
                  <a:lnTo>
                    <a:pt x="72217" y="42482"/>
                  </a:lnTo>
                  <a:lnTo>
                    <a:pt x="71899" y="42023"/>
                  </a:lnTo>
                  <a:lnTo>
                    <a:pt x="71687" y="41529"/>
                  </a:lnTo>
                  <a:lnTo>
                    <a:pt x="71475" y="40999"/>
                  </a:lnTo>
                  <a:lnTo>
                    <a:pt x="71334" y="40469"/>
                  </a:lnTo>
                  <a:lnTo>
                    <a:pt x="71228" y="39869"/>
                  </a:lnTo>
                  <a:lnTo>
                    <a:pt x="71193" y="39304"/>
                  </a:lnTo>
                  <a:lnTo>
                    <a:pt x="71157" y="38669"/>
                  </a:lnTo>
                  <a:lnTo>
                    <a:pt x="71193" y="38103"/>
                  </a:lnTo>
                  <a:lnTo>
                    <a:pt x="71228" y="37538"/>
                  </a:lnTo>
                  <a:lnTo>
                    <a:pt x="71298" y="36973"/>
                  </a:lnTo>
                  <a:lnTo>
                    <a:pt x="71369" y="36408"/>
                  </a:lnTo>
                  <a:lnTo>
                    <a:pt x="71510" y="35843"/>
                  </a:lnTo>
                  <a:lnTo>
                    <a:pt x="71652" y="35278"/>
                  </a:lnTo>
                  <a:lnTo>
                    <a:pt x="71969" y="34254"/>
                  </a:lnTo>
                  <a:lnTo>
                    <a:pt x="72323" y="33336"/>
                  </a:lnTo>
                  <a:lnTo>
                    <a:pt x="72711" y="32524"/>
                  </a:lnTo>
                  <a:lnTo>
                    <a:pt x="72923" y="32171"/>
                  </a:lnTo>
                  <a:lnTo>
                    <a:pt x="73135" y="31853"/>
                  </a:lnTo>
                  <a:lnTo>
                    <a:pt x="73311" y="31606"/>
                  </a:lnTo>
                  <a:lnTo>
                    <a:pt x="73523" y="31394"/>
                  </a:lnTo>
                  <a:lnTo>
                    <a:pt x="68968" y="29981"/>
                  </a:lnTo>
                  <a:lnTo>
                    <a:pt x="61587" y="27580"/>
                  </a:lnTo>
                  <a:lnTo>
                    <a:pt x="57173" y="26132"/>
                  </a:lnTo>
                  <a:lnTo>
                    <a:pt x="52441" y="24543"/>
                  </a:lnTo>
                  <a:lnTo>
                    <a:pt x="47533" y="22848"/>
                  </a:lnTo>
                  <a:lnTo>
                    <a:pt x="42518" y="21082"/>
                  </a:lnTo>
                  <a:lnTo>
                    <a:pt x="37610" y="19281"/>
                  </a:lnTo>
                  <a:lnTo>
                    <a:pt x="32878" y="17480"/>
                  </a:lnTo>
                  <a:lnTo>
                    <a:pt x="30582" y="16562"/>
                  </a:lnTo>
                  <a:lnTo>
                    <a:pt x="28428" y="15679"/>
                  </a:lnTo>
                  <a:lnTo>
                    <a:pt x="26380" y="14832"/>
                  </a:lnTo>
                  <a:lnTo>
                    <a:pt x="24438" y="13949"/>
                  </a:lnTo>
                  <a:lnTo>
                    <a:pt x="22672" y="13137"/>
                  </a:lnTo>
                  <a:lnTo>
                    <a:pt x="21048" y="12325"/>
                  </a:lnTo>
                  <a:lnTo>
                    <a:pt x="19564" y="11548"/>
                  </a:lnTo>
                  <a:lnTo>
                    <a:pt x="18329" y="10806"/>
                  </a:lnTo>
                  <a:lnTo>
                    <a:pt x="17764" y="10453"/>
                  </a:lnTo>
                  <a:lnTo>
                    <a:pt x="17269" y="10100"/>
                  </a:lnTo>
                  <a:lnTo>
                    <a:pt x="16810" y="9782"/>
                  </a:lnTo>
                  <a:lnTo>
                    <a:pt x="16422" y="9464"/>
                  </a:lnTo>
                  <a:lnTo>
                    <a:pt x="16104" y="9146"/>
                  </a:lnTo>
                  <a:lnTo>
                    <a:pt x="15821" y="8829"/>
                  </a:lnTo>
                  <a:lnTo>
                    <a:pt x="15609" y="8546"/>
                  </a:lnTo>
                  <a:lnTo>
                    <a:pt x="15468" y="8264"/>
                  </a:lnTo>
                  <a:lnTo>
                    <a:pt x="15115" y="7275"/>
                  </a:lnTo>
                  <a:lnTo>
                    <a:pt x="14797" y="6251"/>
                  </a:lnTo>
                  <a:lnTo>
                    <a:pt x="14550" y="5191"/>
                  </a:lnTo>
                  <a:lnTo>
                    <a:pt x="14373" y="4167"/>
                  </a:lnTo>
                  <a:lnTo>
                    <a:pt x="14197" y="3108"/>
                  </a:lnTo>
                  <a:lnTo>
                    <a:pt x="14091" y="2048"/>
                  </a:lnTo>
                  <a:lnTo>
                    <a:pt x="13879" y="0"/>
                  </a:lnTo>
                  <a:close/>
                </a:path>
              </a:pathLst>
            </a:custGeom>
            <a:solidFill>
              <a:srgbClr val="A44E1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98" name="Google Shape;804;g2e0683f995c_0_0">
              <a:extLst>
                <a:ext uri="{FF2B5EF4-FFF2-40B4-BE49-F238E27FC236}">
                  <a16:creationId xmlns:a16="http://schemas.microsoft.com/office/drawing/2014/main" id="{E5E622C3-4BA2-E8BD-2158-A0E24B952B42}"/>
                </a:ext>
              </a:extLst>
            </p:cNvPr>
            <p:cNvSpPr/>
            <p:nvPr/>
          </p:nvSpPr>
          <p:spPr>
            <a:xfrm>
              <a:off x="1333952" y="1661454"/>
              <a:ext cx="720719" cy="458326"/>
            </a:xfrm>
            <a:custGeom>
              <a:avLst/>
              <a:gdLst/>
              <a:ahLst/>
              <a:cxnLst/>
              <a:rect l="l" t="t" r="r" b="b"/>
              <a:pathLst>
                <a:path w="73524" h="46756" fill="none" extrusionOk="0">
                  <a:moveTo>
                    <a:pt x="13879" y="0"/>
                  </a:moveTo>
                  <a:lnTo>
                    <a:pt x="13879" y="0"/>
                  </a:lnTo>
                  <a:lnTo>
                    <a:pt x="13879" y="0"/>
                  </a:lnTo>
                  <a:lnTo>
                    <a:pt x="7346" y="1236"/>
                  </a:lnTo>
                  <a:lnTo>
                    <a:pt x="5263" y="1625"/>
                  </a:lnTo>
                  <a:lnTo>
                    <a:pt x="4097" y="1801"/>
                  </a:lnTo>
                  <a:lnTo>
                    <a:pt x="4097" y="1801"/>
                  </a:lnTo>
                  <a:lnTo>
                    <a:pt x="3815" y="1872"/>
                  </a:lnTo>
                  <a:lnTo>
                    <a:pt x="3568" y="1943"/>
                  </a:lnTo>
                  <a:lnTo>
                    <a:pt x="3320" y="2013"/>
                  </a:lnTo>
                  <a:lnTo>
                    <a:pt x="3073" y="2119"/>
                  </a:lnTo>
                  <a:lnTo>
                    <a:pt x="2614" y="2402"/>
                  </a:lnTo>
                  <a:lnTo>
                    <a:pt x="2226" y="2755"/>
                  </a:lnTo>
                  <a:lnTo>
                    <a:pt x="1837" y="3178"/>
                  </a:lnTo>
                  <a:lnTo>
                    <a:pt x="1519" y="3638"/>
                  </a:lnTo>
                  <a:lnTo>
                    <a:pt x="1202" y="4167"/>
                  </a:lnTo>
                  <a:lnTo>
                    <a:pt x="954" y="4732"/>
                  </a:lnTo>
                  <a:lnTo>
                    <a:pt x="707" y="5333"/>
                  </a:lnTo>
                  <a:lnTo>
                    <a:pt x="531" y="5968"/>
                  </a:lnTo>
                  <a:lnTo>
                    <a:pt x="354" y="6639"/>
                  </a:lnTo>
                  <a:lnTo>
                    <a:pt x="213" y="7310"/>
                  </a:lnTo>
                  <a:lnTo>
                    <a:pt x="142" y="8016"/>
                  </a:lnTo>
                  <a:lnTo>
                    <a:pt x="72" y="8723"/>
                  </a:lnTo>
                  <a:lnTo>
                    <a:pt x="1" y="9429"/>
                  </a:lnTo>
                  <a:lnTo>
                    <a:pt x="1" y="10135"/>
                  </a:lnTo>
                  <a:lnTo>
                    <a:pt x="1" y="10135"/>
                  </a:lnTo>
                  <a:lnTo>
                    <a:pt x="36" y="11159"/>
                  </a:lnTo>
                  <a:lnTo>
                    <a:pt x="107" y="12148"/>
                  </a:lnTo>
                  <a:lnTo>
                    <a:pt x="248" y="13066"/>
                  </a:lnTo>
                  <a:lnTo>
                    <a:pt x="460" y="13914"/>
                  </a:lnTo>
                  <a:lnTo>
                    <a:pt x="460" y="13914"/>
                  </a:lnTo>
                  <a:lnTo>
                    <a:pt x="566" y="14090"/>
                  </a:lnTo>
                  <a:lnTo>
                    <a:pt x="742" y="14302"/>
                  </a:lnTo>
                  <a:lnTo>
                    <a:pt x="990" y="14549"/>
                  </a:lnTo>
                  <a:lnTo>
                    <a:pt x="1343" y="14832"/>
                  </a:lnTo>
                  <a:lnTo>
                    <a:pt x="2296" y="15468"/>
                  </a:lnTo>
                  <a:lnTo>
                    <a:pt x="3532" y="16209"/>
                  </a:lnTo>
                  <a:lnTo>
                    <a:pt x="5015" y="17021"/>
                  </a:lnTo>
                  <a:lnTo>
                    <a:pt x="6781" y="17975"/>
                  </a:lnTo>
                  <a:lnTo>
                    <a:pt x="8794" y="18964"/>
                  </a:lnTo>
                  <a:lnTo>
                    <a:pt x="11019" y="20058"/>
                  </a:lnTo>
                  <a:lnTo>
                    <a:pt x="13420" y="21188"/>
                  </a:lnTo>
                  <a:lnTo>
                    <a:pt x="15998" y="22389"/>
                  </a:lnTo>
                  <a:lnTo>
                    <a:pt x="21577" y="24932"/>
                  </a:lnTo>
                  <a:lnTo>
                    <a:pt x="27581" y="27615"/>
                  </a:lnTo>
                  <a:lnTo>
                    <a:pt x="33866" y="30335"/>
                  </a:lnTo>
                  <a:lnTo>
                    <a:pt x="40223" y="33089"/>
                  </a:lnTo>
                  <a:lnTo>
                    <a:pt x="46473" y="35773"/>
                  </a:lnTo>
                  <a:lnTo>
                    <a:pt x="58127" y="40646"/>
                  </a:lnTo>
                  <a:lnTo>
                    <a:pt x="67414" y="44495"/>
                  </a:lnTo>
                  <a:lnTo>
                    <a:pt x="72958" y="46755"/>
                  </a:lnTo>
                  <a:lnTo>
                    <a:pt x="72958" y="46755"/>
                  </a:lnTo>
                  <a:lnTo>
                    <a:pt x="72676" y="45696"/>
                  </a:lnTo>
                  <a:lnTo>
                    <a:pt x="72499" y="44778"/>
                  </a:lnTo>
                  <a:lnTo>
                    <a:pt x="72428" y="44354"/>
                  </a:lnTo>
                  <a:lnTo>
                    <a:pt x="72393" y="44001"/>
                  </a:lnTo>
                  <a:lnTo>
                    <a:pt x="72393" y="43683"/>
                  </a:lnTo>
                  <a:lnTo>
                    <a:pt x="72428" y="43436"/>
                  </a:lnTo>
                  <a:lnTo>
                    <a:pt x="72428" y="43436"/>
                  </a:lnTo>
                  <a:lnTo>
                    <a:pt x="72570" y="42906"/>
                  </a:lnTo>
                  <a:lnTo>
                    <a:pt x="72570" y="42906"/>
                  </a:lnTo>
                  <a:lnTo>
                    <a:pt x="72217" y="42482"/>
                  </a:lnTo>
                  <a:lnTo>
                    <a:pt x="71899" y="42023"/>
                  </a:lnTo>
                  <a:lnTo>
                    <a:pt x="71687" y="41529"/>
                  </a:lnTo>
                  <a:lnTo>
                    <a:pt x="71475" y="40999"/>
                  </a:lnTo>
                  <a:lnTo>
                    <a:pt x="71334" y="40469"/>
                  </a:lnTo>
                  <a:lnTo>
                    <a:pt x="71228" y="39869"/>
                  </a:lnTo>
                  <a:lnTo>
                    <a:pt x="71193" y="39304"/>
                  </a:lnTo>
                  <a:lnTo>
                    <a:pt x="71157" y="38669"/>
                  </a:lnTo>
                  <a:lnTo>
                    <a:pt x="71157" y="38669"/>
                  </a:lnTo>
                  <a:lnTo>
                    <a:pt x="71193" y="38103"/>
                  </a:lnTo>
                  <a:lnTo>
                    <a:pt x="71228" y="37538"/>
                  </a:lnTo>
                  <a:lnTo>
                    <a:pt x="71298" y="36973"/>
                  </a:lnTo>
                  <a:lnTo>
                    <a:pt x="71369" y="36408"/>
                  </a:lnTo>
                  <a:lnTo>
                    <a:pt x="71510" y="35843"/>
                  </a:lnTo>
                  <a:lnTo>
                    <a:pt x="71652" y="35278"/>
                  </a:lnTo>
                  <a:lnTo>
                    <a:pt x="71969" y="34254"/>
                  </a:lnTo>
                  <a:lnTo>
                    <a:pt x="72323" y="33336"/>
                  </a:lnTo>
                  <a:lnTo>
                    <a:pt x="72711" y="32524"/>
                  </a:lnTo>
                  <a:lnTo>
                    <a:pt x="72923" y="32171"/>
                  </a:lnTo>
                  <a:lnTo>
                    <a:pt x="73135" y="31853"/>
                  </a:lnTo>
                  <a:lnTo>
                    <a:pt x="73311" y="31606"/>
                  </a:lnTo>
                  <a:lnTo>
                    <a:pt x="73523" y="31394"/>
                  </a:lnTo>
                  <a:lnTo>
                    <a:pt x="73523" y="31394"/>
                  </a:lnTo>
                  <a:lnTo>
                    <a:pt x="68968" y="29981"/>
                  </a:lnTo>
                  <a:lnTo>
                    <a:pt x="61587" y="27580"/>
                  </a:lnTo>
                  <a:lnTo>
                    <a:pt x="57173" y="26132"/>
                  </a:lnTo>
                  <a:lnTo>
                    <a:pt x="52441" y="24543"/>
                  </a:lnTo>
                  <a:lnTo>
                    <a:pt x="47533" y="22848"/>
                  </a:lnTo>
                  <a:lnTo>
                    <a:pt x="42518" y="21082"/>
                  </a:lnTo>
                  <a:lnTo>
                    <a:pt x="37610" y="19281"/>
                  </a:lnTo>
                  <a:lnTo>
                    <a:pt x="32878" y="17480"/>
                  </a:lnTo>
                  <a:lnTo>
                    <a:pt x="30582" y="16562"/>
                  </a:lnTo>
                  <a:lnTo>
                    <a:pt x="28428" y="15679"/>
                  </a:lnTo>
                  <a:lnTo>
                    <a:pt x="26380" y="14832"/>
                  </a:lnTo>
                  <a:lnTo>
                    <a:pt x="24438" y="13949"/>
                  </a:lnTo>
                  <a:lnTo>
                    <a:pt x="22672" y="13137"/>
                  </a:lnTo>
                  <a:lnTo>
                    <a:pt x="21048" y="12325"/>
                  </a:lnTo>
                  <a:lnTo>
                    <a:pt x="19564" y="11548"/>
                  </a:lnTo>
                  <a:lnTo>
                    <a:pt x="18329" y="10806"/>
                  </a:lnTo>
                  <a:lnTo>
                    <a:pt x="17764" y="10453"/>
                  </a:lnTo>
                  <a:lnTo>
                    <a:pt x="17269" y="10100"/>
                  </a:lnTo>
                  <a:lnTo>
                    <a:pt x="16810" y="9782"/>
                  </a:lnTo>
                  <a:lnTo>
                    <a:pt x="16422" y="9464"/>
                  </a:lnTo>
                  <a:lnTo>
                    <a:pt x="16104" y="9146"/>
                  </a:lnTo>
                  <a:lnTo>
                    <a:pt x="15821" y="8829"/>
                  </a:lnTo>
                  <a:lnTo>
                    <a:pt x="15609" y="8546"/>
                  </a:lnTo>
                  <a:lnTo>
                    <a:pt x="15468" y="8264"/>
                  </a:lnTo>
                  <a:lnTo>
                    <a:pt x="15468" y="8264"/>
                  </a:lnTo>
                  <a:lnTo>
                    <a:pt x="15115" y="7275"/>
                  </a:lnTo>
                  <a:lnTo>
                    <a:pt x="14797" y="6251"/>
                  </a:lnTo>
                  <a:lnTo>
                    <a:pt x="14550" y="5191"/>
                  </a:lnTo>
                  <a:lnTo>
                    <a:pt x="14373" y="4167"/>
                  </a:lnTo>
                  <a:lnTo>
                    <a:pt x="14197" y="3108"/>
                  </a:lnTo>
                  <a:lnTo>
                    <a:pt x="14091" y="2048"/>
                  </a:lnTo>
                  <a:lnTo>
                    <a:pt x="13879"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99" name="Google Shape;805;g2e0683f995c_0_0">
              <a:extLst>
                <a:ext uri="{FF2B5EF4-FFF2-40B4-BE49-F238E27FC236}">
                  <a16:creationId xmlns:a16="http://schemas.microsoft.com/office/drawing/2014/main" id="{3154FE51-978F-A074-3CED-F49AC0C9101E}"/>
                </a:ext>
              </a:extLst>
            </p:cNvPr>
            <p:cNvSpPr/>
            <p:nvPr/>
          </p:nvSpPr>
          <p:spPr>
            <a:xfrm>
              <a:off x="1884353" y="1728611"/>
              <a:ext cx="534472" cy="36005"/>
            </a:xfrm>
            <a:custGeom>
              <a:avLst/>
              <a:gdLst/>
              <a:ahLst/>
              <a:cxnLst/>
              <a:rect l="l" t="t" r="r" b="b"/>
              <a:pathLst>
                <a:path w="54524" h="3673" extrusionOk="0">
                  <a:moveTo>
                    <a:pt x="26838" y="0"/>
                  </a:moveTo>
                  <a:lnTo>
                    <a:pt x="21435" y="35"/>
                  </a:lnTo>
                  <a:lnTo>
                    <a:pt x="16385" y="141"/>
                  </a:lnTo>
                  <a:lnTo>
                    <a:pt x="11830" y="318"/>
                  </a:lnTo>
                  <a:lnTo>
                    <a:pt x="9747" y="424"/>
                  </a:lnTo>
                  <a:lnTo>
                    <a:pt x="7840" y="565"/>
                  </a:lnTo>
                  <a:lnTo>
                    <a:pt x="6109" y="671"/>
                  </a:lnTo>
                  <a:lnTo>
                    <a:pt x="4591" y="812"/>
                  </a:lnTo>
                  <a:lnTo>
                    <a:pt x="3249" y="989"/>
                  </a:lnTo>
                  <a:lnTo>
                    <a:pt x="2119" y="1130"/>
                  </a:lnTo>
                  <a:lnTo>
                    <a:pt x="1201" y="1307"/>
                  </a:lnTo>
                  <a:lnTo>
                    <a:pt x="530" y="1483"/>
                  </a:lnTo>
                  <a:lnTo>
                    <a:pt x="318" y="1554"/>
                  </a:lnTo>
                  <a:lnTo>
                    <a:pt x="141" y="1660"/>
                  </a:lnTo>
                  <a:lnTo>
                    <a:pt x="35" y="1766"/>
                  </a:lnTo>
                  <a:lnTo>
                    <a:pt x="0" y="1836"/>
                  </a:lnTo>
                  <a:lnTo>
                    <a:pt x="35" y="1942"/>
                  </a:lnTo>
                  <a:lnTo>
                    <a:pt x="141" y="2048"/>
                  </a:lnTo>
                  <a:lnTo>
                    <a:pt x="318" y="2119"/>
                  </a:lnTo>
                  <a:lnTo>
                    <a:pt x="530" y="2225"/>
                  </a:lnTo>
                  <a:lnTo>
                    <a:pt x="1201" y="2401"/>
                  </a:lnTo>
                  <a:lnTo>
                    <a:pt x="2119" y="2578"/>
                  </a:lnTo>
                  <a:lnTo>
                    <a:pt x="3249" y="2719"/>
                  </a:lnTo>
                  <a:lnTo>
                    <a:pt x="4591" y="2860"/>
                  </a:lnTo>
                  <a:lnTo>
                    <a:pt x="6109" y="3002"/>
                  </a:lnTo>
                  <a:lnTo>
                    <a:pt x="7840" y="3143"/>
                  </a:lnTo>
                  <a:lnTo>
                    <a:pt x="9747" y="3249"/>
                  </a:lnTo>
                  <a:lnTo>
                    <a:pt x="11830" y="3355"/>
                  </a:lnTo>
                  <a:lnTo>
                    <a:pt x="16385" y="3531"/>
                  </a:lnTo>
                  <a:lnTo>
                    <a:pt x="21435" y="3637"/>
                  </a:lnTo>
                  <a:lnTo>
                    <a:pt x="26838" y="3673"/>
                  </a:lnTo>
                  <a:lnTo>
                    <a:pt x="29593" y="3673"/>
                  </a:lnTo>
                  <a:lnTo>
                    <a:pt x="32276" y="3637"/>
                  </a:lnTo>
                  <a:lnTo>
                    <a:pt x="34890" y="3567"/>
                  </a:lnTo>
                  <a:lnTo>
                    <a:pt x="37397" y="3496"/>
                  </a:lnTo>
                  <a:lnTo>
                    <a:pt x="39798" y="3390"/>
                  </a:lnTo>
                  <a:lnTo>
                    <a:pt x="42094" y="3249"/>
                  </a:lnTo>
                  <a:lnTo>
                    <a:pt x="44248" y="3108"/>
                  </a:lnTo>
                  <a:lnTo>
                    <a:pt x="46225" y="2966"/>
                  </a:lnTo>
                  <a:lnTo>
                    <a:pt x="48026" y="2790"/>
                  </a:lnTo>
                  <a:lnTo>
                    <a:pt x="49651" y="2613"/>
                  </a:lnTo>
                  <a:lnTo>
                    <a:pt x="51063" y="2437"/>
                  </a:lnTo>
                  <a:lnTo>
                    <a:pt x="52264" y="2260"/>
                  </a:lnTo>
                  <a:lnTo>
                    <a:pt x="53217" y="2084"/>
                  </a:lnTo>
                  <a:lnTo>
                    <a:pt x="53923" y="1872"/>
                  </a:lnTo>
                  <a:lnTo>
                    <a:pt x="54171" y="1766"/>
                  </a:lnTo>
                  <a:lnTo>
                    <a:pt x="54347" y="1695"/>
                  </a:lnTo>
                  <a:lnTo>
                    <a:pt x="54488" y="1589"/>
                  </a:lnTo>
                  <a:lnTo>
                    <a:pt x="54524" y="1483"/>
                  </a:lnTo>
                  <a:lnTo>
                    <a:pt x="54488" y="1413"/>
                  </a:lnTo>
                  <a:lnTo>
                    <a:pt x="54347" y="1307"/>
                  </a:lnTo>
                  <a:lnTo>
                    <a:pt x="54171" y="1236"/>
                  </a:lnTo>
                  <a:lnTo>
                    <a:pt x="53923" y="1130"/>
                  </a:lnTo>
                  <a:lnTo>
                    <a:pt x="53217" y="989"/>
                  </a:lnTo>
                  <a:lnTo>
                    <a:pt x="52264" y="848"/>
                  </a:lnTo>
                  <a:lnTo>
                    <a:pt x="51063" y="706"/>
                  </a:lnTo>
                  <a:lnTo>
                    <a:pt x="49651" y="565"/>
                  </a:lnTo>
                  <a:lnTo>
                    <a:pt x="48026" y="459"/>
                  </a:lnTo>
                  <a:lnTo>
                    <a:pt x="46225" y="353"/>
                  </a:lnTo>
                  <a:lnTo>
                    <a:pt x="42094" y="212"/>
                  </a:lnTo>
                  <a:lnTo>
                    <a:pt x="37397" y="106"/>
                  </a:lnTo>
                  <a:lnTo>
                    <a:pt x="32276" y="35"/>
                  </a:lnTo>
                  <a:lnTo>
                    <a:pt x="26838" y="0"/>
                  </a:lnTo>
                  <a:close/>
                </a:path>
              </a:pathLst>
            </a:custGeom>
            <a:solidFill>
              <a:srgbClr val="BE5911"/>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00" name="Google Shape;806;g2e0683f995c_0_0">
              <a:extLst>
                <a:ext uri="{FF2B5EF4-FFF2-40B4-BE49-F238E27FC236}">
                  <a16:creationId xmlns:a16="http://schemas.microsoft.com/office/drawing/2014/main" id="{4BDBA8FB-1826-7185-73E4-A45C0A66FA77}"/>
                </a:ext>
              </a:extLst>
            </p:cNvPr>
            <p:cNvSpPr/>
            <p:nvPr/>
          </p:nvSpPr>
          <p:spPr>
            <a:xfrm>
              <a:off x="1884353" y="1728611"/>
              <a:ext cx="534472" cy="36005"/>
            </a:xfrm>
            <a:custGeom>
              <a:avLst/>
              <a:gdLst/>
              <a:ahLst/>
              <a:cxnLst/>
              <a:rect l="l" t="t" r="r" b="b"/>
              <a:pathLst>
                <a:path w="54524" h="3673" fill="none" extrusionOk="0">
                  <a:moveTo>
                    <a:pt x="26838" y="0"/>
                  </a:moveTo>
                  <a:lnTo>
                    <a:pt x="26838" y="0"/>
                  </a:lnTo>
                  <a:lnTo>
                    <a:pt x="21435" y="35"/>
                  </a:lnTo>
                  <a:lnTo>
                    <a:pt x="16385" y="141"/>
                  </a:lnTo>
                  <a:lnTo>
                    <a:pt x="11830" y="318"/>
                  </a:lnTo>
                  <a:lnTo>
                    <a:pt x="9747" y="424"/>
                  </a:lnTo>
                  <a:lnTo>
                    <a:pt x="7840" y="565"/>
                  </a:lnTo>
                  <a:lnTo>
                    <a:pt x="6109" y="671"/>
                  </a:lnTo>
                  <a:lnTo>
                    <a:pt x="4591" y="812"/>
                  </a:lnTo>
                  <a:lnTo>
                    <a:pt x="3249" y="989"/>
                  </a:lnTo>
                  <a:lnTo>
                    <a:pt x="2119" y="1130"/>
                  </a:lnTo>
                  <a:lnTo>
                    <a:pt x="1201" y="1307"/>
                  </a:lnTo>
                  <a:lnTo>
                    <a:pt x="530" y="1483"/>
                  </a:lnTo>
                  <a:lnTo>
                    <a:pt x="318" y="1554"/>
                  </a:lnTo>
                  <a:lnTo>
                    <a:pt x="141" y="1660"/>
                  </a:lnTo>
                  <a:lnTo>
                    <a:pt x="35" y="1766"/>
                  </a:lnTo>
                  <a:lnTo>
                    <a:pt x="0" y="1836"/>
                  </a:lnTo>
                  <a:lnTo>
                    <a:pt x="0" y="1836"/>
                  </a:lnTo>
                  <a:lnTo>
                    <a:pt x="35" y="1942"/>
                  </a:lnTo>
                  <a:lnTo>
                    <a:pt x="141" y="2048"/>
                  </a:lnTo>
                  <a:lnTo>
                    <a:pt x="318" y="2119"/>
                  </a:lnTo>
                  <a:lnTo>
                    <a:pt x="530" y="2225"/>
                  </a:lnTo>
                  <a:lnTo>
                    <a:pt x="1201" y="2401"/>
                  </a:lnTo>
                  <a:lnTo>
                    <a:pt x="2119" y="2578"/>
                  </a:lnTo>
                  <a:lnTo>
                    <a:pt x="3249" y="2719"/>
                  </a:lnTo>
                  <a:lnTo>
                    <a:pt x="4591" y="2860"/>
                  </a:lnTo>
                  <a:lnTo>
                    <a:pt x="6109" y="3002"/>
                  </a:lnTo>
                  <a:lnTo>
                    <a:pt x="7840" y="3143"/>
                  </a:lnTo>
                  <a:lnTo>
                    <a:pt x="9747" y="3249"/>
                  </a:lnTo>
                  <a:lnTo>
                    <a:pt x="11830" y="3355"/>
                  </a:lnTo>
                  <a:lnTo>
                    <a:pt x="16385" y="3531"/>
                  </a:lnTo>
                  <a:lnTo>
                    <a:pt x="21435" y="3637"/>
                  </a:lnTo>
                  <a:lnTo>
                    <a:pt x="26838" y="3673"/>
                  </a:lnTo>
                  <a:lnTo>
                    <a:pt x="26838" y="3673"/>
                  </a:lnTo>
                  <a:lnTo>
                    <a:pt x="29593" y="3673"/>
                  </a:lnTo>
                  <a:lnTo>
                    <a:pt x="32276" y="3637"/>
                  </a:lnTo>
                  <a:lnTo>
                    <a:pt x="34890" y="3567"/>
                  </a:lnTo>
                  <a:lnTo>
                    <a:pt x="37397" y="3496"/>
                  </a:lnTo>
                  <a:lnTo>
                    <a:pt x="39798" y="3390"/>
                  </a:lnTo>
                  <a:lnTo>
                    <a:pt x="42094" y="3249"/>
                  </a:lnTo>
                  <a:lnTo>
                    <a:pt x="44248" y="3108"/>
                  </a:lnTo>
                  <a:lnTo>
                    <a:pt x="46225" y="2966"/>
                  </a:lnTo>
                  <a:lnTo>
                    <a:pt x="48026" y="2790"/>
                  </a:lnTo>
                  <a:lnTo>
                    <a:pt x="49651" y="2613"/>
                  </a:lnTo>
                  <a:lnTo>
                    <a:pt x="51063" y="2437"/>
                  </a:lnTo>
                  <a:lnTo>
                    <a:pt x="52264" y="2260"/>
                  </a:lnTo>
                  <a:lnTo>
                    <a:pt x="53217" y="2084"/>
                  </a:lnTo>
                  <a:lnTo>
                    <a:pt x="53923" y="1872"/>
                  </a:lnTo>
                  <a:lnTo>
                    <a:pt x="54171" y="1766"/>
                  </a:lnTo>
                  <a:lnTo>
                    <a:pt x="54347" y="1695"/>
                  </a:lnTo>
                  <a:lnTo>
                    <a:pt x="54488" y="1589"/>
                  </a:lnTo>
                  <a:lnTo>
                    <a:pt x="54524" y="1483"/>
                  </a:lnTo>
                  <a:lnTo>
                    <a:pt x="54524" y="1483"/>
                  </a:lnTo>
                  <a:lnTo>
                    <a:pt x="54488" y="1413"/>
                  </a:lnTo>
                  <a:lnTo>
                    <a:pt x="54347" y="1307"/>
                  </a:lnTo>
                  <a:lnTo>
                    <a:pt x="54171" y="1236"/>
                  </a:lnTo>
                  <a:lnTo>
                    <a:pt x="53923" y="1130"/>
                  </a:lnTo>
                  <a:lnTo>
                    <a:pt x="53217" y="989"/>
                  </a:lnTo>
                  <a:lnTo>
                    <a:pt x="52264" y="848"/>
                  </a:lnTo>
                  <a:lnTo>
                    <a:pt x="51063" y="706"/>
                  </a:lnTo>
                  <a:lnTo>
                    <a:pt x="49651" y="565"/>
                  </a:lnTo>
                  <a:lnTo>
                    <a:pt x="48026" y="459"/>
                  </a:lnTo>
                  <a:lnTo>
                    <a:pt x="46225" y="353"/>
                  </a:lnTo>
                  <a:lnTo>
                    <a:pt x="42094" y="212"/>
                  </a:lnTo>
                  <a:lnTo>
                    <a:pt x="37397" y="106"/>
                  </a:lnTo>
                  <a:lnTo>
                    <a:pt x="32276" y="35"/>
                  </a:lnTo>
                  <a:lnTo>
                    <a:pt x="26838"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01" name="Google Shape;807;g2e0683f995c_0_0">
              <a:extLst>
                <a:ext uri="{FF2B5EF4-FFF2-40B4-BE49-F238E27FC236}">
                  <a16:creationId xmlns:a16="http://schemas.microsoft.com/office/drawing/2014/main" id="{736E5CB1-0469-1597-DD00-587B45B2964A}"/>
                </a:ext>
              </a:extLst>
            </p:cNvPr>
            <p:cNvSpPr/>
            <p:nvPr/>
          </p:nvSpPr>
          <p:spPr>
            <a:xfrm>
              <a:off x="2251280" y="913396"/>
              <a:ext cx="44660" cy="63363"/>
            </a:xfrm>
            <a:custGeom>
              <a:avLst/>
              <a:gdLst/>
              <a:ahLst/>
              <a:cxnLst/>
              <a:rect l="l" t="t" r="r" b="b"/>
              <a:pathLst>
                <a:path w="4556" h="6464" extrusionOk="0">
                  <a:moveTo>
                    <a:pt x="2613" y="1"/>
                  </a:moveTo>
                  <a:lnTo>
                    <a:pt x="2190" y="36"/>
                  </a:lnTo>
                  <a:lnTo>
                    <a:pt x="1801" y="142"/>
                  </a:lnTo>
                  <a:lnTo>
                    <a:pt x="1413" y="283"/>
                  </a:lnTo>
                  <a:lnTo>
                    <a:pt x="1095" y="425"/>
                  </a:lnTo>
                  <a:lnTo>
                    <a:pt x="812" y="637"/>
                  </a:lnTo>
                  <a:lnTo>
                    <a:pt x="565" y="813"/>
                  </a:lnTo>
                  <a:lnTo>
                    <a:pt x="389" y="1025"/>
                  </a:lnTo>
                  <a:lnTo>
                    <a:pt x="247" y="1272"/>
                  </a:lnTo>
                  <a:lnTo>
                    <a:pt x="177" y="1484"/>
                  </a:lnTo>
                  <a:lnTo>
                    <a:pt x="35" y="2120"/>
                  </a:lnTo>
                  <a:lnTo>
                    <a:pt x="0" y="2402"/>
                  </a:lnTo>
                  <a:lnTo>
                    <a:pt x="0" y="2685"/>
                  </a:lnTo>
                  <a:lnTo>
                    <a:pt x="35" y="2967"/>
                  </a:lnTo>
                  <a:lnTo>
                    <a:pt x="177" y="3285"/>
                  </a:lnTo>
                  <a:lnTo>
                    <a:pt x="389" y="3568"/>
                  </a:lnTo>
                  <a:lnTo>
                    <a:pt x="706" y="3850"/>
                  </a:lnTo>
                  <a:lnTo>
                    <a:pt x="883" y="4027"/>
                  </a:lnTo>
                  <a:lnTo>
                    <a:pt x="1060" y="4203"/>
                  </a:lnTo>
                  <a:lnTo>
                    <a:pt x="1342" y="4592"/>
                  </a:lnTo>
                  <a:lnTo>
                    <a:pt x="1589" y="5015"/>
                  </a:lnTo>
                  <a:lnTo>
                    <a:pt x="1836" y="5439"/>
                  </a:lnTo>
                  <a:lnTo>
                    <a:pt x="2119" y="6181"/>
                  </a:lnTo>
                  <a:lnTo>
                    <a:pt x="2225" y="6463"/>
                  </a:lnTo>
                  <a:lnTo>
                    <a:pt x="4556" y="5157"/>
                  </a:lnTo>
                  <a:lnTo>
                    <a:pt x="4344" y="4804"/>
                  </a:lnTo>
                  <a:lnTo>
                    <a:pt x="4097" y="4415"/>
                  </a:lnTo>
                  <a:lnTo>
                    <a:pt x="3673" y="3462"/>
                  </a:lnTo>
                  <a:lnTo>
                    <a:pt x="3496" y="3003"/>
                  </a:lnTo>
                  <a:lnTo>
                    <a:pt x="3355" y="2614"/>
                  </a:lnTo>
                  <a:lnTo>
                    <a:pt x="3284" y="2261"/>
                  </a:lnTo>
                  <a:lnTo>
                    <a:pt x="3284" y="2014"/>
                  </a:lnTo>
                  <a:lnTo>
                    <a:pt x="3390" y="1590"/>
                  </a:lnTo>
                  <a:lnTo>
                    <a:pt x="3496" y="1096"/>
                  </a:lnTo>
                  <a:lnTo>
                    <a:pt x="3673" y="566"/>
                  </a:lnTo>
                  <a:lnTo>
                    <a:pt x="3602" y="460"/>
                  </a:lnTo>
                  <a:lnTo>
                    <a:pt x="3496" y="354"/>
                  </a:lnTo>
                  <a:lnTo>
                    <a:pt x="3355" y="213"/>
                  </a:lnTo>
                  <a:lnTo>
                    <a:pt x="3178" y="107"/>
                  </a:lnTo>
                  <a:lnTo>
                    <a:pt x="2931" y="36"/>
                  </a:lnTo>
                  <a:lnTo>
                    <a:pt x="2613" y="1"/>
                  </a:lnTo>
                  <a:close/>
                </a:path>
              </a:pathLst>
            </a:custGeom>
            <a:solidFill>
              <a:srgbClr val="F5B1B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02" name="Google Shape;808;g2e0683f995c_0_0">
              <a:extLst>
                <a:ext uri="{FF2B5EF4-FFF2-40B4-BE49-F238E27FC236}">
                  <a16:creationId xmlns:a16="http://schemas.microsoft.com/office/drawing/2014/main" id="{213E7A3A-2CF2-AA54-1266-4487CDE380C6}"/>
                </a:ext>
              </a:extLst>
            </p:cNvPr>
            <p:cNvSpPr/>
            <p:nvPr/>
          </p:nvSpPr>
          <p:spPr>
            <a:xfrm>
              <a:off x="2193818" y="933129"/>
              <a:ext cx="26310" cy="16625"/>
            </a:xfrm>
            <a:custGeom>
              <a:avLst/>
              <a:gdLst/>
              <a:ahLst/>
              <a:cxnLst/>
              <a:rect l="l" t="t" r="r" b="b"/>
              <a:pathLst>
                <a:path w="2684" h="1696" extrusionOk="0">
                  <a:moveTo>
                    <a:pt x="2331" y="1"/>
                  </a:moveTo>
                  <a:lnTo>
                    <a:pt x="212" y="248"/>
                  </a:lnTo>
                  <a:lnTo>
                    <a:pt x="106" y="283"/>
                  </a:lnTo>
                  <a:lnTo>
                    <a:pt x="35" y="389"/>
                  </a:lnTo>
                  <a:lnTo>
                    <a:pt x="0" y="601"/>
                  </a:lnTo>
                  <a:lnTo>
                    <a:pt x="0" y="778"/>
                  </a:lnTo>
                  <a:lnTo>
                    <a:pt x="0" y="990"/>
                  </a:lnTo>
                  <a:lnTo>
                    <a:pt x="35" y="1166"/>
                  </a:lnTo>
                  <a:lnTo>
                    <a:pt x="106" y="1484"/>
                  </a:lnTo>
                  <a:lnTo>
                    <a:pt x="247" y="1661"/>
                  </a:lnTo>
                  <a:lnTo>
                    <a:pt x="283" y="1696"/>
                  </a:lnTo>
                  <a:lnTo>
                    <a:pt x="389" y="1696"/>
                  </a:lnTo>
                  <a:lnTo>
                    <a:pt x="2543" y="1519"/>
                  </a:lnTo>
                  <a:lnTo>
                    <a:pt x="2613" y="1519"/>
                  </a:lnTo>
                  <a:lnTo>
                    <a:pt x="2649" y="1449"/>
                  </a:lnTo>
                  <a:lnTo>
                    <a:pt x="2684" y="1413"/>
                  </a:lnTo>
                  <a:lnTo>
                    <a:pt x="2684" y="1343"/>
                  </a:lnTo>
                  <a:lnTo>
                    <a:pt x="2543" y="142"/>
                  </a:lnTo>
                  <a:lnTo>
                    <a:pt x="2507" y="71"/>
                  </a:lnTo>
                  <a:lnTo>
                    <a:pt x="2472" y="36"/>
                  </a:lnTo>
                  <a:lnTo>
                    <a:pt x="2401" y="1"/>
                  </a:lnTo>
                  <a:close/>
                </a:path>
              </a:pathLst>
            </a:custGeom>
            <a:solidFill>
              <a:srgbClr val="3C3C3B"/>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03" name="Google Shape;809;g2e0683f995c_0_0">
              <a:extLst>
                <a:ext uri="{FF2B5EF4-FFF2-40B4-BE49-F238E27FC236}">
                  <a16:creationId xmlns:a16="http://schemas.microsoft.com/office/drawing/2014/main" id="{FFA79D6D-AEC5-E432-AA41-8F19AAB685FD}"/>
                </a:ext>
              </a:extLst>
            </p:cNvPr>
            <p:cNvSpPr/>
            <p:nvPr/>
          </p:nvSpPr>
          <p:spPr>
            <a:xfrm>
              <a:off x="2212854" y="901280"/>
              <a:ext cx="214283" cy="49169"/>
            </a:xfrm>
            <a:custGeom>
              <a:avLst/>
              <a:gdLst/>
              <a:ahLst/>
              <a:cxnLst/>
              <a:rect l="l" t="t" r="r" b="b"/>
              <a:pathLst>
                <a:path w="21860" h="5016" extrusionOk="0">
                  <a:moveTo>
                    <a:pt x="20906" y="1"/>
                  </a:moveTo>
                  <a:lnTo>
                    <a:pt x="16068" y="743"/>
                  </a:lnTo>
                  <a:lnTo>
                    <a:pt x="11901" y="1343"/>
                  </a:lnTo>
                  <a:lnTo>
                    <a:pt x="5509" y="2190"/>
                  </a:lnTo>
                  <a:lnTo>
                    <a:pt x="3285" y="2473"/>
                  </a:lnTo>
                  <a:lnTo>
                    <a:pt x="1660" y="2720"/>
                  </a:lnTo>
                  <a:lnTo>
                    <a:pt x="1060" y="2826"/>
                  </a:lnTo>
                  <a:lnTo>
                    <a:pt x="601" y="2932"/>
                  </a:lnTo>
                  <a:lnTo>
                    <a:pt x="283" y="3038"/>
                  </a:lnTo>
                  <a:lnTo>
                    <a:pt x="106" y="3144"/>
                  </a:lnTo>
                  <a:lnTo>
                    <a:pt x="0" y="3426"/>
                  </a:lnTo>
                  <a:lnTo>
                    <a:pt x="0" y="3709"/>
                  </a:lnTo>
                  <a:lnTo>
                    <a:pt x="0" y="3956"/>
                  </a:lnTo>
                  <a:lnTo>
                    <a:pt x="71" y="4203"/>
                  </a:lnTo>
                  <a:lnTo>
                    <a:pt x="212" y="4662"/>
                  </a:lnTo>
                  <a:lnTo>
                    <a:pt x="389" y="5015"/>
                  </a:lnTo>
                  <a:lnTo>
                    <a:pt x="1519" y="4945"/>
                  </a:lnTo>
                  <a:lnTo>
                    <a:pt x="3920" y="4768"/>
                  </a:lnTo>
                  <a:lnTo>
                    <a:pt x="10948" y="4239"/>
                  </a:lnTo>
                  <a:lnTo>
                    <a:pt x="17940" y="3638"/>
                  </a:lnTo>
                  <a:lnTo>
                    <a:pt x="21471" y="3320"/>
                  </a:lnTo>
                  <a:lnTo>
                    <a:pt x="21612" y="3038"/>
                  </a:lnTo>
                  <a:lnTo>
                    <a:pt x="21718" y="2791"/>
                  </a:lnTo>
                  <a:lnTo>
                    <a:pt x="21789" y="2508"/>
                  </a:lnTo>
                  <a:lnTo>
                    <a:pt x="21859" y="2226"/>
                  </a:lnTo>
                  <a:lnTo>
                    <a:pt x="21859" y="1943"/>
                  </a:lnTo>
                  <a:lnTo>
                    <a:pt x="21859" y="1696"/>
                  </a:lnTo>
                  <a:lnTo>
                    <a:pt x="21824" y="1413"/>
                  </a:lnTo>
                  <a:lnTo>
                    <a:pt x="21789" y="1166"/>
                  </a:lnTo>
                  <a:lnTo>
                    <a:pt x="21718" y="954"/>
                  </a:lnTo>
                  <a:lnTo>
                    <a:pt x="21647" y="743"/>
                  </a:lnTo>
                  <a:lnTo>
                    <a:pt x="21541" y="531"/>
                  </a:lnTo>
                  <a:lnTo>
                    <a:pt x="21436" y="354"/>
                  </a:lnTo>
                  <a:lnTo>
                    <a:pt x="21330" y="213"/>
                  </a:lnTo>
                  <a:lnTo>
                    <a:pt x="21188" y="107"/>
                  </a:lnTo>
                  <a:lnTo>
                    <a:pt x="21047" y="36"/>
                  </a:lnTo>
                  <a:lnTo>
                    <a:pt x="20906" y="1"/>
                  </a:lnTo>
                  <a:close/>
                </a:path>
              </a:pathLst>
            </a:custGeom>
            <a:solidFill>
              <a:srgbClr val="64636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04" name="Google Shape;810;g2e0683f995c_0_0">
              <a:extLst>
                <a:ext uri="{FF2B5EF4-FFF2-40B4-BE49-F238E27FC236}">
                  <a16:creationId xmlns:a16="http://schemas.microsoft.com/office/drawing/2014/main" id="{1F3891A8-D70B-8DF3-53DF-D902B44C3437}"/>
                </a:ext>
              </a:extLst>
            </p:cNvPr>
            <p:cNvSpPr/>
            <p:nvPr/>
          </p:nvSpPr>
          <p:spPr>
            <a:xfrm>
              <a:off x="2410512" y="903711"/>
              <a:ext cx="14204" cy="28388"/>
            </a:xfrm>
            <a:custGeom>
              <a:avLst/>
              <a:gdLst/>
              <a:ahLst/>
              <a:cxnLst/>
              <a:rect l="l" t="t" r="r" b="b"/>
              <a:pathLst>
                <a:path w="1449" h="2896" extrusionOk="0">
                  <a:moveTo>
                    <a:pt x="601" y="0"/>
                  </a:moveTo>
                  <a:lnTo>
                    <a:pt x="459" y="35"/>
                  </a:lnTo>
                  <a:lnTo>
                    <a:pt x="353" y="141"/>
                  </a:lnTo>
                  <a:lnTo>
                    <a:pt x="212" y="283"/>
                  </a:lnTo>
                  <a:lnTo>
                    <a:pt x="142" y="459"/>
                  </a:lnTo>
                  <a:lnTo>
                    <a:pt x="71" y="706"/>
                  </a:lnTo>
                  <a:lnTo>
                    <a:pt x="36" y="954"/>
                  </a:lnTo>
                  <a:lnTo>
                    <a:pt x="0" y="1236"/>
                  </a:lnTo>
                  <a:lnTo>
                    <a:pt x="0" y="1519"/>
                  </a:lnTo>
                  <a:lnTo>
                    <a:pt x="71" y="1801"/>
                  </a:lnTo>
                  <a:lnTo>
                    <a:pt x="106" y="2084"/>
                  </a:lnTo>
                  <a:lnTo>
                    <a:pt x="212" y="2296"/>
                  </a:lnTo>
                  <a:lnTo>
                    <a:pt x="318" y="2507"/>
                  </a:lnTo>
                  <a:lnTo>
                    <a:pt x="424" y="2684"/>
                  </a:lnTo>
                  <a:lnTo>
                    <a:pt x="565" y="2825"/>
                  </a:lnTo>
                  <a:lnTo>
                    <a:pt x="707" y="2896"/>
                  </a:lnTo>
                  <a:lnTo>
                    <a:pt x="848" y="2896"/>
                  </a:lnTo>
                  <a:lnTo>
                    <a:pt x="989" y="2861"/>
                  </a:lnTo>
                  <a:lnTo>
                    <a:pt x="1095" y="2755"/>
                  </a:lnTo>
                  <a:lnTo>
                    <a:pt x="1201" y="2613"/>
                  </a:lnTo>
                  <a:lnTo>
                    <a:pt x="1307" y="2437"/>
                  </a:lnTo>
                  <a:lnTo>
                    <a:pt x="1377" y="2225"/>
                  </a:lnTo>
                  <a:lnTo>
                    <a:pt x="1413" y="1978"/>
                  </a:lnTo>
                  <a:lnTo>
                    <a:pt x="1448" y="1695"/>
                  </a:lnTo>
                  <a:lnTo>
                    <a:pt x="1413" y="1413"/>
                  </a:lnTo>
                  <a:lnTo>
                    <a:pt x="1377" y="1095"/>
                  </a:lnTo>
                  <a:lnTo>
                    <a:pt x="1307" y="848"/>
                  </a:lnTo>
                  <a:lnTo>
                    <a:pt x="1236" y="600"/>
                  </a:lnTo>
                  <a:lnTo>
                    <a:pt x="1130" y="389"/>
                  </a:lnTo>
                  <a:lnTo>
                    <a:pt x="1024" y="212"/>
                  </a:lnTo>
                  <a:lnTo>
                    <a:pt x="883" y="106"/>
                  </a:lnTo>
                  <a:lnTo>
                    <a:pt x="742" y="35"/>
                  </a:lnTo>
                  <a:lnTo>
                    <a:pt x="601" y="0"/>
                  </a:lnTo>
                  <a:close/>
                </a:path>
              </a:pathLst>
            </a:custGeom>
            <a:solidFill>
              <a:srgbClr val="E3E3E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05" name="Google Shape;811;g2e0683f995c_0_0">
              <a:extLst>
                <a:ext uri="{FF2B5EF4-FFF2-40B4-BE49-F238E27FC236}">
                  <a16:creationId xmlns:a16="http://schemas.microsoft.com/office/drawing/2014/main" id="{D48D8465-E376-4244-E8DD-11134B0DB46B}"/>
                </a:ext>
              </a:extLst>
            </p:cNvPr>
            <p:cNvSpPr/>
            <p:nvPr/>
          </p:nvSpPr>
          <p:spPr>
            <a:xfrm>
              <a:off x="2260279" y="915474"/>
              <a:ext cx="35661" cy="21124"/>
            </a:xfrm>
            <a:custGeom>
              <a:avLst/>
              <a:gdLst/>
              <a:ahLst/>
              <a:cxnLst/>
              <a:rect l="l" t="t" r="r" b="b"/>
              <a:pathLst>
                <a:path w="3638" h="2155" extrusionOk="0">
                  <a:moveTo>
                    <a:pt x="1731" y="1"/>
                  </a:moveTo>
                  <a:lnTo>
                    <a:pt x="1342" y="36"/>
                  </a:lnTo>
                  <a:lnTo>
                    <a:pt x="918" y="107"/>
                  </a:lnTo>
                  <a:lnTo>
                    <a:pt x="530" y="248"/>
                  </a:lnTo>
                  <a:lnTo>
                    <a:pt x="353" y="354"/>
                  </a:lnTo>
                  <a:lnTo>
                    <a:pt x="177" y="460"/>
                  </a:lnTo>
                  <a:lnTo>
                    <a:pt x="71" y="601"/>
                  </a:lnTo>
                  <a:lnTo>
                    <a:pt x="0" y="742"/>
                  </a:lnTo>
                  <a:lnTo>
                    <a:pt x="0" y="919"/>
                  </a:lnTo>
                  <a:lnTo>
                    <a:pt x="36" y="1096"/>
                  </a:lnTo>
                  <a:lnTo>
                    <a:pt x="142" y="1307"/>
                  </a:lnTo>
                  <a:lnTo>
                    <a:pt x="247" y="1449"/>
                  </a:lnTo>
                  <a:lnTo>
                    <a:pt x="353" y="1625"/>
                  </a:lnTo>
                  <a:lnTo>
                    <a:pt x="495" y="1731"/>
                  </a:lnTo>
                  <a:lnTo>
                    <a:pt x="671" y="1837"/>
                  </a:lnTo>
                  <a:lnTo>
                    <a:pt x="848" y="1943"/>
                  </a:lnTo>
                  <a:lnTo>
                    <a:pt x="1201" y="2049"/>
                  </a:lnTo>
                  <a:lnTo>
                    <a:pt x="1625" y="2120"/>
                  </a:lnTo>
                  <a:lnTo>
                    <a:pt x="2084" y="2155"/>
                  </a:lnTo>
                  <a:lnTo>
                    <a:pt x="2543" y="2120"/>
                  </a:lnTo>
                  <a:lnTo>
                    <a:pt x="3002" y="2049"/>
                  </a:lnTo>
                  <a:lnTo>
                    <a:pt x="3214" y="2014"/>
                  </a:lnTo>
                  <a:lnTo>
                    <a:pt x="3390" y="1943"/>
                  </a:lnTo>
                  <a:lnTo>
                    <a:pt x="3496" y="1872"/>
                  </a:lnTo>
                  <a:lnTo>
                    <a:pt x="3567" y="1802"/>
                  </a:lnTo>
                  <a:lnTo>
                    <a:pt x="3638" y="1731"/>
                  </a:lnTo>
                  <a:lnTo>
                    <a:pt x="3638" y="1625"/>
                  </a:lnTo>
                  <a:lnTo>
                    <a:pt x="3638" y="1519"/>
                  </a:lnTo>
                  <a:lnTo>
                    <a:pt x="3567" y="1413"/>
                  </a:lnTo>
                  <a:lnTo>
                    <a:pt x="3426" y="1201"/>
                  </a:lnTo>
                  <a:lnTo>
                    <a:pt x="3249" y="919"/>
                  </a:lnTo>
                  <a:lnTo>
                    <a:pt x="2755" y="354"/>
                  </a:lnTo>
                  <a:lnTo>
                    <a:pt x="2508" y="213"/>
                  </a:lnTo>
                  <a:lnTo>
                    <a:pt x="2190" y="1"/>
                  </a:lnTo>
                  <a:close/>
                </a:path>
              </a:pathLst>
            </a:custGeom>
            <a:solidFill>
              <a:srgbClr val="F5B1B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06" name="Google Shape;812;g2e0683f995c_0_0">
              <a:extLst>
                <a:ext uri="{FF2B5EF4-FFF2-40B4-BE49-F238E27FC236}">
                  <a16:creationId xmlns:a16="http://schemas.microsoft.com/office/drawing/2014/main" id="{6C430081-D65A-F825-58FB-E1B5A04FFE6E}"/>
                </a:ext>
              </a:extLst>
            </p:cNvPr>
            <p:cNvSpPr/>
            <p:nvPr/>
          </p:nvSpPr>
          <p:spPr>
            <a:xfrm>
              <a:off x="2273777" y="1670453"/>
              <a:ext cx="38083" cy="64050"/>
            </a:xfrm>
            <a:custGeom>
              <a:avLst/>
              <a:gdLst/>
              <a:ahLst/>
              <a:cxnLst/>
              <a:rect l="l" t="t" r="r" b="b"/>
              <a:pathLst>
                <a:path w="3885" h="6534" extrusionOk="0">
                  <a:moveTo>
                    <a:pt x="3638" y="0"/>
                  </a:moveTo>
                  <a:lnTo>
                    <a:pt x="1" y="71"/>
                  </a:lnTo>
                  <a:lnTo>
                    <a:pt x="460" y="5086"/>
                  </a:lnTo>
                  <a:lnTo>
                    <a:pt x="2967" y="6533"/>
                  </a:lnTo>
                  <a:lnTo>
                    <a:pt x="3850" y="4662"/>
                  </a:lnTo>
                  <a:lnTo>
                    <a:pt x="3885" y="4097"/>
                  </a:lnTo>
                  <a:lnTo>
                    <a:pt x="3850" y="3391"/>
                  </a:lnTo>
                  <a:lnTo>
                    <a:pt x="3779" y="1837"/>
                  </a:lnTo>
                  <a:lnTo>
                    <a:pt x="3638" y="0"/>
                  </a:lnTo>
                  <a:close/>
                </a:path>
              </a:pathLst>
            </a:custGeom>
            <a:solidFill>
              <a:srgbClr val="EFAEA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07" name="Google Shape;813;g2e0683f995c_0_0">
              <a:extLst>
                <a:ext uri="{FF2B5EF4-FFF2-40B4-BE49-F238E27FC236}">
                  <a16:creationId xmlns:a16="http://schemas.microsoft.com/office/drawing/2014/main" id="{E5B71B5E-E049-1D1A-B4EC-2B4E372C57A2}"/>
                </a:ext>
              </a:extLst>
            </p:cNvPr>
            <p:cNvSpPr/>
            <p:nvPr/>
          </p:nvSpPr>
          <p:spPr>
            <a:xfrm>
              <a:off x="2272042" y="1704027"/>
              <a:ext cx="105593" cy="41210"/>
            </a:xfrm>
            <a:custGeom>
              <a:avLst/>
              <a:gdLst/>
              <a:ahLst/>
              <a:cxnLst/>
              <a:rect l="l" t="t" r="r" b="b"/>
              <a:pathLst>
                <a:path w="10772" h="4204" extrusionOk="0">
                  <a:moveTo>
                    <a:pt x="4239" y="1"/>
                  </a:moveTo>
                  <a:lnTo>
                    <a:pt x="4133" y="36"/>
                  </a:lnTo>
                  <a:lnTo>
                    <a:pt x="3532" y="142"/>
                  </a:lnTo>
                  <a:lnTo>
                    <a:pt x="3003" y="213"/>
                  </a:lnTo>
                  <a:lnTo>
                    <a:pt x="1979" y="283"/>
                  </a:lnTo>
                  <a:lnTo>
                    <a:pt x="1096" y="319"/>
                  </a:lnTo>
                  <a:lnTo>
                    <a:pt x="743" y="354"/>
                  </a:lnTo>
                  <a:lnTo>
                    <a:pt x="425" y="425"/>
                  </a:lnTo>
                  <a:lnTo>
                    <a:pt x="354" y="460"/>
                  </a:lnTo>
                  <a:lnTo>
                    <a:pt x="283" y="531"/>
                  </a:lnTo>
                  <a:lnTo>
                    <a:pt x="213" y="636"/>
                  </a:lnTo>
                  <a:lnTo>
                    <a:pt x="142" y="778"/>
                  </a:lnTo>
                  <a:lnTo>
                    <a:pt x="72" y="1131"/>
                  </a:lnTo>
                  <a:lnTo>
                    <a:pt x="1" y="1590"/>
                  </a:lnTo>
                  <a:lnTo>
                    <a:pt x="1" y="2084"/>
                  </a:lnTo>
                  <a:lnTo>
                    <a:pt x="36" y="2614"/>
                  </a:lnTo>
                  <a:lnTo>
                    <a:pt x="107" y="3144"/>
                  </a:lnTo>
                  <a:lnTo>
                    <a:pt x="213" y="3603"/>
                  </a:lnTo>
                  <a:lnTo>
                    <a:pt x="248" y="3744"/>
                  </a:lnTo>
                  <a:lnTo>
                    <a:pt x="319" y="3850"/>
                  </a:lnTo>
                  <a:lnTo>
                    <a:pt x="495" y="4027"/>
                  </a:lnTo>
                  <a:lnTo>
                    <a:pt x="707" y="4168"/>
                  </a:lnTo>
                  <a:lnTo>
                    <a:pt x="848" y="4168"/>
                  </a:lnTo>
                  <a:lnTo>
                    <a:pt x="990" y="4203"/>
                  </a:lnTo>
                  <a:lnTo>
                    <a:pt x="9500" y="4133"/>
                  </a:lnTo>
                  <a:lnTo>
                    <a:pt x="9818" y="4097"/>
                  </a:lnTo>
                  <a:lnTo>
                    <a:pt x="10065" y="4027"/>
                  </a:lnTo>
                  <a:lnTo>
                    <a:pt x="10277" y="3956"/>
                  </a:lnTo>
                  <a:lnTo>
                    <a:pt x="10454" y="3815"/>
                  </a:lnTo>
                  <a:lnTo>
                    <a:pt x="10595" y="3673"/>
                  </a:lnTo>
                  <a:lnTo>
                    <a:pt x="10666" y="3532"/>
                  </a:lnTo>
                  <a:lnTo>
                    <a:pt x="10736" y="3356"/>
                  </a:lnTo>
                  <a:lnTo>
                    <a:pt x="10772" y="3179"/>
                  </a:lnTo>
                  <a:lnTo>
                    <a:pt x="10772" y="3002"/>
                  </a:lnTo>
                  <a:lnTo>
                    <a:pt x="10736" y="2826"/>
                  </a:lnTo>
                  <a:lnTo>
                    <a:pt x="10630" y="2508"/>
                  </a:lnTo>
                  <a:lnTo>
                    <a:pt x="10489" y="2296"/>
                  </a:lnTo>
                  <a:lnTo>
                    <a:pt x="10418" y="2226"/>
                  </a:lnTo>
                  <a:lnTo>
                    <a:pt x="10348" y="2190"/>
                  </a:lnTo>
                  <a:lnTo>
                    <a:pt x="9924" y="2155"/>
                  </a:lnTo>
                  <a:lnTo>
                    <a:pt x="9182" y="2120"/>
                  </a:lnTo>
                  <a:lnTo>
                    <a:pt x="8264" y="2049"/>
                  </a:lnTo>
                  <a:lnTo>
                    <a:pt x="7275" y="1943"/>
                  </a:lnTo>
                  <a:lnTo>
                    <a:pt x="6322" y="1802"/>
                  </a:lnTo>
                  <a:lnTo>
                    <a:pt x="5863" y="1696"/>
                  </a:lnTo>
                  <a:lnTo>
                    <a:pt x="5439" y="1555"/>
                  </a:lnTo>
                  <a:lnTo>
                    <a:pt x="5121" y="1413"/>
                  </a:lnTo>
                  <a:lnTo>
                    <a:pt x="4804" y="1272"/>
                  </a:lnTo>
                  <a:lnTo>
                    <a:pt x="4627" y="1060"/>
                  </a:lnTo>
                  <a:lnTo>
                    <a:pt x="4556" y="954"/>
                  </a:lnTo>
                  <a:lnTo>
                    <a:pt x="4486" y="848"/>
                  </a:lnTo>
                  <a:lnTo>
                    <a:pt x="4450" y="460"/>
                  </a:lnTo>
                  <a:lnTo>
                    <a:pt x="4415" y="177"/>
                  </a:lnTo>
                  <a:lnTo>
                    <a:pt x="4380" y="107"/>
                  </a:lnTo>
                  <a:lnTo>
                    <a:pt x="4344" y="36"/>
                  </a:lnTo>
                  <a:lnTo>
                    <a:pt x="4239" y="1"/>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08" name="Google Shape;814;g2e0683f995c_0_0">
              <a:extLst>
                <a:ext uri="{FF2B5EF4-FFF2-40B4-BE49-F238E27FC236}">
                  <a16:creationId xmlns:a16="http://schemas.microsoft.com/office/drawing/2014/main" id="{CFF06E0D-EB74-CAB9-24D9-FF9245099529}"/>
                </a:ext>
              </a:extLst>
            </p:cNvPr>
            <p:cNvSpPr/>
            <p:nvPr/>
          </p:nvSpPr>
          <p:spPr>
            <a:xfrm>
              <a:off x="1950118" y="1618872"/>
              <a:ext cx="59550" cy="62324"/>
            </a:xfrm>
            <a:custGeom>
              <a:avLst/>
              <a:gdLst/>
              <a:ahLst/>
              <a:cxnLst/>
              <a:rect l="l" t="t" r="r" b="b"/>
              <a:pathLst>
                <a:path w="6075" h="6358" extrusionOk="0">
                  <a:moveTo>
                    <a:pt x="3673" y="1"/>
                  </a:moveTo>
                  <a:lnTo>
                    <a:pt x="1" y="3567"/>
                  </a:lnTo>
                  <a:lnTo>
                    <a:pt x="424" y="6357"/>
                  </a:lnTo>
                  <a:lnTo>
                    <a:pt x="2508" y="5827"/>
                  </a:lnTo>
                  <a:lnTo>
                    <a:pt x="2967" y="5439"/>
                  </a:lnTo>
                  <a:lnTo>
                    <a:pt x="3532" y="4980"/>
                  </a:lnTo>
                  <a:lnTo>
                    <a:pt x="4697" y="3921"/>
                  </a:lnTo>
                  <a:lnTo>
                    <a:pt x="6074" y="2614"/>
                  </a:lnTo>
                  <a:lnTo>
                    <a:pt x="3673" y="1"/>
                  </a:lnTo>
                  <a:close/>
                </a:path>
              </a:pathLst>
            </a:custGeom>
            <a:solidFill>
              <a:srgbClr val="EFAEA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09" name="Google Shape;815;g2e0683f995c_0_0">
              <a:extLst>
                <a:ext uri="{FF2B5EF4-FFF2-40B4-BE49-F238E27FC236}">
                  <a16:creationId xmlns:a16="http://schemas.microsoft.com/office/drawing/2014/main" id="{F83BE1D1-F828-CA7E-F37A-BAC43834E987}"/>
                </a:ext>
              </a:extLst>
            </p:cNvPr>
            <p:cNvSpPr/>
            <p:nvPr/>
          </p:nvSpPr>
          <p:spPr>
            <a:xfrm>
              <a:off x="1926582" y="1649339"/>
              <a:ext cx="77204" cy="94506"/>
            </a:xfrm>
            <a:custGeom>
              <a:avLst/>
              <a:gdLst/>
              <a:ahLst/>
              <a:cxnLst/>
              <a:rect l="l" t="t" r="r" b="b"/>
              <a:pathLst>
                <a:path w="7876" h="9641" extrusionOk="0">
                  <a:moveTo>
                    <a:pt x="2613" y="0"/>
                  </a:moveTo>
                  <a:lnTo>
                    <a:pt x="2508" y="36"/>
                  </a:lnTo>
                  <a:lnTo>
                    <a:pt x="2366" y="71"/>
                  </a:lnTo>
                  <a:lnTo>
                    <a:pt x="2013" y="247"/>
                  </a:lnTo>
                  <a:lnTo>
                    <a:pt x="1625" y="495"/>
                  </a:lnTo>
                  <a:lnTo>
                    <a:pt x="1236" y="813"/>
                  </a:lnTo>
                  <a:lnTo>
                    <a:pt x="848" y="1201"/>
                  </a:lnTo>
                  <a:lnTo>
                    <a:pt x="459" y="1589"/>
                  </a:lnTo>
                  <a:lnTo>
                    <a:pt x="142" y="1978"/>
                  </a:lnTo>
                  <a:lnTo>
                    <a:pt x="71" y="2084"/>
                  </a:lnTo>
                  <a:lnTo>
                    <a:pt x="36" y="2190"/>
                  </a:lnTo>
                  <a:lnTo>
                    <a:pt x="0" y="2331"/>
                  </a:lnTo>
                  <a:lnTo>
                    <a:pt x="0" y="2437"/>
                  </a:lnTo>
                  <a:lnTo>
                    <a:pt x="36" y="2578"/>
                  </a:lnTo>
                  <a:lnTo>
                    <a:pt x="71" y="2684"/>
                  </a:lnTo>
                  <a:lnTo>
                    <a:pt x="106" y="2825"/>
                  </a:lnTo>
                  <a:lnTo>
                    <a:pt x="212" y="2931"/>
                  </a:lnTo>
                  <a:lnTo>
                    <a:pt x="5756" y="9111"/>
                  </a:lnTo>
                  <a:lnTo>
                    <a:pt x="5968" y="9358"/>
                  </a:lnTo>
                  <a:lnTo>
                    <a:pt x="6215" y="9500"/>
                  </a:lnTo>
                  <a:lnTo>
                    <a:pt x="6427" y="9606"/>
                  </a:lnTo>
                  <a:lnTo>
                    <a:pt x="6604" y="9641"/>
                  </a:lnTo>
                  <a:lnTo>
                    <a:pt x="6816" y="9641"/>
                  </a:lnTo>
                  <a:lnTo>
                    <a:pt x="6992" y="9606"/>
                  </a:lnTo>
                  <a:lnTo>
                    <a:pt x="7169" y="9535"/>
                  </a:lnTo>
                  <a:lnTo>
                    <a:pt x="7310" y="9429"/>
                  </a:lnTo>
                  <a:lnTo>
                    <a:pt x="7451" y="9323"/>
                  </a:lnTo>
                  <a:lnTo>
                    <a:pt x="7593" y="9182"/>
                  </a:lnTo>
                  <a:lnTo>
                    <a:pt x="7769" y="8935"/>
                  </a:lnTo>
                  <a:lnTo>
                    <a:pt x="7840" y="8687"/>
                  </a:lnTo>
                  <a:lnTo>
                    <a:pt x="7875" y="8581"/>
                  </a:lnTo>
                  <a:lnTo>
                    <a:pt x="7840" y="8511"/>
                  </a:lnTo>
                  <a:lnTo>
                    <a:pt x="7593" y="8158"/>
                  </a:lnTo>
                  <a:lnTo>
                    <a:pt x="7134" y="7593"/>
                  </a:lnTo>
                  <a:lnTo>
                    <a:pt x="6604" y="6886"/>
                  </a:lnTo>
                  <a:lnTo>
                    <a:pt x="6039" y="6074"/>
                  </a:lnTo>
                  <a:lnTo>
                    <a:pt x="5544" y="5262"/>
                  </a:lnTo>
                  <a:lnTo>
                    <a:pt x="5333" y="4874"/>
                  </a:lnTo>
                  <a:lnTo>
                    <a:pt x="5156" y="4485"/>
                  </a:lnTo>
                  <a:lnTo>
                    <a:pt x="5050" y="4132"/>
                  </a:lnTo>
                  <a:lnTo>
                    <a:pt x="5015" y="3814"/>
                  </a:lnTo>
                  <a:lnTo>
                    <a:pt x="5015" y="3567"/>
                  </a:lnTo>
                  <a:lnTo>
                    <a:pt x="5050" y="3426"/>
                  </a:lnTo>
                  <a:lnTo>
                    <a:pt x="5121" y="3320"/>
                  </a:lnTo>
                  <a:lnTo>
                    <a:pt x="5368" y="3037"/>
                  </a:lnTo>
                  <a:lnTo>
                    <a:pt x="5580" y="2825"/>
                  </a:lnTo>
                  <a:lnTo>
                    <a:pt x="5615" y="2755"/>
                  </a:lnTo>
                  <a:lnTo>
                    <a:pt x="5650" y="2684"/>
                  </a:lnTo>
                  <a:lnTo>
                    <a:pt x="5615" y="2614"/>
                  </a:lnTo>
                  <a:lnTo>
                    <a:pt x="5509" y="2508"/>
                  </a:lnTo>
                  <a:lnTo>
                    <a:pt x="5050" y="2154"/>
                  </a:lnTo>
                  <a:lnTo>
                    <a:pt x="4626" y="1801"/>
                  </a:lnTo>
                  <a:lnTo>
                    <a:pt x="4273" y="1448"/>
                  </a:lnTo>
                  <a:lnTo>
                    <a:pt x="3920" y="1095"/>
                  </a:lnTo>
                  <a:lnTo>
                    <a:pt x="3320" y="495"/>
                  </a:lnTo>
                  <a:lnTo>
                    <a:pt x="3073" y="247"/>
                  </a:lnTo>
                  <a:lnTo>
                    <a:pt x="2825" y="71"/>
                  </a:lnTo>
                  <a:lnTo>
                    <a:pt x="2719" y="36"/>
                  </a:lnTo>
                  <a:lnTo>
                    <a:pt x="2613" y="0"/>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10" name="Google Shape;816;g2e0683f995c_0_0">
              <a:extLst>
                <a:ext uri="{FF2B5EF4-FFF2-40B4-BE49-F238E27FC236}">
                  <a16:creationId xmlns:a16="http://schemas.microsoft.com/office/drawing/2014/main" id="{6A537906-16EE-19B7-FF4C-316C1FB2807C}"/>
                </a:ext>
              </a:extLst>
            </p:cNvPr>
            <p:cNvSpPr/>
            <p:nvPr/>
          </p:nvSpPr>
          <p:spPr>
            <a:xfrm>
              <a:off x="1962577" y="1231870"/>
              <a:ext cx="351361" cy="464207"/>
            </a:xfrm>
            <a:custGeom>
              <a:avLst/>
              <a:gdLst/>
              <a:ahLst/>
              <a:cxnLst/>
              <a:rect l="l" t="t" r="r" b="b"/>
              <a:pathLst>
                <a:path w="35844" h="47356" extrusionOk="0">
                  <a:moveTo>
                    <a:pt x="20271" y="0"/>
                  </a:moveTo>
                  <a:lnTo>
                    <a:pt x="18046" y="71"/>
                  </a:lnTo>
                  <a:lnTo>
                    <a:pt x="15821" y="142"/>
                  </a:lnTo>
                  <a:lnTo>
                    <a:pt x="14797" y="212"/>
                  </a:lnTo>
                  <a:lnTo>
                    <a:pt x="13879" y="283"/>
                  </a:lnTo>
                  <a:lnTo>
                    <a:pt x="13102" y="353"/>
                  </a:lnTo>
                  <a:lnTo>
                    <a:pt x="12466" y="459"/>
                  </a:lnTo>
                  <a:lnTo>
                    <a:pt x="12078" y="601"/>
                  </a:lnTo>
                  <a:lnTo>
                    <a:pt x="11972" y="671"/>
                  </a:lnTo>
                  <a:lnTo>
                    <a:pt x="11937" y="742"/>
                  </a:lnTo>
                  <a:lnTo>
                    <a:pt x="11725" y="2260"/>
                  </a:lnTo>
                  <a:lnTo>
                    <a:pt x="11584" y="3920"/>
                  </a:lnTo>
                  <a:lnTo>
                    <a:pt x="11478" y="5756"/>
                  </a:lnTo>
                  <a:lnTo>
                    <a:pt x="11407" y="7663"/>
                  </a:lnTo>
                  <a:lnTo>
                    <a:pt x="11372" y="9606"/>
                  </a:lnTo>
                  <a:lnTo>
                    <a:pt x="11336" y="11618"/>
                  </a:lnTo>
                  <a:lnTo>
                    <a:pt x="11372" y="15609"/>
                  </a:lnTo>
                  <a:lnTo>
                    <a:pt x="11442" y="22742"/>
                  </a:lnTo>
                  <a:lnTo>
                    <a:pt x="11442" y="25391"/>
                  </a:lnTo>
                  <a:lnTo>
                    <a:pt x="11407" y="26379"/>
                  </a:lnTo>
                  <a:lnTo>
                    <a:pt x="11372" y="27121"/>
                  </a:lnTo>
                  <a:lnTo>
                    <a:pt x="11301" y="27404"/>
                  </a:lnTo>
                  <a:lnTo>
                    <a:pt x="11195" y="27757"/>
                  </a:lnTo>
                  <a:lnTo>
                    <a:pt x="11054" y="28110"/>
                  </a:lnTo>
                  <a:lnTo>
                    <a:pt x="10842" y="28498"/>
                  </a:lnTo>
                  <a:lnTo>
                    <a:pt x="10595" y="28887"/>
                  </a:lnTo>
                  <a:lnTo>
                    <a:pt x="10348" y="29310"/>
                  </a:lnTo>
                  <a:lnTo>
                    <a:pt x="9712" y="30193"/>
                  </a:lnTo>
                  <a:lnTo>
                    <a:pt x="8970" y="31147"/>
                  </a:lnTo>
                  <a:lnTo>
                    <a:pt x="8158" y="32100"/>
                  </a:lnTo>
                  <a:lnTo>
                    <a:pt x="7240" y="33089"/>
                  </a:lnTo>
                  <a:lnTo>
                    <a:pt x="6322" y="34113"/>
                  </a:lnTo>
                  <a:lnTo>
                    <a:pt x="4415" y="36091"/>
                  </a:lnTo>
                  <a:lnTo>
                    <a:pt x="2614" y="37927"/>
                  </a:lnTo>
                  <a:lnTo>
                    <a:pt x="1131" y="39551"/>
                  </a:lnTo>
                  <a:lnTo>
                    <a:pt x="531" y="40187"/>
                  </a:lnTo>
                  <a:lnTo>
                    <a:pt x="71" y="40752"/>
                  </a:lnTo>
                  <a:lnTo>
                    <a:pt x="1" y="40787"/>
                  </a:lnTo>
                  <a:lnTo>
                    <a:pt x="1" y="40858"/>
                  </a:lnTo>
                  <a:lnTo>
                    <a:pt x="36" y="40964"/>
                  </a:lnTo>
                  <a:lnTo>
                    <a:pt x="107" y="41070"/>
                  </a:lnTo>
                  <a:lnTo>
                    <a:pt x="425" y="41388"/>
                  </a:lnTo>
                  <a:lnTo>
                    <a:pt x="848" y="41776"/>
                  </a:lnTo>
                  <a:lnTo>
                    <a:pt x="1449" y="42235"/>
                  </a:lnTo>
                  <a:lnTo>
                    <a:pt x="2155" y="42765"/>
                  </a:lnTo>
                  <a:lnTo>
                    <a:pt x="2967" y="43295"/>
                  </a:lnTo>
                  <a:lnTo>
                    <a:pt x="3921" y="43895"/>
                  </a:lnTo>
                  <a:lnTo>
                    <a:pt x="4309" y="43542"/>
                  </a:lnTo>
                  <a:lnTo>
                    <a:pt x="5404" y="42624"/>
                  </a:lnTo>
                  <a:lnTo>
                    <a:pt x="7028" y="41176"/>
                  </a:lnTo>
                  <a:lnTo>
                    <a:pt x="7982" y="40258"/>
                  </a:lnTo>
                  <a:lnTo>
                    <a:pt x="8970" y="39269"/>
                  </a:lnTo>
                  <a:lnTo>
                    <a:pt x="10030" y="38209"/>
                  </a:lnTo>
                  <a:lnTo>
                    <a:pt x="11089" y="37044"/>
                  </a:lnTo>
                  <a:lnTo>
                    <a:pt x="12149" y="35843"/>
                  </a:lnTo>
                  <a:lnTo>
                    <a:pt x="13173" y="34572"/>
                  </a:lnTo>
                  <a:lnTo>
                    <a:pt x="14126" y="33266"/>
                  </a:lnTo>
                  <a:lnTo>
                    <a:pt x="14621" y="32595"/>
                  </a:lnTo>
                  <a:lnTo>
                    <a:pt x="15044" y="31924"/>
                  </a:lnTo>
                  <a:lnTo>
                    <a:pt x="15468" y="31217"/>
                  </a:lnTo>
                  <a:lnTo>
                    <a:pt x="15857" y="30546"/>
                  </a:lnTo>
                  <a:lnTo>
                    <a:pt x="16210" y="29875"/>
                  </a:lnTo>
                  <a:lnTo>
                    <a:pt x="16563" y="29169"/>
                  </a:lnTo>
                  <a:lnTo>
                    <a:pt x="16951" y="28110"/>
                  </a:lnTo>
                  <a:lnTo>
                    <a:pt x="17304" y="27050"/>
                  </a:lnTo>
                  <a:lnTo>
                    <a:pt x="17622" y="25956"/>
                  </a:lnTo>
                  <a:lnTo>
                    <a:pt x="17905" y="24861"/>
                  </a:lnTo>
                  <a:lnTo>
                    <a:pt x="18152" y="23766"/>
                  </a:lnTo>
                  <a:lnTo>
                    <a:pt x="18399" y="22636"/>
                  </a:lnTo>
                  <a:lnTo>
                    <a:pt x="18858" y="20411"/>
                  </a:lnTo>
                  <a:lnTo>
                    <a:pt x="19247" y="18222"/>
                  </a:lnTo>
                  <a:lnTo>
                    <a:pt x="19600" y="16068"/>
                  </a:lnTo>
                  <a:lnTo>
                    <a:pt x="19988" y="13949"/>
                  </a:lnTo>
                  <a:lnTo>
                    <a:pt x="20377" y="11901"/>
                  </a:lnTo>
                  <a:lnTo>
                    <a:pt x="27369" y="28039"/>
                  </a:lnTo>
                  <a:lnTo>
                    <a:pt x="27722" y="28922"/>
                  </a:lnTo>
                  <a:lnTo>
                    <a:pt x="28004" y="29981"/>
                  </a:lnTo>
                  <a:lnTo>
                    <a:pt x="28322" y="31147"/>
                  </a:lnTo>
                  <a:lnTo>
                    <a:pt x="28605" y="32453"/>
                  </a:lnTo>
                  <a:lnTo>
                    <a:pt x="28887" y="33866"/>
                  </a:lnTo>
                  <a:lnTo>
                    <a:pt x="29134" y="35314"/>
                  </a:lnTo>
                  <a:lnTo>
                    <a:pt x="29593" y="38315"/>
                  </a:lnTo>
                  <a:lnTo>
                    <a:pt x="30017" y="41246"/>
                  </a:lnTo>
                  <a:lnTo>
                    <a:pt x="30370" y="43895"/>
                  </a:lnTo>
                  <a:lnTo>
                    <a:pt x="30617" y="45978"/>
                  </a:lnTo>
                  <a:lnTo>
                    <a:pt x="30829" y="47356"/>
                  </a:lnTo>
                  <a:lnTo>
                    <a:pt x="31112" y="47356"/>
                  </a:lnTo>
                  <a:lnTo>
                    <a:pt x="31995" y="47285"/>
                  </a:lnTo>
                  <a:lnTo>
                    <a:pt x="32701" y="47214"/>
                  </a:lnTo>
                  <a:lnTo>
                    <a:pt x="33549" y="47108"/>
                  </a:lnTo>
                  <a:lnTo>
                    <a:pt x="34608" y="46932"/>
                  </a:lnTo>
                  <a:lnTo>
                    <a:pt x="35844" y="46685"/>
                  </a:lnTo>
                  <a:lnTo>
                    <a:pt x="35844" y="46332"/>
                  </a:lnTo>
                  <a:lnTo>
                    <a:pt x="35773" y="45661"/>
                  </a:lnTo>
                  <a:lnTo>
                    <a:pt x="35526" y="43506"/>
                  </a:lnTo>
                  <a:lnTo>
                    <a:pt x="35102" y="40575"/>
                  </a:lnTo>
                  <a:lnTo>
                    <a:pt x="34643" y="37185"/>
                  </a:lnTo>
                  <a:lnTo>
                    <a:pt x="33654" y="30511"/>
                  </a:lnTo>
                  <a:lnTo>
                    <a:pt x="32983" y="26238"/>
                  </a:lnTo>
                  <a:lnTo>
                    <a:pt x="32701" y="24508"/>
                  </a:lnTo>
                  <a:lnTo>
                    <a:pt x="32171" y="21718"/>
                  </a:lnTo>
                  <a:lnTo>
                    <a:pt x="31465" y="18187"/>
                  </a:lnTo>
                  <a:lnTo>
                    <a:pt x="30617" y="14232"/>
                  </a:lnTo>
                  <a:lnTo>
                    <a:pt x="29699" y="10135"/>
                  </a:lnTo>
                  <a:lnTo>
                    <a:pt x="28746" y="6251"/>
                  </a:lnTo>
                  <a:lnTo>
                    <a:pt x="28287" y="4450"/>
                  </a:lnTo>
                  <a:lnTo>
                    <a:pt x="27828" y="2825"/>
                  </a:lnTo>
                  <a:lnTo>
                    <a:pt x="27404" y="1413"/>
                  </a:lnTo>
                  <a:lnTo>
                    <a:pt x="27016" y="247"/>
                  </a:lnTo>
                  <a:lnTo>
                    <a:pt x="24085" y="0"/>
                  </a:lnTo>
                  <a:close/>
                </a:path>
              </a:pathLst>
            </a:custGeom>
            <a:solidFill>
              <a:srgbClr val="3C3C3B"/>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11" name="Google Shape;817;g2e0683f995c_0_0">
              <a:extLst>
                <a:ext uri="{FF2B5EF4-FFF2-40B4-BE49-F238E27FC236}">
                  <a16:creationId xmlns:a16="http://schemas.microsoft.com/office/drawing/2014/main" id="{17C1BA9F-CB86-C77E-88B0-643D3152CA5B}"/>
                </a:ext>
              </a:extLst>
            </p:cNvPr>
            <p:cNvSpPr/>
            <p:nvPr/>
          </p:nvSpPr>
          <p:spPr>
            <a:xfrm>
              <a:off x="1962577" y="1231870"/>
              <a:ext cx="351361" cy="464207"/>
            </a:xfrm>
            <a:custGeom>
              <a:avLst/>
              <a:gdLst/>
              <a:ahLst/>
              <a:cxnLst/>
              <a:rect l="l" t="t" r="r" b="b"/>
              <a:pathLst>
                <a:path w="35844" h="47356" fill="none" extrusionOk="0">
                  <a:moveTo>
                    <a:pt x="27016" y="247"/>
                  </a:moveTo>
                  <a:lnTo>
                    <a:pt x="27016" y="247"/>
                  </a:lnTo>
                  <a:lnTo>
                    <a:pt x="27404" y="1413"/>
                  </a:lnTo>
                  <a:lnTo>
                    <a:pt x="27828" y="2825"/>
                  </a:lnTo>
                  <a:lnTo>
                    <a:pt x="28287" y="4450"/>
                  </a:lnTo>
                  <a:lnTo>
                    <a:pt x="28746" y="6251"/>
                  </a:lnTo>
                  <a:lnTo>
                    <a:pt x="29699" y="10135"/>
                  </a:lnTo>
                  <a:lnTo>
                    <a:pt x="30617" y="14232"/>
                  </a:lnTo>
                  <a:lnTo>
                    <a:pt x="31465" y="18187"/>
                  </a:lnTo>
                  <a:lnTo>
                    <a:pt x="32171" y="21718"/>
                  </a:lnTo>
                  <a:lnTo>
                    <a:pt x="32701" y="24508"/>
                  </a:lnTo>
                  <a:lnTo>
                    <a:pt x="32983" y="26238"/>
                  </a:lnTo>
                  <a:lnTo>
                    <a:pt x="32983" y="26238"/>
                  </a:lnTo>
                  <a:lnTo>
                    <a:pt x="33654" y="30511"/>
                  </a:lnTo>
                  <a:lnTo>
                    <a:pt x="34643" y="37185"/>
                  </a:lnTo>
                  <a:lnTo>
                    <a:pt x="35102" y="40575"/>
                  </a:lnTo>
                  <a:lnTo>
                    <a:pt x="35526" y="43506"/>
                  </a:lnTo>
                  <a:lnTo>
                    <a:pt x="35773" y="45661"/>
                  </a:lnTo>
                  <a:lnTo>
                    <a:pt x="35844" y="46332"/>
                  </a:lnTo>
                  <a:lnTo>
                    <a:pt x="35844" y="46685"/>
                  </a:lnTo>
                  <a:lnTo>
                    <a:pt x="35844" y="46685"/>
                  </a:lnTo>
                  <a:lnTo>
                    <a:pt x="34608" y="46932"/>
                  </a:lnTo>
                  <a:lnTo>
                    <a:pt x="33549" y="47108"/>
                  </a:lnTo>
                  <a:lnTo>
                    <a:pt x="32701" y="47214"/>
                  </a:lnTo>
                  <a:lnTo>
                    <a:pt x="31995" y="47285"/>
                  </a:lnTo>
                  <a:lnTo>
                    <a:pt x="31112" y="47356"/>
                  </a:lnTo>
                  <a:lnTo>
                    <a:pt x="30829" y="47356"/>
                  </a:lnTo>
                  <a:lnTo>
                    <a:pt x="30829" y="47356"/>
                  </a:lnTo>
                  <a:lnTo>
                    <a:pt x="30617" y="45978"/>
                  </a:lnTo>
                  <a:lnTo>
                    <a:pt x="30370" y="43895"/>
                  </a:lnTo>
                  <a:lnTo>
                    <a:pt x="30017" y="41246"/>
                  </a:lnTo>
                  <a:lnTo>
                    <a:pt x="29593" y="38315"/>
                  </a:lnTo>
                  <a:lnTo>
                    <a:pt x="29134" y="35314"/>
                  </a:lnTo>
                  <a:lnTo>
                    <a:pt x="28887" y="33866"/>
                  </a:lnTo>
                  <a:lnTo>
                    <a:pt x="28605" y="32453"/>
                  </a:lnTo>
                  <a:lnTo>
                    <a:pt x="28322" y="31147"/>
                  </a:lnTo>
                  <a:lnTo>
                    <a:pt x="28004" y="29981"/>
                  </a:lnTo>
                  <a:lnTo>
                    <a:pt x="27722" y="28922"/>
                  </a:lnTo>
                  <a:lnTo>
                    <a:pt x="27369" y="28039"/>
                  </a:lnTo>
                  <a:lnTo>
                    <a:pt x="27369" y="28039"/>
                  </a:lnTo>
                  <a:lnTo>
                    <a:pt x="20377" y="11901"/>
                  </a:lnTo>
                  <a:lnTo>
                    <a:pt x="20377" y="11901"/>
                  </a:lnTo>
                  <a:lnTo>
                    <a:pt x="19988" y="13949"/>
                  </a:lnTo>
                  <a:lnTo>
                    <a:pt x="19600" y="16068"/>
                  </a:lnTo>
                  <a:lnTo>
                    <a:pt x="19247" y="18222"/>
                  </a:lnTo>
                  <a:lnTo>
                    <a:pt x="18858" y="20411"/>
                  </a:lnTo>
                  <a:lnTo>
                    <a:pt x="18399" y="22636"/>
                  </a:lnTo>
                  <a:lnTo>
                    <a:pt x="18152" y="23766"/>
                  </a:lnTo>
                  <a:lnTo>
                    <a:pt x="17905" y="24861"/>
                  </a:lnTo>
                  <a:lnTo>
                    <a:pt x="17622" y="25956"/>
                  </a:lnTo>
                  <a:lnTo>
                    <a:pt x="17304" y="27050"/>
                  </a:lnTo>
                  <a:lnTo>
                    <a:pt x="16951" y="28110"/>
                  </a:lnTo>
                  <a:lnTo>
                    <a:pt x="16563" y="29169"/>
                  </a:lnTo>
                  <a:lnTo>
                    <a:pt x="16563" y="29169"/>
                  </a:lnTo>
                  <a:lnTo>
                    <a:pt x="16210" y="29875"/>
                  </a:lnTo>
                  <a:lnTo>
                    <a:pt x="15857" y="30546"/>
                  </a:lnTo>
                  <a:lnTo>
                    <a:pt x="15468" y="31217"/>
                  </a:lnTo>
                  <a:lnTo>
                    <a:pt x="15044" y="31924"/>
                  </a:lnTo>
                  <a:lnTo>
                    <a:pt x="14621" y="32595"/>
                  </a:lnTo>
                  <a:lnTo>
                    <a:pt x="14126" y="33266"/>
                  </a:lnTo>
                  <a:lnTo>
                    <a:pt x="13173" y="34572"/>
                  </a:lnTo>
                  <a:lnTo>
                    <a:pt x="12149" y="35843"/>
                  </a:lnTo>
                  <a:lnTo>
                    <a:pt x="11089" y="37044"/>
                  </a:lnTo>
                  <a:lnTo>
                    <a:pt x="10030" y="38209"/>
                  </a:lnTo>
                  <a:lnTo>
                    <a:pt x="8970" y="39269"/>
                  </a:lnTo>
                  <a:lnTo>
                    <a:pt x="7982" y="40258"/>
                  </a:lnTo>
                  <a:lnTo>
                    <a:pt x="7028" y="41176"/>
                  </a:lnTo>
                  <a:lnTo>
                    <a:pt x="5404" y="42624"/>
                  </a:lnTo>
                  <a:lnTo>
                    <a:pt x="4309" y="43542"/>
                  </a:lnTo>
                  <a:lnTo>
                    <a:pt x="3921" y="43895"/>
                  </a:lnTo>
                  <a:lnTo>
                    <a:pt x="3921" y="43895"/>
                  </a:lnTo>
                  <a:lnTo>
                    <a:pt x="2967" y="43295"/>
                  </a:lnTo>
                  <a:lnTo>
                    <a:pt x="2155" y="42765"/>
                  </a:lnTo>
                  <a:lnTo>
                    <a:pt x="1449" y="42235"/>
                  </a:lnTo>
                  <a:lnTo>
                    <a:pt x="848" y="41776"/>
                  </a:lnTo>
                  <a:lnTo>
                    <a:pt x="425" y="41388"/>
                  </a:lnTo>
                  <a:lnTo>
                    <a:pt x="107" y="41070"/>
                  </a:lnTo>
                  <a:lnTo>
                    <a:pt x="36" y="40964"/>
                  </a:lnTo>
                  <a:lnTo>
                    <a:pt x="1" y="40858"/>
                  </a:lnTo>
                  <a:lnTo>
                    <a:pt x="1" y="40787"/>
                  </a:lnTo>
                  <a:lnTo>
                    <a:pt x="71" y="40752"/>
                  </a:lnTo>
                  <a:lnTo>
                    <a:pt x="71" y="40752"/>
                  </a:lnTo>
                  <a:lnTo>
                    <a:pt x="531" y="40187"/>
                  </a:lnTo>
                  <a:lnTo>
                    <a:pt x="1131" y="39551"/>
                  </a:lnTo>
                  <a:lnTo>
                    <a:pt x="2614" y="37927"/>
                  </a:lnTo>
                  <a:lnTo>
                    <a:pt x="4415" y="36091"/>
                  </a:lnTo>
                  <a:lnTo>
                    <a:pt x="6322" y="34113"/>
                  </a:lnTo>
                  <a:lnTo>
                    <a:pt x="7240" y="33089"/>
                  </a:lnTo>
                  <a:lnTo>
                    <a:pt x="8158" y="32100"/>
                  </a:lnTo>
                  <a:lnTo>
                    <a:pt x="8970" y="31147"/>
                  </a:lnTo>
                  <a:lnTo>
                    <a:pt x="9712" y="30193"/>
                  </a:lnTo>
                  <a:lnTo>
                    <a:pt x="10348" y="29310"/>
                  </a:lnTo>
                  <a:lnTo>
                    <a:pt x="10595" y="28887"/>
                  </a:lnTo>
                  <a:lnTo>
                    <a:pt x="10842" y="28498"/>
                  </a:lnTo>
                  <a:lnTo>
                    <a:pt x="11054" y="28110"/>
                  </a:lnTo>
                  <a:lnTo>
                    <a:pt x="11195" y="27757"/>
                  </a:lnTo>
                  <a:lnTo>
                    <a:pt x="11301" y="27404"/>
                  </a:lnTo>
                  <a:lnTo>
                    <a:pt x="11372" y="27121"/>
                  </a:lnTo>
                  <a:lnTo>
                    <a:pt x="11372" y="27121"/>
                  </a:lnTo>
                  <a:lnTo>
                    <a:pt x="11407" y="26379"/>
                  </a:lnTo>
                  <a:lnTo>
                    <a:pt x="11442" y="25391"/>
                  </a:lnTo>
                  <a:lnTo>
                    <a:pt x="11442" y="22742"/>
                  </a:lnTo>
                  <a:lnTo>
                    <a:pt x="11372" y="15609"/>
                  </a:lnTo>
                  <a:lnTo>
                    <a:pt x="11336" y="11618"/>
                  </a:lnTo>
                  <a:lnTo>
                    <a:pt x="11372" y="9606"/>
                  </a:lnTo>
                  <a:lnTo>
                    <a:pt x="11407" y="7663"/>
                  </a:lnTo>
                  <a:lnTo>
                    <a:pt x="11478" y="5756"/>
                  </a:lnTo>
                  <a:lnTo>
                    <a:pt x="11584" y="3920"/>
                  </a:lnTo>
                  <a:lnTo>
                    <a:pt x="11725" y="2260"/>
                  </a:lnTo>
                  <a:lnTo>
                    <a:pt x="11937" y="742"/>
                  </a:lnTo>
                  <a:lnTo>
                    <a:pt x="11937" y="742"/>
                  </a:lnTo>
                  <a:lnTo>
                    <a:pt x="11972" y="671"/>
                  </a:lnTo>
                  <a:lnTo>
                    <a:pt x="12078" y="601"/>
                  </a:lnTo>
                  <a:lnTo>
                    <a:pt x="12466" y="459"/>
                  </a:lnTo>
                  <a:lnTo>
                    <a:pt x="13102" y="353"/>
                  </a:lnTo>
                  <a:lnTo>
                    <a:pt x="13879" y="283"/>
                  </a:lnTo>
                  <a:lnTo>
                    <a:pt x="14797" y="212"/>
                  </a:lnTo>
                  <a:lnTo>
                    <a:pt x="15821" y="142"/>
                  </a:lnTo>
                  <a:lnTo>
                    <a:pt x="18046" y="71"/>
                  </a:lnTo>
                  <a:lnTo>
                    <a:pt x="20271" y="0"/>
                  </a:lnTo>
                  <a:lnTo>
                    <a:pt x="22213" y="0"/>
                  </a:lnTo>
                  <a:lnTo>
                    <a:pt x="24085" y="0"/>
                  </a:lnTo>
                  <a:lnTo>
                    <a:pt x="27016" y="247"/>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12" name="Google Shape;818;g2e0683f995c_0_0">
              <a:extLst>
                <a:ext uri="{FF2B5EF4-FFF2-40B4-BE49-F238E27FC236}">
                  <a16:creationId xmlns:a16="http://schemas.microsoft.com/office/drawing/2014/main" id="{B01EE440-67C4-95D0-573F-7E973CDA3CB6}"/>
                </a:ext>
              </a:extLst>
            </p:cNvPr>
            <p:cNvSpPr/>
            <p:nvPr/>
          </p:nvSpPr>
          <p:spPr>
            <a:xfrm>
              <a:off x="2133238" y="951479"/>
              <a:ext cx="42935" cy="82047"/>
            </a:xfrm>
            <a:custGeom>
              <a:avLst/>
              <a:gdLst/>
              <a:ahLst/>
              <a:cxnLst/>
              <a:rect l="l" t="t" r="r" b="b"/>
              <a:pathLst>
                <a:path w="4380" h="8370" extrusionOk="0">
                  <a:moveTo>
                    <a:pt x="1448" y="0"/>
                  </a:moveTo>
                  <a:lnTo>
                    <a:pt x="1378" y="106"/>
                  </a:lnTo>
                  <a:lnTo>
                    <a:pt x="1166" y="424"/>
                  </a:lnTo>
                  <a:lnTo>
                    <a:pt x="813" y="1130"/>
                  </a:lnTo>
                  <a:lnTo>
                    <a:pt x="742" y="1378"/>
                  </a:lnTo>
                  <a:lnTo>
                    <a:pt x="636" y="1625"/>
                  </a:lnTo>
                  <a:lnTo>
                    <a:pt x="530" y="2296"/>
                  </a:lnTo>
                  <a:lnTo>
                    <a:pt x="424" y="3073"/>
                  </a:lnTo>
                  <a:lnTo>
                    <a:pt x="353" y="3920"/>
                  </a:lnTo>
                  <a:lnTo>
                    <a:pt x="212" y="5545"/>
                  </a:lnTo>
                  <a:lnTo>
                    <a:pt x="106" y="6286"/>
                  </a:lnTo>
                  <a:lnTo>
                    <a:pt x="0" y="6851"/>
                  </a:lnTo>
                  <a:lnTo>
                    <a:pt x="2790" y="8370"/>
                  </a:lnTo>
                  <a:lnTo>
                    <a:pt x="3073" y="8193"/>
                  </a:lnTo>
                  <a:lnTo>
                    <a:pt x="3355" y="7981"/>
                  </a:lnTo>
                  <a:lnTo>
                    <a:pt x="3673" y="7699"/>
                  </a:lnTo>
                  <a:lnTo>
                    <a:pt x="3991" y="7416"/>
                  </a:lnTo>
                  <a:lnTo>
                    <a:pt x="4238" y="7098"/>
                  </a:lnTo>
                  <a:lnTo>
                    <a:pt x="4344" y="6922"/>
                  </a:lnTo>
                  <a:lnTo>
                    <a:pt x="4379" y="6781"/>
                  </a:lnTo>
                  <a:lnTo>
                    <a:pt x="4379" y="6604"/>
                  </a:lnTo>
                  <a:lnTo>
                    <a:pt x="4379" y="6463"/>
                  </a:lnTo>
                  <a:lnTo>
                    <a:pt x="4097" y="5721"/>
                  </a:lnTo>
                  <a:lnTo>
                    <a:pt x="3920" y="5015"/>
                  </a:lnTo>
                  <a:lnTo>
                    <a:pt x="3849" y="4415"/>
                  </a:lnTo>
                  <a:lnTo>
                    <a:pt x="3814" y="3885"/>
                  </a:lnTo>
                  <a:lnTo>
                    <a:pt x="3814" y="3567"/>
                  </a:lnTo>
                  <a:lnTo>
                    <a:pt x="3849" y="3285"/>
                  </a:lnTo>
                  <a:lnTo>
                    <a:pt x="3955" y="2825"/>
                  </a:lnTo>
                  <a:lnTo>
                    <a:pt x="4026" y="2543"/>
                  </a:lnTo>
                  <a:lnTo>
                    <a:pt x="4061" y="2437"/>
                  </a:lnTo>
                  <a:lnTo>
                    <a:pt x="3249" y="1660"/>
                  </a:lnTo>
                  <a:lnTo>
                    <a:pt x="1483" y="0"/>
                  </a:lnTo>
                  <a:close/>
                </a:path>
              </a:pathLst>
            </a:custGeom>
            <a:solidFill>
              <a:srgbClr val="EFAEA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13" name="Google Shape;819;g2e0683f995c_0_0">
              <a:extLst>
                <a:ext uri="{FF2B5EF4-FFF2-40B4-BE49-F238E27FC236}">
                  <a16:creationId xmlns:a16="http://schemas.microsoft.com/office/drawing/2014/main" id="{AA41911B-B1F7-4F31-C230-519A6DABDDFD}"/>
                </a:ext>
              </a:extLst>
            </p:cNvPr>
            <p:cNvSpPr/>
            <p:nvPr/>
          </p:nvSpPr>
          <p:spPr>
            <a:xfrm>
              <a:off x="2133238" y="951479"/>
              <a:ext cx="42935" cy="82047"/>
            </a:xfrm>
            <a:custGeom>
              <a:avLst/>
              <a:gdLst/>
              <a:ahLst/>
              <a:cxnLst/>
              <a:rect l="l" t="t" r="r" b="b"/>
              <a:pathLst>
                <a:path w="4380" h="8370" fill="none" extrusionOk="0">
                  <a:moveTo>
                    <a:pt x="2790" y="8370"/>
                  </a:moveTo>
                  <a:lnTo>
                    <a:pt x="0" y="6851"/>
                  </a:lnTo>
                  <a:lnTo>
                    <a:pt x="0" y="6851"/>
                  </a:lnTo>
                  <a:lnTo>
                    <a:pt x="106" y="6286"/>
                  </a:lnTo>
                  <a:lnTo>
                    <a:pt x="212" y="5545"/>
                  </a:lnTo>
                  <a:lnTo>
                    <a:pt x="353" y="3920"/>
                  </a:lnTo>
                  <a:lnTo>
                    <a:pt x="424" y="3073"/>
                  </a:lnTo>
                  <a:lnTo>
                    <a:pt x="530" y="2296"/>
                  </a:lnTo>
                  <a:lnTo>
                    <a:pt x="636" y="1625"/>
                  </a:lnTo>
                  <a:lnTo>
                    <a:pt x="742" y="1378"/>
                  </a:lnTo>
                  <a:lnTo>
                    <a:pt x="813" y="1130"/>
                  </a:lnTo>
                  <a:lnTo>
                    <a:pt x="813" y="1130"/>
                  </a:lnTo>
                  <a:lnTo>
                    <a:pt x="1166" y="424"/>
                  </a:lnTo>
                  <a:lnTo>
                    <a:pt x="1378" y="106"/>
                  </a:lnTo>
                  <a:lnTo>
                    <a:pt x="1448" y="0"/>
                  </a:lnTo>
                  <a:lnTo>
                    <a:pt x="1483" y="0"/>
                  </a:lnTo>
                  <a:lnTo>
                    <a:pt x="3249" y="1660"/>
                  </a:lnTo>
                  <a:lnTo>
                    <a:pt x="4061" y="2437"/>
                  </a:lnTo>
                  <a:lnTo>
                    <a:pt x="4061" y="2437"/>
                  </a:lnTo>
                  <a:lnTo>
                    <a:pt x="4026" y="2543"/>
                  </a:lnTo>
                  <a:lnTo>
                    <a:pt x="3955" y="2825"/>
                  </a:lnTo>
                  <a:lnTo>
                    <a:pt x="3849" y="3285"/>
                  </a:lnTo>
                  <a:lnTo>
                    <a:pt x="3814" y="3567"/>
                  </a:lnTo>
                  <a:lnTo>
                    <a:pt x="3814" y="3885"/>
                  </a:lnTo>
                  <a:lnTo>
                    <a:pt x="3814" y="3885"/>
                  </a:lnTo>
                  <a:lnTo>
                    <a:pt x="3849" y="4415"/>
                  </a:lnTo>
                  <a:lnTo>
                    <a:pt x="3920" y="5015"/>
                  </a:lnTo>
                  <a:lnTo>
                    <a:pt x="4097" y="5721"/>
                  </a:lnTo>
                  <a:lnTo>
                    <a:pt x="4379" y="6463"/>
                  </a:lnTo>
                  <a:lnTo>
                    <a:pt x="4379" y="6463"/>
                  </a:lnTo>
                  <a:lnTo>
                    <a:pt x="4379" y="6604"/>
                  </a:lnTo>
                  <a:lnTo>
                    <a:pt x="4379" y="6781"/>
                  </a:lnTo>
                  <a:lnTo>
                    <a:pt x="4344" y="6922"/>
                  </a:lnTo>
                  <a:lnTo>
                    <a:pt x="4238" y="7098"/>
                  </a:lnTo>
                  <a:lnTo>
                    <a:pt x="3991" y="7416"/>
                  </a:lnTo>
                  <a:lnTo>
                    <a:pt x="3673" y="7699"/>
                  </a:lnTo>
                  <a:lnTo>
                    <a:pt x="3355" y="7981"/>
                  </a:lnTo>
                  <a:lnTo>
                    <a:pt x="3073" y="8193"/>
                  </a:lnTo>
                  <a:lnTo>
                    <a:pt x="2790" y="837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14" name="Google Shape;820;g2e0683f995c_0_0">
              <a:extLst>
                <a:ext uri="{FF2B5EF4-FFF2-40B4-BE49-F238E27FC236}">
                  <a16:creationId xmlns:a16="http://schemas.microsoft.com/office/drawing/2014/main" id="{B869D9EA-ADB0-2CDD-6E3A-865F86FFC40C}"/>
                </a:ext>
              </a:extLst>
            </p:cNvPr>
            <p:cNvSpPr/>
            <p:nvPr/>
          </p:nvSpPr>
          <p:spPr>
            <a:xfrm>
              <a:off x="2170625" y="975368"/>
              <a:ext cx="2431" cy="15586"/>
            </a:xfrm>
            <a:custGeom>
              <a:avLst/>
              <a:gdLst/>
              <a:ahLst/>
              <a:cxnLst/>
              <a:rect l="l" t="t" r="r" b="b"/>
              <a:pathLst>
                <a:path w="248" h="1590" extrusionOk="0">
                  <a:moveTo>
                    <a:pt x="247" y="0"/>
                  </a:moveTo>
                  <a:lnTo>
                    <a:pt x="212" y="106"/>
                  </a:lnTo>
                  <a:lnTo>
                    <a:pt x="141" y="388"/>
                  </a:lnTo>
                  <a:lnTo>
                    <a:pt x="35" y="848"/>
                  </a:lnTo>
                  <a:lnTo>
                    <a:pt x="0" y="1130"/>
                  </a:lnTo>
                  <a:lnTo>
                    <a:pt x="0" y="1448"/>
                  </a:lnTo>
                  <a:lnTo>
                    <a:pt x="0" y="1589"/>
                  </a:lnTo>
                  <a:lnTo>
                    <a:pt x="35" y="953"/>
                  </a:lnTo>
                  <a:lnTo>
                    <a:pt x="141" y="459"/>
                  </a:lnTo>
                  <a:lnTo>
                    <a:pt x="212" y="141"/>
                  </a:lnTo>
                  <a:lnTo>
                    <a:pt x="247" y="0"/>
                  </a:lnTo>
                  <a:close/>
                </a:path>
              </a:pathLst>
            </a:custGeom>
            <a:solidFill>
              <a:srgbClr val="DFDFE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15" name="Google Shape;821;g2e0683f995c_0_0">
              <a:extLst>
                <a:ext uri="{FF2B5EF4-FFF2-40B4-BE49-F238E27FC236}">
                  <a16:creationId xmlns:a16="http://schemas.microsoft.com/office/drawing/2014/main" id="{FF710896-D108-C05A-3F12-184AF4646BF5}"/>
                </a:ext>
              </a:extLst>
            </p:cNvPr>
            <p:cNvSpPr/>
            <p:nvPr/>
          </p:nvSpPr>
          <p:spPr>
            <a:xfrm>
              <a:off x="2170625" y="975368"/>
              <a:ext cx="2431" cy="15586"/>
            </a:xfrm>
            <a:custGeom>
              <a:avLst/>
              <a:gdLst/>
              <a:ahLst/>
              <a:cxnLst/>
              <a:rect l="l" t="t" r="r" b="b"/>
              <a:pathLst>
                <a:path w="248" h="1590" fill="none" extrusionOk="0">
                  <a:moveTo>
                    <a:pt x="247" y="0"/>
                  </a:moveTo>
                  <a:lnTo>
                    <a:pt x="247" y="0"/>
                  </a:lnTo>
                  <a:lnTo>
                    <a:pt x="212" y="106"/>
                  </a:lnTo>
                  <a:lnTo>
                    <a:pt x="141" y="388"/>
                  </a:lnTo>
                  <a:lnTo>
                    <a:pt x="35" y="848"/>
                  </a:lnTo>
                  <a:lnTo>
                    <a:pt x="0" y="1130"/>
                  </a:lnTo>
                  <a:lnTo>
                    <a:pt x="0" y="1448"/>
                  </a:lnTo>
                  <a:lnTo>
                    <a:pt x="0" y="1448"/>
                  </a:lnTo>
                  <a:lnTo>
                    <a:pt x="0" y="1589"/>
                  </a:lnTo>
                  <a:lnTo>
                    <a:pt x="0" y="1589"/>
                  </a:lnTo>
                  <a:lnTo>
                    <a:pt x="0" y="1589"/>
                  </a:lnTo>
                  <a:lnTo>
                    <a:pt x="0" y="1589"/>
                  </a:lnTo>
                  <a:lnTo>
                    <a:pt x="35" y="953"/>
                  </a:lnTo>
                  <a:lnTo>
                    <a:pt x="141" y="459"/>
                  </a:lnTo>
                  <a:lnTo>
                    <a:pt x="212" y="141"/>
                  </a:lnTo>
                  <a:lnTo>
                    <a:pt x="247"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16" name="Google Shape;822;g2e0683f995c_0_0">
              <a:extLst>
                <a:ext uri="{FF2B5EF4-FFF2-40B4-BE49-F238E27FC236}">
                  <a16:creationId xmlns:a16="http://schemas.microsoft.com/office/drawing/2014/main" id="{339E127F-BC93-88A7-59C6-6DC303B0F4CA}"/>
                </a:ext>
              </a:extLst>
            </p:cNvPr>
            <p:cNvSpPr/>
            <p:nvPr/>
          </p:nvSpPr>
          <p:spPr>
            <a:xfrm>
              <a:off x="2147080" y="967751"/>
              <a:ext cx="25977" cy="23889"/>
            </a:xfrm>
            <a:custGeom>
              <a:avLst/>
              <a:gdLst/>
              <a:ahLst/>
              <a:cxnLst/>
              <a:rect l="l" t="t" r="r" b="b"/>
              <a:pathLst>
                <a:path w="2650" h="2437" extrusionOk="0">
                  <a:moveTo>
                    <a:pt x="1837" y="0"/>
                  </a:moveTo>
                  <a:lnTo>
                    <a:pt x="1166" y="283"/>
                  </a:lnTo>
                  <a:lnTo>
                    <a:pt x="636" y="530"/>
                  </a:lnTo>
                  <a:lnTo>
                    <a:pt x="213" y="742"/>
                  </a:lnTo>
                  <a:lnTo>
                    <a:pt x="107" y="812"/>
                  </a:lnTo>
                  <a:lnTo>
                    <a:pt x="71" y="918"/>
                  </a:lnTo>
                  <a:lnTo>
                    <a:pt x="36" y="1024"/>
                  </a:lnTo>
                  <a:lnTo>
                    <a:pt x="1" y="1165"/>
                  </a:lnTo>
                  <a:lnTo>
                    <a:pt x="36" y="1271"/>
                  </a:lnTo>
                  <a:lnTo>
                    <a:pt x="71" y="1413"/>
                  </a:lnTo>
                  <a:lnTo>
                    <a:pt x="142" y="1554"/>
                  </a:lnTo>
                  <a:lnTo>
                    <a:pt x="213" y="1730"/>
                  </a:lnTo>
                  <a:lnTo>
                    <a:pt x="319" y="1836"/>
                  </a:lnTo>
                  <a:lnTo>
                    <a:pt x="460" y="1978"/>
                  </a:lnTo>
                  <a:lnTo>
                    <a:pt x="636" y="2119"/>
                  </a:lnTo>
                  <a:lnTo>
                    <a:pt x="813" y="2225"/>
                  </a:lnTo>
                  <a:lnTo>
                    <a:pt x="1025" y="2295"/>
                  </a:lnTo>
                  <a:lnTo>
                    <a:pt x="1272" y="2366"/>
                  </a:lnTo>
                  <a:lnTo>
                    <a:pt x="1519" y="2401"/>
                  </a:lnTo>
                  <a:lnTo>
                    <a:pt x="1802" y="2437"/>
                  </a:lnTo>
                  <a:lnTo>
                    <a:pt x="2120" y="2401"/>
                  </a:lnTo>
                  <a:lnTo>
                    <a:pt x="2402" y="2366"/>
                  </a:lnTo>
                  <a:lnTo>
                    <a:pt x="2402" y="2225"/>
                  </a:lnTo>
                  <a:lnTo>
                    <a:pt x="2402" y="1907"/>
                  </a:lnTo>
                  <a:lnTo>
                    <a:pt x="2437" y="1625"/>
                  </a:lnTo>
                  <a:lnTo>
                    <a:pt x="2543" y="1165"/>
                  </a:lnTo>
                  <a:lnTo>
                    <a:pt x="2614" y="883"/>
                  </a:lnTo>
                  <a:lnTo>
                    <a:pt x="2649" y="777"/>
                  </a:lnTo>
                  <a:lnTo>
                    <a:pt x="1837" y="0"/>
                  </a:lnTo>
                  <a:close/>
                </a:path>
              </a:pathLst>
            </a:custGeom>
            <a:solidFill>
              <a:srgbClr val="D29A9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17" name="Google Shape;823;g2e0683f995c_0_0">
              <a:extLst>
                <a:ext uri="{FF2B5EF4-FFF2-40B4-BE49-F238E27FC236}">
                  <a16:creationId xmlns:a16="http://schemas.microsoft.com/office/drawing/2014/main" id="{A15ED1CA-B8F8-28AD-0E0A-B75CFA8B0397}"/>
                </a:ext>
              </a:extLst>
            </p:cNvPr>
            <p:cNvSpPr/>
            <p:nvPr/>
          </p:nvSpPr>
          <p:spPr>
            <a:xfrm>
              <a:off x="2147080" y="967751"/>
              <a:ext cx="25977" cy="23889"/>
            </a:xfrm>
            <a:custGeom>
              <a:avLst/>
              <a:gdLst/>
              <a:ahLst/>
              <a:cxnLst/>
              <a:rect l="l" t="t" r="r" b="b"/>
              <a:pathLst>
                <a:path w="2650" h="2437" fill="none" extrusionOk="0">
                  <a:moveTo>
                    <a:pt x="1837" y="0"/>
                  </a:moveTo>
                  <a:lnTo>
                    <a:pt x="1837" y="0"/>
                  </a:lnTo>
                  <a:lnTo>
                    <a:pt x="1166" y="283"/>
                  </a:lnTo>
                  <a:lnTo>
                    <a:pt x="636" y="530"/>
                  </a:lnTo>
                  <a:lnTo>
                    <a:pt x="213" y="742"/>
                  </a:lnTo>
                  <a:lnTo>
                    <a:pt x="213" y="742"/>
                  </a:lnTo>
                  <a:lnTo>
                    <a:pt x="107" y="812"/>
                  </a:lnTo>
                  <a:lnTo>
                    <a:pt x="71" y="918"/>
                  </a:lnTo>
                  <a:lnTo>
                    <a:pt x="36" y="1024"/>
                  </a:lnTo>
                  <a:lnTo>
                    <a:pt x="1" y="1165"/>
                  </a:lnTo>
                  <a:lnTo>
                    <a:pt x="36" y="1271"/>
                  </a:lnTo>
                  <a:lnTo>
                    <a:pt x="71" y="1413"/>
                  </a:lnTo>
                  <a:lnTo>
                    <a:pt x="142" y="1554"/>
                  </a:lnTo>
                  <a:lnTo>
                    <a:pt x="213" y="1730"/>
                  </a:lnTo>
                  <a:lnTo>
                    <a:pt x="319" y="1836"/>
                  </a:lnTo>
                  <a:lnTo>
                    <a:pt x="460" y="1978"/>
                  </a:lnTo>
                  <a:lnTo>
                    <a:pt x="636" y="2119"/>
                  </a:lnTo>
                  <a:lnTo>
                    <a:pt x="813" y="2225"/>
                  </a:lnTo>
                  <a:lnTo>
                    <a:pt x="1025" y="2295"/>
                  </a:lnTo>
                  <a:lnTo>
                    <a:pt x="1272" y="2366"/>
                  </a:lnTo>
                  <a:lnTo>
                    <a:pt x="1519" y="2401"/>
                  </a:lnTo>
                  <a:lnTo>
                    <a:pt x="1802" y="2437"/>
                  </a:lnTo>
                  <a:lnTo>
                    <a:pt x="1802" y="2437"/>
                  </a:lnTo>
                  <a:lnTo>
                    <a:pt x="2120" y="2401"/>
                  </a:lnTo>
                  <a:lnTo>
                    <a:pt x="2402" y="2366"/>
                  </a:lnTo>
                  <a:lnTo>
                    <a:pt x="2402" y="2366"/>
                  </a:lnTo>
                  <a:lnTo>
                    <a:pt x="2402" y="2225"/>
                  </a:lnTo>
                  <a:lnTo>
                    <a:pt x="2402" y="2225"/>
                  </a:lnTo>
                  <a:lnTo>
                    <a:pt x="2402" y="1907"/>
                  </a:lnTo>
                  <a:lnTo>
                    <a:pt x="2437" y="1625"/>
                  </a:lnTo>
                  <a:lnTo>
                    <a:pt x="2543" y="1165"/>
                  </a:lnTo>
                  <a:lnTo>
                    <a:pt x="2614" y="883"/>
                  </a:lnTo>
                  <a:lnTo>
                    <a:pt x="2649" y="777"/>
                  </a:lnTo>
                  <a:lnTo>
                    <a:pt x="2649" y="777"/>
                  </a:lnTo>
                  <a:lnTo>
                    <a:pt x="1837"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18" name="Google Shape;824;g2e0683f995c_0_0">
              <a:extLst>
                <a:ext uri="{FF2B5EF4-FFF2-40B4-BE49-F238E27FC236}">
                  <a16:creationId xmlns:a16="http://schemas.microsoft.com/office/drawing/2014/main" id="{82B23DE7-52A9-C8B2-33AC-10822A492F65}"/>
                </a:ext>
              </a:extLst>
            </p:cNvPr>
            <p:cNvSpPr/>
            <p:nvPr/>
          </p:nvSpPr>
          <p:spPr>
            <a:xfrm>
              <a:off x="2135660" y="926208"/>
              <a:ext cx="55737" cy="58511"/>
            </a:xfrm>
            <a:custGeom>
              <a:avLst/>
              <a:gdLst/>
              <a:ahLst/>
              <a:cxnLst/>
              <a:rect l="l" t="t" r="r" b="b"/>
              <a:pathLst>
                <a:path w="5686" h="5969" extrusionOk="0">
                  <a:moveTo>
                    <a:pt x="142" y="1"/>
                  </a:moveTo>
                  <a:lnTo>
                    <a:pt x="106" y="424"/>
                  </a:lnTo>
                  <a:lnTo>
                    <a:pt x="36" y="1448"/>
                  </a:lnTo>
                  <a:lnTo>
                    <a:pt x="1" y="2049"/>
                  </a:lnTo>
                  <a:lnTo>
                    <a:pt x="1" y="2649"/>
                  </a:lnTo>
                  <a:lnTo>
                    <a:pt x="36" y="3179"/>
                  </a:lnTo>
                  <a:lnTo>
                    <a:pt x="106" y="3638"/>
                  </a:lnTo>
                  <a:lnTo>
                    <a:pt x="142" y="3814"/>
                  </a:lnTo>
                  <a:lnTo>
                    <a:pt x="248" y="3991"/>
                  </a:lnTo>
                  <a:lnTo>
                    <a:pt x="424" y="4203"/>
                  </a:lnTo>
                  <a:lnTo>
                    <a:pt x="601" y="4379"/>
                  </a:lnTo>
                  <a:lnTo>
                    <a:pt x="813" y="4591"/>
                  </a:lnTo>
                  <a:lnTo>
                    <a:pt x="1095" y="4768"/>
                  </a:lnTo>
                  <a:lnTo>
                    <a:pt x="1660" y="5156"/>
                  </a:lnTo>
                  <a:lnTo>
                    <a:pt x="2367" y="5474"/>
                  </a:lnTo>
                  <a:lnTo>
                    <a:pt x="2720" y="5615"/>
                  </a:lnTo>
                  <a:lnTo>
                    <a:pt x="3108" y="5721"/>
                  </a:lnTo>
                  <a:lnTo>
                    <a:pt x="3461" y="5827"/>
                  </a:lnTo>
                  <a:lnTo>
                    <a:pt x="3850" y="5898"/>
                  </a:lnTo>
                  <a:lnTo>
                    <a:pt x="4238" y="5968"/>
                  </a:lnTo>
                  <a:lnTo>
                    <a:pt x="4627" y="5968"/>
                  </a:lnTo>
                  <a:lnTo>
                    <a:pt x="4768" y="5933"/>
                  </a:lnTo>
                  <a:lnTo>
                    <a:pt x="4874" y="5863"/>
                  </a:lnTo>
                  <a:lnTo>
                    <a:pt x="4944" y="5757"/>
                  </a:lnTo>
                  <a:lnTo>
                    <a:pt x="5015" y="5615"/>
                  </a:lnTo>
                  <a:lnTo>
                    <a:pt x="5050" y="5227"/>
                  </a:lnTo>
                  <a:lnTo>
                    <a:pt x="5050" y="4768"/>
                  </a:lnTo>
                  <a:lnTo>
                    <a:pt x="5015" y="4344"/>
                  </a:lnTo>
                  <a:lnTo>
                    <a:pt x="5050" y="3956"/>
                  </a:lnTo>
                  <a:lnTo>
                    <a:pt x="5121" y="3779"/>
                  </a:lnTo>
                  <a:lnTo>
                    <a:pt x="5156" y="3673"/>
                  </a:lnTo>
                  <a:lnTo>
                    <a:pt x="5262" y="3602"/>
                  </a:lnTo>
                  <a:lnTo>
                    <a:pt x="5403" y="3602"/>
                  </a:lnTo>
                  <a:lnTo>
                    <a:pt x="5509" y="3567"/>
                  </a:lnTo>
                  <a:lnTo>
                    <a:pt x="5615" y="3497"/>
                  </a:lnTo>
                  <a:lnTo>
                    <a:pt x="5651" y="3391"/>
                  </a:lnTo>
                  <a:lnTo>
                    <a:pt x="5686" y="3249"/>
                  </a:lnTo>
                  <a:lnTo>
                    <a:pt x="5615" y="2861"/>
                  </a:lnTo>
                  <a:lnTo>
                    <a:pt x="5509" y="2367"/>
                  </a:lnTo>
                  <a:lnTo>
                    <a:pt x="5192" y="1272"/>
                  </a:lnTo>
                  <a:lnTo>
                    <a:pt x="5050" y="742"/>
                  </a:lnTo>
                  <a:lnTo>
                    <a:pt x="4980" y="283"/>
                  </a:lnTo>
                  <a:lnTo>
                    <a:pt x="142" y="1"/>
                  </a:lnTo>
                  <a:close/>
                </a:path>
              </a:pathLst>
            </a:custGeom>
            <a:solidFill>
              <a:srgbClr val="EFAEA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19" name="Google Shape;825;g2e0683f995c_0_0">
              <a:extLst>
                <a:ext uri="{FF2B5EF4-FFF2-40B4-BE49-F238E27FC236}">
                  <a16:creationId xmlns:a16="http://schemas.microsoft.com/office/drawing/2014/main" id="{6EA4B594-7EDE-2C3E-BED2-ED4B5E857ABB}"/>
                </a:ext>
              </a:extLst>
            </p:cNvPr>
            <p:cNvSpPr/>
            <p:nvPr/>
          </p:nvSpPr>
          <p:spPr>
            <a:xfrm>
              <a:off x="2117309" y="900251"/>
              <a:ext cx="81361" cy="63010"/>
            </a:xfrm>
            <a:custGeom>
              <a:avLst/>
              <a:gdLst/>
              <a:ahLst/>
              <a:cxnLst/>
              <a:rect l="l" t="t" r="r" b="b"/>
              <a:pathLst>
                <a:path w="8300" h="6428" extrusionOk="0">
                  <a:moveTo>
                    <a:pt x="4662" y="0"/>
                  </a:moveTo>
                  <a:lnTo>
                    <a:pt x="4486" y="71"/>
                  </a:lnTo>
                  <a:lnTo>
                    <a:pt x="4309" y="141"/>
                  </a:lnTo>
                  <a:lnTo>
                    <a:pt x="4203" y="212"/>
                  </a:lnTo>
                  <a:lnTo>
                    <a:pt x="3921" y="388"/>
                  </a:lnTo>
                  <a:lnTo>
                    <a:pt x="3744" y="424"/>
                  </a:lnTo>
                  <a:lnTo>
                    <a:pt x="3532" y="459"/>
                  </a:lnTo>
                  <a:lnTo>
                    <a:pt x="3356" y="424"/>
                  </a:lnTo>
                  <a:lnTo>
                    <a:pt x="3144" y="353"/>
                  </a:lnTo>
                  <a:lnTo>
                    <a:pt x="2685" y="177"/>
                  </a:lnTo>
                  <a:lnTo>
                    <a:pt x="2438" y="106"/>
                  </a:lnTo>
                  <a:lnTo>
                    <a:pt x="2190" y="71"/>
                  </a:lnTo>
                  <a:lnTo>
                    <a:pt x="1908" y="106"/>
                  </a:lnTo>
                  <a:lnTo>
                    <a:pt x="1802" y="141"/>
                  </a:lnTo>
                  <a:lnTo>
                    <a:pt x="1661" y="212"/>
                  </a:lnTo>
                  <a:lnTo>
                    <a:pt x="1449" y="388"/>
                  </a:lnTo>
                  <a:lnTo>
                    <a:pt x="1308" y="565"/>
                  </a:lnTo>
                  <a:lnTo>
                    <a:pt x="1166" y="742"/>
                  </a:lnTo>
                  <a:lnTo>
                    <a:pt x="1096" y="918"/>
                  </a:lnTo>
                  <a:lnTo>
                    <a:pt x="1025" y="1095"/>
                  </a:lnTo>
                  <a:lnTo>
                    <a:pt x="954" y="1271"/>
                  </a:lnTo>
                  <a:lnTo>
                    <a:pt x="919" y="1660"/>
                  </a:lnTo>
                  <a:lnTo>
                    <a:pt x="884" y="2013"/>
                  </a:lnTo>
                  <a:lnTo>
                    <a:pt x="813" y="2401"/>
                  </a:lnTo>
                  <a:lnTo>
                    <a:pt x="742" y="2578"/>
                  </a:lnTo>
                  <a:lnTo>
                    <a:pt x="637" y="2754"/>
                  </a:lnTo>
                  <a:lnTo>
                    <a:pt x="495" y="2931"/>
                  </a:lnTo>
                  <a:lnTo>
                    <a:pt x="319" y="3108"/>
                  </a:lnTo>
                  <a:lnTo>
                    <a:pt x="213" y="3214"/>
                  </a:lnTo>
                  <a:lnTo>
                    <a:pt x="142" y="3319"/>
                  </a:lnTo>
                  <a:lnTo>
                    <a:pt x="36" y="3567"/>
                  </a:lnTo>
                  <a:lnTo>
                    <a:pt x="1" y="3814"/>
                  </a:lnTo>
                  <a:lnTo>
                    <a:pt x="36" y="4096"/>
                  </a:lnTo>
                  <a:lnTo>
                    <a:pt x="107" y="4379"/>
                  </a:lnTo>
                  <a:lnTo>
                    <a:pt x="213" y="4697"/>
                  </a:lnTo>
                  <a:lnTo>
                    <a:pt x="389" y="4979"/>
                  </a:lnTo>
                  <a:lnTo>
                    <a:pt x="566" y="5262"/>
                  </a:lnTo>
                  <a:lnTo>
                    <a:pt x="778" y="5509"/>
                  </a:lnTo>
                  <a:lnTo>
                    <a:pt x="990" y="5756"/>
                  </a:lnTo>
                  <a:lnTo>
                    <a:pt x="1413" y="6145"/>
                  </a:lnTo>
                  <a:lnTo>
                    <a:pt x="1625" y="6286"/>
                  </a:lnTo>
                  <a:lnTo>
                    <a:pt x="1767" y="6356"/>
                  </a:lnTo>
                  <a:lnTo>
                    <a:pt x="1908" y="6427"/>
                  </a:lnTo>
                  <a:lnTo>
                    <a:pt x="2014" y="6392"/>
                  </a:lnTo>
                  <a:lnTo>
                    <a:pt x="2049" y="6321"/>
                  </a:lnTo>
                  <a:lnTo>
                    <a:pt x="2120" y="6250"/>
                  </a:lnTo>
                  <a:lnTo>
                    <a:pt x="2155" y="6003"/>
                  </a:lnTo>
                  <a:lnTo>
                    <a:pt x="2155" y="5756"/>
                  </a:lnTo>
                  <a:lnTo>
                    <a:pt x="2155" y="5509"/>
                  </a:lnTo>
                  <a:lnTo>
                    <a:pt x="2120" y="5226"/>
                  </a:lnTo>
                  <a:lnTo>
                    <a:pt x="2120" y="4979"/>
                  </a:lnTo>
                  <a:lnTo>
                    <a:pt x="2190" y="4767"/>
                  </a:lnTo>
                  <a:lnTo>
                    <a:pt x="2226" y="4697"/>
                  </a:lnTo>
                  <a:lnTo>
                    <a:pt x="2296" y="4661"/>
                  </a:lnTo>
                  <a:lnTo>
                    <a:pt x="2473" y="4555"/>
                  </a:lnTo>
                  <a:lnTo>
                    <a:pt x="2649" y="4520"/>
                  </a:lnTo>
                  <a:lnTo>
                    <a:pt x="2755" y="4520"/>
                  </a:lnTo>
                  <a:lnTo>
                    <a:pt x="2861" y="4591"/>
                  </a:lnTo>
                  <a:lnTo>
                    <a:pt x="3073" y="4838"/>
                  </a:lnTo>
                  <a:lnTo>
                    <a:pt x="3356" y="5156"/>
                  </a:lnTo>
                  <a:lnTo>
                    <a:pt x="3532" y="5332"/>
                  </a:lnTo>
                  <a:lnTo>
                    <a:pt x="3779" y="5438"/>
                  </a:lnTo>
                  <a:lnTo>
                    <a:pt x="3956" y="5509"/>
                  </a:lnTo>
                  <a:lnTo>
                    <a:pt x="4168" y="5509"/>
                  </a:lnTo>
                  <a:lnTo>
                    <a:pt x="4239" y="5474"/>
                  </a:lnTo>
                  <a:lnTo>
                    <a:pt x="4309" y="5438"/>
                  </a:lnTo>
                  <a:lnTo>
                    <a:pt x="4344" y="5403"/>
                  </a:lnTo>
                  <a:lnTo>
                    <a:pt x="4380" y="5332"/>
                  </a:lnTo>
                  <a:lnTo>
                    <a:pt x="4380" y="5226"/>
                  </a:lnTo>
                  <a:lnTo>
                    <a:pt x="4344" y="5120"/>
                  </a:lnTo>
                  <a:lnTo>
                    <a:pt x="4203" y="4803"/>
                  </a:lnTo>
                  <a:lnTo>
                    <a:pt x="4027" y="4520"/>
                  </a:lnTo>
                  <a:lnTo>
                    <a:pt x="3956" y="4273"/>
                  </a:lnTo>
                  <a:lnTo>
                    <a:pt x="3956" y="4096"/>
                  </a:lnTo>
                  <a:lnTo>
                    <a:pt x="4027" y="3990"/>
                  </a:lnTo>
                  <a:lnTo>
                    <a:pt x="4133" y="3920"/>
                  </a:lnTo>
                  <a:lnTo>
                    <a:pt x="4309" y="3884"/>
                  </a:lnTo>
                  <a:lnTo>
                    <a:pt x="4486" y="3884"/>
                  </a:lnTo>
                  <a:lnTo>
                    <a:pt x="4698" y="3920"/>
                  </a:lnTo>
                  <a:lnTo>
                    <a:pt x="5086" y="3990"/>
                  </a:lnTo>
                  <a:lnTo>
                    <a:pt x="5333" y="4061"/>
                  </a:lnTo>
                  <a:lnTo>
                    <a:pt x="5545" y="4061"/>
                  </a:lnTo>
                  <a:lnTo>
                    <a:pt x="5828" y="3955"/>
                  </a:lnTo>
                  <a:lnTo>
                    <a:pt x="5898" y="3920"/>
                  </a:lnTo>
                  <a:lnTo>
                    <a:pt x="5934" y="3884"/>
                  </a:lnTo>
                  <a:lnTo>
                    <a:pt x="5969" y="3743"/>
                  </a:lnTo>
                  <a:lnTo>
                    <a:pt x="5969" y="3602"/>
                  </a:lnTo>
                  <a:lnTo>
                    <a:pt x="5969" y="3461"/>
                  </a:lnTo>
                  <a:lnTo>
                    <a:pt x="5969" y="3319"/>
                  </a:lnTo>
                  <a:lnTo>
                    <a:pt x="6004" y="3214"/>
                  </a:lnTo>
                  <a:lnTo>
                    <a:pt x="6039" y="3143"/>
                  </a:lnTo>
                  <a:lnTo>
                    <a:pt x="6145" y="3108"/>
                  </a:lnTo>
                  <a:lnTo>
                    <a:pt x="6393" y="3037"/>
                  </a:lnTo>
                  <a:lnTo>
                    <a:pt x="7028" y="2966"/>
                  </a:lnTo>
                  <a:lnTo>
                    <a:pt x="7311" y="2931"/>
                  </a:lnTo>
                  <a:lnTo>
                    <a:pt x="7593" y="2860"/>
                  </a:lnTo>
                  <a:lnTo>
                    <a:pt x="7840" y="2719"/>
                  </a:lnTo>
                  <a:lnTo>
                    <a:pt x="8052" y="2543"/>
                  </a:lnTo>
                  <a:lnTo>
                    <a:pt x="8123" y="2437"/>
                  </a:lnTo>
                  <a:lnTo>
                    <a:pt x="8194" y="2331"/>
                  </a:lnTo>
                  <a:lnTo>
                    <a:pt x="8264" y="2189"/>
                  </a:lnTo>
                  <a:lnTo>
                    <a:pt x="8300" y="2013"/>
                  </a:lnTo>
                  <a:lnTo>
                    <a:pt x="8300" y="1801"/>
                  </a:lnTo>
                  <a:lnTo>
                    <a:pt x="8300" y="1589"/>
                  </a:lnTo>
                  <a:lnTo>
                    <a:pt x="8264" y="1413"/>
                  </a:lnTo>
                  <a:lnTo>
                    <a:pt x="8194" y="1271"/>
                  </a:lnTo>
                  <a:lnTo>
                    <a:pt x="8123" y="1165"/>
                  </a:lnTo>
                  <a:lnTo>
                    <a:pt x="8017" y="1059"/>
                  </a:lnTo>
                  <a:lnTo>
                    <a:pt x="7876" y="989"/>
                  </a:lnTo>
                  <a:lnTo>
                    <a:pt x="7735" y="953"/>
                  </a:lnTo>
                  <a:lnTo>
                    <a:pt x="7452" y="883"/>
                  </a:lnTo>
                  <a:lnTo>
                    <a:pt x="7099" y="883"/>
                  </a:lnTo>
                  <a:lnTo>
                    <a:pt x="6781" y="918"/>
                  </a:lnTo>
                  <a:lnTo>
                    <a:pt x="6463" y="953"/>
                  </a:lnTo>
                  <a:lnTo>
                    <a:pt x="6393" y="953"/>
                  </a:lnTo>
                  <a:lnTo>
                    <a:pt x="6287" y="918"/>
                  </a:lnTo>
                  <a:lnTo>
                    <a:pt x="6145" y="848"/>
                  </a:lnTo>
                  <a:lnTo>
                    <a:pt x="6039" y="671"/>
                  </a:lnTo>
                  <a:lnTo>
                    <a:pt x="5863" y="494"/>
                  </a:lnTo>
                  <a:lnTo>
                    <a:pt x="5722" y="318"/>
                  </a:lnTo>
                  <a:lnTo>
                    <a:pt x="5510" y="141"/>
                  </a:lnTo>
                  <a:lnTo>
                    <a:pt x="5263" y="35"/>
                  </a:lnTo>
                  <a:lnTo>
                    <a:pt x="5086" y="0"/>
                  </a:lnTo>
                  <a:close/>
                </a:path>
              </a:pathLst>
            </a:custGeom>
            <a:solidFill>
              <a:srgbClr val="BF764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20" name="Google Shape;826;g2e0683f995c_0_0">
              <a:extLst>
                <a:ext uri="{FF2B5EF4-FFF2-40B4-BE49-F238E27FC236}">
                  <a16:creationId xmlns:a16="http://schemas.microsoft.com/office/drawing/2014/main" id="{BC427586-4216-0047-4335-9F569FE77EAC}"/>
                </a:ext>
              </a:extLst>
            </p:cNvPr>
            <p:cNvSpPr/>
            <p:nvPr/>
          </p:nvSpPr>
          <p:spPr>
            <a:xfrm>
              <a:off x="2084432" y="988866"/>
              <a:ext cx="124276" cy="243700"/>
            </a:xfrm>
            <a:custGeom>
              <a:avLst/>
              <a:gdLst/>
              <a:ahLst/>
              <a:cxnLst/>
              <a:rect l="l" t="t" r="r" b="b"/>
              <a:pathLst>
                <a:path w="12678" h="24861" extrusionOk="0">
                  <a:moveTo>
                    <a:pt x="5297" y="0"/>
                  </a:moveTo>
                  <a:lnTo>
                    <a:pt x="5085" y="71"/>
                  </a:lnTo>
                  <a:lnTo>
                    <a:pt x="4626" y="247"/>
                  </a:lnTo>
                  <a:lnTo>
                    <a:pt x="4202" y="424"/>
                  </a:lnTo>
                  <a:lnTo>
                    <a:pt x="3779" y="671"/>
                  </a:lnTo>
                  <a:lnTo>
                    <a:pt x="3426" y="883"/>
                  </a:lnTo>
                  <a:lnTo>
                    <a:pt x="2896" y="1272"/>
                  </a:lnTo>
                  <a:lnTo>
                    <a:pt x="2719" y="1448"/>
                  </a:lnTo>
                  <a:lnTo>
                    <a:pt x="1377" y="12537"/>
                  </a:lnTo>
                  <a:lnTo>
                    <a:pt x="459" y="20305"/>
                  </a:lnTo>
                  <a:lnTo>
                    <a:pt x="0" y="24261"/>
                  </a:lnTo>
                  <a:lnTo>
                    <a:pt x="35" y="24331"/>
                  </a:lnTo>
                  <a:lnTo>
                    <a:pt x="71" y="24402"/>
                  </a:lnTo>
                  <a:lnTo>
                    <a:pt x="212" y="24543"/>
                  </a:lnTo>
                  <a:lnTo>
                    <a:pt x="424" y="24649"/>
                  </a:lnTo>
                  <a:lnTo>
                    <a:pt x="742" y="24720"/>
                  </a:lnTo>
                  <a:lnTo>
                    <a:pt x="1130" y="24755"/>
                  </a:lnTo>
                  <a:lnTo>
                    <a:pt x="1589" y="24826"/>
                  </a:lnTo>
                  <a:lnTo>
                    <a:pt x="2649" y="24861"/>
                  </a:lnTo>
                  <a:lnTo>
                    <a:pt x="3814" y="24861"/>
                  </a:lnTo>
                  <a:lnTo>
                    <a:pt x="5015" y="24826"/>
                  </a:lnTo>
                  <a:lnTo>
                    <a:pt x="7275" y="24755"/>
                  </a:lnTo>
                  <a:lnTo>
                    <a:pt x="7769" y="24720"/>
                  </a:lnTo>
                  <a:lnTo>
                    <a:pt x="8263" y="24614"/>
                  </a:lnTo>
                  <a:lnTo>
                    <a:pt x="8723" y="24508"/>
                  </a:lnTo>
                  <a:lnTo>
                    <a:pt x="9217" y="24367"/>
                  </a:lnTo>
                  <a:lnTo>
                    <a:pt x="9676" y="24190"/>
                  </a:lnTo>
                  <a:lnTo>
                    <a:pt x="10135" y="24013"/>
                  </a:lnTo>
                  <a:lnTo>
                    <a:pt x="10947" y="23590"/>
                  </a:lnTo>
                  <a:lnTo>
                    <a:pt x="11654" y="23201"/>
                  </a:lnTo>
                  <a:lnTo>
                    <a:pt x="12183" y="22848"/>
                  </a:lnTo>
                  <a:lnTo>
                    <a:pt x="12678" y="22495"/>
                  </a:lnTo>
                  <a:lnTo>
                    <a:pt x="12395" y="19034"/>
                  </a:lnTo>
                  <a:lnTo>
                    <a:pt x="12113" y="15503"/>
                  </a:lnTo>
                  <a:lnTo>
                    <a:pt x="11724" y="11406"/>
                  </a:lnTo>
                  <a:lnTo>
                    <a:pt x="11300" y="7345"/>
                  </a:lnTo>
                  <a:lnTo>
                    <a:pt x="11053" y="5474"/>
                  </a:lnTo>
                  <a:lnTo>
                    <a:pt x="10806" y="3779"/>
                  </a:lnTo>
                  <a:lnTo>
                    <a:pt x="10559" y="2366"/>
                  </a:lnTo>
                  <a:lnTo>
                    <a:pt x="10312" y="1272"/>
                  </a:lnTo>
                  <a:lnTo>
                    <a:pt x="10170" y="848"/>
                  </a:lnTo>
                  <a:lnTo>
                    <a:pt x="10064" y="565"/>
                  </a:lnTo>
                  <a:lnTo>
                    <a:pt x="9923" y="353"/>
                  </a:lnTo>
                  <a:lnTo>
                    <a:pt x="9888" y="318"/>
                  </a:lnTo>
                  <a:lnTo>
                    <a:pt x="9817" y="283"/>
                  </a:lnTo>
                  <a:lnTo>
                    <a:pt x="9182" y="247"/>
                  </a:lnTo>
                  <a:lnTo>
                    <a:pt x="8970" y="247"/>
                  </a:lnTo>
                  <a:lnTo>
                    <a:pt x="8864" y="283"/>
                  </a:lnTo>
                  <a:lnTo>
                    <a:pt x="8793" y="353"/>
                  </a:lnTo>
                  <a:lnTo>
                    <a:pt x="8723" y="459"/>
                  </a:lnTo>
                  <a:lnTo>
                    <a:pt x="8652" y="601"/>
                  </a:lnTo>
                  <a:lnTo>
                    <a:pt x="8511" y="883"/>
                  </a:lnTo>
                  <a:lnTo>
                    <a:pt x="8440" y="989"/>
                  </a:lnTo>
                  <a:lnTo>
                    <a:pt x="8334" y="1095"/>
                  </a:lnTo>
                  <a:lnTo>
                    <a:pt x="8158" y="1166"/>
                  </a:lnTo>
                  <a:lnTo>
                    <a:pt x="7946" y="1201"/>
                  </a:lnTo>
                  <a:lnTo>
                    <a:pt x="7769" y="1166"/>
                  </a:lnTo>
                  <a:lnTo>
                    <a:pt x="7593" y="1130"/>
                  </a:lnTo>
                  <a:lnTo>
                    <a:pt x="7416" y="1060"/>
                  </a:lnTo>
                  <a:lnTo>
                    <a:pt x="7239" y="954"/>
                  </a:lnTo>
                  <a:lnTo>
                    <a:pt x="6922" y="742"/>
                  </a:lnTo>
                  <a:lnTo>
                    <a:pt x="6604" y="495"/>
                  </a:lnTo>
                  <a:lnTo>
                    <a:pt x="6286" y="247"/>
                  </a:lnTo>
                  <a:lnTo>
                    <a:pt x="6109" y="177"/>
                  </a:lnTo>
                  <a:lnTo>
                    <a:pt x="5933" y="71"/>
                  </a:lnTo>
                  <a:lnTo>
                    <a:pt x="5721" y="36"/>
                  </a:lnTo>
                  <a:lnTo>
                    <a:pt x="5509"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21" name="Google Shape;827;g2e0683f995c_0_0">
              <a:extLst>
                <a:ext uri="{FF2B5EF4-FFF2-40B4-BE49-F238E27FC236}">
                  <a16:creationId xmlns:a16="http://schemas.microsoft.com/office/drawing/2014/main" id="{642C0CC4-91AF-847D-1BD8-C4440CD24746}"/>
                </a:ext>
              </a:extLst>
            </p:cNvPr>
            <p:cNvSpPr/>
            <p:nvPr/>
          </p:nvSpPr>
          <p:spPr>
            <a:xfrm>
              <a:off x="2084432" y="988866"/>
              <a:ext cx="124276" cy="243700"/>
            </a:xfrm>
            <a:custGeom>
              <a:avLst/>
              <a:gdLst/>
              <a:ahLst/>
              <a:cxnLst/>
              <a:rect l="l" t="t" r="r" b="b"/>
              <a:pathLst>
                <a:path w="12678" h="24861" fill="none" extrusionOk="0">
                  <a:moveTo>
                    <a:pt x="5085" y="71"/>
                  </a:moveTo>
                  <a:lnTo>
                    <a:pt x="5085" y="71"/>
                  </a:lnTo>
                  <a:lnTo>
                    <a:pt x="5297" y="0"/>
                  </a:lnTo>
                  <a:lnTo>
                    <a:pt x="5509" y="0"/>
                  </a:lnTo>
                  <a:lnTo>
                    <a:pt x="5721" y="36"/>
                  </a:lnTo>
                  <a:lnTo>
                    <a:pt x="5933" y="71"/>
                  </a:lnTo>
                  <a:lnTo>
                    <a:pt x="6109" y="177"/>
                  </a:lnTo>
                  <a:lnTo>
                    <a:pt x="6286" y="247"/>
                  </a:lnTo>
                  <a:lnTo>
                    <a:pt x="6604" y="495"/>
                  </a:lnTo>
                  <a:lnTo>
                    <a:pt x="6922" y="742"/>
                  </a:lnTo>
                  <a:lnTo>
                    <a:pt x="7239" y="954"/>
                  </a:lnTo>
                  <a:lnTo>
                    <a:pt x="7416" y="1060"/>
                  </a:lnTo>
                  <a:lnTo>
                    <a:pt x="7593" y="1130"/>
                  </a:lnTo>
                  <a:lnTo>
                    <a:pt x="7769" y="1166"/>
                  </a:lnTo>
                  <a:lnTo>
                    <a:pt x="7946" y="1201"/>
                  </a:lnTo>
                  <a:lnTo>
                    <a:pt x="7946" y="1201"/>
                  </a:lnTo>
                  <a:lnTo>
                    <a:pt x="8158" y="1166"/>
                  </a:lnTo>
                  <a:lnTo>
                    <a:pt x="8334" y="1095"/>
                  </a:lnTo>
                  <a:lnTo>
                    <a:pt x="8440" y="989"/>
                  </a:lnTo>
                  <a:lnTo>
                    <a:pt x="8511" y="883"/>
                  </a:lnTo>
                  <a:lnTo>
                    <a:pt x="8652" y="601"/>
                  </a:lnTo>
                  <a:lnTo>
                    <a:pt x="8723" y="459"/>
                  </a:lnTo>
                  <a:lnTo>
                    <a:pt x="8793" y="353"/>
                  </a:lnTo>
                  <a:lnTo>
                    <a:pt x="8793" y="353"/>
                  </a:lnTo>
                  <a:lnTo>
                    <a:pt x="8864" y="283"/>
                  </a:lnTo>
                  <a:lnTo>
                    <a:pt x="8970" y="247"/>
                  </a:lnTo>
                  <a:lnTo>
                    <a:pt x="9182" y="247"/>
                  </a:lnTo>
                  <a:lnTo>
                    <a:pt x="9817" y="283"/>
                  </a:lnTo>
                  <a:lnTo>
                    <a:pt x="9817" y="283"/>
                  </a:lnTo>
                  <a:lnTo>
                    <a:pt x="9888" y="318"/>
                  </a:lnTo>
                  <a:lnTo>
                    <a:pt x="9923" y="353"/>
                  </a:lnTo>
                  <a:lnTo>
                    <a:pt x="10064" y="565"/>
                  </a:lnTo>
                  <a:lnTo>
                    <a:pt x="10170" y="848"/>
                  </a:lnTo>
                  <a:lnTo>
                    <a:pt x="10312" y="1272"/>
                  </a:lnTo>
                  <a:lnTo>
                    <a:pt x="10559" y="2366"/>
                  </a:lnTo>
                  <a:lnTo>
                    <a:pt x="10806" y="3779"/>
                  </a:lnTo>
                  <a:lnTo>
                    <a:pt x="11053" y="5474"/>
                  </a:lnTo>
                  <a:lnTo>
                    <a:pt x="11300" y="7345"/>
                  </a:lnTo>
                  <a:lnTo>
                    <a:pt x="11724" y="11406"/>
                  </a:lnTo>
                  <a:lnTo>
                    <a:pt x="12113" y="15503"/>
                  </a:lnTo>
                  <a:lnTo>
                    <a:pt x="12395" y="19034"/>
                  </a:lnTo>
                  <a:lnTo>
                    <a:pt x="12678" y="22495"/>
                  </a:lnTo>
                  <a:lnTo>
                    <a:pt x="12678" y="22495"/>
                  </a:lnTo>
                  <a:lnTo>
                    <a:pt x="12183" y="22848"/>
                  </a:lnTo>
                  <a:lnTo>
                    <a:pt x="11654" y="23201"/>
                  </a:lnTo>
                  <a:lnTo>
                    <a:pt x="10947" y="23590"/>
                  </a:lnTo>
                  <a:lnTo>
                    <a:pt x="10135" y="24013"/>
                  </a:lnTo>
                  <a:lnTo>
                    <a:pt x="9676" y="24190"/>
                  </a:lnTo>
                  <a:lnTo>
                    <a:pt x="9217" y="24367"/>
                  </a:lnTo>
                  <a:lnTo>
                    <a:pt x="8723" y="24508"/>
                  </a:lnTo>
                  <a:lnTo>
                    <a:pt x="8263" y="24614"/>
                  </a:lnTo>
                  <a:lnTo>
                    <a:pt x="7769" y="24720"/>
                  </a:lnTo>
                  <a:lnTo>
                    <a:pt x="7275" y="24755"/>
                  </a:lnTo>
                  <a:lnTo>
                    <a:pt x="7275" y="24755"/>
                  </a:lnTo>
                  <a:lnTo>
                    <a:pt x="5015" y="24826"/>
                  </a:lnTo>
                  <a:lnTo>
                    <a:pt x="3814" y="24861"/>
                  </a:lnTo>
                  <a:lnTo>
                    <a:pt x="2649" y="24861"/>
                  </a:lnTo>
                  <a:lnTo>
                    <a:pt x="1589" y="24826"/>
                  </a:lnTo>
                  <a:lnTo>
                    <a:pt x="1130" y="24755"/>
                  </a:lnTo>
                  <a:lnTo>
                    <a:pt x="742" y="24720"/>
                  </a:lnTo>
                  <a:lnTo>
                    <a:pt x="424" y="24649"/>
                  </a:lnTo>
                  <a:lnTo>
                    <a:pt x="212" y="24543"/>
                  </a:lnTo>
                  <a:lnTo>
                    <a:pt x="71" y="24402"/>
                  </a:lnTo>
                  <a:lnTo>
                    <a:pt x="35" y="24331"/>
                  </a:lnTo>
                  <a:lnTo>
                    <a:pt x="0" y="24261"/>
                  </a:lnTo>
                  <a:lnTo>
                    <a:pt x="0" y="24261"/>
                  </a:lnTo>
                  <a:lnTo>
                    <a:pt x="459" y="20305"/>
                  </a:lnTo>
                  <a:lnTo>
                    <a:pt x="1377" y="12537"/>
                  </a:lnTo>
                  <a:lnTo>
                    <a:pt x="2719" y="1448"/>
                  </a:lnTo>
                  <a:lnTo>
                    <a:pt x="2719" y="1448"/>
                  </a:lnTo>
                  <a:lnTo>
                    <a:pt x="2896" y="1272"/>
                  </a:lnTo>
                  <a:lnTo>
                    <a:pt x="3426" y="883"/>
                  </a:lnTo>
                  <a:lnTo>
                    <a:pt x="3779" y="671"/>
                  </a:lnTo>
                  <a:lnTo>
                    <a:pt x="4202" y="424"/>
                  </a:lnTo>
                  <a:lnTo>
                    <a:pt x="4626" y="247"/>
                  </a:lnTo>
                  <a:lnTo>
                    <a:pt x="5085" y="7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22" name="Google Shape;828;g2e0683f995c_0_0">
              <a:extLst>
                <a:ext uri="{FF2B5EF4-FFF2-40B4-BE49-F238E27FC236}">
                  <a16:creationId xmlns:a16="http://schemas.microsoft.com/office/drawing/2014/main" id="{296692FF-B807-2E45-C5CC-56F14E97C9B8}"/>
                </a:ext>
              </a:extLst>
            </p:cNvPr>
            <p:cNvSpPr/>
            <p:nvPr/>
          </p:nvSpPr>
          <p:spPr>
            <a:xfrm>
              <a:off x="2162313" y="1348519"/>
              <a:ext cx="10" cy="10"/>
            </a:xfrm>
            <a:custGeom>
              <a:avLst/>
              <a:gdLst/>
              <a:ahLst/>
              <a:cxnLst/>
              <a:rect l="l" t="t" r="r" b="b"/>
              <a:pathLst>
                <a:path w="1" h="1" extrusionOk="0">
                  <a:moveTo>
                    <a:pt x="1" y="1"/>
                  </a:moveTo>
                  <a:lnTo>
                    <a:pt x="1" y="1"/>
                  </a:lnTo>
                  <a:lnTo>
                    <a:pt x="1" y="1"/>
                  </a:lnTo>
                  <a:lnTo>
                    <a:pt x="1" y="1"/>
                  </a:lnTo>
                  <a:lnTo>
                    <a:pt x="1" y="1"/>
                  </a:lnTo>
                  <a:lnTo>
                    <a:pt x="1" y="1"/>
                  </a:lnTo>
                  <a:lnTo>
                    <a:pt x="1" y="1"/>
                  </a:lnTo>
                  <a:close/>
                </a:path>
              </a:pathLst>
            </a:custGeom>
            <a:solidFill>
              <a:srgbClr val="6E6E6E"/>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23" name="Google Shape;829;g2e0683f995c_0_0">
              <a:extLst>
                <a:ext uri="{FF2B5EF4-FFF2-40B4-BE49-F238E27FC236}">
                  <a16:creationId xmlns:a16="http://schemas.microsoft.com/office/drawing/2014/main" id="{CAC0E79E-E44E-7EAC-AC5C-C81925F18142}"/>
                </a:ext>
              </a:extLst>
            </p:cNvPr>
            <p:cNvSpPr/>
            <p:nvPr/>
          </p:nvSpPr>
          <p:spPr>
            <a:xfrm>
              <a:off x="2162313" y="1348519"/>
              <a:ext cx="10" cy="10"/>
            </a:xfrm>
            <a:custGeom>
              <a:avLst/>
              <a:gdLst/>
              <a:ahLst/>
              <a:cxnLst/>
              <a:rect l="l" t="t" r="r" b="b"/>
              <a:pathLst>
                <a:path w="1" h="1" fill="none" extrusionOk="0">
                  <a:moveTo>
                    <a:pt x="1" y="1"/>
                  </a:moveTo>
                  <a:lnTo>
                    <a:pt x="1" y="1"/>
                  </a:lnTo>
                  <a:lnTo>
                    <a:pt x="1" y="1"/>
                  </a:lnTo>
                  <a:lnTo>
                    <a:pt x="1" y="1"/>
                  </a:lnTo>
                  <a:lnTo>
                    <a:pt x="1" y="1"/>
                  </a:lnTo>
                  <a:lnTo>
                    <a:pt x="1" y="1"/>
                  </a:lnTo>
                  <a:lnTo>
                    <a:pt x="1"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24" name="Google Shape;830;g2e0683f995c_0_0">
              <a:extLst>
                <a:ext uri="{FF2B5EF4-FFF2-40B4-BE49-F238E27FC236}">
                  <a16:creationId xmlns:a16="http://schemas.microsoft.com/office/drawing/2014/main" id="{F4A1B997-4CCB-880B-3468-0EAAAD7C9B52}"/>
                </a:ext>
              </a:extLst>
            </p:cNvPr>
            <p:cNvSpPr/>
            <p:nvPr/>
          </p:nvSpPr>
          <p:spPr>
            <a:xfrm>
              <a:off x="2162313" y="1314250"/>
              <a:ext cx="18703" cy="73058"/>
            </a:xfrm>
            <a:custGeom>
              <a:avLst/>
              <a:gdLst/>
              <a:ahLst/>
              <a:cxnLst/>
              <a:rect l="l" t="t" r="r" b="b"/>
              <a:pathLst>
                <a:path w="1908" h="7453" extrusionOk="0">
                  <a:moveTo>
                    <a:pt x="530" y="1"/>
                  </a:moveTo>
                  <a:lnTo>
                    <a:pt x="389" y="1131"/>
                  </a:lnTo>
                  <a:lnTo>
                    <a:pt x="213" y="2261"/>
                  </a:lnTo>
                  <a:lnTo>
                    <a:pt x="1" y="3497"/>
                  </a:lnTo>
                  <a:lnTo>
                    <a:pt x="1908" y="7452"/>
                  </a:lnTo>
                  <a:lnTo>
                    <a:pt x="1766" y="6322"/>
                  </a:lnTo>
                  <a:lnTo>
                    <a:pt x="1590" y="5121"/>
                  </a:lnTo>
                  <a:lnTo>
                    <a:pt x="1378" y="3885"/>
                  </a:lnTo>
                  <a:lnTo>
                    <a:pt x="1131" y="2685"/>
                  </a:lnTo>
                  <a:lnTo>
                    <a:pt x="707" y="778"/>
                  </a:lnTo>
                  <a:lnTo>
                    <a:pt x="530" y="1"/>
                  </a:lnTo>
                  <a:close/>
                </a:path>
              </a:pathLst>
            </a:custGeom>
            <a:solidFill>
              <a:srgbClr val="1A1A19"/>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25" name="Google Shape;831;g2e0683f995c_0_0">
              <a:extLst>
                <a:ext uri="{FF2B5EF4-FFF2-40B4-BE49-F238E27FC236}">
                  <a16:creationId xmlns:a16="http://schemas.microsoft.com/office/drawing/2014/main" id="{0DFDF44B-53F0-6A9F-4F26-6C506DFE63C0}"/>
                </a:ext>
              </a:extLst>
            </p:cNvPr>
            <p:cNvSpPr/>
            <p:nvPr/>
          </p:nvSpPr>
          <p:spPr>
            <a:xfrm>
              <a:off x="2162313" y="1314250"/>
              <a:ext cx="18703" cy="73058"/>
            </a:xfrm>
            <a:custGeom>
              <a:avLst/>
              <a:gdLst/>
              <a:ahLst/>
              <a:cxnLst/>
              <a:rect l="l" t="t" r="r" b="b"/>
              <a:pathLst>
                <a:path w="1908" h="7453" fill="none" extrusionOk="0">
                  <a:moveTo>
                    <a:pt x="530" y="1"/>
                  </a:moveTo>
                  <a:lnTo>
                    <a:pt x="530" y="1"/>
                  </a:lnTo>
                  <a:lnTo>
                    <a:pt x="389" y="1131"/>
                  </a:lnTo>
                  <a:lnTo>
                    <a:pt x="213" y="2261"/>
                  </a:lnTo>
                  <a:lnTo>
                    <a:pt x="1" y="3497"/>
                  </a:lnTo>
                  <a:lnTo>
                    <a:pt x="1" y="3497"/>
                  </a:lnTo>
                  <a:lnTo>
                    <a:pt x="1" y="3497"/>
                  </a:lnTo>
                  <a:lnTo>
                    <a:pt x="1" y="3497"/>
                  </a:lnTo>
                  <a:lnTo>
                    <a:pt x="1" y="3497"/>
                  </a:lnTo>
                  <a:lnTo>
                    <a:pt x="1" y="3497"/>
                  </a:lnTo>
                  <a:lnTo>
                    <a:pt x="1" y="3497"/>
                  </a:lnTo>
                  <a:lnTo>
                    <a:pt x="1" y="3497"/>
                  </a:lnTo>
                  <a:lnTo>
                    <a:pt x="1908" y="7452"/>
                  </a:lnTo>
                  <a:lnTo>
                    <a:pt x="1908" y="7452"/>
                  </a:lnTo>
                  <a:lnTo>
                    <a:pt x="1766" y="6322"/>
                  </a:lnTo>
                  <a:lnTo>
                    <a:pt x="1590" y="5121"/>
                  </a:lnTo>
                  <a:lnTo>
                    <a:pt x="1378" y="3885"/>
                  </a:lnTo>
                  <a:lnTo>
                    <a:pt x="1131" y="2685"/>
                  </a:lnTo>
                  <a:lnTo>
                    <a:pt x="707" y="778"/>
                  </a:lnTo>
                  <a:lnTo>
                    <a:pt x="530"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26" name="Google Shape;832;g2e0683f995c_0_0">
              <a:extLst>
                <a:ext uri="{FF2B5EF4-FFF2-40B4-BE49-F238E27FC236}">
                  <a16:creationId xmlns:a16="http://schemas.microsoft.com/office/drawing/2014/main" id="{2A4E500C-3648-7E14-F059-0EA4026B7895}"/>
                </a:ext>
              </a:extLst>
            </p:cNvPr>
            <p:cNvSpPr/>
            <p:nvPr/>
          </p:nvSpPr>
          <p:spPr>
            <a:xfrm>
              <a:off x="2162656" y="959096"/>
              <a:ext cx="157859" cy="303240"/>
            </a:xfrm>
            <a:custGeom>
              <a:avLst/>
              <a:gdLst/>
              <a:ahLst/>
              <a:cxnLst/>
              <a:rect l="l" t="t" r="r" b="b"/>
              <a:pathLst>
                <a:path w="16104" h="30935" extrusionOk="0">
                  <a:moveTo>
                    <a:pt x="12255" y="0"/>
                  </a:moveTo>
                  <a:lnTo>
                    <a:pt x="11619" y="36"/>
                  </a:lnTo>
                  <a:lnTo>
                    <a:pt x="10983" y="142"/>
                  </a:lnTo>
                  <a:lnTo>
                    <a:pt x="10701" y="212"/>
                  </a:lnTo>
                  <a:lnTo>
                    <a:pt x="10418" y="318"/>
                  </a:lnTo>
                  <a:lnTo>
                    <a:pt x="10171" y="459"/>
                  </a:lnTo>
                  <a:lnTo>
                    <a:pt x="9959" y="601"/>
                  </a:lnTo>
                  <a:lnTo>
                    <a:pt x="10065" y="1448"/>
                  </a:lnTo>
                  <a:lnTo>
                    <a:pt x="10206" y="2296"/>
                  </a:lnTo>
                  <a:lnTo>
                    <a:pt x="10418" y="3108"/>
                  </a:lnTo>
                  <a:lnTo>
                    <a:pt x="10630" y="3885"/>
                  </a:lnTo>
                  <a:lnTo>
                    <a:pt x="10877" y="4626"/>
                  </a:lnTo>
                  <a:lnTo>
                    <a:pt x="11160" y="5333"/>
                  </a:lnTo>
                  <a:lnTo>
                    <a:pt x="11654" y="6604"/>
                  </a:lnTo>
                  <a:lnTo>
                    <a:pt x="12078" y="7699"/>
                  </a:lnTo>
                  <a:lnTo>
                    <a:pt x="12255" y="8193"/>
                  </a:lnTo>
                  <a:lnTo>
                    <a:pt x="12361" y="8652"/>
                  </a:lnTo>
                  <a:lnTo>
                    <a:pt x="12431" y="9041"/>
                  </a:lnTo>
                  <a:lnTo>
                    <a:pt x="12396" y="9394"/>
                  </a:lnTo>
                  <a:lnTo>
                    <a:pt x="12361" y="9535"/>
                  </a:lnTo>
                  <a:lnTo>
                    <a:pt x="12325" y="9676"/>
                  </a:lnTo>
                  <a:lnTo>
                    <a:pt x="12255" y="9817"/>
                  </a:lnTo>
                  <a:lnTo>
                    <a:pt x="12149" y="9959"/>
                  </a:lnTo>
                  <a:lnTo>
                    <a:pt x="11725" y="9676"/>
                  </a:lnTo>
                  <a:lnTo>
                    <a:pt x="11266" y="9323"/>
                  </a:lnTo>
                  <a:lnTo>
                    <a:pt x="10842" y="8899"/>
                  </a:lnTo>
                  <a:lnTo>
                    <a:pt x="10348" y="8405"/>
                  </a:lnTo>
                  <a:lnTo>
                    <a:pt x="9324" y="7310"/>
                  </a:lnTo>
                  <a:lnTo>
                    <a:pt x="8759" y="6710"/>
                  </a:lnTo>
                  <a:lnTo>
                    <a:pt x="8158" y="6145"/>
                  </a:lnTo>
                  <a:lnTo>
                    <a:pt x="7523" y="5580"/>
                  </a:lnTo>
                  <a:lnTo>
                    <a:pt x="6852" y="5015"/>
                  </a:lnTo>
                  <a:lnTo>
                    <a:pt x="6145" y="4556"/>
                  </a:lnTo>
                  <a:lnTo>
                    <a:pt x="5792" y="4309"/>
                  </a:lnTo>
                  <a:lnTo>
                    <a:pt x="5404" y="4132"/>
                  </a:lnTo>
                  <a:lnTo>
                    <a:pt x="4980" y="3920"/>
                  </a:lnTo>
                  <a:lnTo>
                    <a:pt x="4592" y="3779"/>
                  </a:lnTo>
                  <a:lnTo>
                    <a:pt x="4133" y="3638"/>
                  </a:lnTo>
                  <a:lnTo>
                    <a:pt x="3709" y="3532"/>
                  </a:lnTo>
                  <a:lnTo>
                    <a:pt x="3250" y="3426"/>
                  </a:lnTo>
                  <a:lnTo>
                    <a:pt x="2791" y="3390"/>
                  </a:lnTo>
                  <a:lnTo>
                    <a:pt x="2296" y="3355"/>
                  </a:lnTo>
                  <a:lnTo>
                    <a:pt x="1802" y="3355"/>
                  </a:lnTo>
                  <a:lnTo>
                    <a:pt x="2508" y="7981"/>
                  </a:lnTo>
                  <a:lnTo>
                    <a:pt x="2649" y="9535"/>
                  </a:lnTo>
                  <a:lnTo>
                    <a:pt x="2720" y="10771"/>
                  </a:lnTo>
                  <a:lnTo>
                    <a:pt x="2685" y="11795"/>
                  </a:lnTo>
                  <a:lnTo>
                    <a:pt x="2649" y="12713"/>
                  </a:lnTo>
                  <a:lnTo>
                    <a:pt x="2473" y="14585"/>
                  </a:lnTo>
                  <a:lnTo>
                    <a:pt x="2438" y="15715"/>
                  </a:lnTo>
                  <a:lnTo>
                    <a:pt x="2438" y="17092"/>
                  </a:lnTo>
                  <a:lnTo>
                    <a:pt x="2402" y="17940"/>
                  </a:lnTo>
                  <a:lnTo>
                    <a:pt x="2332" y="18858"/>
                  </a:lnTo>
                  <a:lnTo>
                    <a:pt x="2190" y="19811"/>
                  </a:lnTo>
                  <a:lnTo>
                    <a:pt x="2014" y="20835"/>
                  </a:lnTo>
                  <a:lnTo>
                    <a:pt x="1802" y="21895"/>
                  </a:lnTo>
                  <a:lnTo>
                    <a:pt x="1590" y="22954"/>
                  </a:lnTo>
                  <a:lnTo>
                    <a:pt x="1096" y="25038"/>
                  </a:lnTo>
                  <a:lnTo>
                    <a:pt x="601" y="26944"/>
                  </a:lnTo>
                  <a:lnTo>
                    <a:pt x="213" y="28604"/>
                  </a:lnTo>
                  <a:lnTo>
                    <a:pt x="72" y="29275"/>
                  </a:lnTo>
                  <a:lnTo>
                    <a:pt x="1" y="29805"/>
                  </a:lnTo>
                  <a:lnTo>
                    <a:pt x="1" y="30193"/>
                  </a:lnTo>
                  <a:lnTo>
                    <a:pt x="1" y="30335"/>
                  </a:lnTo>
                  <a:lnTo>
                    <a:pt x="36" y="30440"/>
                  </a:lnTo>
                  <a:lnTo>
                    <a:pt x="107" y="30511"/>
                  </a:lnTo>
                  <a:lnTo>
                    <a:pt x="178" y="30582"/>
                  </a:lnTo>
                  <a:lnTo>
                    <a:pt x="425" y="30723"/>
                  </a:lnTo>
                  <a:lnTo>
                    <a:pt x="743" y="30794"/>
                  </a:lnTo>
                  <a:lnTo>
                    <a:pt x="1166" y="30864"/>
                  </a:lnTo>
                  <a:lnTo>
                    <a:pt x="1625" y="30900"/>
                  </a:lnTo>
                  <a:lnTo>
                    <a:pt x="2120" y="30935"/>
                  </a:lnTo>
                  <a:lnTo>
                    <a:pt x="3179" y="30900"/>
                  </a:lnTo>
                  <a:lnTo>
                    <a:pt x="4309" y="30829"/>
                  </a:lnTo>
                  <a:lnTo>
                    <a:pt x="5404" y="30723"/>
                  </a:lnTo>
                  <a:lnTo>
                    <a:pt x="6287" y="30617"/>
                  </a:lnTo>
                  <a:lnTo>
                    <a:pt x="6958" y="30511"/>
                  </a:lnTo>
                  <a:lnTo>
                    <a:pt x="7064" y="30476"/>
                  </a:lnTo>
                  <a:lnTo>
                    <a:pt x="7170" y="30370"/>
                  </a:lnTo>
                  <a:lnTo>
                    <a:pt x="7240" y="30229"/>
                  </a:lnTo>
                  <a:lnTo>
                    <a:pt x="7275" y="30052"/>
                  </a:lnTo>
                  <a:lnTo>
                    <a:pt x="7346" y="29628"/>
                  </a:lnTo>
                  <a:lnTo>
                    <a:pt x="7346" y="29063"/>
                  </a:lnTo>
                  <a:lnTo>
                    <a:pt x="7275" y="28392"/>
                  </a:lnTo>
                  <a:lnTo>
                    <a:pt x="7170" y="27615"/>
                  </a:lnTo>
                  <a:lnTo>
                    <a:pt x="7028" y="26803"/>
                  </a:lnTo>
                  <a:lnTo>
                    <a:pt x="6887" y="25956"/>
                  </a:lnTo>
                  <a:lnTo>
                    <a:pt x="6499" y="24261"/>
                  </a:lnTo>
                  <a:lnTo>
                    <a:pt x="6110" y="22636"/>
                  </a:lnTo>
                  <a:lnTo>
                    <a:pt x="5757" y="21294"/>
                  </a:lnTo>
                  <a:lnTo>
                    <a:pt x="5580" y="20411"/>
                  </a:lnTo>
                  <a:lnTo>
                    <a:pt x="5510" y="20023"/>
                  </a:lnTo>
                  <a:lnTo>
                    <a:pt x="5475" y="19493"/>
                  </a:lnTo>
                  <a:lnTo>
                    <a:pt x="5404" y="18010"/>
                  </a:lnTo>
                  <a:lnTo>
                    <a:pt x="5333" y="16244"/>
                  </a:lnTo>
                  <a:lnTo>
                    <a:pt x="5333" y="14338"/>
                  </a:lnTo>
                  <a:lnTo>
                    <a:pt x="5333" y="12537"/>
                  </a:lnTo>
                  <a:lnTo>
                    <a:pt x="5369" y="11018"/>
                  </a:lnTo>
                  <a:lnTo>
                    <a:pt x="5439" y="9994"/>
                  </a:lnTo>
                  <a:lnTo>
                    <a:pt x="5475" y="9711"/>
                  </a:lnTo>
                  <a:lnTo>
                    <a:pt x="5510" y="9641"/>
                  </a:lnTo>
                  <a:lnTo>
                    <a:pt x="5545" y="9641"/>
                  </a:lnTo>
                  <a:lnTo>
                    <a:pt x="5969" y="9959"/>
                  </a:lnTo>
                  <a:lnTo>
                    <a:pt x="6428" y="10277"/>
                  </a:lnTo>
                  <a:lnTo>
                    <a:pt x="7311" y="11053"/>
                  </a:lnTo>
                  <a:lnTo>
                    <a:pt x="9112" y="12713"/>
                  </a:lnTo>
                  <a:lnTo>
                    <a:pt x="9995" y="13455"/>
                  </a:lnTo>
                  <a:lnTo>
                    <a:pt x="10454" y="13808"/>
                  </a:lnTo>
                  <a:lnTo>
                    <a:pt x="10877" y="14090"/>
                  </a:lnTo>
                  <a:lnTo>
                    <a:pt x="11301" y="14338"/>
                  </a:lnTo>
                  <a:lnTo>
                    <a:pt x="11725" y="14549"/>
                  </a:lnTo>
                  <a:lnTo>
                    <a:pt x="12149" y="14655"/>
                  </a:lnTo>
                  <a:lnTo>
                    <a:pt x="12537" y="14726"/>
                  </a:lnTo>
                  <a:lnTo>
                    <a:pt x="13173" y="14726"/>
                  </a:lnTo>
                  <a:lnTo>
                    <a:pt x="13738" y="14655"/>
                  </a:lnTo>
                  <a:lnTo>
                    <a:pt x="14232" y="14514"/>
                  </a:lnTo>
                  <a:lnTo>
                    <a:pt x="14656" y="14302"/>
                  </a:lnTo>
                  <a:lnTo>
                    <a:pt x="15009" y="14055"/>
                  </a:lnTo>
                  <a:lnTo>
                    <a:pt x="15327" y="13773"/>
                  </a:lnTo>
                  <a:lnTo>
                    <a:pt x="15574" y="13419"/>
                  </a:lnTo>
                  <a:lnTo>
                    <a:pt x="15751" y="13031"/>
                  </a:lnTo>
                  <a:lnTo>
                    <a:pt x="15892" y="12607"/>
                  </a:lnTo>
                  <a:lnTo>
                    <a:pt x="15998" y="12148"/>
                  </a:lnTo>
                  <a:lnTo>
                    <a:pt x="16069" y="11618"/>
                  </a:lnTo>
                  <a:lnTo>
                    <a:pt x="16104" y="11124"/>
                  </a:lnTo>
                  <a:lnTo>
                    <a:pt x="16104" y="10559"/>
                  </a:lnTo>
                  <a:lnTo>
                    <a:pt x="16069" y="9994"/>
                  </a:lnTo>
                  <a:lnTo>
                    <a:pt x="15998" y="9394"/>
                  </a:lnTo>
                  <a:lnTo>
                    <a:pt x="15892" y="8793"/>
                  </a:lnTo>
                  <a:lnTo>
                    <a:pt x="15645" y="7557"/>
                  </a:lnTo>
                  <a:lnTo>
                    <a:pt x="15362" y="6321"/>
                  </a:lnTo>
                  <a:lnTo>
                    <a:pt x="15044" y="5121"/>
                  </a:lnTo>
                  <a:lnTo>
                    <a:pt x="14691" y="3955"/>
                  </a:lnTo>
                  <a:lnTo>
                    <a:pt x="14409" y="2861"/>
                  </a:lnTo>
                  <a:lnTo>
                    <a:pt x="14162" y="1907"/>
                  </a:lnTo>
                  <a:lnTo>
                    <a:pt x="13985" y="1095"/>
                  </a:lnTo>
                  <a:lnTo>
                    <a:pt x="13950" y="742"/>
                  </a:lnTo>
                  <a:lnTo>
                    <a:pt x="13914" y="459"/>
                  </a:lnTo>
                  <a:lnTo>
                    <a:pt x="13844" y="353"/>
                  </a:lnTo>
                  <a:lnTo>
                    <a:pt x="13738" y="283"/>
                  </a:lnTo>
                  <a:lnTo>
                    <a:pt x="13561" y="212"/>
                  </a:lnTo>
                  <a:lnTo>
                    <a:pt x="13349" y="142"/>
                  </a:lnTo>
                  <a:lnTo>
                    <a:pt x="12820" y="36"/>
                  </a:lnTo>
                  <a:lnTo>
                    <a:pt x="12255" y="0"/>
                  </a:lnTo>
                  <a:close/>
                </a:path>
              </a:pathLst>
            </a:custGeom>
            <a:solidFill>
              <a:srgbClr val="E73C32"/>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27" name="Google Shape;833;g2e0683f995c_0_0">
              <a:extLst>
                <a:ext uri="{FF2B5EF4-FFF2-40B4-BE49-F238E27FC236}">
                  <a16:creationId xmlns:a16="http://schemas.microsoft.com/office/drawing/2014/main" id="{7C835600-459E-1566-D8A7-29AEBD44C284}"/>
                </a:ext>
              </a:extLst>
            </p:cNvPr>
            <p:cNvSpPr/>
            <p:nvPr/>
          </p:nvSpPr>
          <p:spPr>
            <a:xfrm>
              <a:off x="2162656" y="959096"/>
              <a:ext cx="157859" cy="303240"/>
            </a:xfrm>
            <a:custGeom>
              <a:avLst/>
              <a:gdLst/>
              <a:ahLst/>
              <a:cxnLst/>
              <a:rect l="l" t="t" r="r" b="b"/>
              <a:pathLst>
                <a:path w="16104" h="30935" fill="none" extrusionOk="0">
                  <a:moveTo>
                    <a:pt x="1802" y="3355"/>
                  </a:moveTo>
                  <a:lnTo>
                    <a:pt x="1802" y="3355"/>
                  </a:lnTo>
                  <a:lnTo>
                    <a:pt x="2296" y="3355"/>
                  </a:lnTo>
                  <a:lnTo>
                    <a:pt x="2791" y="3390"/>
                  </a:lnTo>
                  <a:lnTo>
                    <a:pt x="3250" y="3426"/>
                  </a:lnTo>
                  <a:lnTo>
                    <a:pt x="3709" y="3532"/>
                  </a:lnTo>
                  <a:lnTo>
                    <a:pt x="4133" y="3638"/>
                  </a:lnTo>
                  <a:lnTo>
                    <a:pt x="4592" y="3779"/>
                  </a:lnTo>
                  <a:lnTo>
                    <a:pt x="4980" y="3920"/>
                  </a:lnTo>
                  <a:lnTo>
                    <a:pt x="5404" y="4132"/>
                  </a:lnTo>
                  <a:lnTo>
                    <a:pt x="5792" y="4309"/>
                  </a:lnTo>
                  <a:lnTo>
                    <a:pt x="6145" y="4556"/>
                  </a:lnTo>
                  <a:lnTo>
                    <a:pt x="6852" y="5015"/>
                  </a:lnTo>
                  <a:lnTo>
                    <a:pt x="7523" y="5580"/>
                  </a:lnTo>
                  <a:lnTo>
                    <a:pt x="8158" y="6145"/>
                  </a:lnTo>
                  <a:lnTo>
                    <a:pt x="8759" y="6710"/>
                  </a:lnTo>
                  <a:lnTo>
                    <a:pt x="9324" y="7310"/>
                  </a:lnTo>
                  <a:lnTo>
                    <a:pt x="10348" y="8405"/>
                  </a:lnTo>
                  <a:lnTo>
                    <a:pt x="10842" y="8899"/>
                  </a:lnTo>
                  <a:lnTo>
                    <a:pt x="11266" y="9323"/>
                  </a:lnTo>
                  <a:lnTo>
                    <a:pt x="11725" y="9676"/>
                  </a:lnTo>
                  <a:lnTo>
                    <a:pt x="12149" y="9959"/>
                  </a:lnTo>
                  <a:lnTo>
                    <a:pt x="12149" y="9959"/>
                  </a:lnTo>
                  <a:lnTo>
                    <a:pt x="12255" y="9817"/>
                  </a:lnTo>
                  <a:lnTo>
                    <a:pt x="12325" y="9676"/>
                  </a:lnTo>
                  <a:lnTo>
                    <a:pt x="12361" y="9535"/>
                  </a:lnTo>
                  <a:lnTo>
                    <a:pt x="12396" y="9394"/>
                  </a:lnTo>
                  <a:lnTo>
                    <a:pt x="12431" y="9041"/>
                  </a:lnTo>
                  <a:lnTo>
                    <a:pt x="12361" y="8652"/>
                  </a:lnTo>
                  <a:lnTo>
                    <a:pt x="12255" y="8193"/>
                  </a:lnTo>
                  <a:lnTo>
                    <a:pt x="12078" y="7699"/>
                  </a:lnTo>
                  <a:lnTo>
                    <a:pt x="11654" y="6604"/>
                  </a:lnTo>
                  <a:lnTo>
                    <a:pt x="11160" y="5333"/>
                  </a:lnTo>
                  <a:lnTo>
                    <a:pt x="10877" y="4626"/>
                  </a:lnTo>
                  <a:lnTo>
                    <a:pt x="10630" y="3885"/>
                  </a:lnTo>
                  <a:lnTo>
                    <a:pt x="10418" y="3108"/>
                  </a:lnTo>
                  <a:lnTo>
                    <a:pt x="10206" y="2296"/>
                  </a:lnTo>
                  <a:lnTo>
                    <a:pt x="10065" y="1448"/>
                  </a:lnTo>
                  <a:lnTo>
                    <a:pt x="9959" y="601"/>
                  </a:lnTo>
                  <a:lnTo>
                    <a:pt x="9959" y="601"/>
                  </a:lnTo>
                  <a:lnTo>
                    <a:pt x="10171" y="459"/>
                  </a:lnTo>
                  <a:lnTo>
                    <a:pt x="10418" y="318"/>
                  </a:lnTo>
                  <a:lnTo>
                    <a:pt x="10701" y="212"/>
                  </a:lnTo>
                  <a:lnTo>
                    <a:pt x="10983" y="142"/>
                  </a:lnTo>
                  <a:lnTo>
                    <a:pt x="11619" y="36"/>
                  </a:lnTo>
                  <a:lnTo>
                    <a:pt x="12255" y="0"/>
                  </a:lnTo>
                  <a:lnTo>
                    <a:pt x="12820" y="36"/>
                  </a:lnTo>
                  <a:lnTo>
                    <a:pt x="13349" y="142"/>
                  </a:lnTo>
                  <a:lnTo>
                    <a:pt x="13561" y="212"/>
                  </a:lnTo>
                  <a:lnTo>
                    <a:pt x="13738" y="283"/>
                  </a:lnTo>
                  <a:lnTo>
                    <a:pt x="13844" y="353"/>
                  </a:lnTo>
                  <a:lnTo>
                    <a:pt x="13914" y="459"/>
                  </a:lnTo>
                  <a:lnTo>
                    <a:pt x="13914" y="459"/>
                  </a:lnTo>
                  <a:lnTo>
                    <a:pt x="13950" y="742"/>
                  </a:lnTo>
                  <a:lnTo>
                    <a:pt x="13985" y="1095"/>
                  </a:lnTo>
                  <a:lnTo>
                    <a:pt x="14162" y="1907"/>
                  </a:lnTo>
                  <a:lnTo>
                    <a:pt x="14409" y="2861"/>
                  </a:lnTo>
                  <a:lnTo>
                    <a:pt x="14691" y="3955"/>
                  </a:lnTo>
                  <a:lnTo>
                    <a:pt x="15044" y="5121"/>
                  </a:lnTo>
                  <a:lnTo>
                    <a:pt x="15362" y="6321"/>
                  </a:lnTo>
                  <a:lnTo>
                    <a:pt x="15645" y="7557"/>
                  </a:lnTo>
                  <a:lnTo>
                    <a:pt x="15892" y="8793"/>
                  </a:lnTo>
                  <a:lnTo>
                    <a:pt x="15998" y="9394"/>
                  </a:lnTo>
                  <a:lnTo>
                    <a:pt x="16069" y="9994"/>
                  </a:lnTo>
                  <a:lnTo>
                    <a:pt x="16104" y="10559"/>
                  </a:lnTo>
                  <a:lnTo>
                    <a:pt x="16104" y="11124"/>
                  </a:lnTo>
                  <a:lnTo>
                    <a:pt x="16069" y="11618"/>
                  </a:lnTo>
                  <a:lnTo>
                    <a:pt x="15998" y="12148"/>
                  </a:lnTo>
                  <a:lnTo>
                    <a:pt x="15892" y="12607"/>
                  </a:lnTo>
                  <a:lnTo>
                    <a:pt x="15751" y="13031"/>
                  </a:lnTo>
                  <a:lnTo>
                    <a:pt x="15574" y="13419"/>
                  </a:lnTo>
                  <a:lnTo>
                    <a:pt x="15327" y="13773"/>
                  </a:lnTo>
                  <a:lnTo>
                    <a:pt x="15009" y="14055"/>
                  </a:lnTo>
                  <a:lnTo>
                    <a:pt x="14656" y="14302"/>
                  </a:lnTo>
                  <a:lnTo>
                    <a:pt x="14232" y="14514"/>
                  </a:lnTo>
                  <a:lnTo>
                    <a:pt x="13738" y="14655"/>
                  </a:lnTo>
                  <a:lnTo>
                    <a:pt x="13173" y="14726"/>
                  </a:lnTo>
                  <a:lnTo>
                    <a:pt x="12537" y="14726"/>
                  </a:lnTo>
                  <a:lnTo>
                    <a:pt x="12537" y="14726"/>
                  </a:lnTo>
                  <a:lnTo>
                    <a:pt x="12149" y="14655"/>
                  </a:lnTo>
                  <a:lnTo>
                    <a:pt x="11725" y="14549"/>
                  </a:lnTo>
                  <a:lnTo>
                    <a:pt x="11301" y="14338"/>
                  </a:lnTo>
                  <a:lnTo>
                    <a:pt x="10877" y="14090"/>
                  </a:lnTo>
                  <a:lnTo>
                    <a:pt x="10454" y="13808"/>
                  </a:lnTo>
                  <a:lnTo>
                    <a:pt x="9995" y="13455"/>
                  </a:lnTo>
                  <a:lnTo>
                    <a:pt x="9112" y="12713"/>
                  </a:lnTo>
                  <a:lnTo>
                    <a:pt x="7311" y="11053"/>
                  </a:lnTo>
                  <a:lnTo>
                    <a:pt x="6428" y="10277"/>
                  </a:lnTo>
                  <a:lnTo>
                    <a:pt x="5969" y="9959"/>
                  </a:lnTo>
                  <a:lnTo>
                    <a:pt x="5545" y="9641"/>
                  </a:lnTo>
                  <a:lnTo>
                    <a:pt x="5545" y="9641"/>
                  </a:lnTo>
                  <a:lnTo>
                    <a:pt x="5510" y="9641"/>
                  </a:lnTo>
                  <a:lnTo>
                    <a:pt x="5475" y="9711"/>
                  </a:lnTo>
                  <a:lnTo>
                    <a:pt x="5439" y="9994"/>
                  </a:lnTo>
                  <a:lnTo>
                    <a:pt x="5369" y="11018"/>
                  </a:lnTo>
                  <a:lnTo>
                    <a:pt x="5333" y="12537"/>
                  </a:lnTo>
                  <a:lnTo>
                    <a:pt x="5333" y="14338"/>
                  </a:lnTo>
                  <a:lnTo>
                    <a:pt x="5333" y="16244"/>
                  </a:lnTo>
                  <a:lnTo>
                    <a:pt x="5404" y="18010"/>
                  </a:lnTo>
                  <a:lnTo>
                    <a:pt x="5475" y="19493"/>
                  </a:lnTo>
                  <a:lnTo>
                    <a:pt x="5510" y="20023"/>
                  </a:lnTo>
                  <a:lnTo>
                    <a:pt x="5580" y="20411"/>
                  </a:lnTo>
                  <a:lnTo>
                    <a:pt x="5580" y="20411"/>
                  </a:lnTo>
                  <a:lnTo>
                    <a:pt x="5757" y="21294"/>
                  </a:lnTo>
                  <a:lnTo>
                    <a:pt x="6110" y="22636"/>
                  </a:lnTo>
                  <a:lnTo>
                    <a:pt x="6499" y="24261"/>
                  </a:lnTo>
                  <a:lnTo>
                    <a:pt x="6887" y="25956"/>
                  </a:lnTo>
                  <a:lnTo>
                    <a:pt x="7028" y="26803"/>
                  </a:lnTo>
                  <a:lnTo>
                    <a:pt x="7170" y="27615"/>
                  </a:lnTo>
                  <a:lnTo>
                    <a:pt x="7275" y="28392"/>
                  </a:lnTo>
                  <a:lnTo>
                    <a:pt x="7346" y="29063"/>
                  </a:lnTo>
                  <a:lnTo>
                    <a:pt x="7346" y="29628"/>
                  </a:lnTo>
                  <a:lnTo>
                    <a:pt x="7275" y="30052"/>
                  </a:lnTo>
                  <a:lnTo>
                    <a:pt x="7240" y="30229"/>
                  </a:lnTo>
                  <a:lnTo>
                    <a:pt x="7170" y="30370"/>
                  </a:lnTo>
                  <a:lnTo>
                    <a:pt x="7064" y="30476"/>
                  </a:lnTo>
                  <a:lnTo>
                    <a:pt x="6958" y="30511"/>
                  </a:lnTo>
                  <a:lnTo>
                    <a:pt x="6958" y="30511"/>
                  </a:lnTo>
                  <a:lnTo>
                    <a:pt x="6287" y="30617"/>
                  </a:lnTo>
                  <a:lnTo>
                    <a:pt x="5404" y="30723"/>
                  </a:lnTo>
                  <a:lnTo>
                    <a:pt x="4309" y="30829"/>
                  </a:lnTo>
                  <a:lnTo>
                    <a:pt x="3179" y="30900"/>
                  </a:lnTo>
                  <a:lnTo>
                    <a:pt x="2120" y="30935"/>
                  </a:lnTo>
                  <a:lnTo>
                    <a:pt x="1625" y="30900"/>
                  </a:lnTo>
                  <a:lnTo>
                    <a:pt x="1166" y="30864"/>
                  </a:lnTo>
                  <a:lnTo>
                    <a:pt x="743" y="30794"/>
                  </a:lnTo>
                  <a:lnTo>
                    <a:pt x="425" y="30723"/>
                  </a:lnTo>
                  <a:lnTo>
                    <a:pt x="178" y="30582"/>
                  </a:lnTo>
                  <a:lnTo>
                    <a:pt x="107" y="30511"/>
                  </a:lnTo>
                  <a:lnTo>
                    <a:pt x="36" y="30440"/>
                  </a:lnTo>
                  <a:lnTo>
                    <a:pt x="36" y="30440"/>
                  </a:lnTo>
                  <a:lnTo>
                    <a:pt x="1" y="30335"/>
                  </a:lnTo>
                  <a:lnTo>
                    <a:pt x="1" y="30193"/>
                  </a:lnTo>
                  <a:lnTo>
                    <a:pt x="1" y="29805"/>
                  </a:lnTo>
                  <a:lnTo>
                    <a:pt x="72" y="29275"/>
                  </a:lnTo>
                  <a:lnTo>
                    <a:pt x="213" y="28604"/>
                  </a:lnTo>
                  <a:lnTo>
                    <a:pt x="601" y="26944"/>
                  </a:lnTo>
                  <a:lnTo>
                    <a:pt x="1096" y="25038"/>
                  </a:lnTo>
                  <a:lnTo>
                    <a:pt x="1590" y="22954"/>
                  </a:lnTo>
                  <a:lnTo>
                    <a:pt x="1802" y="21895"/>
                  </a:lnTo>
                  <a:lnTo>
                    <a:pt x="2014" y="20835"/>
                  </a:lnTo>
                  <a:lnTo>
                    <a:pt x="2190" y="19811"/>
                  </a:lnTo>
                  <a:lnTo>
                    <a:pt x="2332" y="18858"/>
                  </a:lnTo>
                  <a:lnTo>
                    <a:pt x="2402" y="17940"/>
                  </a:lnTo>
                  <a:lnTo>
                    <a:pt x="2438" y="17092"/>
                  </a:lnTo>
                  <a:lnTo>
                    <a:pt x="2438" y="17092"/>
                  </a:lnTo>
                  <a:lnTo>
                    <a:pt x="2438" y="15715"/>
                  </a:lnTo>
                  <a:lnTo>
                    <a:pt x="2473" y="14585"/>
                  </a:lnTo>
                  <a:lnTo>
                    <a:pt x="2649" y="12713"/>
                  </a:lnTo>
                  <a:lnTo>
                    <a:pt x="2685" y="11795"/>
                  </a:lnTo>
                  <a:lnTo>
                    <a:pt x="2720" y="10771"/>
                  </a:lnTo>
                  <a:lnTo>
                    <a:pt x="2649" y="9535"/>
                  </a:lnTo>
                  <a:lnTo>
                    <a:pt x="2508" y="798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28" name="Google Shape;834;g2e0683f995c_0_0">
              <a:extLst>
                <a:ext uri="{FF2B5EF4-FFF2-40B4-BE49-F238E27FC236}">
                  <a16:creationId xmlns:a16="http://schemas.microsoft.com/office/drawing/2014/main" id="{E8CC8F08-396B-E78D-88D4-D2FBD439BDCD}"/>
                </a:ext>
              </a:extLst>
            </p:cNvPr>
            <p:cNvSpPr/>
            <p:nvPr/>
          </p:nvSpPr>
          <p:spPr>
            <a:xfrm>
              <a:off x="1999964" y="1313907"/>
              <a:ext cx="48130" cy="31162"/>
            </a:xfrm>
            <a:custGeom>
              <a:avLst/>
              <a:gdLst/>
              <a:ahLst/>
              <a:cxnLst/>
              <a:rect l="l" t="t" r="r" b="b"/>
              <a:pathLst>
                <a:path w="4910" h="3179" extrusionOk="0">
                  <a:moveTo>
                    <a:pt x="1025" y="1"/>
                  </a:moveTo>
                  <a:lnTo>
                    <a:pt x="848" y="36"/>
                  </a:lnTo>
                  <a:lnTo>
                    <a:pt x="672" y="71"/>
                  </a:lnTo>
                  <a:lnTo>
                    <a:pt x="530" y="177"/>
                  </a:lnTo>
                  <a:lnTo>
                    <a:pt x="389" y="318"/>
                  </a:lnTo>
                  <a:lnTo>
                    <a:pt x="283" y="495"/>
                  </a:lnTo>
                  <a:lnTo>
                    <a:pt x="177" y="707"/>
                  </a:lnTo>
                  <a:lnTo>
                    <a:pt x="107" y="919"/>
                  </a:lnTo>
                  <a:lnTo>
                    <a:pt x="107" y="1131"/>
                  </a:lnTo>
                  <a:lnTo>
                    <a:pt x="1" y="2967"/>
                  </a:lnTo>
                  <a:lnTo>
                    <a:pt x="601" y="3002"/>
                  </a:lnTo>
                  <a:lnTo>
                    <a:pt x="672" y="1696"/>
                  </a:lnTo>
                  <a:lnTo>
                    <a:pt x="707" y="1519"/>
                  </a:lnTo>
                  <a:lnTo>
                    <a:pt x="742" y="1378"/>
                  </a:lnTo>
                  <a:lnTo>
                    <a:pt x="813" y="1201"/>
                  </a:lnTo>
                  <a:lnTo>
                    <a:pt x="884" y="1095"/>
                  </a:lnTo>
                  <a:lnTo>
                    <a:pt x="989" y="989"/>
                  </a:lnTo>
                  <a:lnTo>
                    <a:pt x="1095" y="919"/>
                  </a:lnTo>
                  <a:lnTo>
                    <a:pt x="1237" y="848"/>
                  </a:lnTo>
                  <a:lnTo>
                    <a:pt x="1343" y="848"/>
                  </a:lnTo>
                  <a:lnTo>
                    <a:pt x="3673" y="954"/>
                  </a:lnTo>
                  <a:lnTo>
                    <a:pt x="3779" y="989"/>
                  </a:lnTo>
                  <a:lnTo>
                    <a:pt x="3920" y="1025"/>
                  </a:lnTo>
                  <a:lnTo>
                    <a:pt x="4026" y="1131"/>
                  </a:lnTo>
                  <a:lnTo>
                    <a:pt x="4097" y="1237"/>
                  </a:lnTo>
                  <a:lnTo>
                    <a:pt x="4168" y="1378"/>
                  </a:lnTo>
                  <a:lnTo>
                    <a:pt x="4238" y="1519"/>
                  </a:lnTo>
                  <a:lnTo>
                    <a:pt x="4274" y="1696"/>
                  </a:lnTo>
                  <a:lnTo>
                    <a:pt x="4274" y="1872"/>
                  </a:lnTo>
                  <a:lnTo>
                    <a:pt x="4203" y="3143"/>
                  </a:lnTo>
                  <a:lnTo>
                    <a:pt x="4803" y="3179"/>
                  </a:lnTo>
                  <a:lnTo>
                    <a:pt x="4909" y="1342"/>
                  </a:lnTo>
                  <a:lnTo>
                    <a:pt x="4874" y="1131"/>
                  </a:lnTo>
                  <a:lnTo>
                    <a:pt x="4839" y="883"/>
                  </a:lnTo>
                  <a:lnTo>
                    <a:pt x="4768" y="672"/>
                  </a:lnTo>
                  <a:lnTo>
                    <a:pt x="4697" y="495"/>
                  </a:lnTo>
                  <a:lnTo>
                    <a:pt x="4556" y="354"/>
                  </a:lnTo>
                  <a:lnTo>
                    <a:pt x="4415" y="248"/>
                  </a:lnTo>
                  <a:lnTo>
                    <a:pt x="4274" y="177"/>
                  </a:lnTo>
                  <a:lnTo>
                    <a:pt x="4097" y="142"/>
                  </a:lnTo>
                  <a:lnTo>
                    <a:pt x="1025" y="1"/>
                  </a:lnTo>
                  <a:close/>
                </a:path>
              </a:pathLst>
            </a:custGeom>
            <a:solidFill>
              <a:srgbClr val="201B2C"/>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29" name="Google Shape;835;g2e0683f995c_0_0">
              <a:extLst>
                <a:ext uri="{FF2B5EF4-FFF2-40B4-BE49-F238E27FC236}">
                  <a16:creationId xmlns:a16="http://schemas.microsoft.com/office/drawing/2014/main" id="{A8CBC19D-3339-40C3-E12C-495011843F86}"/>
                </a:ext>
              </a:extLst>
            </p:cNvPr>
            <p:cNvSpPr/>
            <p:nvPr/>
          </p:nvSpPr>
          <p:spPr>
            <a:xfrm>
              <a:off x="2005502" y="1282411"/>
              <a:ext cx="40514" cy="45356"/>
            </a:xfrm>
            <a:custGeom>
              <a:avLst/>
              <a:gdLst/>
              <a:ahLst/>
              <a:cxnLst/>
              <a:rect l="l" t="t" r="r" b="b"/>
              <a:pathLst>
                <a:path w="4133" h="4627" extrusionOk="0">
                  <a:moveTo>
                    <a:pt x="954" y="0"/>
                  </a:moveTo>
                  <a:lnTo>
                    <a:pt x="672" y="35"/>
                  </a:lnTo>
                  <a:lnTo>
                    <a:pt x="566" y="71"/>
                  </a:lnTo>
                  <a:lnTo>
                    <a:pt x="530" y="141"/>
                  </a:lnTo>
                  <a:lnTo>
                    <a:pt x="248" y="1201"/>
                  </a:lnTo>
                  <a:lnTo>
                    <a:pt x="71" y="1907"/>
                  </a:lnTo>
                  <a:lnTo>
                    <a:pt x="36" y="2260"/>
                  </a:lnTo>
                  <a:lnTo>
                    <a:pt x="1" y="2578"/>
                  </a:lnTo>
                  <a:lnTo>
                    <a:pt x="36" y="2896"/>
                  </a:lnTo>
                  <a:lnTo>
                    <a:pt x="71" y="3214"/>
                  </a:lnTo>
                  <a:lnTo>
                    <a:pt x="177" y="3496"/>
                  </a:lnTo>
                  <a:lnTo>
                    <a:pt x="283" y="3743"/>
                  </a:lnTo>
                  <a:lnTo>
                    <a:pt x="424" y="3955"/>
                  </a:lnTo>
                  <a:lnTo>
                    <a:pt x="566" y="4167"/>
                  </a:lnTo>
                  <a:lnTo>
                    <a:pt x="742" y="4344"/>
                  </a:lnTo>
                  <a:lnTo>
                    <a:pt x="919" y="4485"/>
                  </a:lnTo>
                  <a:lnTo>
                    <a:pt x="1166" y="4555"/>
                  </a:lnTo>
                  <a:lnTo>
                    <a:pt x="1413" y="4626"/>
                  </a:lnTo>
                  <a:lnTo>
                    <a:pt x="1731" y="4626"/>
                  </a:lnTo>
                  <a:lnTo>
                    <a:pt x="2014" y="4591"/>
                  </a:lnTo>
                  <a:lnTo>
                    <a:pt x="2296" y="4520"/>
                  </a:lnTo>
                  <a:lnTo>
                    <a:pt x="2579" y="4414"/>
                  </a:lnTo>
                  <a:lnTo>
                    <a:pt x="2790" y="4308"/>
                  </a:lnTo>
                  <a:lnTo>
                    <a:pt x="2932" y="4167"/>
                  </a:lnTo>
                  <a:lnTo>
                    <a:pt x="3002" y="3990"/>
                  </a:lnTo>
                  <a:lnTo>
                    <a:pt x="3002" y="3814"/>
                  </a:lnTo>
                  <a:lnTo>
                    <a:pt x="2967" y="3673"/>
                  </a:lnTo>
                  <a:lnTo>
                    <a:pt x="2932" y="3531"/>
                  </a:lnTo>
                  <a:lnTo>
                    <a:pt x="2861" y="3355"/>
                  </a:lnTo>
                  <a:lnTo>
                    <a:pt x="2861" y="3320"/>
                  </a:lnTo>
                  <a:lnTo>
                    <a:pt x="2932" y="3320"/>
                  </a:lnTo>
                  <a:lnTo>
                    <a:pt x="3108" y="3461"/>
                  </a:lnTo>
                  <a:lnTo>
                    <a:pt x="3355" y="3673"/>
                  </a:lnTo>
                  <a:lnTo>
                    <a:pt x="3497" y="3743"/>
                  </a:lnTo>
                  <a:lnTo>
                    <a:pt x="3638" y="3814"/>
                  </a:lnTo>
                  <a:lnTo>
                    <a:pt x="3815" y="3849"/>
                  </a:lnTo>
                  <a:lnTo>
                    <a:pt x="3956" y="3814"/>
                  </a:lnTo>
                  <a:lnTo>
                    <a:pt x="4062" y="3779"/>
                  </a:lnTo>
                  <a:lnTo>
                    <a:pt x="4097" y="3708"/>
                  </a:lnTo>
                  <a:lnTo>
                    <a:pt x="4132" y="3637"/>
                  </a:lnTo>
                  <a:lnTo>
                    <a:pt x="4132" y="3531"/>
                  </a:lnTo>
                  <a:lnTo>
                    <a:pt x="4062" y="3284"/>
                  </a:lnTo>
                  <a:lnTo>
                    <a:pt x="3956" y="3002"/>
                  </a:lnTo>
                  <a:lnTo>
                    <a:pt x="3673" y="2295"/>
                  </a:lnTo>
                  <a:lnTo>
                    <a:pt x="3567" y="1942"/>
                  </a:lnTo>
                  <a:lnTo>
                    <a:pt x="3426" y="1589"/>
                  </a:lnTo>
                  <a:lnTo>
                    <a:pt x="3355" y="1307"/>
                  </a:lnTo>
                  <a:lnTo>
                    <a:pt x="3285" y="1095"/>
                  </a:lnTo>
                  <a:lnTo>
                    <a:pt x="3108" y="848"/>
                  </a:lnTo>
                  <a:lnTo>
                    <a:pt x="3002" y="600"/>
                  </a:lnTo>
                  <a:lnTo>
                    <a:pt x="2967" y="424"/>
                  </a:lnTo>
                  <a:lnTo>
                    <a:pt x="2932" y="212"/>
                  </a:lnTo>
                  <a:lnTo>
                    <a:pt x="2543" y="141"/>
                  </a:lnTo>
                  <a:lnTo>
                    <a:pt x="1766" y="35"/>
                  </a:lnTo>
                  <a:lnTo>
                    <a:pt x="1343" y="0"/>
                  </a:lnTo>
                  <a:close/>
                </a:path>
              </a:pathLst>
            </a:custGeom>
            <a:solidFill>
              <a:srgbClr val="EEADA5"/>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30" name="Google Shape;836;g2e0683f995c_0_0">
              <a:extLst>
                <a:ext uri="{FF2B5EF4-FFF2-40B4-BE49-F238E27FC236}">
                  <a16:creationId xmlns:a16="http://schemas.microsoft.com/office/drawing/2014/main" id="{34259F92-D102-037E-7100-B55A558C000C}"/>
                </a:ext>
              </a:extLst>
            </p:cNvPr>
            <p:cNvSpPr/>
            <p:nvPr/>
          </p:nvSpPr>
          <p:spPr>
            <a:xfrm>
              <a:off x="2033890" y="1314946"/>
              <a:ext cx="14204" cy="30123"/>
            </a:xfrm>
            <a:custGeom>
              <a:avLst/>
              <a:gdLst/>
              <a:ahLst/>
              <a:cxnLst/>
              <a:rect l="l" t="t" r="r" b="b"/>
              <a:pathLst>
                <a:path w="1449" h="3073" extrusionOk="0">
                  <a:moveTo>
                    <a:pt x="0" y="1"/>
                  </a:moveTo>
                  <a:lnTo>
                    <a:pt x="212" y="848"/>
                  </a:lnTo>
                  <a:lnTo>
                    <a:pt x="318" y="848"/>
                  </a:lnTo>
                  <a:lnTo>
                    <a:pt x="459" y="919"/>
                  </a:lnTo>
                  <a:lnTo>
                    <a:pt x="565" y="989"/>
                  </a:lnTo>
                  <a:lnTo>
                    <a:pt x="636" y="1131"/>
                  </a:lnTo>
                  <a:lnTo>
                    <a:pt x="707" y="1236"/>
                  </a:lnTo>
                  <a:lnTo>
                    <a:pt x="777" y="1413"/>
                  </a:lnTo>
                  <a:lnTo>
                    <a:pt x="813" y="1554"/>
                  </a:lnTo>
                  <a:lnTo>
                    <a:pt x="813" y="1731"/>
                  </a:lnTo>
                  <a:lnTo>
                    <a:pt x="742" y="3037"/>
                  </a:lnTo>
                  <a:lnTo>
                    <a:pt x="1342" y="3073"/>
                  </a:lnTo>
                  <a:lnTo>
                    <a:pt x="1448" y="1236"/>
                  </a:lnTo>
                  <a:lnTo>
                    <a:pt x="1413" y="989"/>
                  </a:lnTo>
                  <a:lnTo>
                    <a:pt x="1378" y="777"/>
                  </a:lnTo>
                  <a:lnTo>
                    <a:pt x="1307" y="566"/>
                  </a:lnTo>
                  <a:lnTo>
                    <a:pt x="1236" y="389"/>
                  </a:lnTo>
                  <a:lnTo>
                    <a:pt x="1095" y="248"/>
                  </a:lnTo>
                  <a:lnTo>
                    <a:pt x="954" y="142"/>
                  </a:lnTo>
                  <a:lnTo>
                    <a:pt x="813" y="71"/>
                  </a:lnTo>
                  <a:lnTo>
                    <a:pt x="636" y="36"/>
                  </a:lnTo>
                  <a:lnTo>
                    <a:pt x="0" y="1"/>
                  </a:lnTo>
                  <a:close/>
                </a:path>
              </a:pathLst>
            </a:custGeom>
            <a:solidFill>
              <a:srgbClr val="201B2C"/>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31" name="Google Shape;837;g2e0683f995c_0_0">
              <a:extLst>
                <a:ext uri="{FF2B5EF4-FFF2-40B4-BE49-F238E27FC236}">
                  <a16:creationId xmlns:a16="http://schemas.microsoft.com/office/drawing/2014/main" id="{B127DFD5-9677-8A88-8000-E6D6C9636A03}"/>
                </a:ext>
              </a:extLst>
            </p:cNvPr>
            <p:cNvSpPr/>
            <p:nvPr/>
          </p:nvSpPr>
          <p:spPr>
            <a:xfrm>
              <a:off x="1935581" y="1330522"/>
              <a:ext cx="181395" cy="115277"/>
            </a:xfrm>
            <a:custGeom>
              <a:avLst/>
              <a:gdLst/>
              <a:ahLst/>
              <a:cxnLst/>
              <a:rect l="l" t="t" r="r" b="b"/>
              <a:pathLst>
                <a:path w="18505" h="11760" extrusionOk="0">
                  <a:moveTo>
                    <a:pt x="1695" y="1"/>
                  </a:moveTo>
                  <a:lnTo>
                    <a:pt x="1484" y="71"/>
                  </a:lnTo>
                  <a:lnTo>
                    <a:pt x="1272" y="142"/>
                  </a:lnTo>
                  <a:lnTo>
                    <a:pt x="1095" y="248"/>
                  </a:lnTo>
                  <a:lnTo>
                    <a:pt x="919" y="354"/>
                  </a:lnTo>
                  <a:lnTo>
                    <a:pt x="636" y="636"/>
                  </a:lnTo>
                  <a:lnTo>
                    <a:pt x="389" y="919"/>
                  </a:lnTo>
                  <a:lnTo>
                    <a:pt x="248" y="1201"/>
                  </a:lnTo>
                  <a:lnTo>
                    <a:pt x="142" y="1484"/>
                  </a:lnTo>
                  <a:lnTo>
                    <a:pt x="106" y="1696"/>
                  </a:lnTo>
                  <a:lnTo>
                    <a:pt x="0" y="9606"/>
                  </a:lnTo>
                  <a:lnTo>
                    <a:pt x="0" y="9818"/>
                  </a:lnTo>
                  <a:lnTo>
                    <a:pt x="0" y="10100"/>
                  </a:lnTo>
                  <a:lnTo>
                    <a:pt x="36" y="10383"/>
                  </a:lnTo>
                  <a:lnTo>
                    <a:pt x="177" y="10665"/>
                  </a:lnTo>
                  <a:lnTo>
                    <a:pt x="248" y="10771"/>
                  </a:lnTo>
                  <a:lnTo>
                    <a:pt x="354" y="10912"/>
                  </a:lnTo>
                  <a:lnTo>
                    <a:pt x="495" y="11018"/>
                  </a:lnTo>
                  <a:lnTo>
                    <a:pt x="671" y="11124"/>
                  </a:lnTo>
                  <a:lnTo>
                    <a:pt x="848" y="11230"/>
                  </a:lnTo>
                  <a:lnTo>
                    <a:pt x="1095" y="11301"/>
                  </a:lnTo>
                  <a:lnTo>
                    <a:pt x="1342" y="11336"/>
                  </a:lnTo>
                  <a:lnTo>
                    <a:pt x="1660" y="11372"/>
                  </a:lnTo>
                  <a:lnTo>
                    <a:pt x="17163" y="11760"/>
                  </a:lnTo>
                  <a:lnTo>
                    <a:pt x="17375" y="11760"/>
                  </a:lnTo>
                  <a:lnTo>
                    <a:pt x="17551" y="11689"/>
                  </a:lnTo>
                  <a:lnTo>
                    <a:pt x="17728" y="11619"/>
                  </a:lnTo>
                  <a:lnTo>
                    <a:pt x="17869" y="11513"/>
                  </a:lnTo>
                  <a:lnTo>
                    <a:pt x="17975" y="11372"/>
                  </a:lnTo>
                  <a:lnTo>
                    <a:pt x="18081" y="11230"/>
                  </a:lnTo>
                  <a:lnTo>
                    <a:pt x="18151" y="11089"/>
                  </a:lnTo>
                  <a:lnTo>
                    <a:pt x="18151" y="10877"/>
                  </a:lnTo>
                  <a:lnTo>
                    <a:pt x="18505" y="2508"/>
                  </a:lnTo>
                  <a:lnTo>
                    <a:pt x="18505" y="2296"/>
                  </a:lnTo>
                  <a:lnTo>
                    <a:pt x="18505" y="2084"/>
                  </a:lnTo>
                  <a:lnTo>
                    <a:pt x="18434" y="1908"/>
                  </a:lnTo>
                  <a:lnTo>
                    <a:pt x="18399" y="1731"/>
                  </a:lnTo>
                  <a:lnTo>
                    <a:pt x="18187" y="1378"/>
                  </a:lnTo>
                  <a:lnTo>
                    <a:pt x="17940" y="1095"/>
                  </a:lnTo>
                  <a:lnTo>
                    <a:pt x="17657" y="883"/>
                  </a:lnTo>
                  <a:lnTo>
                    <a:pt x="17304" y="672"/>
                  </a:lnTo>
                  <a:lnTo>
                    <a:pt x="16916" y="566"/>
                  </a:lnTo>
                  <a:lnTo>
                    <a:pt x="16492" y="530"/>
                  </a:lnTo>
                  <a:lnTo>
                    <a:pt x="15962" y="495"/>
                  </a:lnTo>
                  <a:lnTo>
                    <a:pt x="2190" y="1"/>
                  </a:lnTo>
                  <a:close/>
                </a:path>
              </a:pathLst>
            </a:custGeom>
            <a:solidFill>
              <a:srgbClr val="603A3E"/>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32" name="Google Shape;838;g2e0683f995c_0_0">
              <a:extLst>
                <a:ext uri="{FF2B5EF4-FFF2-40B4-BE49-F238E27FC236}">
                  <a16:creationId xmlns:a16="http://schemas.microsoft.com/office/drawing/2014/main" id="{6B8D01BD-4B07-7A7E-9083-F1032408D06E}"/>
                </a:ext>
              </a:extLst>
            </p:cNvPr>
            <p:cNvSpPr/>
            <p:nvPr/>
          </p:nvSpPr>
          <p:spPr>
            <a:xfrm>
              <a:off x="2092048" y="1335374"/>
              <a:ext cx="24928" cy="110425"/>
            </a:xfrm>
            <a:custGeom>
              <a:avLst/>
              <a:gdLst/>
              <a:ahLst/>
              <a:cxnLst/>
              <a:rect l="l" t="t" r="r" b="b"/>
              <a:pathLst>
                <a:path w="2543" h="11265" extrusionOk="0">
                  <a:moveTo>
                    <a:pt x="0" y="0"/>
                  </a:moveTo>
                  <a:lnTo>
                    <a:pt x="283" y="918"/>
                  </a:lnTo>
                  <a:lnTo>
                    <a:pt x="530" y="1942"/>
                  </a:lnTo>
                  <a:lnTo>
                    <a:pt x="742" y="3002"/>
                  </a:lnTo>
                  <a:lnTo>
                    <a:pt x="918" y="4132"/>
                  </a:lnTo>
                  <a:lnTo>
                    <a:pt x="1095" y="5262"/>
                  </a:lnTo>
                  <a:lnTo>
                    <a:pt x="1165" y="6427"/>
                  </a:lnTo>
                  <a:lnTo>
                    <a:pt x="1165" y="7592"/>
                  </a:lnTo>
                  <a:lnTo>
                    <a:pt x="1165" y="8157"/>
                  </a:lnTo>
                  <a:lnTo>
                    <a:pt x="1095" y="8722"/>
                  </a:lnTo>
                  <a:lnTo>
                    <a:pt x="1024" y="9570"/>
                  </a:lnTo>
                  <a:lnTo>
                    <a:pt x="1024" y="10276"/>
                  </a:lnTo>
                  <a:lnTo>
                    <a:pt x="1095" y="10841"/>
                  </a:lnTo>
                  <a:lnTo>
                    <a:pt x="1201" y="11265"/>
                  </a:lnTo>
                  <a:lnTo>
                    <a:pt x="1413" y="11265"/>
                  </a:lnTo>
                  <a:lnTo>
                    <a:pt x="1589" y="11194"/>
                  </a:lnTo>
                  <a:lnTo>
                    <a:pt x="1766" y="11124"/>
                  </a:lnTo>
                  <a:lnTo>
                    <a:pt x="1907" y="11018"/>
                  </a:lnTo>
                  <a:lnTo>
                    <a:pt x="2013" y="10877"/>
                  </a:lnTo>
                  <a:lnTo>
                    <a:pt x="2119" y="10735"/>
                  </a:lnTo>
                  <a:lnTo>
                    <a:pt x="2189" y="10594"/>
                  </a:lnTo>
                  <a:lnTo>
                    <a:pt x="2189" y="10382"/>
                  </a:lnTo>
                  <a:lnTo>
                    <a:pt x="2543" y="2013"/>
                  </a:lnTo>
                  <a:lnTo>
                    <a:pt x="2543" y="1801"/>
                  </a:lnTo>
                  <a:lnTo>
                    <a:pt x="2543" y="1589"/>
                  </a:lnTo>
                  <a:lnTo>
                    <a:pt x="2472" y="1413"/>
                  </a:lnTo>
                  <a:lnTo>
                    <a:pt x="2437" y="1236"/>
                  </a:lnTo>
                  <a:lnTo>
                    <a:pt x="2225" y="883"/>
                  </a:lnTo>
                  <a:lnTo>
                    <a:pt x="1978" y="600"/>
                  </a:lnTo>
                  <a:lnTo>
                    <a:pt x="1695" y="388"/>
                  </a:lnTo>
                  <a:lnTo>
                    <a:pt x="1342" y="177"/>
                  </a:lnTo>
                  <a:lnTo>
                    <a:pt x="954" y="71"/>
                  </a:lnTo>
                  <a:lnTo>
                    <a:pt x="530" y="35"/>
                  </a:lnTo>
                  <a:lnTo>
                    <a:pt x="0" y="0"/>
                  </a:lnTo>
                  <a:close/>
                </a:path>
              </a:pathLst>
            </a:custGeom>
            <a:solidFill>
              <a:srgbClr val="775155"/>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33" name="Google Shape;839;g2e0683f995c_0_0">
              <a:extLst>
                <a:ext uri="{FF2B5EF4-FFF2-40B4-BE49-F238E27FC236}">
                  <a16:creationId xmlns:a16="http://schemas.microsoft.com/office/drawing/2014/main" id="{E772D783-A73D-556B-3D05-150565423E4D}"/>
                </a:ext>
              </a:extLst>
            </p:cNvPr>
            <p:cNvSpPr/>
            <p:nvPr/>
          </p:nvSpPr>
          <p:spPr>
            <a:xfrm>
              <a:off x="1990269" y="989905"/>
              <a:ext cx="186943" cy="301515"/>
            </a:xfrm>
            <a:custGeom>
              <a:avLst/>
              <a:gdLst/>
              <a:ahLst/>
              <a:cxnLst/>
              <a:rect l="l" t="t" r="r" b="b"/>
              <a:pathLst>
                <a:path w="19071" h="30759" extrusionOk="0">
                  <a:moveTo>
                    <a:pt x="14479" y="0"/>
                  </a:moveTo>
                  <a:lnTo>
                    <a:pt x="13597" y="389"/>
                  </a:lnTo>
                  <a:lnTo>
                    <a:pt x="12608" y="812"/>
                  </a:lnTo>
                  <a:lnTo>
                    <a:pt x="11442" y="1377"/>
                  </a:lnTo>
                  <a:lnTo>
                    <a:pt x="10171" y="2013"/>
                  </a:lnTo>
                  <a:lnTo>
                    <a:pt x="8865" y="2755"/>
                  </a:lnTo>
                  <a:lnTo>
                    <a:pt x="8229" y="3143"/>
                  </a:lnTo>
                  <a:lnTo>
                    <a:pt x="7629" y="3532"/>
                  </a:lnTo>
                  <a:lnTo>
                    <a:pt x="7099" y="3920"/>
                  </a:lnTo>
                  <a:lnTo>
                    <a:pt x="6605" y="4308"/>
                  </a:lnTo>
                  <a:lnTo>
                    <a:pt x="6287" y="4626"/>
                  </a:lnTo>
                  <a:lnTo>
                    <a:pt x="5934" y="4944"/>
                  </a:lnTo>
                  <a:lnTo>
                    <a:pt x="5298" y="5686"/>
                  </a:lnTo>
                  <a:lnTo>
                    <a:pt x="4698" y="6463"/>
                  </a:lnTo>
                  <a:lnTo>
                    <a:pt x="4133" y="7310"/>
                  </a:lnTo>
                  <a:lnTo>
                    <a:pt x="3603" y="8193"/>
                  </a:lnTo>
                  <a:lnTo>
                    <a:pt x="3109" y="9111"/>
                  </a:lnTo>
                  <a:lnTo>
                    <a:pt x="2649" y="10065"/>
                  </a:lnTo>
                  <a:lnTo>
                    <a:pt x="2226" y="11018"/>
                  </a:lnTo>
                  <a:lnTo>
                    <a:pt x="1837" y="11971"/>
                  </a:lnTo>
                  <a:lnTo>
                    <a:pt x="1484" y="12890"/>
                  </a:lnTo>
                  <a:lnTo>
                    <a:pt x="1166" y="13808"/>
                  </a:lnTo>
                  <a:lnTo>
                    <a:pt x="884" y="14691"/>
                  </a:lnTo>
                  <a:lnTo>
                    <a:pt x="637" y="15503"/>
                  </a:lnTo>
                  <a:lnTo>
                    <a:pt x="460" y="16280"/>
                  </a:lnTo>
                  <a:lnTo>
                    <a:pt x="283" y="16986"/>
                  </a:lnTo>
                  <a:lnTo>
                    <a:pt x="177" y="17586"/>
                  </a:lnTo>
                  <a:lnTo>
                    <a:pt x="72" y="18257"/>
                  </a:lnTo>
                  <a:lnTo>
                    <a:pt x="36" y="19034"/>
                  </a:lnTo>
                  <a:lnTo>
                    <a:pt x="1" y="19846"/>
                  </a:lnTo>
                  <a:lnTo>
                    <a:pt x="36" y="20764"/>
                  </a:lnTo>
                  <a:lnTo>
                    <a:pt x="72" y="21683"/>
                  </a:lnTo>
                  <a:lnTo>
                    <a:pt x="142" y="22671"/>
                  </a:lnTo>
                  <a:lnTo>
                    <a:pt x="354" y="24649"/>
                  </a:lnTo>
                  <a:lnTo>
                    <a:pt x="566" y="26556"/>
                  </a:lnTo>
                  <a:lnTo>
                    <a:pt x="813" y="28251"/>
                  </a:lnTo>
                  <a:lnTo>
                    <a:pt x="1166" y="30652"/>
                  </a:lnTo>
                  <a:lnTo>
                    <a:pt x="1272" y="30723"/>
                  </a:lnTo>
                  <a:lnTo>
                    <a:pt x="1413" y="30723"/>
                  </a:lnTo>
                  <a:lnTo>
                    <a:pt x="1802" y="30758"/>
                  </a:lnTo>
                  <a:lnTo>
                    <a:pt x="2296" y="30723"/>
                  </a:lnTo>
                  <a:lnTo>
                    <a:pt x="2861" y="30652"/>
                  </a:lnTo>
                  <a:lnTo>
                    <a:pt x="4097" y="30476"/>
                  </a:lnTo>
                  <a:lnTo>
                    <a:pt x="5227" y="30299"/>
                  </a:lnTo>
                  <a:lnTo>
                    <a:pt x="5015" y="29098"/>
                  </a:lnTo>
                  <a:lnTo>
                    <a:pt x="4839" y="27827"/>
                  </a:lnTo>
                  <a:lnTo>
                    <a:pt x="4627" y="26203"/>
                  </a:lnTo>
                  <a:lnTo>
                    <a:pt x="4415" y="24366"/>
                  </a:lnTo>
                  <a:lnTo>
                    <a:pt x="4239" y="22389"/>
                  </a:lnTo>
                  <a:lnTo>
                    <a:pt x="4168" y="21400"/>
                  </a:lnTo>
                  <a:lnTo>
                    <a:pt x="4168" y="20411"/>
                  </a:lnTo>
                  <a:lnTo>
                    <a:pt x="4168" y="19458"/>
                  </a:lnTo>
                  <a:lnTo>
                    <a:pt x="4203" y="18504"/>
                  </a:lnTo>
                  <a:lnTo>
                    <a:pt x="4344" y="17657"/>
                  </a:lnTo>
                  <a:lnTo>
                    <a:pt x="4486" y="16880"/>
                  </a:lnTo>
                  <a:lnTo>
                    <a:pt x="4662" y="16174"/>
                  </a:lnTo>
                  <a:lnTo>
                    <a:pt x="4839" y="15503"/>
                  </a:lnTo>
                  <a:lnTo>
                    <a:pt x="5051" y="14867"/>
                  </a:lnTo>
                  <a:lnTo>
                    <a:pt x="5263" y="14302"/>
                  </a:lnTo>
                  <a:lnTo>
                    <a:pt x="5474" y="13808"/>
                  </a:lnTo>
                  <a:lnTo>
                    <a:pt x="5686" y="13349"/>
                  </a:lnTo>
                  <a:lnTo>
                    <a:pt x="5898" y="12960"/>
                  </a:lnTo>
                  <a:lnTo>
                    <a:pt x="6110" y="12607"/>
                  </a:lnTo>
                  <a:lnTo>
                    <a:pt x="6499" y="12042"/>
                  </a:lnTo>
                  <a:lnTo>
                    <a:pt x="6816" y="11654"/>
                  </a:lnTo>
                  <a:lnTo>
                    <a:pt x="7099" y="11442"/>
                  </a:lnTo>
                  <a:lnTo>
                    <a:pt x="7099" y="11654"/>
                  </a:lnTo>
                  <a:lnTo>
                    <a:pt x="7205" y="12254"/>
                  </a:lnTo>
                  <a:lnTo>
                    <a:pt x="7381" y="13031"/>
                  </a:lnTo>
                  <a:lnTo>
                    <a:pt x="7593" y="13984"/>
                  </a:lnTo>
                  <a:lnTo>
                    <a:pt x="7840" y="15044"/>
                  </a:lnTo>
                  <a:lnTo>
                    <a:pt x="8017" y="15962"/>
                  </a:lnTo>
                  <a:lnTo>
                    <a:pt x="8052" y="16244"/>
                  </a:lnTo>
                  <a:lnTo>
                    <a:pt x="8052" y="16633"/>
                  </a:lnTo>
                  <a:lnTo>
                    <a:pt x="8052" y="17480"/>
                  </a:lnTo>
                  <a:lnTo>
                    <a:pt x="8017" y="18045"/>
                  </a:lnTo>
                  <a:lnTo>
                    <a:pt x="8017" y="18610"/>
                  </a:lnTo>
                  <a:lnTo>
                    <a:pt x="8088" y="19811"/>
                  </a:lnTo>
                  <a:lnTo>
                    <a:pt x="8194" y="21047"/>
                  </a:lnTo>
                  <a:lnTo>
                    <a:pt x="8300" y="22318"/>
                  </a:lnTo>
                  <a:lnTo>
                    <a:pt x="8441" y="23484"/>
                  </a:lnTo>
                  <a:lnTo>
                    <a:pt x="8476" y="24543"/>
                  </a:lnTo>
                  <a:lnTo>
                    <a:pt x="8511" y="25037"/>
                  </a:lnTo>
                  <a:lnTo>
                    <a:pt x="8476" y="25461"/>
                  </a:lnTo>
                  <a:lnTo>
                    <a:pt x="8441" y="25850"/>
                  </a:lnTo>
                  <a:lnTo>
                    <a:pt x="8370" y="26132"/>
                  </a:lnTo>
                  <a:lnTo>
                    <a:pt x="8264" y="26485"/>
                  </a:lnTo>
                  <a:lnTo>
                    <a:pt x="8264" y="26768"/>
                  </a:lnTo>
                  <a:lnTo>
                    <a:pt x="8264" y="27015"/>
                  </a:lnTo>
                  <a:lnTo>
                    <a:pt x="8335" y="27262"/>
                  </a:lnTo>
                  <a:lnTo>
                    <a:pt x="8441" y="27474"/>
                  </a:lnTo>
                  <a:lnTo>
                    <a:pt x="8582" y="27651"/>
                  </a:lnTo>
                  <a:lnTo>
                    <a:pt x="8759" y="27792"/>
                  </a:lnTo>
                  <a:lnTo>
                    <a:pt x="8935" y="27898"/>
                  </a:lnTo>
                  <a:lnTo>
                    <a:pt x="9147" y="28004"/>
                  </a:lnTo>
                  <a:lnTo>
                    <a:pt x="9359" y="28074"/>
                  </a:lnTo>
                  <a:lnTo>
                    <a:pt x="9606" y="28110"/>
                  </a:lnTo>
                  <a:lnTo>
                    <a:pt x="9818" y="28145"/>
                  </a:lnTo>
                  <a:lnTo>
                    <a:pt x="10065" y="28145"/>
                  </a:lnTo>
                  <a:lnTo>
                    <a:pt x="10277" y="28110"/>
                  </a:lnTo>
                  <a:lnTo>
                    <a:pt x="10454" y="28074"/>
                  </a:lnTo>
                  <a:lnTo>
                    <a:pt x="10666" y="28004"/>
                  </a:lnTo>
                  <a:lnTo>
                    <a:pt x="10771" y="27933"/>
                  </a:lnTo>
                  <a:lnTo>
                    <a:pt x="10948" y="27898"/>
                  </a:lnTo>
                  <a:lnTo>
                    <a:pt x="11407" y="27862"/>
                  </a:lnTo>
                  <a:lnTo>
                    <a:pt x="12678" y="27898"/>
                  </a:lnTo>
                  <a:lnTo>
                    <a:pt x="14585" y="27898"/>
                  </a:lnTo>
                  <a:lnTo>
                    <a:pt x="15221" y="27862"/>
                  </a:lnTo>
                  <a:lnTo>
                    <a:pt x="15857" y="27792"/>
                  </a:lnTo>
                  <a:lnTo>
                    <a:pt x="16422" y="27651"/>
                  </a:lnTo>
                  <a:lnTo>
                    <a:pt x="16951" y="27509"/>
                  </a:lnTo>
                  <a:lnTo>
                    <a:pt x="17199" y="27403"/>
                  </a:lnTo>
                  <a:lnTo>
                    <a:pt x="17410" y="27262"/>
                  </a:lnTo>
                  <a:lnTo>
                    <a:pt x="17728" y="27015"/>
                  </a:lnTo>
                  <a:lnTo>
                    <a:pt x="17975" y="26732"/>
                  </a:lnTo>
                  <a:lnTo>
                    <a:pt x="18223" y="26379"/>
                  </a:lnTo>
                  <a:lnTo>
                    <a:pt x="18399" y="25991"/>
                  </a:lnTo>
                  <a:lnTo>
                    <a:pt x="18576" y="25567"/>
                  </a:lnTo>
                  <a:lnTo>
                    <a:pt x="18717" y="25108"/>
                  </a:lnTo>
                  <a:lnTo>
                    <a:pt x="18823" y="24614"/>
                  </a:lnTo>
                  <a:lnTo>
                    <a:pt x="18894" y="24119"/>
                  </a:lnTo>
                  <a:lnTo>
                    <a:pt x="18999" y="23130"/>
                  </a:lnTo>
                  <a:lnTo>
                    <a:pt x="19070" y="22106"/>
                  </a:lnTo>
                  <a:lnTo>
                    <a:pt x="19070" y="21188"/>
                  </a:lnTo>
                  <a:lnTo>
                    <a:pt x="19070" y="20411"/>
                  </a:lnTo>
                  <a:lnTo>
                    <a:pt x="19035" y="20058"/>
                  </a:lnTo>
                  <a:lnTo>
                    <a:pt x="18929" y="19670"/>
                  </a:lnTo>
                  <a:lnTo>
                    <a:pt x="18788" y="19246"/>
                  </a:lnTo>
                  <a:lnTo>
                    <a:pt x="18576" y="18822"/>
                  </a:lnTo>
                  <a:lnTo>
                    <a:pt x="18329" y="18398"/>
                  </a:lnTo>
                  <a:lnTo>
                    <a:pt x="18046" y="17939"/>
                  </a:lnTo>
                  <a:lnTo>
                    <a:pt x="17410" y="16951"/>
                  </a:lnTo>
                  <a:lnTo>
                    <a:pt x="16739" y="15891"/>
                  </a:lnTo>
                  <a:lnTo>
                    <a:pt x="16068" y="14761"/>
                  </a:lnTo>
                  <a:lnTo>
                    <a:pt x="15715" y="14161"/>
                  </a:lnTo>
                  <a:lnTo>
                    <a:pt x="15433" y="13525"/>
                  </a:lnTo>
                  <a:lnTo>
                    <a:pt x="15150" y="12854"/>
                  </a:lnTo>
                  <a:lnTo>
                    <a:pt x="14903" y="12148"/>
                  </a:lnTo>
                  <a:lnTo>
                    <a:pt x="14621" y="11265"/>
                  </a:lnTo>
                  <a:lnTo>
                    <a:pt x="14444" y="10347"/>
                  </a:lnTo>
                  <a:lnTo>
                    <a:pt x="14303" y="9429"/>
                  </a:lnTo>
                  <a:lnTo>
                    <a:pt x="14197" y="8475"/>
                  </a:lnTo>
                  <a:lnTo>
                    <a:pt x="14162" y="7557"/>
                  </a:lnTo>
                  <a:lnTo>
                    <a:pt x="14126" y="6639"/>
                  </a:lnTo>
                  <a:lnTo>
                    <a:pt x="14162" y="5721"/>
                  </a:lnTo>
                  <a:lnTo>
                    <a:pt x="14197" y="4838"/>
                  </a:lnTo>
                  <a:lnTo>
                    <a:pt x="14303" y="3214"/>
                  </a:lnTo>
                  <a:lnTo>
                    <a:pt x="14409" y="1836"/>
                  </a:lnTo>
                  <a:lnTo>
                    <a:pt x="14479" y="706"/>
                  </a:lnTo>
                  <a:lnTo>
                    <a:pt x="14479" y="318"/>
                  </a:lnTo>
                  <a:lnTo>
                    <a:pt x="14479" y="0"/>
                  </a:lnTo>
                  <a:close/>
                </a:path>
              </a:pathLst>
            </a:custGeom>
            <a:solidFill>
              <a:srgbClr val="E73C32"/>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34" name="Google Shape;840;g2e0683f995c_0_0">
              <a:extLst>
                <a:ext uri="{FF2B5EF4-FFF2-40B4-BE49-F238E27FC236}">
                  <a16:creationId xmlns:a16="http://schemas.microsoft.com/office/drawing/2014/main" id="{54885862-41E7-F251-0BC2-DA7AC1AEE617}"/>
                </a:ext>
              </a:extLst>
            </p:cNvPr>
            <p:cNvSpPr/>
            <p:nvPr/>
          </p:nvSpPr>
          <p:spPr>
            <a:xfrm>
              <a:off x="1990269" y="989905"/>
              <a:ext cx="186943" cy="301515"/>
            </a:xfrm>
            <a:custGeom>
              <a:avLst/>
              <a:gdLst/>
              <a:ahLst/>
              <a:cxnLst/>
              <a:rect l="l" t="t" r="r" b="b"/>
              <a:pathLst>
                <a:path w="19071" h="30759" fill="none" extrusionOk="0">
                  <a:moveTo>
                    <a:pt x="14903" y="12148"/>
                  </a:moveTo>
                  <a:lnTo>
                    <a:pt x="14903" y="12148"/>
                  </a:lnTo>
                  <a:lnTo>
                    <a:pt x="15150" y="12854"/>
                  </a:lnTo>
                  <a:lnTo>
                    <a:pt x="15433" y="13525"/>
                  </a:lnTo>
                  <a:lnTo>
                    <a:pt x="15715" y="14161"/>
                  </a:lnTo>
                  <a:lnTo>
                    <a:pt x="16068" y="14761"/>
                  </a:lnTo>
                  <a:lnTo>
                    <a:pt x="16739" y="15891"/>
                  </a:lnTo>
                  <a:lnTo>
                    <a:pt x="17410" y="16951"/>
                  </a:lnTo>
                  <a:lnTo>
                    <a:pt x="18046" y="17939"/>
                  </a:lnTo>
                  <a:lnTo>
                    <a:pt x="18329" y="18398"/>
                  </a:lnTo>
                  <a:lnTo>
                    <a:pt x="18576" y="18822"/>
                  </a:lnTo>
                  <a:lnTo>
                    <a:pt x="18788" y="19246"/>
                  </a:lnTo>
                  <a:lnTo>
                    <a:pt x="18929" y="19670"/>
                  </a:lnTo>
                  <a:lnTo>
                    <a:pt x="19035" y="20058"/>
                  </a:lnTo>
                  <a:lnTo>
                    <a:pt x="19070" y="20411"/>
                  </a:lnTo>
                  <a:lnTo>
                    <a:pt x="19070" y="20411"/>
                  </a:lnTo>
                  <a:lnTo>
                    <a:pt x="19070" y="21188"/>
                  </a:lnTo>
                  <a:lnTo>
                    <a:pt x="19070" y="22106"/>
                  </a:lnTo>
                  <a:lnTo>
                    <a:pt x="18999" y="23130"/>
                  </a:lnTo>
                  <a:lnTo>
                    <a:pt x="18894" y="24119"/>
                  </a:lnTo>
                  <a:lnTo>
                    <a:pt x="18823" y="24614"/>
                  </a:lnTo>
                  <a:lnTo>
                    <a:pt x="18717" y="25108"/>
                  </a:lnTo>
                  <a:lnTo>
                    <a:pt x="18576" y="25567"/>
                  </a:lnTo>
                  <a:lnTo>
                    <a:pt x="18399" y="25991"/>
                  </a:lnTo>
                  <a:lnTo>
                    <a:pt x="18223" y="26379"/>
                  </a:lnTo>
                  <a:lnTo>
                    <a:pt x="17975" y="26732"/>
                  </a:lnTo>
                  <a:lnTo>
                    <a:pt x="17728" y="27015"/>
                  </a:lnTo>
                  <a:lnTo>
                    <a:pt x="17410" y="27262"/>
                  </a:lnTo>
                  <a:lnTo>
                    <a:pt x="17410" y="27262"/>
                  </a:lnTo>
                  <a:lnTo>
                    <a:pt x="17199" y="27403"/>
                  </a:lnTo>
                  <a:lnTo>
                    <a:pt x="16951" y="27509"/>
                  </a:lnTo>
                  <a:lnTo>
                    <a:pt x="16422" y="27651"/>
                  </a:lnTo>
                  <a:lnTo>
                    <a:pt x="15857" y="27792"/>
                  </a:lnTo>
                  <a:lnTo>
                    <a:pt x="15221" y="27862"/>
                  </a:lnTo>
                  <a:lnTo>
                    <a:pt x="14585" y="27898"/>
                  </a:lnTo>
                  <a:lnTo>
                    <a:pt x="13914" y="27898"/>
                  </a:lnTo>
                  <a:lnTo>
                    <a:pt x="12678" y="27898"/>
                  </a:lnTo>
                  <a:lnTo>
                    <a:pt x="12678" y="27898"/>
                  </a:lnTo>
                  <a:lnTo>
                    <a:pt x="11407" y="27862"/>
                  </a:lnTo>
                  <a:lnTo>
                    <a:pt x="10948" y="27898"/>
                  </a:lnTo>
                  <a:lnTo>
                    <a:pt x="10771" y="27933"/>
                  </a:lnTo>
                  <a:lnTo>
                    <a:pt x="10666" y="28004"/>
                  </a:lnTo>
                  <a:lnTo>
                    <a:pt x="10666" y="28004"/>
                  </a:lnTo>
                  <a:lnTo>
                    <a:pt x="10454" y="28074"/>
                  </a:lnTo>
                  <a:lnTo>
                    <a:pt x="10277" y="28110"/>
                  </a:lnTo>
                  <a:lnTo>
                    <a:pt x="10065" y="28145"/>
                  </a:lnTo>
                  <a:lnTo>
                    <a:pt x="9818" y="28145"/>
                  </a:lnTo>
                  <a:lnTo>
                    <a:pt x="9606" y="28110"/>
                  </a:lnTo>
                  <a:lnTo>
                    <a:pt x="9359" y="28074"/>
                  </a:lnTo>
                  <a:lnTo>
                    <a:pt x="9147" y="28004"/>
                  </a:lnTo>
                  <a:lnTo>
                    <a:pt x="8935" y="27898"/>
                  </a:lnTo>
                  <a:lnTo>
                    <a:pt x="8759" y="27792"/>
                  </a:lnTo>
                  <a:lnTo>
                    <a:pt x="8582" y="27651"/>
                  </a:lnTo>
                  <a:lnTo>
                    <a:pt x="8441" y="27474"/>
                  </a:lnTo>
                  <a:lnTo>
                    <a:pt x="8335" y="27262"/>
                  </a:lnTo>
                  <a:lnTo>
                    <a:pt x="8264" y="27015"/>
                  </a:lnTo>
                  <a:lnTo>
                    <a:pt x="8264" y="26768"/>
                  </a:lnTo>
                  <a:lnTo>
                    <a:pt x="8264" y="26485"/>
                  </a:lnTo>
                  <a:lnTo>
                    <a:pt x="8370" y="26132"/>
                  </a:lnTo>
                  <a:lnTo>
                    <a:pt x="8370" y="26132"/>
                  </a:lnTo>
                  <a:lnTo>
                    <a:pt x="8441" y="25850"/>
                  </a:lnTo>
                  <a:lnTo>
                    <a:pt x="8476" y="25461"/>
                  </a:lnTo>
                  <a:lnTo>
                    <a:pt x="8511" y="25037"/>
                  </a:lnTo>
                  <a:lnTo>
                    <a:pt x="8476" y="24543"/>
                  </a:lnTo>
                  <a:lnTo>
                    <a:pt x="8441" y="23484"/>
                  </a:lnTo>
                  <a:lnTo>
                    <a:pt x="8300" y="22318"/>
                  </a:lnTo>
                  <a:lnTo>
                    <a:pt x="8194" y="21047"/>
                  </a:lnTo>
                  <a:lnTo>
                    <a:pt x="8088" y="19811"/>
                  </a:lnTo>
                  <a:lnTo>
                    <a:pt x="8017" y="18610"/>
                  </a:lnTo>
                  <a:lnTo>
                    <a:pt x="8017" y="18045"/>
                  </a:lnTo>
                  <a:lnTo>
                    <a:pt x="8052" y="17480"/>
                  </a:lnTo>
                  <a:lnTo>
                    <a:pt x="8052" y="17480"/>
                  </a:lnTo>
                  <a:lnTo>
                    <a:pt x="8052" y="16633"/>
                  </a:lnTo>
                  <a:lnTo>
                    <a:pt x="8052" y="16244"/>
                  </a:lnTo>
                  <a:lnTo>
                    <a:pt x="8017" y="15962"/>
                  </a:lnTo>
                  <a:lnTo>
                    <a:pt x="8017" y="15962"/>
                  </a:lnTo>
                  <a:lnTo>
                    <a:pt x="7840" y="15044"/>
                  </a:lnTo>
                  <a:lnTo>
                    <a:pt x="7840" y="15044"/>
                  </a:lnTo>
                  <a:lnTo>
                    <a:pt x="7593" y="13984"/>
                  </a:lnTo>
                  <a:lnTo>
                    <a:pt x="7381" y="13031"/>
                  </a:lnTo>
                  <a:lnTo>
                    <a:pt x="7205" y="12254"/>
                  </a:lnTo>
                  <a:lnTo>
                    <a:pt x="7099" y="11654"/>
                  </a:lnTo>
                  <a:lnTo>
                    <a:pt x="7099" y="11654"/>
                  </a:lnTo>
                  <a:lnTo>
                    <a:pt x="7099" y="11654"/>
                  </a:lnTo>
                  <a:lnTo>
                    <a:pt x="7099" y="11442"/>
                  </a:lnTo>
                  <a:lnTo>
                    <a:pt x="7099" y="11442"/>
                  </a:lnTo>
                  <a:lnTo>
                    <a:pt x="7099" y="11442"/>
                  </a:lnTo>
                  <a:lnTo>
                    <a:pt x="6816" y="11654"/>
                  </a:lnTo>
                  <a:lnTo>
                    <a:pt x="6499" y="12042"/>
                  </a:lnTo>
                  <a:lnTo>
                    <a:pt x="6110" y="12607"/>
                  </a:lnTo>
                  <a:lnTo>
                    <a:pt x="5898" y="12960"/>
                  </a:lnTo>
                  <a:lnTo>
                    <a:pt x="5686" y="13349"/>
                  </a:lnTo>
                  <a:lnTo>
                    <a:pt x="5474" y="13808"/>
                  </a:lnTo>
                  <a:lnTo>
                    <a:pt x="5263" y="14302"/>
                  </a:lnTo>
                  <a:lnTo>
                    <a:pt x="5051" y="14867"/>
                  </a:lnTo>
                  <a:lnTo>
                    <a:pt x="4839" y="15503"/>
                  </a:lnTo>
                  <a:lnTo>
                    <a:pt x="4662" y="16174"/>
                  </a:lnTo>
                  <a:lnTo>
                    <a:pt x="4486" y="16880"/>
                  </a:lnTo>
                  <a:lnTo>
                    <a:pt x="4344" y="17657"/>
                  </a:lnTo>
                  <a:lnTo>
                    <a:pt x="4203" y="18504"/>
                  </a:lnTo>
                  <a:lnTo>
                    <a:pt x="4203" y="18504"/>
                  </a:lnTo>
                  <a:lnTo>
                    <a:pt x="4168" y="19458"/>
                  </a:lnTo>
                  <a:lnTo>
                    <a:pt x="4168" y="20411"/>
                  </a:lnTo>
                  <a:lnTo>
                    <a:pt x="4168" y="21400"/>
                  </a:lnTo>
                  <a:lnTo>
                    <a:pt x="4239" y="22389"/>
                  </a:lnTo>
                  <a:lnTo>
                    <a:pt x="4415" y="24366"/>
                  </a:lnTo>
                  <a:lnTo>
                    <a:pt x="4627" y="26203"/>
                  </a:lnTo>
                  <a:lnTo>
                    <a:pt x="4839" y="27827"/>
                  </a:lnTo>
                  <a:lnTo>
                    <a:pt x="5015" y="29098"/>
                  </a:lnTo>
                  <a:lnTo>
                    <a:pt x="5227" y="30299"/>
                  </a:lnTo>
                  <a:lnTo>
                    <a:pt x="5227" y="30299"/>
                  </a:lnTo>
                  <a:lnTo>
                    <a:pt x="4097" y="30476"/>
                  </a:lnTo>
                  <a:lnTo>
                    <a:pt x="2861" y="30652"/>
                  </a:lnTo>
                  <a:lnTo>
                    <a:pt x="2296" y="30723"/>
                  </a:lnTo>
                  <a:lnTo>
                    <a:pt x="1802" y="30758"/>
                  </a:lnTo>
                  <a:lnTo>
                    <a:pt x="1413" y="30723"/>
                  </a:lnTo>
                  <a:lnTo>
                    <a:pt x="1272" y="30723"/>
                  </a:lnTo>
                  <a:lnTo>
                    <a:pt x="1166" y="30652"/>
                  </a:lnTo>
                  <a:lnTo>
                    <a:pt x="1166" y="30652"/>
                  </a:lnTo>
                  <a:lnTo>
                    <a:pt x="813" y="28251"/>
                  </a:lnTo>
                  <a:lnTo>
                    <a:pt x="566" y="26556"/>
                  </a:lnTo>
                  <a:lnTo>
                    <a:pt x="354" y="24649"/>
                  </a:lnTo>
                  <a:lnTo>
                    <a:pt x="142" y="22671"/>
                  </a:lnTo>
                  <a:lnTo>
                    <a:pt x="72" y="21683"/>
                  </a:lnTo>
                  <a:lnTo>
                    <a:pt x="36" y="20764"/>
                  </a:lnTo>
                  <a:lnTo>
                    <a:pt x="1" y="19846"/>
                  </a:lnTo>
                  <a:lnTo>
                    <a:pt x="36" y="19034"/>
                  </a:lnTo>
                  <a:lnTo>
                    <a:pt x="72" y="18257"/>
                  </a:lnTo>
                  <a:lnTo>
                    <a:pt x="177" y="17586"/>
                  </a:lnTo>
                  <a:lnTo>
                    <a:pt x="177" y="17586"/>
                  </a:lnTo>
                  <a:lnTo>
                    <a:pt x="283" y="16986"/>
                  </a:lnTo>
                  <a:lnTo>
                    <a:pt x="460" y="16280"/>
                  </a:lnTo>
                  <a:lnTo>
                    <a:pt x="637" y="15503"/>
                  </a:lnTo>
                  <a:lnTo>
                    <a:pt x="884" y="14691"/>
                  </a:lnTo>
                  <a:lnTo>
                    <a:pt x="1166" y="13808"/>
                  </a:lnTo>
                  <a:lnTo>
                    <a:pt x="1484" y="12890"/>
                  </a:lnTo>
                  <a:lnTo>
                    <a:pt x="1837" y="11971"/>
                  </a:lnTo>
                  <a:lnTo>
                    <a:pt x="2226" y="11018"/>
                  </a:lnTo>
                  <a:lnTo>
                    <a:pt x="2649" y="10065"/>
                  </a:lnTo>
                  <a:lnTo>
                    <a:pt x="3109" y="9111"/>
                  </a:lnTo>
                  <a:lnTo>
                    <a:pt x="3603" y="8193"/>
                  </a:lnTo>
                  <a:lnTo>
                    <a:pt x="4133" y="7310"/>
                  </a:lnTo>
                  <a:lnTo>
                    <a:pt x="4698" y="6463"/>
                  </a:lnTo>
                  <a:lnTo>
                    <a:pt x="5298" y="5686"/>
                  </a:lnTo>
                  <a:lnTo>
                    <a:pt x="5934" y="4944"/>
                  </a:lnTo>
                  <a:lnTo>
                    <a:pt x="6287" y="4626"/>
                  </a:lnTo>
                  <a:lnTo>
                    <a:pt x="6605" y="4308"/>
                  </a:lnTo>
                  <a:lnTo>
                    <a:pt x="6605" y="4308"/>
                  </a:lnTo>
                  <a:lnTo>
                    <a:pt x="7099" y="3920"/>
                  </a:lnTo>
                  <a:lnTo>
                    <a:pt x="7629" y="3532"/>
                  </a:lnTo>
                  <a:lnTo>
                    <a:pt x="8229" y="3143"/>
                  </a:lnTo>
                  <a:lnTo>
                    <a:pt x="8865" y="2755"/>
                  </a:lnTo>
                  <a:lnTo>
                    <a:pt x="10171" y="2013"/>
                  </a:lnTo>
                  <a:lnTo>
                    <a:pt x="11442" y="1377"/>
                  </a:lnTo>
                  <a:lnTo>
                    <a:pt x="12608" y="812"/>
                  </a:lnTo>
                  <a:lnTo>
                    <a:pt x="13597" y="389"/>
                  </a:lnTo>
                  <a:lnTo>
                    <a:pt x="14479" y="0"/>
                  </a:lnTo>
                  <a:lnTo>
                    <a:pt x="14479" y="0"/>
                  </a:lnTo>
                  <a:lnTo>
                    <a:pt x="14479" y="318"/>
                  </a:lnTo>
                  <a:lnTo>
                    <a:pt x="14479" y="706"/>
                  </a:lnTo>
                  <a:lnTo>
                    <a:pt x="14409" y="1836"/>
                  </a:lnTo>
                  <a:lnTo>
                    <a:pt x="14303" y="3214"/>
                  </a:lnTo>
                  <a:lnTo>
                    <a:pt x="14197" y="4838"/>
                  </a:lnTo>
                  <a:lnTo>
                    <a:pt x="14162" y="5721"/>
                  </a:lnTo>
                  <a:lnTo>
                    <a:pt x="14126" y="6639"/>
                  </a:lnTo>
                  <a:lnTo>
                    <a:pt x="14162" y="7557"/>
                  </a:lnTo>
                  <a:lnTo>
                    <a:pt x="14197" y="8475"/>
                  </a:lnTo>
                  <a:lnTo>
                    <a:pt x="14303" y="9429"/>
                  </a:lnTo>
                  <a:lnTo>
                    <a:pt x="14444" y="10347"/>
                  </a:lnTo>
                  <a:lnTo>
                    <a:pt x="14621" y="11265"/>
                  </a:lnTo>
                  <a:lnTo>
                    <a:pt x="14903" y="12148"/>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35" name="Google Shape;841;g2e0683f995c_0_0">
              <a:extLst>
                <a:ext uri="{FF2B5EF4-FFF2-40B4-BE49-F238E27FC236}">
                  <a16:creationId xmlns:a16="http://schemas.microsoft.com/office/drawing/2014/main" id="{A0AF0325-B5C0-6F01-979B-126C84A71349}"/>
                </a:ext>
              </a:extLst>
            </p:cNvPr>
            <p:cNvSpPr/>
            <p:nvPr/>
          </p:nvSpPr>
          <p:spPr>
            <a:xfrm>
              <a:off x="2059847" y="1102055"/>
              <a:ext cx="9361" cy="59893"/>
            </a:xfrm>
            <a:custGeom>
              <a:avLst/>
              <a:gdLst/>
              <a:ahLst/>
              <a:cxnLst/>
              <a:rect l="l" t="t" r="r" b="b"/>
              <a:pathLst>
                <a:path w="955" h="6110" extrusionOk="0">
                  <a:moveTo>
                    <a:pt x="954" y="5192"/>
                  </a:moveTo>
                  <a:lnTo>
                    <a:pt x="954" y="5192"/>
                  </a:lnTo>
                  <a:lnTo>
                    <a:pt x="954" y="6039"/>
                  </a:lnTo>
                  <a:lnTo>
                    <a:pt x="954" y="6039"/>
                  </a:lnTo>
                  <a:lnTo>
                    <a:pt x="919" y="6110"/>
                  </a:lnTo>
                  <a:lnTo>
                    <a:pt x="919" y="6110"/>
                  </a:lnTo>
                  <a:lnTo>
                    <a:pt x="954" y="6039"/>
                  </a:lnTo>
                  <a:lnTo>
                    <a:pt x="954" y="6039"/>
                  </a:lnTo>
                  <a:lnTo>
                    <a:pt x="954" y="5192"/>
                  </a:lnTo>
                  <a:close/>
                  <a:moveTo>
                    <a:pt x="778" y="3709"/>
                  </a:moveTo>
                  <a:lnTo>
                    <a:pt x="778" y="3709"/>
                  </a:lnTo>
                  <a:lnTo>
                    <a:pt x="919" y="4521"/>
                  </a:lnTo>
                  <a:lnTo>
                    <a:pt x="919" y="4521"/>
                  </a:lnTo>
                  <a:lnTo>
                    <a:pt x="919" y="4556"/>
                  </a:lnTo>
                  <a:lnTo>
                    <a:pt x="919" y="4556"/>
                  </a:lnTo>
                  <a:lnTo>
                    <a:pt x="919" y="4521"/>
                  </a:lnTo>
                  <a:lnTo>
                    <a:pt x="919" y="4521"/>
                  </a:lnTo>
                  <a:lnTo>
                    <a:pt x="778" y="3709"/>
                  </a:lnTo>
                  <a:close/>
                  <a:moveTo>
                    <a:pt x="1" y="283"/>
                  </a:moveTo>
                  <a:lnTo>
                    <a:pt x="1" y="283"/>
                  </a:lnTo>
                  <a:lnTo>
                    <a:pt x="1" y="283"/>
                  </a:lnTo>
                  <a:lnTo>
                    <a:pt x="1" y="283"/>
                  </a:lnTo>
                  <a:lnTo>
                    <a:pt x="72" y="742"/>
                  </a:lnTo>
                  <a:lnTo>
                    <a:pt x="213" y="1378"/>
                  </a:lnTo>
                  <a:lnTo>
                    <a:pt x="213" y="1378"/>
                  </a:lnTo>
                  <a:lnTo>
                    <a:pt x="72" y="742"/>
                  </a:lnTo>
                  <a:lnTo>
                    <a:pt x="1" y="283"/>
                  </a:lnTo>
                  <a:close/>
                  <a:moveTo>
                    <a:pt x="1" y="1"/>
                  </a:moveTo>
                  <a:lnTo>
                    <a:pt x="1" y="1"/>
                  </a:lnTo>
                  <a:lnTo>
                    <a:pt x="1" y="1"/>
                  </a:lnTo>
                  <a:lnTo>
                    <a:pt x="1" y="1"/>
                  </a:lnTo>
                  <a:lnTo>
                    <a:pt x="1" y="1"/>
                  </a:lnTo>
                  <a:lnTo>
                    <a:pt x="1" y="1"/>
                  </a:lnTo>
                  <a:lnTo>
                    <a:pt x="1" y="1"/>
                  </a:lnTo>
                  <a:close/>
                </a:path>
              </a:pathLst>
            </a:custGeom>
            <a:solidFill>
              <a:srgbClr val="C1C1C8"/>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36" name="Google Shape;842;g2e0683f995c_0_0">
              <a:extLst>
                <a:ext uri="{FF2B5EF4-FFF2-40B4-BE49-F238E27FC236}">
                  <a16:creationId xmlns:a16="http://schemas.microsoft.com/office/drawing/2014/main" id="{A1C5BAF6-DBCC-650B-16B7-EBE64EC34A54}"/>
                </a:ext>
              </a:extLst>
            </p:cNvPr>
            <p:cNvSpPr/>
            <p:nvPr/>
          </p:nvSpPr>
          <p:spPr>
            <a:xfrm>
              <a:off x="2068856" y="1152940"/>
              <a:ext cx="353" cy="9008"/>
            </a:xfrm>
            <a:custGeom>
              <a:avLst/>
              <a:gdLst/>
              <a:ahLst/>
              <a:cxnLst/>
              <a:rect l="l" t="t" r="r" b="b"/>
              <a:pathLst>
                <a:path w="36" h="919" fill="none" extrusionOk="0">
                  <a:moveTo>
                    <a:pt x="35" y="1"/>
                  </a:moveTo>
                  <a:lnTo>
                    <a:pt x="35" y="1"/>
                  </a:lnTo>
                  <a:lnTo>
                    <a:pt x="35" y="848"/>
                  </a:lnTo>
                  <a:lnTo>
                    <a:pt x="35" y="848"/>
                  </a:lnTo>
                  <a:lnTo>
                    <a:pt x="0" y="919"/>
                  </a:lnTo>
                  <a:lnTo>
                    <a:pt x="0" y="919"/>
                  </a:lnTo>
                  <a:lnTo>
                    <a:pt x="35" y="848"/>
                  </a:lnTo>
                  <a:lnTo>
                    <a:pt x="35" y="848"/>
                  </a:lnTo>
                  <a:lnTo>
                    <a:pt x="35"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37" name="Google Shape;843;g2e0683f995c_0_0">
              <a:extLst>
                <a:ext uri="{FF2B5EF4-FFF2-40B4-BE49-F238E27FC236}">
                  <a16:creationId xmlns:a16="http://schemas.microsoft.com/office/drawing/2014/main" id="{8FBBAB6F-37FF-E5E8-26BC-9EBC75F4BC46}"/>
                </a:ext>
              </a:extLst>
            </p:cNvPr>
            <p:cNvSpPr/>
            <p:nvPr/>
          </p:nvSpPr>
          <p:spPr>
            <a:xfrm>
              <a:off x="2067464" y="1138403"/>
              <a:ext cx="1402" cy="8322"/>
            </a:xfrm>
            <a:custGeom>
              <a:avLst/>
              <a:gdLst/>
              <a:ahLst/>
              <a:cxnLst/>
              <a:rect l="l" t="t" r="r" b="b"/>
              <a:pathLst>
                <a:path w="143" h="849" fill="none" extrusionOk="0">
                  <a:moveTo>
                    <a:pt x="1" y="1"/>
                  </a:moveTo>
                  <a:lnTo>
                    <a:pt x="1" y="1"/>
                  </a:lnTo>
                  <a:lnTo>
                    <a:pt x="142" y="813"/>
                  </a:lnTo>
                  <a:lnTo>
                    <a:pt x="142" y="813"/>
                  </a:lnTo>
                  <a:lnTo>
                    <a:pt x="142" y="848"/>
                  </a:lnTo>
                  <a:lnTo>
                    <a:pt x="142" y="848"/>
                  </a:lnTo>
                  <a:lnTo>
                    <a:pt x="142" y="813"/>
                  </a:lnTo>
                  <a:lnTo>
                    <a:pt x="142" y="813"/>
                  </a:lnTo>
                  <a:lnTo>
                    <a:pt x="1"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38" name="Google Shape;844;g2e0683f995c_0_0">
              <a:extLst>
                <a:ext uri="{FF2B5EF4-FFF2-40B4-BE49-F238E27FC236}">
                  <a16:creationId xmlns:a16="http://schemas.microsoft.com/office/drawing/2014/main" id="{A0B019E0-FEA3-A6EE-F0F6-451E13B8C6BC}"/>
                </a:ext>
              </a:extLst>
            </p:cNvPr>
            <p:cNvSpPr/>
            <p:nvPr/>
          </p:nvSpPr>
          <p:spPr>
            <a:xfrm>
              <a:off x="2059847" y="1104829"/>
              <a:ext cx="2088" cy="10734"/>
            </a:xfrm>
            <a:custGeom>
              <a:avLst/>
              <a:gdLst/>
              <a:ahLst/>
              <a:cxnLst/>
              <a:rect l="l" t="t" r="r" b="b"/>
              <a:pathLst>
                <a:path w="213" h="1095" fill="none" extrusionOk="0">
                  <a:moveTo>
                    <a:pt x="1" y="0"/>
                  </a:moveTo>
                  <a:lnTo>
                    <a:pt x="1" y="0"/>
                  </a:lnTo>
                  <a:lnTo>
                    <a:pt x="1" y="0"/>
                  </a:lnTo>
                  <a:lnTo>
                    <a:pt x="1" y="0"/>
                  </a:lnTo>
                  <a:lnTo>
                    <a:pt x="72" y="459"/>
                  </a:lnTo>
                  <a:lnTo>
                    <a:pt x="213" y="1095"/>
                  </a:lnTo>
                  <a:lnTo>
                    <a:pt x="213" y="1095"/>
                  </a:lnTo>
                  <a:lnTo>
                    <a:pt x="72" y="459"/>
                  </a:lnTo>
                  <a:lnTo>
                    <a:pt x="1"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39" name="Google Shape;845;g2e0683f995c_0_0">
              <a:extLst>
                <a:ext uri="{FF2B5EF4-FFF2-40B4-BE49-F238E27FC236}">
                  <a16:creationId xmlns:a16="http://schemas.microsoft.com/office/drawing/2014/main" id="{F61AF948-3530-2F16-6733-5B6C88A877E5}"/>
                </a:ext>
              </a:extLst>
            </p:cNvPr>
            <p:cNvSpPr/>
            <p:nvPr/>
          </p:nvSpPr>
          <p:spPr>
            <a:xfrm>
              <a:off x="2059847" y="1102055"/>
              <a:ext cx="10" cy="10"/>
            </a:xfrm>
            <a:custGeom>
              <a:avLst/>
              <a:gdLst/>
              <a:ahLst/>
              <a:cxnLst/>
              <a:rect l="l" t="t" r="r" b="b"/>
              <a:pathLst>
                <a:path w="1" h="1" fill="none" extrusionOk="0">
                  <a:moveTo>
                    <a:pt x="1" y="1"/>
                  </a:moveTo>
                  <a:lnTo>
                    <a:pt x="1" y="1"/>
                  </a:lnTo>
                  <a:lnTo>
                    <a:pt x="1" y="1"/>
                  </a:lnTo>
                  <a:lnTo>
                    <a:pt x="1" y="1"/>
                  </a:lnTo>
                  <a:lnTo>
                    <a:pt x="1" y="1"/>
                  </a:lnTo>
                  <a:lnTo>
                    <a:pt x="1" y="1"/>
                  </a:lnTo>
                  <a:lnTo>
                    <a:pt x="1"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40" name="Google Shape;846;g2e0683f995c_0_0">
              <a:extLst>
                <a:ext uri="{FF2B5EF4-FFF2-40B4-BE49-F238E27FC236}">
                  <a16:creationId xmlns:a16="http://schemas.microsoft.com/office/drawing/2014/main" id="{5BBF6D00-6ED0-E86F-5EE0-11053DAE5843}"/>
                </a:ext>
              </a:extLst>
            </p:cNvPr>
            <p:cNvSpPr/>
            <p:nvPr/>
          </p:nvSpPr>
          <p:spPr>
            <a:xfrm>
              <a:off x="2059847" y="1089253"/>
              <a:ext cx="22163" cy="89663"/>
            </a:xfrm>
            <a:custGeom>
              <a:avLst/>
              <a:gdLst/>
              <a:ahLst/>
              <a:cxnLst/>
              <a:rect l="l" t="t" r="r" b="b"/>
              <a:pathLst>
                <a:path w="2261" h="9147" extrusionOk="0">
                  <a:moveTo>
                    <a:pt x="2226" y="0"/>
                  </a:moveTo>
                  <a:lnTo>
                    <a:pt x="1978" y="106"/>
                  </a:lnTo>
                  <a:lnTo>
                    <a:pt x="1378" y="424"/>
                  </a:lnTo>
                  <a:lnTo>
                    <a:pt x="637" y="848"/>
                  </a:lnTo>
                  <a:lnTo>
                    <a:pt x="283" y="1060"/>
                  </a:lnTo>
                  <a:lnTo>
                    <a:pt x="1" y="1307"/>
                  </a:lnTo>
                  <a:lnTo>
                    <a:pt x="1" y="1589"/>
                  </a:lnTo>
                  <a:lnTo>
                    <a:pt x="72" y="2048"/>
                  </a:lnTo>
                  <a:lnTo>
                    <a:pt x="213" y="2684"/>
                  </a:lnTo>
                  <a:lnTo>
                    <a:pt x="495" y="3743"/>
                  </a:lnTo>
                  <a:lnTo>
                    <a:pt x="742" y="4909"/>
                  </a:lnTo>
                  <a:lnTo>
                    <a:pt x="778" y="5015"/>
                  </a:lnTo>
                  <a:lnTo>
                    <a:pt x="919" y="5827"/>
                  </a:lnTo>
                  <a:lnTo>
                    <a:pt x="919" y="5862"/>
                  </a:lnTo>
                  <a:lnTo>
                    <a:pt x="954" y="6145"/>
                  </a:lnTo>
                  <a:lnTo>
                    <a:pt x="954" y="6498"/>
                  </a:lnTo>
                  <a:lnTo>
                    <a:pt x="954" y="7345"/>
                  </a:lnTo>
                  <a:lnTo>
                    <a:pt x="919" y="7416"/>
                  </a:lnTo>
                  <a:lnTo>
                    <a:pt x="919" y="7804"/>
                  </a:lnTo>
                  <a:lnTo>
                    <a:pt x="954" y="8228"/>
                  </a:lnTo>
                  <a:lnTo>
                    <a:pt x="954" y="8687"/>
                  </a:lnTo>
                  <a:lnTo>
                    <a:pt x="954" y="9146"/>
                  </a:lnTo>
                  <a:lnTo>
                    <a:pt x="990" y="9076"/>
                  </a:lnTo>
                  <a:lnTo>
                    <a:pt x="990" y="8970"/>
                  </a:lnTo>
                  <a:lnTo>
                    <a:pt x="990" y="8899"/>
                  </a:lnTo>
                  <a:lnTo>
                    <a:pt x="1025" y="8793"/>
                  </a:lnTo>
                  <a:lnTo>
                    <a:pt x="1096" y="8581"/>
                  </a:lnTo>
                  <a:lnTo>
                    <a:pt x="1202" y="8263"/>
                  </a:lnTo>
                  <a:lnTo>
                    <a:pt x="1413" y="7310"/>
                  </a:lnTo>
                  <a:lnTo>
                    <a:pt x="1625" y="6074"/>
                  </a:lnTo>
                  <a:lnTo>
                    <a:pt x="1837" y="4662"/>
                  </a:lnTo>
                  <a:lnTo>
                    <a:pt x="2049" y="3214"/>
                  </a:lnTo>
                  <a:lnTo>
                    <a:pt x="2190" y="1872"/>
                  </a:lnTo>
                  <a:lnTo>
                    <a:pt x="2261" y="742"/>
                  </a:lnTo>
                  <a:lnTo>
                    <a:pt x="2261" y="318"/>
                  </a:lnTo>
                  <a:lnTo>
                    <a:pt x="2226" y="0"/>
                  </a:lnTo>
                  <a:close/>
                </a:path>
              </a:pathLst>
            </a:custGeom>
            <a:solidFill>
              <a:srgbClr val="AF343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41" name="Google Shape;847;g2e0683f995c_0_0">
              <a:extLst>
                <a:ext uri="{FF2B5EF4-FFF2-40B4-BE49-F238E27FC236}">
                  <a16:creationId xmlns:a16="http://schemas.microsoft.com/office/drawing/2014/main" id="{8FCA13C0-32F1-8DE6-9AA4-AD8A6F537FDE}"/>
                </a:ext>
              </a:extLst>
            </p:cNvPr>
            <p:cNvSpPr/>
            <p:nvPr/>
          </p:nvSpPr>
          <p:spPr>
            <a:xfrm>
              <a:off x="2059847" y="1089253"/>
              <a:ext cx="22163" cy="89663"/>
            </a:xfrm>
            <a:custGeom>
              <a:avLst/>
              <a:gdLst/>
              <a:ahLst/>
              <a:cxnLst/>
              <a:rect l="l" t="t" r="r" b="b"/>
              <a:pathLst>
                <a:path w="2261" h="9147" fill="none" extrusionOk="0">
                  <a:moveTo>
                    <a:pt x="2226" y="0"/>
                  </a:moveTo>
                  <a:lnTo>
                    <a:pt x="2226" y="0"/>
                  </a:lnTo>
                  <a:lnTo>
                    <a:pt x="1978" y="106"/>
                  </a:lnTo>
                  <a:lnTo>
                    <a:pt x="1378" y="424"/>
                  </a:lnTo>
                  <a:lnTo>
                    <a:pt x="637" y="848"/>
                  </a:lnTo>
                  <a:lnTo>
                    <a:pt x="283" y="1060"/>
                  </a:lnTo>
                  <a:lnTo>
                    <a:pt x="1" y="1307"/>
                  </a:lnTo>
                  <a:lnTo>
                    <a:pt x="1" y="1307"/>
                  </a:lnTo>
                  <a:lnTo>
                    <a:pt x="1" y="1307"/>
                  </a:lnTo>
                  <a:lnTo>
                    <a:pt x="1" y="1307"/>
                  </a:lnTo>
                  <a:lnTo>
                    <a:pt x="1" y="1589"/>
                  </a:lnTo>
                  <a:lnTo>
                    <a:pt x="1" y="1589"/>
                  </a:lnTo>
                  <a:lnTo>
                    <a:pt x="72" y="2048"/>
                  </a:lnTo>
                  <a:lnTo>
                    <a:pt x="213" y="2684"/>
                  </a:lnTo>
                  <a:lnTo>
                    <a:pt x="213" y="2684"/>
                  </a:lnTo>
                  <a:lnTo>
                    <a:pt x="495" y="3743"/>
                  </a:lnTo>
                  <a:lnTo>
                    <a:pt x="742" y="4909"/>
                  </a:lnTo>
                  <a:lnTo>
                    <a:pt x="742" y="4909"/>
                  </a:lnTo>
                  <a:lnTo>
                    <a:pt x="778" y="5015"/>
                  </a:lnTo>
                  <a:lnTo>
                    <a:pt x="778" y="5015"/>
                  </a:lnTo>
                  <a:lnTo>
                    <a:pt x="919" y="5827"/>
                  </a:lnTo>
                  <a:lnTo>
                    <a:pt x="919" y="5827"/>
                  </a:lnTo>
                  <a:lnTo>
                    <a:pt x="919" y="5862"/>
                  </a:lnTo>
                  <a:lnTo>
                    <a:pt x="919" y="5862"/>
                  </a:lnTo>
                  <a:lnTo>
                    <a:pt x="954" y="6145"/>
                  </a:lnTo>
                  <a:lnTo>
                    <a:pt x="954" y="6498"/>
                  </a:lnTo>
                  <a:lnTo>
                    <a:pt x="954" y="6498"/>
                  </a:lnTo>
                  <a:lnTo>
                    <a:pt x="954" y="7345"/>
                  </a:lnTo>
                  <a:lnTo>
                    <a:pt x="954" y="7345"/>
                  </a:lnTo>
                  <a:lnTo>
                    <a:pt x="919" y="7416"/>
                  </a:lnTo>
                  <a:lnTo>
                    <a:pt x="919" y="7416"/>
                  </a:lnTo>
                  <a:lnTo>
                    <a:pt x="919" y="7804"/>
                  </a:lnTo>
                  <a:lnTo>
                    <a:pt x="954" y="8228"/>
                  </a:lnTo>
                  <a:lnTo>
                    <a:pt x="954" y="8687"/>
                  </a:lnTo>
                  <a:lnTo>
                    <a:pt x="954" y="9146"/>
                  </a:lnTo>
                  <a:lnTo>
                    <a:pt x="954" y="9146"/>
                  </a:lnTo>
                  <a:lnTo>
                    <a:pt x="990" y="9076"/>
                  </a:lnTo>
                  <a:lnTo>
                    <a:pt x="990" y="8970"/>
                  </a:lnTo>
                  <a:lnTo>
                    <a:pt x="990" y="8899"/>
                  </a:lnTo>
                  <a:lnTo>
                    <a:pt x="1025" y="8793"/>
                  </a:lnTo>
                  <a:lnTo>
                    <a:pt x="1025" y="8793"/>
                  </a:lnTo>
                  <a:lnTo>
                    <a:pt x="1096" y="8581"/>
                  </a:lnTo>
                  <a:lnTo>
                    <a:pt x="1202" y="8263"/>
                  </a:lnTo>
                  <a:lnTo>
                    <a:pt x="1413" y="7310"/>
                  </a:lnTo>
                  <a:lnTo>
                    <a:pt x="1625" y="6074"/>
                  </a:lnTo>
                  <a:lnTo>
                    <a:pt x="1837" y="4662"/>
                  </a:lnTo>
                  <a:lnTo>
                    <a:pt x="2049" y="3214"/>
                  </a:lnTo>
                  <a:lnTo>
                    <a:pt x="2190" y="1872"/>
                  </a:lnTo>
                  <a:lnTo>
                    <a:pt x="2261" y="742"/>
                  </a:lnTo>
                  <a:lnTo>
                    <a:pt x="2261" y="318"/>
                  </a:lnTo>
                  <a:lnTo>
                    <a:pt x="2226"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42" name="Google Shape;848;g2e0683f995c_0_0">
              <a:extLst>
                <a:ext uri="{FF2B5EF4-FFF2-40B4-BE49-F238E27FC236}">
                  <a16:creationId xmlns:a16="http://schemas.microsoft.com/office/drawing/2014/main" id="{642509A6-0FD8-328E-45CF-9A030AB00DCF}"/>
                </a:ext>
              </a:extLst>
            </p:cNvPr>
            <p:cNvSpPr/>
            <p:nvPr/>
          </p:nvSpPr>
          <p:spPr>
            <a:xfrm>
              <a:off x="2063660" y="1015176"/>
              <a:ext cx="15929" cy="10391"/>
            </a:xfrm>
            <a:custGeom>
              <a:avLst/>
              <a:gdLst/>
              <a:ahLst/>
              <a:cxnLst/>
              <a:rect l="l" t="t" r="r" b="b"/>
              <a:pathLst>
                <a:path w="1625" h="1060" extrusionOk="0">
                  <a:moveTo>
                    <a:pt x="1519" y="0"/>
                  </a:moveTo>
                  <a:lnTo>
                    <a:pt x="1166" y="212"/>
                  </a:lnTo>
                  <a:lnTo>
                    <a:pt x="777" y="459"/>
                  </a:lnTo>
                  <a:lnTo>
                    <a:pt x="0" y="1059"/>
                  </a:lnTo>
                  <a:lnTo>
                    <a:pt x="0" y="1059"/>
                  </a:lnTo>
                  <a:lnTo>
                    <a:pt x="777" y="530"/>
                  </a:lnTo>
                  <a:lnTo>
                    <a:pt x="1625" y="35"/>
                  </a:lnTo>
                  <a:lnTo>
                    <a:pt x="1519" y="0"/>
                  </a:lnTo>
                  <a:close/>
                </a:path>
              </a:pathLst>
            </a:custGeom>
            <a:solidFill>
              <a:srgbClr val="D7D7DB"/>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43" name="Google Shape;849;g2e0683f995c_0_0">
              <a:extLst>
                <a:ext uri="{FF2B5EF4-FFF2-40B4-BE49-F238E27FC236}">
                  <a16:creationId xmlns:a16="http://schemas.microsoft.com/office/drawing/2014/main" id="{B5985E5E-4CFD-8F5A-E7A5-D83B1EFF8E0D}"/>
                </a:ext>
              </a:extLst>
            </p:cNvPr>
            <p:cNvSpPr/>
            <p:nvPr/>
          </p:nvSpPr>
          <p:spPr>
            <a:xfrm>
              <a:off x="2063660" y="1015176"/>
              <a:ext cx="15929" cy="10391"/>
            </a:xfrm>
            <a:custGeom>
              <a:avLst/>
              <a:gdLst/>
              <a:ahLst/>
              <a:cxnLst/>
              <a:rect l="l" t="t" r="r" b="b"/>
              <a:pathLst>
                <a:path w="1625" h="1060" fill="none" extrusionOk="0">
                  <a:moveTo>
                    <a:pt x="1519" y="0"/>
                  </a:moveTo>
                  <a:lnTo>
                    <a:pt x="1519" y="0"/>
                  </a:lnTo>
                  <a:lnTo>
                    <a:pt x="1166" y="212"/>
                  </a:lnTo>
                  <a:lnTo>
                    <a:pt x="777" y="459"/>
                  </a:lnTo>
                  <a:lnTo>
                    <a:pt x="0" y="1059"/>
                  </a:lnTo>
                  <a:lnTo>
                    <a:pt x="0" y="1059"/>
                  </a:lnTo>
                  <a:lnTo>
                    <a:pt x="777" y="530"/>
                  </a:lnTo>
                  <a:lnTo>
                    <a:pt x="1625" y="35"/>
                  </a:lnTo>
                  <a:lnTo>
                    <a:pt x="1625" y="35"/>
                  </a:lnTo>
                  <a:lnTo>
                    <a:pt x="1519"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44" name="Google Shape;850;g2e0683f995c_0_0">
              <a:extLst>
                <a:ext uri="{FF2B5EF4-FFF2-40B4-BE49-F238E27FC236}">
                  <a16:creationId xmlns:a16="http://schemas.microsoft.com/office/drawing/2014/main" id="{A9C2F26E-6BDF-7B03-E702-B79585281CB7}"/>
                </a:ext>
              </a:extLst>
            </p:cNvPr>
            <p:cNvSpPr/>
            <p:nvPr/>
          </p:nvSpPr>
          <p:spPr>
            <a:xfrm>
              <a:off x="2129082" y="1006167"/>
              <a:ext cx="33583" cy="32897"/>
            </a:xfrm>
            <a:custGeom>
              <a:avLst/>
              <a:gdLst/>
              <a:ahLst/>
              <a:cxnLst/>
              <a:rect l="l" t="t" r="r" b="b"/>
              <a:pathLst>
                <a:path w="3426" h="3356" extrusionOk="0">
                  <a:moveTo>
                    <a:pt x="3073" y="1"/>
                  </a:moveTo>
                  <a:lnTo>
                    <a:pt x="2967" y="36"/>
                  </a:lnTo>
                  <a:lnTo>
                    <a:pt x="2790" y="213"/>
                  </a:lnTo>
                  <a:lnTo>
                    <a:pt x="2649" y="425"/>
                  </a:lnTo>
                  <a:lnTo>
                    <a:pt x="2437" y="601"/>
                  </a:lnTo>
                  <a:lnTo>
                    <a:pt x="1943" y="954"/>
                  </a:lnTo>
                  <a:lnTo>
                    <a:pt x="1378" y="1272"/>
                  </a:lnTo>
                  <a:lnTo>
                    <a:pt x="777" y="1590"/>
                  </a:lnTo>
                  <a:lnTo>
                    <a:pt x="107" y="1873"/>
                  </a:lnTo>
                  <a:lnTo>
                    <a:pt x="1" y="3356"/>
                  </a:lnTo>
                  <a:lnTo>
                    <a:pt x="318" y="3214"/>
                  </a:lnTo>
                  <a:lnTo>
                    <a:pt x="601" y="3038"/>
                  </a:lnTo>
                  <a:lnTo>
                    <a:pt x="1131" y="2649"/>
                  </a:lnTo>
                  <a:lnTo>
                    <a:pt x="1625" y="2190"/>
                  </a:lnTo>
                  <a:lnTo>
                    <a:pt x="2049" y="1767"/>
                  </a:lnTo>
                  <a:lnTo>
                    <a:pt x="2720" y="990"/>
                  </a:lnTo>
                  <a:lnTo>
                    <a:pt x="2896" y="742"/>
                  </a:lnTo>
                  <a:lnTo>
                    <a:pt x="3038" y="672"/>
                  </a:lnTo>
                  <a:lnTo>
                    <a:pt x="3143" y="672"/>
                  </a:lnTo>
                  <a:lnTo>
                    <a:pt x="3214" y="566"/>
                  </a:lnTo>
                  <a:lnTo>
                    <a:pt x="3320" y="460"/>
                  </a:lnTo>
                  <a:lnTo>
                    <a:pt x="3391" y="354"/>
                  </a:lnTo>
                  <a:lnTo>
                    <a:pt x="3426" y="213"/>
                  </a:lnTo>
                  <a:lnTo>
                    <a:pt x="3426" y="107"/>
                  </a:lnTo>
                  <a:lnTo>
                    <a:pt x="3355" y="36"/>
                  </a:lnTo>
                  <a:lnTo>
                    <a:pt x="3214" y="1"/>
                  </a:lnTo>
                  <a:close/>
                </a:path>
              </a:pathLst>
            </a:custGeom>
            <a:solidFill>
              <a:srgbClr val="D7D7DB"/>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45" name="Google Shape;851;g2e0683f995c_0_0">
              <a:extLst>
                <a:ext uri="{FF2B5EF4-FFF2-40B4-BE49-F238E27FC236}">
                  <a16:creationId xmlns:a16="http://schemas.microsoft.com/office/drawing/2014/main" id="{6D2452DF-F70B-BB03-54E1-F313263366C5}"/>
                </a:ext>
              </a:extLst>
            </p:cNvPr>
            <p:cNvSpPr/>
            <p:nvPr/>
          </p:nvSpPr>
          <p:spPr>
            <a:xfrm>
              <a:off x="2129082" y="1006167"/>
              <a:ext cx="33583" cy="32897"/>
            </a:xfrm>
            <a:custGeom>
              <a:avLst/>
              <a:gdLst/>
              <a:ahLst/>
              <a:cxnLst/>
              <a:rect l="l" t="t" r="r" b="b"/>
              <a:pathLst>
                <a:path w="3426" h="3356" fill="none" extrusionOk="0">
                  <a:moveTo>
                    <a:pt x="3214" y="1"/>
                  </a:moveTo>
                  <a:lnTo>
                    <a:pt x="3214" y="1"/>
                  </a:lnTo>
                  <a:lnTo>
                    <a:pt x="3073" y="1"/>
                  </a:lnTo>
                  <a:lnTo>
                    <a:pt x="2967" y="36"/>
                  </a:lnTo>
                  <a:lnTo>
                    <a:pt x="2790" y="213"/>
                  </a:lnTo>
                  <a:lnTo>
                    <a:pt x="2649" y="425"/>
                  </a:lnTo>
                  <a:lnTo>
                    <a:pt x="2437" y="601"/>
                  </a:lnTo>
                  <a:lnTo>
                    <a:pt x="2437" y="601"/>
                  </a:lnTo>
                  <a:lnTo>
                    <a:pt x="1943" y="954"/>
                  </a:lnTo>
                  <a:lnTo>
                    <a:pt x="1378" y="1272"/>
                  </a:lnTo>
                  <a:lnTo>
                    <a:pt x="777" y="1590"/>
                  </a:lnTo>
                  <a:lnTo>
                    <a:pt x="107" y="1873"/>
                  </a:lnTo>
                  <a:lnTo>
                    <a:pt x="107" y="1873"/>
                  </a:lnTo>
                  <a:lnTo>
                    <a:pt x="1" y="3356"/>
                  </a:lnTo>
                  <a:lnTo>
                    <a:pt x="1" y="3356"/>
                  </a:lnTo>
                  <a:lnTo>
                    <a:pt x="318" y="3214"/>
                  </a:lnTo>
                  <a:lnTo>
                    <a:pt x="601" y="3038"/>
                  </a:lnTo>
                  <a:lnTo>
                    <a:pt x="1131" y="2649"/>
                  </a:lnTo>
                  <a:lnTo>
                    <a:pt x="1625" y="2190"/>
                  </a:lnTo>
                  <a:lnTo>
                    <a:pt x="2049" y="1767"/>
                  </a:lnTo>
                  <a:lnTo>
                    <a:pt x="2720" y="990"/>
                  </a:lnTo>
                  <a:lnTo>
                    <a:pt x="2896" y="742"/>
                  </a:lnTo>
                  <a:lnTo>
                    <a:pt x="3038" y="672"/>
                  </a:lnTo>
                  <a:lnTo>
                    <a:pt x="3038" y="672"/>
                  </a:lnTo>
                  <a:lnTo>
                    <a:pt x="3038" y="672"/>
                  </a:lnTo>
                  <a:lnTo>
                    <a:pt x="3038" y="672"/>
                  </a:lnTo>
                  <a:lnTo>
                    <a:pt x="3073" y="672"/>
                  </a:lnTo>
                  <a:lnTo>
                    <a:pt x="3073" y="672"/>
                  </a:lnTo>
                  <a:lnTo>
                    <a:pt x="3143" y="672"/>
                  </a:lnTo>
                  <a:lnTo>
                    <a:pt x="3214" y="566"/>
                  </a:lnTo>
                  <a:lnTo>
                    <a:pt x="3320" y="460"/>
                  </a:lnTo>
                  <a:lnTo>
                    <a:pt x="3391" y="354"/>
                  </a:lnTo>
                  <a:lnTo>
                    <a:pt x="3426" y="213"/>
                  </a:lnTo>
                  <a:lnTo>
                    <a:pt x="3426" y="107"/>
                  </a:lnTo>
                  <a:lnTo>
                    <a:pt x="3355" y="36"/>
                  </a:lnTo>
                  <a:lnTo>
                    <a:pt x="3214" y="1"/>
                  </a:lnTo>
                  <a:lnTo>
                    <a:pt x="3214" y="1"/>
                  </a:lnTo>
                  <a:lnTo>
                    <a:pt x="3214"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46" name="Google Shape;852;g2e0683f995c_0_0">
              <a:extLst>
                <a:ext uri="{FF2B5EF4-FFF2-40B4-BE49-F238E27FC236}">
                  <a16:creationId xmlns:a16="http://schemas.microsoft.com/office/drawing/2014/main" id="{CC4629CC-06FD-2AFA-C52F-D5804311EBF2}"/>
                </a:ext>
              </a:extLst>
            </p:cNvPr>
            <p:cNvSpPr/>
            <p:nvPr/>
          </p:nvSpPr>
          <p:spPr>
            <a:xfrm>
              <a:off x="2055005" y="1015519"/>
              <a:ext cx="75126" cy="27359"/>
            </a:xfrm>
            <a:custGeom>
              <a:avLst/>
              <a:gdLst/>
              <a:ahLst/>
              <a:cxnLst/>
              <a:rect l="l" t="t" r="r" b="b"/>
              <a:pathLst>
                <a:path w="7664" h="2791" extrusionOk="0">
                  <a:moveTo>
                    <a:pt x="2508" y="0"/>
                  </a:moveTo>
                  <a:lnTo>
                    <a:pt x="1660" y="495"/>
                  </a:lnTo>
                  <a:lnTo>
                    <a:pt x="883" y="1024"/>
                  </a:lnTo>
                  <a:lnTo>
                    <a:pt x="1" y="1695"/>
                  </a:lnTo>
                  <a:lnTo>
                    <a:pt x="1484" y="2049"/>
                  </a:lnTo>
                  <a:lnTo>
                    <a:pt x="3073" y="2366"/>
                  </a:lnTo>
                  <a:lnTo>
                    <a:pt x="4591" y="2649"/>
                  </a:lnTo>
                  <a:lnTo>
                    <a:pt x="5262" y="2720"/>
                  </a:lnTo>
                  <a:lnTo>
                    <a:pt x="5863" y="2755"/>
                  </a:lnTo>
                  <a:lnTo>
                    <a:pt x="6004" y="2790"/>
                  </a:lnTo>
                  <a:lnTo>
                    <a:pt x="6322" y="2755"/>
                  </a:lnTo>
                  <a:lnTo>
                    <a:pt x="6675" y="2720"/>
                  </a:lnTo>
                  <a:lnTo>
                    <a:pt x="7028" y="2614"/>
                  </a:lnTo>
                  <a:lnTo>
                    <a:pt x="7346" y="2508"/>
                  </a:lnTo>
                  <a:lnTo>
                    <a:pt x="7558" y="2402"/>
                  </a:lnTo>
                  <a:lnTo>
                    <a:pt x="7664" y="919"/>
                  </a:lnTo>
                  <a:lnTo>
                    <a:pt x="7487" y="989"/>
                  </a:lnTo>
                  <a:lnTo>
                    <a:pt x="7098" y="1095"/>
                  </a:lnTo>
                  <a:lnTo>
                    <a:pt x="6710" y="1201"/>
                  </a:lnTo>
                  <a:lnTo>
                    <a:pt x="6286" y="1236"/>
                  </a:lnTo>
                  <a:lnTo>
                    <a:pt x="5863" y="1272"/>
                  </a:lnTo>
                  <a:lnTo>
                    <a:pt x="5827" y="1272"/>
                  </a:lnTo>
                  <a:lnTo>
                    <a:pt x="5509" y="1236"/>
                  </a:lnTo>
                  <a:lnTo>
                    <a:pt x="5156" y="1130"/>
                  </a:lnTo>
                  <a:lnTo>
                    <a:pt x="4768" y="989"/>
                  </a:lnTo>
                  <a:lnTo>
                    <a:pt x="4344" y="848"/>
                  </a:lnTo>
                  <a:lnTo>
                    <a:pt x="3461" y="424"/>
                  </a:lnTo>
                  <a:lnTo>
                    <a:pt x="2508" y="0"/>
                  </a:lnTo>
                  <a:close/>
                </a:path>
              </a:pathLst>
            </a:custGeom>
            <a:solidFill>
              <a:srgbClr val="C3373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47" name="Google Shape;853;g2e0683f995c_0_0">
              <a:extLst>
                <a:ext uri="{FF2B5EF4-FFF2-40B4-BE49-F238E27FC236}">
                  <a16:creationId xmlns:a16="http://schemas.microsoft.com/office/drawing/2014/main" id="{7CA88995-D011-C332-F42B-FB15B615C40F}"/>
                </a:ext>
              </a:extLst>
            </p:cNvPr>
            <p:cNvSpPr/>
            <p:nvPr/>
          </p:nvSpPr>
          <p:spPr>
            <a:xfrm>
              <a:off x="2055005" y="1015519"/>
              <a:ext cx="75126" cy="27359"/>
            </a:xfrm>
            <a:custGeom>
              <a:avLst/>
              <a:gdLst/>
              <a:ahLst/>
              <a:cxnLst/>
              <a:rect l="l" t="t" r="r" b="b"/>
              <a:pathLst>
                <a:path w="7664" h="2791" fill="none" extrusionOk="0">
                  <a:moveTo>
                    <a:pt x="2508" y="0"/>
                  </a:moveTo>
                  <a:lnTo>
                    <a:pt x="2508" y="0"/>
                  </a:lnTo>
                  <a:lnTo>
                    <a:pt x="1660" y="495"/>
                  </a:lnTo>
                  <a:lnTo>
                    <a:pt x="883" y="1024"/>
                  </a:lnTo>
                  <a:lnTo>
                    <a:pt x="883" y="1024"/>
                  </a:lnTo>
                  <a:lnTo>
                    <a:pt x="1" y="1695"/>
                  </a:lnTo>
                  <a:lnTo>
                    <a:pt x="1" y="1695"/>
                  </a:lnTo>
                  <a:lnTo>
                    <a:pt x="1" y="1695"/>
                  </a:lnTo>
                  <a:lnTo>
                    <a:pt x="1484" y="2049"/>
                  </a:lnTo>
                  <a:lnTo>
                    <a:pt x="3073" y="2366"/>
                  </a:lnTo>
                  <a:lnTo>
                    <a:pt x="4591" y="2649"/>
                  </a:lnTo>
                  <a:lnTo>
                    <a:pt x="5262" y="2720"/>
                  </a:lnTo>
                  <a:lnTo>
                    <a:pt x="5863" y="2755"/>
                  </a:lnTo>
                  <a:lnTo>
                    <a:pt x="5863" y="2755"/>
                  </a:lnTo>
                  <a:lnTo>
                    <a:pt x="6004" y="2790"/>
                  </a:lnTo>
                  <a:lnTo>
                    <a:pt x="6004" y="2790"/>
                  </a:lnTo>
                  <a:lnTo>
                    <a:pt x="6322" y="2755"/>
                  </a:lnTo>
                  <a:lnTo>
                    <a:pt x="6675" y="2720"/>
                  </a:lnTo>
                  <a:lnTo>
                    <a:pt x="7028" y="2614"/>
                  </a:lnTo>
                  <a:lnTo>
                    <a:pt x="7346" y="2508"/>
                  </a:lnTo>
                  <a:lnTo>
                    <a:pt x="7346" y="2508"/>
                  </a:lnTo>
                  <a:lnTo>
                    <a:pt x="7558" y="2402"/>
                  </a:lnTo>
                  <a:lnTo>
                    <a:pt x="7558" y="2402"/>
                  </a:lnTo>
                  <a:lnTo>
                    <a:pt x="7664" y="919"/>
                  </a:lnTo>
                  <a:lnTo>
                    <a:pt x="7664" y="919"/>
                  </a:lnTo>
                  <a:lnTo>
                    <a:pt x="7487" y="989"/>
                  </a:lnTo>
                  <a:lnTo>
                    <a:pt x="7487" y="989"/>
                  </a:lnTo>
                  <a:lnTo>
                    <a:pt x="7098" y="1095"/>
                  </a:lnTo>
                  <a:lnTo>
                    <a:pt x="6710" y="1201"/>
                  </a:lnTo>
                  <a:lnTo>
                    <a:pt x="6286" y="1236"/>
                  </a:lnTo>
                  <a:lnTo>
                    <a:pt x="5863" y="1272"/>
                  </a:lnTo>
                  <a:lnTo>
                    <a:pt x="5863" y="1272"/>
                  </a:lnTo>
                  <a:lnTo>
                    <a:pt x="5827" y="1272"/>
                  </a:lnTo>
                  <a:lnTo>
                    <a:pt x="5827" y="1272"/>
                  </a:lnTo>
                  <a:lnTo>
                    <a:pt x="5509" y="1236"/>
                  </a:lnTo>
                  <a:lnTo>
                    <a:pt x="5156" y="1130"/>
                  </a:lnTo>
                  <a:lnTo>
                    <a:pt x="4768" y="989"/>
                  </a:lnTo>
                  <a:lnTo>
                    <a:pt x="4344" y="848"/>
                  </a:lnTo>
                  <a:lnTo>
                    <a:pt x="3461" y="424"/>
                  </a:lnTo>
                  <a:lnTo>
                    <a:pt x="2508"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48" name="Google Shape;854;g2e0683f995c_0_0">
              <a:extLst>
                <a:ext uri="{FF2B5EF4-FFF2-40B4-BE49-F238E27FC236}">
                  <a16:creationId xmlns:a16="http://schemas.microsoft.com/office/drawing/2014/main" id="{F06B162A-DCEA-EB2C-5679-1834BBDB307C}"/>
                </a:ext>
              </a:extLst>
            </p:cNvPr>
            <p:cNvSpPr/>
            <p:nvPr/>
          </p:nvSpPr>
          <p:spPr>
            <a:xfrm>
              <a:off x="1829998" y="993708"/>
              <a:ext cx="337520" cy="51934"/>
            </a:xfrm>
            <a:custGeom>
              <a:avLst/>
              <a:gdLst/>
              <a:ahLst/>
              <a:cxnLst/>
              <a:rect l="l" t="t" r="r" b="b"/>
              <a:pathLst>
                <a:path w="34432" h="5298" extrusionOk="0">
                  <a:moveTo>
                    <a:pt x="19918" y="1"/>
                  </a:moveTo>
                  <a:lnTo>
                    <a:pt x="19353" y="36"/>
                  </a:lnTo>
                  <a:lnTo>
                    <a:pt x="18858" y="107"/>
                  </a:lnTo>
                  <a:lnTo>
                    <a:pt x="18364" y="248"/>
                  </a:lnTo>
                  <a:lnTo>
                    <a:pt x="17905" y="424"/>
                  </a:lnTo>
                  <a:lnTo>
                    <a:pt x="17481" y="601"/>
                  </a:lnTo>
                  <a:lnTo>
                    <a:pt x="17057" y="848"/>
                  </a:lnTo>
                  <a:lnTo>
                    <a:pt x="16669" y="1060"/>
                  </a:lnTo>
                  <a:lnTo>
                    <a:pt x="15821" y="1590"/>
                  </a:lnTo>
                  <a:lnTo>
                    <a:pt x="14938" y="2084"/>
                  </a:lnTo>
                  <a:lnTo>
                    <a:pt x="14479" y="2296"/>
                  </a:lnTo>
                  <a:lnTo>
                    <a:pt x="13950" y="2543"/>
                  </a:lnTo>
                  <a:lnTo>
                    <a:pt x="13385" y="2720"/>
                  </a:lnTo>
                  <a:lnTo>
                    <a:pt x="12784" y="2861"/>
                  </a:lnTo>
                  <a:lnTo>
                    <a:pt x="12113" y="3002"/>
                  </a:lnTo>
                  <a:lnTo>
                    <a:pt x="11372" y="3073"/>
                  </a:lnTo>
                  <a:lnTo>
                    <a:pt x="9853" y="3073"/>
                  </a:lnTo>
                  <a:lnTo>
                    <a:pt x="9112" y="3002"/>
                  </a:lnTo>
                  <a:lnTo>
                    <a:pt x="8370" y="2896"/>
                  </a:lnTo>
                  <a:lnTo>
                    <a:pt x="7629" y="2755"/>
                  </a:lnTo>
                  <a:lnTo>
                    <a:pt x="6922" y="2614"/>
                  </a:lnTo>
                  <a:lnTo>
                    <a:pt x="5580" y="2261"/>
                  </a:lnTo>
                  <a:lnTo>
                    <a:pt x="3356" y="1590"/>
                  </a:lnTo>
                  <a:lnTo>
                    <a:pt x="2543" y="1413"/>
                  </a:lnTo>
                  <a:lnTo>
                    <a:pt x="2190" y="1343"/>
                  </a:lnTo>
                  <a:lnTo>
                    <a:pt x="1943" y="1343"/>
                  </a:lnTo>
                  <a:lnTo>
                    <a:pt x="1131" y="1413"/>
                  </a:lnTo>
                  <a:lnTo>
                    <a:pt x="813" y="1484"/>
                  </a:lnTo>
                  <a:lnTo>
                    <a:pt x="531" y="1590"/>
                  </a:lnTo>
                  <a:lnTo>
                    <a:pt x="283" y="1660"/>
                  </a:lnTo>
                  <a:lnTo>
                    <a:pt x="142" y="1802"/>
                  </a:lnTo>
                  <a:lnTo>
                    <a:pt x="36" y="1943"/>
                  </a:lnTo>
                  <a:lnTo>
                    <a:pt x="1" y="2084"/>
                  </a:lnTo>
                  <a:lnTo>
                    <a:pt x="1" y="2296"/>
                  </a:lnTo>
                  <a:lnTo>
                    <a:pt x="72" y="2508"/>
                  </a:lnTo>
                  <a:lnTo>
                    <a:pt x="177" y="2755"/>
                  </a:lnTo>
                  <a:lnTo>
                    <a:pt x="354" y="2967"/>
                  </a:lnTo>
                  <a:lnTo>
                    <a:pt x="531" y="3214"/>
                  </a:lnTo>
                  <a:lnTo>
                    <a:pt x="742" y="3426"/>
                  </a:lnTo>
                  <a:lnTo>
                    <a:pt x="1025" y="3638"/>
                  </a:lnTo>
                  <a:lnTo>
                    <a:pt x="1307" y="3814"/>
                  </a:lnTo>
                  <a:lnTo>
                    <a:pt x="1519" y="3885"/>
                  </a:lnTo>
                  <a:lnTo>
                    <a:pt x="1872" y="3991"/>
                  </a:lnTo>
                  <a:lnTo>
                    <a:pt x="2932" y="4238"/>
                  </a:lnTo>
                  <a:lnTo>
                    <a:pt x="4309" y="4485"/>
                  </a:lnTo>
                  <a:lnTo>
                    <a:pt x="5898" y="4733"/>
                  </a:lnTo>
                  <a:lnTo>
                    <a:pt x="7523" y="4980"/>
                  </a:lnTo>
                  <a:lnTo>
                    <a:pt x="9041" y="5156"/>
                  </a:lnTo>
                  <a:lnTo>
                    <a:pt x="10383" y="5298"/>
                  </a:lnTo>
                  <a:lnTo>
                    <a:pt x="11336" y="5298"/>
                  </a:lnTo>
                  <a:lnTo>
                    <a:pt x="11937" y="5262"/>
                  </a:lnTo>
                  <a:lnTo>
                    <a:pt x="12537" y="5156"/>
                  </a:lnTo>
                  <a:lnTo>
                    <a:pt x="13102" y="5015"/>
                  </a:lnTo>
                  <a:lnTo>
                    <a:pt x="13667" y="4839"/>
                  </a:lnTo>
                  <a:lnTo>
                    <a:pt x="14232" y="4627"/>
                  </a:lnTo>
                  <a:lnTo>
                    <a:pt x="14797" y="4379"/>
                  </a:lnTo>
                  <a:lnTo>
                    <a:pt x="15892" y="3885"/>
                  </a:lnTo>
                  <a:lnTo>
                    <a:pt x="16916" y="3391"/>
                  </a:lnTo>
                  <a:lnTo>
                    <a:pt x="17869" y="2967"/>
                  </a:lnTo>
                  <a:lnTo>
                    <a:pt x="18328" y="2826"/>
                  </a:lnTo>
                  <a:lnTo>
                    <a:pt x="18752" y="2684"/>
                  </a:lnTo>
                  <a:lnTo>
                    <a:pt x="19176" y="2614"/>
                  </a:lnTo>
                  <a:lnTo>
                    <a:pt x="19564" y="2579"/>
                  </a:lnTo>
                  <a:lnTo>
                    <a:pt x="19953" y="2614"/>
                  </a:lnTo>
                  <a:lnTo>
                    <a:pt x="20412" y="2649"/>
                  </a:lnTo>
                  <a:lnTo>
                    <a:pt x="21436" y="2826"/>
                  </a:lnTo>
                  <a:lnTo>
                    <a:pt x="22566" y="3073"/>
                  </a:lnTo>
                  <a:lnTo>
                    <a:pt x="23731" y="3391"/>
                  </a:lnTo>
                  <a:lnTo>
                    <a:pt x="24932" y="3673"/>
                  </a:lnTo>
                  <a:lnTo>
                    <a:pt x="26097" y="3920"/>
                  </a:lnTo>
                  <a:lnTo>
                    <a:pt x="27192" y="4132"/>
                  </a:lnTo>
                  <a:lnTo>
                    <a:pt x="27722" y="4203"/>
                  </a:lnTo>
                  <a:lnTo>
                    <a:pt x="28181" y="4238"/>
                  </a:lnTo>
                  <a:lnTo>
                    <a:pt x="28675" y="4203"/>
                  </a:lnTo>
                  <a:lnTo>
                    <a:pt x="29170" y="4132"/>
                  </a:lnTo>
                  <a:lnTo>
                    <a:pt x="29664" y="4026"/>
                  </a:lnTo>
                  <a:lnTo>
                    <a:pt x="30123" y="3850"/>
                  </a:lnTo>
                  <a:lnTo>
                    <a:pt x="30547" y="3638"/>
                  </a:lnTo>
                  <a:lnTo>
                    <a:pt x="30971" y="3391"/>
                  </a:lnTo>
                  <a:lnTo>
                    <a:pt x="31394" y="3144"/>
                  </a:lnTo>
                  <a:lnTo>
                    <a:pt x="31783" y="2896"/>
                  </a:lnTo>
                  <a:lnTo>
                    <a:pt x="32418" y="2367"/>
                  </a:lnTo>
                  <a:lnTo>
                    <a:pt x="32948" y="1943"/>
                  </a:lnTo>
                  <a:lnTo>
                    <a:pt x="33301" y="1660"/>
                  </a:lnTo>
                  <a:lnTo>
                    <a:pt x="33407" y="1554"/>
                  </a:lnTo>
                  <a:lnTo>
                    <a:pt x="33478" y="1554"/>
                  </a:lnTo>
                  <a:lnTo>
                    <a:pt x="33584" y="1660"/>
                  </a:lnTo>
                  <a:lnTo>
                    <a:pt x="33725" y="1731"/>
                  </a:lnTo>
                  <a:lnTo>
                    <a:pt x="33902" y="1766"/>
                  </a:lnTo>
                  <a:lnTo>
                    <a:pt x="34149" y="1766"/>
                  </a:lnTo>
                  <a:lnTo>
                    <a:pt x="34219" y="1731"/>
                  </a:lnTo>
                  <a:lnTo>
                    <a:pt x="34290" y="1660"/>
                  </a:lnTo>
                  <a:lnTo>
                    <a:pt x="34396" y="1484"/>
                  </a:lnTo>
                  <a:lnTo>
                    <a:pt x="34431" y="1237"/>
                  </a:lnTo>
                  <a:lnTo>
                    <a:pt x="34431" y="989"/>
                  </a:lnTo>
                  <a:lnTo>
                    <a:pt x="34431" y="778"/>
                  </a:lnTo>
                  <a:lnTo>
                    <a:pt x="34361" y="636"/>
                  </a:lnTo>
                  <a:lnTo>
                    <a:pt x="34325" y="530"/>
                  </a:lnTo>
                  <a:lnTo>
                    <a:pt x="34219" y="424"/>
                  </a:lnTo>
                  <a:lnTo>
                    <a:pt x="34078" y="354"/>
                  </a:lnTo>
                  <a:lnTo>
                    <a:pt x="33937" y="283"/>
                  </a:lnTo>
                  <a:lnTo>
                    <a:pt x="33760" y="248"/>
                  </a:lnTo>
                  <a:lnTo>
                    <a:pt x="33478" y="283"/>
                  </a:lnTo>
                  <a:lnTo>
                    <a:pt x="33301" y="354"/>
                  </a:lnTo>
                  <a:lnTo>
                    <a:pt x="32878" y="672"/>
                  </a:lnTo>
                  <a:lnTo>
                    <a:pt x="32418" y="989"/>
                  </a:lnTo>
                  <a:lnTo>
                    <a:pt x="31924" y="1307"/>
                  </a:lnTo>
                  <a:lnTo>
                    <a:pt x="31394" y="1625"/>
                  </a:lnTo>
                  <a:lnTo>
                    <a:pt x="30794" y="1872"/>
                  </a:lnTo>
                  <a:lnTo>
                    <a:pt x="30194" y="2119"/>
                  </a:lnTo>
                  <a:lnTo>
                    <a:pt x="29523" y="2331"/>
                  </a:lnTo>
                  <a:lnTo>
                    <a:pt x="28852" y="2473"/>
                  </a:lnTo>
                  <a:lnTo>
                    <a:pt x="28499" y="2508"/>
                  </a:lnTo>
                  <a:lnTo>
                    <a:pt x="28146" y="2508"/>
                  </a:lnTo>
                  <a:lnTo>
                    <a:pt x="27757" y="2473"/>
                  </a:lnTo>
                  <a:lnTo>
                    <a:pt x="27333" y="2402"/>
                  </a:lnTo>
                  <a:lnTo>
                    <a:pt x="26874" y="2261"/>
                  </a:lnTo>
                  <a:lnTo>
                    <a:pt x="26380" y="2084"/>
                  </a:lnTo>
                  <a:lnTo>
                    <a:pt x="25285" y="1660"/>
                  </a:lnTo>
                  <a:lnTo>
                    <a:pt x="24120" y="1166"/>
                  </a:lnTo>
                  <a:lnTo>
                    <a:pt x="22884" y="672"/>
                  </a:lnTo>
                  <a:lnTo>
                    <a:pt x="22284" y="460"/>
                  </a:lnTo>
                  <a:lnTo>
                    <a:pt x="21648" y="283"/>
                  </a:lnTo>
                  <a:lnTo>
                    <a:pt x="21048" y="142"/>
                  </a:lnTo>
                  <a:lnTo>
                    <a:pt x="20483" y="36"/>
                  </a:lnTo>
                  <a:lnTo>
                    <a:pt x="19918" y="1"/>
                  </a:lnTo>
                  <a:close/>
                </a:path>
              </a:pathLst>
            </a:custGeom>
            <a:solidFill>
              <a:srgbClr val="FCBF0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49" name="Google Shape;855;g2e0683f995c_0_0">
              <a:extLst>
                <a:ext uri="{FF2B5EF4-FFF2-40B4-BE49-F238E27FC236}">
                  <a16:creationId xmlns:a16="http://schemas.microsoft.com/office/drawing/2014/main" id="{33CD7C27-A55C-212E-9B9A-DB361A5B2015}"/>
                </a:ext>
              </a:extLst>
            </p:cNvPr>
            <p:cNvSpPr/>
            <p:nvPr/>
          </p:nvSpPr>
          <p:spPr>
            <a:xfrm>
              <a:off x="2496705" y="2811396"/>
              <a:ext cx="18350" cy="22163"/>
            </a:xfrm>
            <a:custGeom>
              <a:avLst/>
              <a:gdLst/>
              <a:ahLst/>
              <a:cxnLst/>
              <a:rect l="l" t="t" r="r" b="b"/>
              <a:pathLst>
                <a:path w="1872" h="2261" extrusionOk="0">
                  <a:moveTo>
                    <a:pt x="1731" y="1907"/>
                  </a:moveTo>
                  <a:lnTo>
                    <a:pt x="1731" y="1907"/>
                  </a:lnTo>
                  <a:lnTo>
                    <a:pt x="0" y="2261"/>
                  </a:lnTo>
                  <a:lnTo>
                    <a:pt x="0" y="2261"/>
                  </a:lnTo>
                  <a:lnTo>
                    <a:pt x="1731" y="1907"/>
                  </a:lnTo>
                  <a:close/>
                  <a:moveTo>
                    <a:pt x="1872" y="1"/>
                  </a:moveTo>
                  <a:lnTo>
                    <a:pt x="1872" y="1"/>
                  </a:lnTo>
                  <a:lnTo>
                    <a:pt x="353" y="318"/>
                  </a:lnTo>
                  <a:lnTo>
                    <a:pt x="353" y="318"/>
                  </a:lnTo>
                  <a:lnTo>
                    <a:pt x="1872" y="1"/>
                  </a:lnTo>
                  <a:lnTo>
                    <a:pt x="1872" y="1"/>
                  </a:lnTo>
                  <a:close/>
                </a:path>
              </a:pathLst>
            </a:custGeom>
            <a:solidFill>
              <a:srgbClr val="DFDFE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50" name="Google Shape;856;g2e0683f995c_0_0">
              <a:extLst>
                <a:ext uri="{FF2B5EF4-FFF2-40B4-BE49-F238E27FC236}">
                  <a16:creationId xmlns:a16="http://schemas.microsoft.com/office/drawing/2014/main" id="{2AAADB65-BBAE-87E4-7D91-FB52121DCDC0}"/>
                </a:ext>
              </a:extLst>
            </p:cNvPr>
            <p:cNvSpPr/>
            <p:nvPr/>
          </p:nvSpPr>
          <p:spPr>
            <a:xfrm>
              <a:off x="2496705" y="2830089"/>
              <a:ext cx="16968" cy="3470"/>
            </a:xfrm>
            <a:custGeom>
              <a:avLst/>
              <a:gdLst/>
              <a:ahLst/>
              <a:cxnLst/>
              <a:rect l="l" t="t" r="r" b="b"/>
              <a:pathLst>
                <a:path w="1731" h="354" fill="none" extrusionOk="0">
                  <a:moveTo>
                    <a:pt x="1731" y="0"/>
                  </a:moveTo>
                  <a:lnTo>
                    <a:pt x="1731" y="0"/>
                  </a:lnTo>
                  <a:lnTo>
                    <a:pt x="0" y="354"/>
                  </a:lnTo>
                  <a:lnTo>
                    <a:pt x="0" y="354"/>
                  </a:lnTo>
                  <a:lnTo>
                    <a:pt x="1731"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51" name="Google Shape;857;g2e0683f995c_0_0">
              <a:extLst>
                <a:ext uri="{FF2B5EF4-FFF2-40B4-BE49-F238E27FC236}">
                  <a16:creationId xmlns:a16="http://schemas.microsoft.com/office/drawing/2014/main" id="{7852E3A3-E6A1-2578-EAD0-D1C90F10458B}"/>
                </a:ext>
              </a:extLst>
            </p:cNvPr>
            <p:cNvSpPr/>
            <p:nvPr/>
          </p:nvSpPr>
          <p:spPr>
            <a:xfrm>
              <a:off x="2500166" y="2811396"/>
              <a:ext cx="14890" cy="3127"/>
            </a:xfrm>
            <a:custGeom>
              <a:avLst/>
              <a:gdLst/>
              <a:ahLst/>
              <a:cxnLst/>
              <a:rect l="l" t="t" r="r" b="b"/>
              <a:pathLst>
                <a:path w="1519" h="319" fill="none" extrusionOk="0">
                  <a:moveTo>
                    <a:pt x="1519" y="1"/>
                  </a:moveTo>
                  <a:lnTo>
                    <a:pt x="1519" y="1"/>
                  </a:lnTo>
                  <a:lnTo>
                    <a:pt x="0" y="318"/>
                  </a:lnTo>
                  <a:lnTo>
                    <a:pt x="0" y="318"/>
                  </a:lnTo>
                  <a:lnTo>
                    <a:pt x="1519" y="1"/>
                  </a:lnTo>
                  <a:lnTo>
                    <a:pt x="1519"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52" name="Google Shape;858;g2e0683f995c_0_0">
              <a:extLst>
                <a:ext uri="{FF2B5EF4-FFF2-40B4-BE49-F238E27FC236}">
                  <a16:creationId xmlns:a16="http://schemas.microsoft.com/office/drawing/2014/main" id="{AF4E5272-66E9-1821-BB5F-C023DCCB2906}"/>
                </a:ext>
              </a:extLst>
            </p:cNvPr>
            <p:cNvSpPr/>
            <p:nvPr/>
          </p:nvSpPr>
          <p:spPr>
            <a:xfrm>
              <a:off x="2489089" y="2671896"/>
              <a:ext cx="25967" cy="143665"/>
            </a:xfrm>
            <a:custGeom>
              <a:avLst/>
              <a:gdLst/>
              <a:ahLst/>
              <a:cxnLst/>
              <a:rect l="l" t="t" r="r" b="b"/>
              <a:pathLst>
                <a:path w="2649" h="14656" extrusionOk="0">
                  <a:moveTo>
                    <a:pt x="1907" y="0"/>
                  </a:moveTo>
                  <a:lnTo>
                    <a:pt x="106" y="389"/>
                  </a:lnTo>
                  <a:lnTo>
                    <a:pt x="354" y="1589"/>
                  </a:lnTo>
                  <a:lnTo>
                    <a:pt x="0" y="1695"/>
                  </a:lnTo>
                  <a:lnTo>
                    <a:pt x="71" y="2931"/>
                  </a:lnTo>
                  <a:lnTo>
                    <a:pt x="177" y="4909"/>
                  </a:lnTo>
                  <a:lnTo>
                    <a:pt x="671" y="14655"/>
                  </a:lnTo>
                  <a:lnTo>
                    <a:pt x="1130" y="14549"/>
                  </a:lnTo>
                  <a:lnTo>
                    <a:pt x="2649" y="14232"/>
                  </a:lnTo>
                  <a:lnTo>
                    <a:pt x="1907" y="0"/>
                  </a:lnTo>
                  <a:close/>
                </a:path>
              </a:pathLst>
            </a:custGeom>
            <a:solidFill>
              <a:srgbClr val="DFDFE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53" name="Google Shape;859;g2e0683f995c_0_0">
              <a:extLst>
                <a:ext uri="{FF2B5EF4-FFF2-40B4-BE49-F238E27FC236}">
                  <a16:creationId xmlns:a16="http://schemas.microsoft.com/office/drawing/2014/main" id="{0323B716-DE72-9F06-2BCA-1E262224A58D}"/>
                </a:ext>
              </a:extLst>
            </p:cNvPr>
            <p:cNvSpPr/>
            <p:nvPr/>
          </p:nvSpPr>
          <p:spPr>
            <a:xfrm>
              <a:off x="2489089" y="2671896"/>
              <a:ext cx="25967" cy="143665"/>
            </a:xfrm>
            <a:custGeom>
              <a:avLst/>
              <a:gdLst/>
              <a:ahLst/>
              <a:cxnLst/>
              <a:rect l="l" t="t" r="r" b="b"/>
              <a:pathLst>
                <a:path w="2649" h="14656" fill="none" extrusionOk="0">
                  <a:moveTo>
                    <a:pt x="1907" y="0"/>
                  </a:moveTo>
                  <a:lnTo>
                    <a:pt x="1907" y="0"/>
                  </a:lnTo>
                  <a:lnTo>
                    <a:pt x="106" y="389"/>
                  </a:lnTo>
                  <a:lnTo>
                    <a:pt x="354" y="1589"/>
                  </a:lnTo>
                  <a:lnTo>
                    <a:pt x="0" y="1695"/>
                  </a:lnTo>
                  <a:lnTo>
                    <a:pt x="71" y="2931"/>
                  </a:lnTo>
                  <a:lnTo>
                    <a:pt x="177" y="4909"/>
                  </a:lnTo>
                  <a:lnTo>
                    <a:pt x="671" y="14655"/>
                  </a:lnTo>
                  <a:lnTo>
                    <a:pt x="671" y="14655"/>
                  </a:lnTo>
                  <a:lnTo>
                    <a:pt x="1130" y="14549"/>
                  </a:lnTo>
                  <a:lnTo>
                    <a:pt x="1130" y="14549"/>
                  </a:lnTo>
                  <a:lnTo>
                    <a:pt x="2649" y="14232"/>
                  </a:lnTo>
                  <a:lnTo>
                    <a:pt x="2649" y="14232"/>
                  </a:lnTo>
                  <a:lnTo>
                    <a:pt x="1907"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54" name="Google Shape;860;g2e0683f995c_0_0">
              <a:extLst>
                <a:ext uri="{FF2B5EF4-FFF2-40B4-BE49-F238E27FC236}">
                  <a16:creationId xmlns:a16="http://schemas.microsoft.com/office/drawing/2014/main" id="{146F1132-0873-9716-725F-E296427E2ED5}"/>
                </a:ext>
              </a:extLst>
            </p:cNvPr>
            <p:cNvSpPr/>
            <p:nvPr/>
          </p:nvSpPr>
          <p:spPr>
            <a:xfrm>
              <a:off x="2487707" y="2655281"/>
              <a:ext cx="28388" cy="178278"/>
            </a:xfrm>
            <a:custGeom>
              <a:avLst/>
              <a:gdLst/>
              <a:ahLst/>
              <a:cxnLst/>
              <a:rect l="l" t="t" r="r" b="b"/>
              <a:pathLst>
                <a:path w="2896" h="18187" extrusionOk="0">
                  <a:moveTo>
                    <a:pt x="1978" y="0"/>
                  </a:moveTo>
                  <a:lnTo>
                    <a:pt x="0" y="424"/>
                  </a:lnTo>
                  <a:lnTo>
                    <a:pt x="35" y="1201"/>
                  </a:lnTo>
                  <a:lnTo>
                    <a:pt x="247" y="2084"/>
                  </a:lnTo>
                  <a:lnTo>
                    <a:pt x="2048" y="1695"/>
                  </a:lnTo>
                  <a:lnTo>
                    <a:pt x="1978" y="0"/>
                  </a:lnTo>
                  <a:close/>
                  <a:moveTo>
                    <a:pt x="2790" y="15927"/>
                  </a:moveTo>
                  <a:lnTo>
                    <a:pt x="1271" y="16244"/>
                  </a:lnTo>
                  <a:lnTo>
                    <a:pt x="812" y="16350"/>
                  </a:lnTo>
                  <a:lnTo>
                    <a:pt x="918" y="18187"/>
                  </a:lnTo>
                  <a:lnTo>
                    <a:pt x="2649" y="17833"/>
                  </a:lnTo>
                  <a:lnTo>
                    <a:pt x="2896" y="17763"/>
                  </a:lnTo>
                  <a:lnTo>
                    <a:pt x="2790" y="15927"/>
                  </a:lnTo>
                  <a:close/>
                </a:path>
              </a:pathLst>
            </a:custGeom>
            <a:solidFill>
              <a:srgbClr val="38383B"/>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55" name="Google Shape;861;g2e0683f995c_0_0">
              <a:extLst>
                <a:ext uri="{FF2B5EF4-FFF2-40B4-BE49-F238E27FC236}">
                  <a16:creationId xmlns:a16="http://schemas.microsoft.com/office/drawing/2014/main" id="{94C1D128-AEBD-49DC-B4CA-47DF36230AEE}"/>
                </a:ext>
              </a:extLst>
            </p:cNvPr>
            <p:cNvSpPr/>
            <p:nvPr/>
          </p:nvSpPr>
          <p:spPr>
            <a:xfrm>
              <a:off x="2495666" y="2811396"/>
              <a:ext cx="20428" cy="22163"/>
            </a:xfrm>
            <a:custGeom>
              <a:avLst/>
              <a:gdLst/>
              <a:ahLst/>
              <a:cxnLst/>
              <a:rect l="l" t="t" r="r" b="b"/>
              <a:pathLst>
                <a:path w="2084" h="2261" fill="none" extrusionOk="0">
                  <a:moveTo>
                    <a:pt x="1978" y="1"/>
                  </a:moveTo>
                  <a:lnTo>
                    <a:pt x="1978" y="1"/>
                  </a:lnTo>
                  <a:lnTo>
                    <a:pt x="459" y="318"/>
                  </a:lnTo>
                  <a:lnTo>
                    <a:pt x="459" y="318"/>
                  </a:lnTo>
                  <a:lnTo>
                    <a:pt x="0" y="424"/>
                  </a:lnTo>
                  <a:lnTo>
                    <a:pt x="0" y="424"/>
                  </a:lnTo>
                  <a:lnTo>
                    <a:pt x="0" y="424"/>
                  </a:lnTo>
                  <a:lnTo>
                    <a:pt x="106" y="2261"/>
                  </a:lnTo>
                  <a:lnTo>
                    <a:pt x="106" y="2261"/>
                  </a:lnTo>
                  <a:lnTo>
                    <a:pt x="1837" y="1907"/>
                  </a:lnTo>
                  <a:lnTo>
                    <a:pt x="2084" y="1837"/>
                  </a:lnTo>
                  <a:lnTo>
                    <a:pt x="1978" y="1"/>
                  </a:lnTo>
                  <a:lnTo>
                    <a:pt x="1978"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56" name="Google Shape;862;g2e0683f995c_0_0">
              <a:extLst>
                <a:ext uri="{FF2B5EF4-FFF2-40B4-BE49-F238E27FC236}">
                  <a16:creationId xmlns:a16="http://schemas.microsoft.com/office/drawing/2014/main" id="{52A4CF5A-EF68-CB00-4D27-3B85D6C1E56C}"/>
                </a:ext>
              </a:extLst>
            </p:cNvPr>
            <p:cNvSpPr/>
            <p:nvPr/>
          </p:nvSpPr>
          <p:spPr>
            <a:xfrm>
              <a:off x="2487707" y="2655281"/>
              <a:ext cx="20085" cy="20428"/>
            </a:xfrm>
            <a:custGeom>
              <a:avLst/>
              <a:gdLst/>
              <a:ahLst/>
              <a:cxnLst/>
              <a:rect l="l" t="t" r="r" b="b"/>
              <a:pathLst>
                <a:path w="2049" h="2084" fill="none" extrusionOk="0">
                  <a:moveTo>
                    <a:pt x="1978" y="0"/>
                  </a:moveTo>
                  <a:lnTo>
                    <a:pt x="1978" y="0"/>
                  </a:lnTo>
                  <a:lnTo>
                    <a:pt x="0" y="424"/>
                  </a:lnTo>
                  <a:lnTo>
                    <a:pt x="0" y="424"/>
                  </a:lnTo>
                  <a:lnTo>
                    <a:pt x="35" y="1201"/>
                  </a:lnTo>
                  <a:lnTo>
                    <a:pt x="35" y="1201"/>
                  </a:lnTo>
                  <a:lnTo>
                    <a:pt x="35" y="1201"/>
                  </a:lnTo>
                  <a:lnTo>
                    <a:pt x="247" y="2084"/>
                  </a:lnTo>
                  <a:lnTo>
                    <a:pt x="247" y="2084"/>
                  </a:lnTo>
                  <a:lnTo>
                    <a:pt x="2048" y="1695"/>
                  </a:lnTo>
                  <a:lnTo>
                    <a:pt x="2048" y="1695"/>
                  </a:lnTo>
                  <a:lnTo>
                    <a:pt x="1978" y="0"/>
                  </a:lnTo>
                  <a:lnTo>
                    <a:pt x="1978"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57" name="Google Shape;863;g2e0683f995c_0_0">
              <a:extLst>
                <a:ext uri="{FF2B5EF4-FFF2-40B4-BE49-F238E27FC236}">
                  <a16:creationId xmlns:a16="http://schemas.microsoft.com/office/drawing/2014/main" id="{C6D32B18-8AFD-EAE4-6213-DAA608874DF1}"/>
                </a:ext>
              </a:extLst>
            </p:cNvPr>
            <p:cNvSpPr/>
            <p:nvPr/>
          </p:nvSpPr>
          <p:spPr>
            <a:xfrm>
              <a:off x="2481129" y="2528241"/>
              <a:ext cx="24928" cy="113199"/>
            </a:xfrm>
            <a:custGeom>
              <a:avLst/>
              <a:gdLst/>
              <a:ahLst/>
              <a:cxnLst/>
              <a:rect l="l" t="t" r="r" b="b"/>
              <a:pathLst>
                <a:path w="2543" h="11548" extrusionOk="0">
                  <a:moveTo>
                    <a:pt x="1978" y="0"/>
                  </a:moveTo>
                  <a:lnTo>
                    <a:pt x="0" y="424"/>
                  </a:lnTo>
                  <a:lnTo>
                    <a:pt x="565" y="11548"/>
                  </a:lnTo>
                  <a:lnTo>
                    <a:pt x="2543" y="11124"/>
                  </a:lnTo>
                  <a:lnTo>
                    <a:pt x="2048" y="989"/>
                  </a:lnTo>
                  <a:lnTo>
                    <a:pt x="1978" y="0"/>
                  </a:lnTo>
                  <a:close/>
                </a:path>
              </a:pathLst>
            </a:custGeom>
            <a:solidFill>
              <a:srgbClr val="DFDFE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58" name="Google Shape;864;g2e0683f995c_0_0">
              <a:extLst>
                <a:ext uri="{FF2B5EF4-FFF2-40B4-BE49-F238E27FC236}">
                  <a16:creationId xmlns:a16="http://schemas.microsoft.com/office/drawing/2014/main" id="{897CAC5E-C7C1-0101-B291-67348A1CF3A4}"/>
                </a:ext>
              </a:extLst>
            </p:cNvPr>
            <p:cNvSpPr/>
            <p:nvPr/>
          </p:nvSpPr>
          <p:spPr>
            <a:xfrm>
              <a:off x="2481129" y="2528241"/>
              <a:ext cx="24928" cy="113199"/>
            </a:xfrm>
            <a:custGeom>
              <a:avLst/>
              <a:gdLst/>
              <a:ahLst/>
              <a:cxnLst/>
              <a:rect l="l" t="t" r="r" b="b"/>
              <a:pathLst>
                <a:path w="2543" h="11548" fill="none" extrusionOk="0">
                  <a:moveTo>
                    <a:pt x="1978" y="0"/>
                  </a:moveTo>
                  <a:lnTo>
                    <a:pt x="1978" y="0"/>
                  </a:lnTo>
                  <a:lnTo>
                    <a:pt x="0" y="424"/>
                  </a:lnTo>
                  <a:lnTo>
                    <a:pt x="565" y="11548"/>
                  </a:lnTo>
                  <a:lnTo>
                    <a:pt x="565" y="11548"/>
                  </a:lnTo>
                  <a:lnTo>
                    <a:pt x="2543" y="11124"/>
                  </a:lnTo>
                  <a:lnTo>
                    <a:pt x="2048" y="989"/>
                  </a:lnTo>
                  <a:lnTo>
                    <a:pt x="1978"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59" name="Google Shape;865;g2e0683f995c_0_0">
              <a:extLst>
                <a:ext uri="{FF2B5EF4-FFF2-40B4-BE49-F238E27FC236}">
                  <a16:creationId xmlns:a16="http://schemas.microsoft.com/office/drawing/2014/main" id="{1D792E8D-4749-683F-3E31-E2253354CE9A}"/>
                </a:ext>
              </a:extLst>
            </p:cNvPr>
            <p:cNvSpPr/>
            <p:nvPr/>
          </p:nvSpPr>
          <p:spPr>
            <a:xfrm>
              <a:off x="2486668" y="2637274"/>
              <a:ext cx="20428" cy="22163"/>
            </a:xfrm>
            <a:custGeom>
              <a:avLst/>
              <a:gdLst/>
              <a:ahLst/>
              <a:cxnLst/>
              <a:rect l="l" t="t" r="r" b="b"/>
              <a:pathLst>
                <a:path w="2084" h="2261" extrusionOk="0">
                  <a:moveTo>
                    <a:pt x="1978" y="1"/>
                  </a:moveTo>
                  <a:lnTo>
                    <a:pt x="0" y="425"/>
                  </a:lnTo>
                  <a:lnTo>
                    <a:pt x="0" y="531"/>
                  </a:lnTo>
                  <a:lnTo>
                    <a:pt x="106" y="2226"/>
                  </a:lnTo>
                  <a:lnTo>
                    <a:pt x="106" y="2261"/>
                  </a:lnTo>
                  <a:lnTo>
                    <a:pt x="2084" y="1837"/>
                  </a:lnTo>
                  <a:lnTo>
                    <a:pt x="2084" y="1802"/>
                  </a:lnTo>
                  <a:lnTo>
                    <a:pt x="1978" y="107"/>
                  </a:lnTo>
                  <a:lnTo>
                    <a:pt x="1978" y="1"/>
                  </a:lnTo>
                  <a:close/>
                </a:path>
              </a:pathLst>
            </a:custGeom>
            <a:solidFill>
              <a:srgbClr val="D47E08"/>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60" name="Google Shape;866;g2e0683f995c_0_0">
              <a:extLst>
                <a:ext uri="{FF2B5EF4-FFF2-40B4-BE49-F238E27FC236}">
                  <a16:creationId xmlns:a16="http://schemas.microsoft.com/office/drawing/2014/main" id="{2CEF12CD-1154-FBC2-E0CA-85101BA12F00}"/>
                </a:ext>
              </a:extLst>
            </p:cNvPr>
            <p:cNvSpPr/>
            <p:nvPr/>
          </p:nvSpPr>
          <p:spPr>
            <a:xfrm>
              <a:off x="2486668" y="2637274"/>
              <a:ext cx="20428" cy="22163"/>
            </a:xfrm>
            <a:custGeom>
              <a:avLst/>
              <a:gdLst/>
              <a:ahLst/>
              <a:cxnLst/>
              <a:rect l="l" t="t" r="r" b="b"/>
              <a:pathLst>
                <a:path w="2084" h="2261" fill="none" extrusionOk="0">
                  <a:moveTo>
                    <a:pt x="1978" y="1"/>
                  </a:moveTo>
                  <a:lnTo>
                    <a:pt x="1978" y="1"/>
                  </a:lnTo>
                  <a:lnTo>
                    <a:pt x="0" y="425"/>
                  </a:lnTo>
                  <a:lnTo>
                    <a:pt x="0" y="425"/>
                  </a:lnTo>
                  <a:lnTo>
                    <a:pt x="0" y="531"/>
                  </a:lnTo>
                  <a:lnTo>
                    <a:pt x="106" y="2226"/>
                  </a:lnTo>
                  <a:lnTo>
                    <a:pt x="106" y="2261"/>
                  </a:lnTo>
                  <a:lnTo>
                    <a:pt x="106" y="2261"/>
                  </a:lnTo>
                  <a:lnTo>
                    <a:pt x="2084" y="1837"/>
                  </a:lnTo>
                  <a:lnTo>
                    <a:pt x="2084" y="1802"/>
                  </a:lnTo>
                  <a:lnTo>
                    <a:pt x="1978" y="107"/>
                  </a:lnTo>
                  <a:lnTo>
                    <a:pt x="1978" y="1"/>
                  </a:lnTo>
                  <a:lnTo>
                    <a:pt x="1978"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61" name="Google Shape;867;g2e0683f995c_0_0">
              <a:extLst>
                <a:ext uri="{FF2B5EF4-FFF2-40B4-BE49-F238E27FC236}">
                  <a16:creationId xmlns:a16="http://schemas.microsoft.com/office/drawing/2014/main" id="{ED5CF4BC-FD1A-9BA1-B98B-655AE82B5C66}"/>
                </a:ext>
              </a:extLst>
            </p:cNvPr>
            <p:cNvSpPr/>
            <p:nvPr/>
          </p:nvSpPr>
          <p:spPr>
            <a:xfrm>
              <a:off x="2472817" y="2371077"/>
              <a:ext cx="27016" cy="144018"/>
            </a:xfrm>
            <a:custGeom>
              <a:avLst/>
              <a:gdLst/>
              <a:ahLst/>
              <a:cxnLst/>
              <a:rect l="l" t="t" r="r" b="b"/>
              <a:pathLst>
                <a:path w="2756" h="14692" extrusionOk="0">
                  <a:moveTo>
                    <a:pt x="2014" y="1"/>
                  </a:moveTo>
                  <a:lnTo>
                    <a:pt x="1" y="389"/>
                  </a:lnTo>
                  <a:lnTo>
                    <a:pt x="566" y="11266"/>
                  </a:lnTo>
                  <a:lnTo>
                    <a:pt x="919" y="12749"/>
                  </a:lnTo>
                  <a:lnTo>
                    <a:pt x="636" y="12820"/>
                  </a:lnTo>
                  <a:lnTo>
                    <a:pt x="672" y="13314"/>
                  </a:lnTo>
                  <a:lnTo>
                    <a:pt x="707" y="14197"/>
                  </a:lnTo>
                  <a:lnTo>
                    <a:pt x="742" y="14691"/>
                  </a:lnTo>
                  <a:lnTo>
                    <a:pt x="2755" y="14267"/>
                  </a:lnTo>
                  <a:lnTo>
                    <a:pt x="2684" y="12890"/>
                  </a:lnTo>
                  <a:lnTo>
                    <a:pt x="2579" y="11160"/>
                  </a:lnTo>
                  <a:lnTo>
                    <a:pt x="2014" y="1"/>
                  </a:lnTo>
                  <a:close/>
                </a:path>
              </a:pathLst>
            </a:custGeom>
            <a:solidFill>
              <a:srgbClr val="DFDFE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62" name="Google Shape;868;g2e0683f995c_0_0">
              <a:extLst>
                <a:ext uri="{FF2B5EF4-FFF2-40B4-BE49-F238E27FC236}">
                  <a16:creationId xmlns:a16="http://schemas.microsoft.com/office/drawing/2014/main" id="{6908E84C-1CEC-190B-3FEF-84616B3FEAA3}"/>
                </a:ext>
              </a:extLst>
            </p:cNvPr>
            <p:cNvSpPr/>
            <p:nvPr/>
          </p:nvSpPr>
          <p:spPr>
            <a:xfrm>
              <a:off x="2472817" y="2371077"/>
              <a:ext cx="27016" cy="144018"/>
            </a:xfrm>
            <a:custGeom>
              <a:avLst/>
              <a:gdLst/>
              <a:ahLst/>
              <a:cxnLst/>
              <a:rect l="l" t="t" r="r" b="b"/>
              <a:pathLst>
                <a:path w="2756" h="14692" fill="none" extrusionOk="0">
                  <a:moveTo>
                    <a:pt x="2014" y="1"/>
                  </a:moveTo>
                  <a:lnTo>
                    <a:pt x="2014" y="1"/>
                  </a:lnTo>
                  <a:lnTo>
                    <a:pt x="1" y="389"/>
                  </a:lnTo>
                  <a:lnTo>
                    <a:pt x="566" y="11266"/>
                  </a:lnTo>
                  <a:lnTo>
                    <a:pt x="566" y="11266"/>
                  </a:lnTo>
                  <a:lnTo>
                    <a:pt x="919" y="12749"/>
                  </a:lnTo>
                  <a:lnTo>
                    <a:pt x="636" y="12820"/>
                  </a:lnTo>
                  <a:lnTo>
                    <a:pt x="672" y="13314"/>
                  </a:lnTo>
                  <a:lnTo>
                    <a:pt x="707" y="14197"/>
                  </a:lnTo>
                  <a:lnTo>
                    <a:pt x="742" y="14691"/>
                  </a:lnTo>
                  <a:lnTo>
                    <a:pt x="742" y="14691"/>
                  </a:lnTo>
                  <a:lnTo>
                    <a:pt x="742" y="14691"/>
                  </a:lnTo>
                  <a:lnTo>
                    <a:pt x="2755" y="14267"/>
                  </a:lnTo>
                  <a:lnTo>
                    <a:pt x="2755" y="14267"/>
                  </a:lnTo>
                  <a:lnTo>
                    <a:pt x="2684" y="12890"/>
                  </a:lnTo>
                  <a:lnTo>
                    <a:pt x="2579" y="11160"/>
                  </a:lnTo>
                  <a:lnTo>
                    <a:pt x="2014"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63" name="Google Shape;869;g2e0683f995c_0_0">
              <a:extLst>
                <a:ext uri="{FF2B5EF4-FFF2-40B4-BE49-F238E27FC236}">
                  <a16:creationId xmlns:a16="http://schemas.microsoft.com/office/drawing/2014/main" id="{541A0F6F-5981-4D2F-CF97-A991CBC20453}"/>
                </a:ext>
              </a:extLst>
            </p:cNvPr>
            <p:cNvSpPr/>
            <p:nvPr/>
          </p:nvSpPr>
          <p:spPr>
            <a:xfrm>
              <a:off x="2472474" y="2363117"/>
              <a:ext cx="28045" cy="169279"/>
            </a:xfrm>
            <a:custGeom>
              <a:avLst/>
              <a:gdLst/>
              <a:ahLst/>
              <a:cxnLst/>
              <a:rect l="l" t="t" r="r" b="b"/>
              <a:pathLst>
                <a:path w="2861" h="17269" extrusionOk="0">
                  <a:moveTo>
                    <a:pt x="2013" y="1"/>
                  </a:moveTo>
                  <a:lnTo>
                    <a:pt x="0" y="424"/>
                  </a:lnTo>
                  <a:lnTo>
                    <a:pt x="36" y="1201"/>
                  </a:lnTo>
                  <a:lnTo>
                    <a:pt x="2049" y="813"/>
                  </a:lnTo>
                  <a:lnTo>
                    <a:pt x="2013" y="1"/>
                  </a:lnTo>
                  <a:close/>
                  <a:moveTo>
                    <a:pt x="2790" y="15079"/>
                  </a:moveTo>
                  <a:lnTo>
                    <a:pt x="777" y="15503"/>
                  </a:lnTo>
                  <a:lnTo>
                    <a:pt x="777" y="15539"/>
                  </a:lnTo>
                  <a:lnTo>
                    <a:pt x="813" y="16492"/>
                  </a:lnTo>
                  <a:lnTo>
                    <a:pt x="848" y="17092"/>
                  </a:lnTo>
                  <a:lnTo>
                    <a:pt x="883" y="17269"/>
                  </a:lnTo>
                  <a:lnTo>
                    <a:pt x="2861" y="16845"/>
                  </a:lnTo>
                  <a:lnTo>
                    <a:pt x="2790" y="15079"/>
                  </a:lnTo>
                  <a:close/>
                </a:path>
              </a:pathLst>
            </a:custGeom>
            <a:solidFill>
              <a:srgbClr val="C14C6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64" name="Google Shape;870;g2e0683f995c_0_0">
              <a:extLst>
                <a:ext uri="{FF2B5EF4-FFF2-40B4-BE49-F238E27FC236}">
                  <a16:creationId xmlns:a16="http://schemas.microsoft.com/office/drawing/2014/main" id="{72E373A9-F84A-1C8A-DE3F-55FA3DF7E718}"/>
                </a:ext>
              </a:extLst>
            </p:cNvPr>
            <p:cNvSpPr/>
            <p:nvPr/>
          </p:nvSpPr>
          <p:spPr>
            <a:xfrm>
              <a:off x="2480090" y="2510929"/>
              <a:ext cx="20428" cy="21467"/>
            </a:xfrm>
            <a:custGeom>
              <a:avLst/>
              <a:gdLst/>
              <a:ahLst/>
              <a:cxnLst/>
              <a:rect l="l" t="t" r="r" b="b"/>
              <a:pathLst>
                <a:path w="2084" h="2190" fill="none" extrusionOk="0">
                  <a:moveTo>
                    <a:pt x="2013" y="0"/>
                  </a:moveTo>
                  <a:lnTo>
                    <a:pt x="2013" y="0"/>
                  </a:lnTo>
                  <a:lnTo>
                    <a:pt x="0" y="424"/>
                  </a:lnTo>
                  <a:lnTo>
                    <a:pt x="0" y="460"/>
                  </a:lnTo>
                  <a:lnTo>
                    <a:pt x="36" y="1413"/>
                  </a:lnTo>
                  <a:lnTo>
                    <a:pt x="71" y="2013"/>
                  </a:lnTo>
                  <a:lnTo>
                    <a:pt x="106" y="2190"/>
                  </a:lnTo>
                  <a:lnTo>
                    <a:pt x="106" y="2190"/>
                  </a:lnTo>
                  <a:lnTo>
                    <a:pt x="106" y="2190"/>
                  </a:lnTo>
                  <a:lnTo>
                    <a:pt x="2084" y="1766"/>
                  </a:lnTo>
                  <a:lnTo>
                    <a:pt x="2084" y="1766"/>
                  </a:lnTo>
                  <a:lnTo>
                    <a:pt x="2013" y="0"/>
                  </a:lnTo>
                  <a:lnTo>
                    <a:pt x="2013"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65" name="Google Shape;871;g2e0683f995c_0_0">
              <a:extLst>
                <a:ext uri="{FF2B5EF4-FFF2-40B4-BE49-F238E27FC236}">
                  <a16:creationId xmlns:a16="http://schemas.microsoft.com/office/drawing/2014/main" id="{7F76277F-ED9B-1EC6-120A-800B4EA5B14A}"/>
                </a:ext>
              </a:extLst>
            </p:cNvPr>
            <p:cNvSpPr/>
            <p:nvPr/>
          </p:nvSpPr>
          <p:spPr>
            <a:xfrm>
              <a:off x="2472474" y="2363117"/>
              <a:ext cx="20085" cy="11783"/>
            </a:xfrm>
            <a:custGeom>
              <a:avLst/>
              <a:gdLst/>
              <a:ahLst/>
              <a:cxnLst/>
              <a:rect l="l" t="t" r="r" b="b"/>
              <a:pathLst>
                <a:path w="2049" h="1202" fill="none" extrusionOk="0">
                  <a:moveTo>
                    <a:pt x="2013" y="1"/>
                  </a:moveTo>
                  <a:lnTo>
                    <a:pt x="2013" y="1"/>
                  </a:lnTo>
                  <a:lnTo>
                    <a:pt x="0" y="424"/>
                  </a:lnTo>
                  <a:lnTo>
                    <a:pt x="0" y="424"/>
                  </a:lnTo>
                  <a:lnTo>
                    <a:pt x="36" y="1201"/>
                  </a:lnTo>
                  <a:lnTo>
                    <a:pt x="36" y="1201"/>
                  </a:lnTo>
                  <a:lnTo>
                    <a:pt x="36" y="1201"/>
                  </a:lnTo>
                  <a:lnTo>
                    <a:pt x="2049" y="813"/>
                  </a:lnTo>
                  <a:lnTo>
                    <a:pt x="2049" y="813"/>
                  </a:lnTo>
                  <a:lnTo>
                    <a:pt x="2013" y="1"/>
                  </a:lnTo>
                  <a:lnTo>
                    <a:pt x="2013"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66" name="Google Shape;872;g2e0683f995c_0_0">
              <a:extLst>
                <a:ext uri="{FF2B5EF4-FFF2-40B4-BE49-F238E27FC236}">
                  <a16:creationId xmlns:a16="http://schemas.microsoft.com/office/drawing/2014/main" id="{5182B0D5-5DF4-60FD-DA91-F1F150432D27}"/>
                </a:ext>
              </a:extLst>
            </p:cNvPr>
            <p:cNvSpPr/>
            <p:nvPr/>
          </p:nvSpPr>
          <p:spPr>
            <a:xfrm>
              <a:off x="2465200" y="2222922"/>
              <a:ext cx="25977" cy="127050"/>
            </a:xfrm>
            <a:custGeom>
              <a:avLst/>
              <a:gdLst/>
              <a:ahLst/>
              <a:cxnLst/>
              <a:rect l="l" t="t" r="r" b="b"/>
              <a:pathLst>
                <a:path w="2650" h="12961" extrusionOk="0">
                  <a:moveTo>
                    <a:pt x="2014" y="1"/>
                  </a:moveTo>
                  <a:lnTo>
                    <a:pt x="1" y="424"/>
                  </a:lnTo>
                  <a:lnTo>
                    <a:pt x="71" y="2084"/>
                  </a:lnTo>
                  <a:lnTo>
                    <a:pt x="319" y="6746"/>
                  </a:lnTo>
                  <a:lnTo>
                    <a:pt x="566" y="6675"/>
                  </a:lnTo>
                  <a:lnTo>
                    <a:pt x="990" y="8794"/>
                  </a:lnTo>
                  <a:lnTo>
                    <a:pt x="425" y="8900"/>
                  </a:lnTo>
                  <a:lnTo>
                    <a:pt x="495" y="9924"/>
                  </a:lnTo>
                  <a:lnTo>
                    <a:pt x="601" y="12113"/>
                  </a:lnTo>
                  <a:lnTo>
                    <a:pt x="636" y="12961"/>
                  </a:lnTo>
                  <a:lnTo>
                    <a:pt x="2649" y="12537"/>
                  </a:lnTo>
                  <a:lnTo>
                    <a:pt x="2014" y="1"/>
                  </a:lnTo>
                  <a:close/>
                </a:path>
              </a:pathLst>
            </a:custGeom>
            <a:solidFill>
              <a:srgbClr val="DFDFE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67" name="Google Shape;873;g2e0683f995c_0_0">
              <a:extLst>
                <a:ext uri="{FF2B5EF4-FFF2-40B4-BE49-F238E27FC236}">
                  <a16:creationId xmlns:a16="http://schemas.microsoft.com/office/drawing/2014/main" id="{DF97A981-8DF2-A20C-03A8-DD26A0F66C1E}"/>
                </a:ext>
              </a:extLst>
            </p:cNvPr>
            <p:cNvSpPr/>
            <p:nvPr/>
          </p:nvSpPr>
          <p:spPr>
            <a:xfrm>
              <a:off x="2465200" y="2222922"/>
              <a:ext cx="25977" cy="127050"/>
            </a:xfrm>
            <a:custGeom>
              <a:avLst/>
              <a:gdLst/>
              <a:ahLst/>
              <a:cxnLst/>
              <a:rect l="l" t="t" r="r" b="b"/>
              <a:pathLst>
                <a:path w="2650" h="12961" fill="none" extrusionOk="0">
                  <a:moveTo>
                    <a:pt x="2014" y="1"/>
                  </a:moveTo>
                  <a:lnTo>
                    <a:pt x="2014" y="1"/>
                  </a:lnTo>
                  <a:lnTo>
                    <a:pt x="1" y="424"/>
                  </a:lnTo>
                  <a:lnTo>
                    <a:pt x="1" y="424"/>
                  </a:lnTo>
                  <a:lnTo>
                    <a:pt x="71" y="2084"/>
                  </a:lnTo>
                  <a:lnTo>
                    <a:pt x="319" y="6746"/>
                  </a:lnTo>
                  <a:lnTo>
                    <a:pt x="319" y="6746"/>
                  </a:lnTo>
                  <a:lnTo>
                    <a:pt x="566" y="6675"/>
                  </a:lnTo>
                  <a:lnTo>
                    <a:pt x="990" y="8794"/>
                  </a:lnTo>
                  <a:lnTo>
                    <a:pt x="425" y="8900"/>
                  </a:lnTo>
                  <a:lnTo>
                    <a:pt x="495" y="9924"/>
                  </a:lnTo>
                  <a:lnTo>
                    <a:pt x="601" y="12113"/>
                  </a:lnTo>
                  <a:lnTo>
                    <a:pt x="636" y="12961"/>
                  </a:lnTo>
                  <a:lnTo>
                    <a:pt x="636" y="12961"/>
                  </a:lnTo>
                  <a:lnTo>
                    <a:pt x="636" y="12961"/>
                  </a:lnTo>
                  <a:lnTo>
                    <a:pt x="2649" y="12537"/>
                  </a:lnTo>
                  <a:lnTo>
                    <a:pt x="2649" y="12537"/>
                  </a:lnTo>
                  <a:lnTo>
                    <a:pt x="2014"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68" name="Google Shape;874;g2e0683f995c_0_0">
              <a:extLst>
                <a:ext uri="{FF2B5EF4-FFF2-40B4-BE49-F238E27FC236}">
                  <a16:creationId xmlns:a16="http://schemas.microsoft.com/office/drawing/2014/main" id="{DA75C2B6-CB02-30B8-6009-60B82D33DCBF}"/>
                </a:ext>
              </a:extLst>
            </p:cNvPr>
            <p:cNvSpPr/>
            <p:nvPr/>
          </p:nvSpPr>
          <p:spPr>
            <a:xfrm>
              <a:off x="2471434" y="2345806"/>
              <a:ext cx="20781" cy="21477"/>
            </a:xfrm>
            <a:custGeom>
              <a:avLst/>
              <a:gdLst/>
              <a:ahLst/>
              <a:cxnLst/>
              <a:rect l="l" t="t" r="r" b="b"/>
              <a:pathLst>
                <a:path w="2120" h="2191" extrusionOk="0">
                  <a:moveTo>
                    <a:pt x="2013" y="1"/>
                  </a:moveTo>
                  <a:lnTo>
                    <a:pt x="0" y="425"/>
                  </a:lnTo>
                  <a:lnTo>
                    <a:pt x="0" y="566"/>
                  </a:lnTo>
                  <a:lnTo>
                    <a:pt x="36" y="672"/>
                  </a:lnTo>
                  <a:lnTo>
                    <a:pt x="36" y="1237"/>
                  </a:lnTo>
                  <a:lnTo>
                    <a:pt x="106" y="2190"/>
                  </a:lnTo>
                  <a:lnTo>
                    <a:pt x="2119" y="1767"/>
                  </a:lnTo>
                  <a:lnTo>
                    <a:pt x="2084" y="1378"/>
                  </a:lnTo>
                  <a:lnTo>
                    <a:pt x="2049" y="848"/>
                  </a:lnTo>
                  <a:lnTo>
                    <a:pt x="2013" y="142"/>
                  </a:lnTo>
                  <a:lnTo>
                    <a:pt x="2013" y="1"/>
                  </a:lnTo>
                  <a:close/>
                </a:path>
              </a:pathLst>
            </a:custGeom>
            <a:solidFill>
              <a:srgbClr val="DDA808"/>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69" name="Google Shape;875;g2e0683f995c_0_0">
              <a:extLst>
                <a:ext uri="{FF2B5EF4-FFF2-40B4-BE49-F238E27FC236}">
                  <a16:creationId xmlns:a16="http://schemas.microsoft.com/office/drawing/2014/main" id="{FA158553-810B-89F0-3D57-814534DFD875}"/>
                </a:ext>
              </a:extLst>
            </p:cNvPr>
            <p:cNvSpPr/>
            <p:nvPr/>
          </p:nvSpPr>
          <p:spPr>
            <a:xfrm>
              <a:off x="2471434" y="2345806"/>
              <a:ext cx="20781" cy="21477"/>
            </a:xfrm>
            <a:custGeom>
              <a:avLst/>
              <a:gdLst/>
              <a:ahLst/>
              <a:cxnLst/>
              <a:rect l="l" t="t" r="r" b="b"/>
              <a:pathLst>
                <a:path w="2120" h="2191" fill="none" extrusionOk="0">
                  <a:moveTo>
                    <a:pt x="2013" y="1"/>
                  </a:moveTo>
                  <a:lnTo>
                    <a:pt x="2013" y="1"/>
                  </a:lnTo>
                  <a:lnTo>
                    <a:pt x="0" y="425"/>
                  </a:lnTo>
                  <a:lnTo>
                    <a:pt x="0" y="566"/>
                  </a:lnTo>
                  <a:lnTo>
                    <a:pt x="36" y="672"/>
                  </a:lnTo>
                  <a:lnTo>
                    <a:pt x="36" y="1237"/>
                  </a:lnTo>
                  <a:lnTo>
                    <a:pt x="106" y="2190"/>
                  </a:lnTo>
                  <a:lnTo>
                    <a:pt x="106" y="2190"/>
                  </a:lnTo>
                  <a:lnTo>
                    <a:pt x="2119" y="1767"/>
                  </a:lnTo>
                  <a:lnTo>
                    <a:pt x="2084" y="1378"/>
                  </a:lnTo>
                  <a:lnTo>
                    <a:pt x="2049" y="848"/>
                  </a:lnTo>
                  <a:lnTo>
                    <a:pt x="2013" y="142"/>
                  </a:lnTo>
                  <a:lnTo>
                    <a:pt x="2013"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70" name="Google Shape;876;g2e0683f995c_0_0">
              <a:extLst>
                <a:ext uri="{FF2B5EF4-FFF2-40B4-BE49-F238E27FC236}">
                  <a16:creationId xmlns:a16="http://schemas.microsoft.com/office/drawing/2014/main" id="{40668D56-4581-FAA1-A9C8-BF41F3513A1E}"/>
                </a:ext>
              </a:extLst>
            </p:cNvPr>
            <p:cNvSpPr/>
            <p:nvPr/>
          </p:nvSpPr>
          <p:spPr>
            <a:xfrm>
              <a:off x="2456897" y="2065072"/>
              <a:ext cx="27349" cy="145057"/>
            </a:xfrm>
            <a:custGeom>
              <a:avLst/>
              <a:gdLst/>
              <a:ahLst/>
              <a:cxnLst/>
              <a:rect l="l" t="t" r="r" b="b"/>
              <a:pathLst>
                <a:path w="2790" h="14798" extrusionOk="0">
                  <a:moveTo>
                    <a:pt x="2013" y="1"/>
                  </a:moveTo>
                  <a:lnTo>
                    <a:pt x="0" y="425"/>
                  </a:lnTo>
                  <a:lnTo>
                    <a:pt x="283" y="5651"/>
                  </a:lnTo>
                  <a:lnTo>
                    <a:pt x="1024" y="5510"/>
                  </a:lnTo>
                  <a:lnTo>
                    <a:pt x="1413" y="7664"/>
                  </a:lnTo>
                  <a:lnTo>
                    <a:pt x="389" y="7840"/>
                  </a:lnTo>
                  <a:lnTo>
                    <a:pt x="424" y="8582"/>
                  </a:lnTo>
                  <a:lnTo>
                    <a:pt x="530" y="10771"/>
                  </a:lnTo>
                  <a:lnTo>
                    <a:pt x="671" y="12996"/>
                  </a:lnTo>
                  <a:lnTo>
                    <a:pt x="707" y="14126"/>
                  </a:lnTo>
                  <a:lnTo>
                    <a:pt x="742" y="14726"/>
                  </a:lnTo>
                  <a:lnTo>
                    <a:pt x="742" y="14797"/>
                  </a:lnTo>
                  <a:lnTo>
                    <a:pt x="2790" y="14373"/>
                  </a:lnTo>
                  <a:lnTo>
                    <a:pt x="2755" y="14338"/>
                  </a:lnTo>
                  <a:lnTo>
                    <a:pt x="2684" y="12608"/>
                  </a:lnTo>
                  <a:lnTo>
                    <a:pt x="2649" y="11760"/>
                  </a:lnTo>
                  <a:lnTo>
                    <a:pt x="2013" y="1"/>
                  </a:lnTo>
                  <a:close/>
                </a:path>
              </a:pathLst>
            </a:custGeom>
            <a:solidFill>
              <a:srgbClr val="DFDFE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71" name="Google Shape;877;g2e0683f995c_0_0">
              <a:extLst>
                <a:ext uri="{FF2B5EF4-FFF2-40B4-BE49-F238E27FC236}">
                  <a16:creationId xmlns:a16="http://schemas.microsoft.com/office/drawing/2014/main" id="{E09E02BF-665A-CFD4-96BD-2F7B693F37E4}"/>
                </a:ext>
              </a:extLst>
            </p:cNvPr>
            <p:cNvSpPr/>
            <p:nvPr/>
          </p:nvSpPr>
          <p:spPr>
            <a:xfrm>
              <a:off x="2456897" y="2065072"/>
              <a:ext cx="27349" cy="145057"/>
            </a:xfrm>
            <a:custGeom>
              <a:avLst/>
              <a:gdLst/>
              <a:ahLst/>
              <a:cxnLst/>
              <a:rect l="l" t="t" r="r" b="b"/>
              <a:pathLst>
                <a:path w="2790" h="14798" fill="none" extrusionOk="0">
                  <a:moveTo>
                    <a:pt x="2013" y="1"/>
                  </a:moveTo>
                  <a:lnTo>
                    <a:pt x="2013" y="1"/>
                  </a:lnTo>
                  <a:lnTo>
                    <a:pt x="0" y="425"/>
                  </a:lnTo>
                  <a:lnTo>
                    <a:pt x="283" y="5651"/>
                  </a:lnTo>
                  <a:lnTo>
                    <a:pt x="1024" y="5510"/>
                  </a:lnTo>
                  <a:lnTo>
                    <a:pt x="1413" y="7664"/>
                  </a:lnTo>
                  <a:lnTo>
                    <a:pt x="389" y="7840"/>
                  </a:lnTo>
                  <a:lnTo>
                    <a:pt x="424" y="8582"/>
                  </a:lnTo>
                  <a:lnTo>
                    <a:pt x="530" y="10771"/>
                  </a:lnTo>
                  <a:lnTo>
                    <a:pt x="671" y="12996"/>
                  </a:lnTo>
                  <a:lnTo>
                    <a:pt x="707" y="14126"/>
                  </a:lnTo>
                  <a:lnTo>
                    <a:pt x="742" y="14726"/>
                  </a:lnTo>
                  <a:lnTo>
                    <a:pt x="742" y="14797"/>
                  </a:lnTo>
                  <a:lnTo>
                    <a:pt x="742" y="14797"/>
                  </a:lnTo>
                  <a:lnTo>
                    <a:pt x="2790" y="14373"/>
                  </a:lnTo>
                  <a:lnTo>
                    <a:pt x="2755" y="14338"/>
                  </a:lnTo>
                  <a:lnTo>
                    <a:pt x="2684" y="12608"/>
                  </a:lnTo>
                  <a:lnTo>
                    <a:pt x="2649" y="11760"/>
                  </a:lnTo>
                  <a:lnTo>
                    <a:pt x="2013" y="1"/>
                  </a:lnTo>
                  <a:lnTo>
                    <a:pt x="2013"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72" name="Google Shape;878;g2e0683f995c_0_0">
              <a:extLst>
                <a:ext uri="{FF2B5EF4-FFF2-40B4-BE49-F238E27FC236}">
                  <a16:creationId xmlns:a16="http://schemas.microsoft.com/office/drawing/2014/main" id="{E6BE6B57-0439-26A4-4C82-5A8EB991D118}"/>
                </a:ext>
              </a:extLst>
            </p:cNvPr>
            <p:cNvSpPr/>
            <p:nvPr/>
          </p:nvSpPr>
          <p:spPr>
            <a:xfrm>
              <a:off x="2455515" y="2039802"/>
              <a:ext cx="29427" cy="187287"/>
            </a:xfrm>
            <a:custGeom>
              <a:avLst/>
              <a:gdLst/>
              <a:ahLst/>
              <a:cxnLst/>
              <a:rect l="l" t="t" r="r" b="b"/>
              <a:pathLst>
                <a:path w="3002" h="19106" extrusionOk="0">
                  <a:moveTo>
                    <a:pt x="2048" y="1"/>
                  </a:moveTo>
                  <a:lnTo>
                    <a:pt x="0" y="425"/>
                  </a:lnTo>
                  <a:lnTo>
                    <a:pt x="71" y="1272"/>
                  </a:lnTo>
                  <a:lnTo>
                    <a:pt x="141" y="3003"/>
                  </a:lnTo>
                  <a:lnTo>
                    <a:pt x="2154" y="2579"/>
                  </a:lnTo>
                  <a:lnTo>
                    <a:pt x="2083" y="884"/>
                  </a:lnTo>
                  <a:lnTo>
                    <a:pt x="2048" y="1"/>
                  </a:lnTo>
                  <a:close/>
                  <a:moveTo>
                    <a:pt x="2931" y="16951"/>
                  </a:moveTo>
                  <a:lnTo>
                    <a:pt x="883" y="17375"/>
                  </a:lnTo>
                  <a:lnTo>
                    <a:pt x="918" y="17552"/>
                  </a:lnTo>
                  <a:lnTo>
                    <a:pt x="989" y="19105"/>
                  </a:lnTo>
                  <a:lnTo>
                    <a:pt x="3002" y="18682"/>
                  </a:lnTo>
                  <a:lnTo>
                    <a:pt x="2931" y="17410"/>
                  </a:lnTo>
                  <a:lnTo>
                    <a:pt x="2931" y="17093"/>
                  </a:lnTo>
                  <a:lnTo>
                    <a:pt x="2931" y="16951"/>
                  </a:lnTo>
                  <a:close/>
                </a:path>
              </a:pathLst>
            </a:custGeom>
            <a:solidFill>
              <a:srgbClr val="5A595D"/>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73" name="Google Shape;879;g2e0683f995c_0_0">
              <a:extLst>
                <a:ext uri="{FF2B5EF4-FFF2-40B4-BE49-F238E27FC236}">
                  <a16:creationId xmlns:a16="http://schemas.microsoft.com/office/drawing/2014/main" id="{B8981EEC-488D-8E23-C5D4-083228D76DB9}"/>
                </a:ext>
              </a:extLst>
            </p:cNvPr>
            <p:cNvSpPr/>
            <p:nvPr/>
          </p:nvSpPr>
          <p:spPr>
            <a:xfrm>
              <a:off x="2464161" y="2205964"/>
              <a:ext cx="20781" cy="21124"/>
            </a:xfrm>
            <a:custGeom>
              <a:avLst/>
              <a:gdLst/>
              <a:ahLst/>
              <a:cxnLst/>
              <a:rect l="l" t="t" r="r" b="b"/>
              <a:pathLst>
                <a:path w="2120" h="2155" fill="none" extrusionOk="0">
                  <a:moveTo>
                    <a:pt x="2049" y="0"/>
                  </a:moveTo>
                  <a:lnTo>
                    <a:pt x="2049" y="0"/>
                  </a:lnTo>
                  <a:lnTo>
                    <a:pt x="1" y="424"/>
                  </a:lnTo>
                  <a:lnTo>
                    <a:pt x="1" y="424"/>
                  </a:lnTo>
                  <a:lnTo>
                    <a:pt x="36" y="601"/>
                  </a:lnTo>
                  <a:lnTo>
                    <a:pt x="107" y="2154"/>
                  </a:lnTo>
                  <a:lnTo>
                    <a:pt x="107" y="2154"/>
                  </a:lnTo>
                  <a:lnTo>
                    <a:pt x="2120" y="1731"/>
                  </a:lnTo>
                  <a:lnTo>
                    <a:pt x="2120" y="1731"/>
                  </a:lnTo>
                  <a:lnTo>
                    <a:pt x="2049" y="459"/>
                  </a:lnTo>
                  <a:lnTo>
                    <a:pt x="2049" y="142"/>
                  </a:lnTo>
                  <a:lnTo>
                    <a:pt x="2049" y="0"/>
                  </a:lnTo>
                  <a:lnTo>
                    <a:pt x="2049"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74" name="Google Shape;880;g2e0683f995c_0_0">
              <a:extLst>
                <a:ext uri="{FF2B5EF4-FFF2-40B4-BE49-F238E27FC236}">
                  <a16:creationId xmlns:a16="http://schemas.microsoft.com/office/drawing/2014/main" id="{4C855DEB-5F32-B801-47F5-A8B32E90BFA3}"/>
                </a:ext>
              </a:extLst>
            </p:cNvPr>
            <p:cNvSpPr/>
            <p:nvPr/>
          </p:nvSpPr>
          <p:spPr>
            <a:xfrm>
              <a:off x="2455515" y="2039802"/>
              <a:ext cx="21124" cy="29437"/>
            </a:xfrm>
            <a:custGeom>
              <a:avLst/>
              <a:gdLst/>
              <a:ahLst/>
              <a:cxnLst/>
              <a:rect l="l" t="t" r="r" b="b"/>
              <a:pathLst>
                <a:path w="2155" h="3003" fill="none" extrusionOk="0">
                  <a:moveTo>
                    <a:pt x="2048" y="1"/>
                  </a:moveTo>
                  <a:lnTo>
                    <a:pt x="2048" y="1"/>
                  </a:lnTo>
                  <a:lnTo>
                    <a:pt x="0" y="425"/>
                  </a:lnTo>
                  <a:lnTo>
                    <a:pt x="0" y="425"/>
                  </a:lnTo>
                  <a:lnTo>
                    <a:pt x="71" y="1272"/>
                  </a:lnTo>
                  <a:lnTo>
                    <a:pt x="141" y="3003"/>
                  </a:lnTo>
                  <a:lnTo>
                    <a:pt x="141" y="3003"/>
                  </a:lnTo>
                  <a:lnTo>
                    <a:pt x="141" y="3003"/>
                  </a:lnTo>
                  <a:lnTo>
                    <a:pt x="2154" y="2579"/>
                  </a:lnTo>
                  <a:lnTo>
                    <a:pt x="2083" y="884"/>
                  </a:lnTo>
                  <a:lnTo>
                    <a:pt x="2048" y="1"/>
                  </a:lnTo>
                  <a:lnTo>
                    <a:pt x="2048"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75" name="Google Shape;881;g2e0683f995c_0_0">
              <a:extLst>
                <a:ext uri="{FF2B5EF4-FFF2-40B4-BE49-F238E27FC236}">
                  <a16:creationId xmlns:a16="http://schemas.microsoft.com/office/drawing/2014/main" id="{31A8EB56-1214-6FCE-6767-53F1A0D8B571}"/>
                </a:ext>
              </a:extLst>
            </p:cNvPr>
            <p:cNvSpPr/>
            <p:nvPr/>
          </p:nvSpPr>
          <p:spPr>
            <a:xfrm>
              <a:off x="2443046" y="1882305"/>
              <a:ext cx="31515" cy="144352"/>
            </a:xfrm>
            <a:custGeom>
              <a:avLst/>
              <a:gdLst/>
              <a:ahLst/>
              <a:cxnLst/>
              <a:rect l="l" t="t" r="r" b="b"/>
              <a:pathLst>
                <a:path w="3215" h="14726" extrusionOk="0">
                  <a:moveTo>
                    <a:pt x="460" y="389"/>
                  </a:moveTo>
                  <a:lnTo>
                    <a:pt x="1" y="495"/>
                  </a:lnTo>
                  <a:lnTo>
                    <a:pt x="36" y="495"/>
                  </a:lnTo>
                  <a:lnTo>
                    <a:pt x="460" y="389"/>
                  </a:lnTo>
                  <a:close/>
                  <a:moveTo>
                    <a:pt x="2473" y="0"/>
                  </a:moveTo>
                  <a:lnTo>
                    <a:pt x="460" y="389"/>
                  </a:lnTo>
                  <a:lnTo>
                    <a:pt x="742" y="5898"/>
                  </a:lnTo>
                  <a:lnTo>
                    <a:pt x="1660" y="5756"/>
                  </a:lnTo>
                  <a:lnTo>
                    <a:pt x="2049" y="7875"/>
                  </a:lnTo>
                  <a:lnTo>
                    <a:pt x="848" y="8087"/>
                  </a:lnTo>
                  <a:lnTo>
                    <a:pt x="884" y="8723"/>
                  </a:lnTo>
                  <a:lnTo>
                    <a:pt x="990" y="10912"/>
                  </a:lnTo>
                  <a:lnTo>
                    <a:pt x="1201" y="14726"/>
                  </a:lnTo>
                  <a:lnTo>
                    <a:pt x="3214" y="14302"/>
                  </a:lnTo>
                  <a:lnTo>
                    <a:pt x="2473" y="0"/>
                  </a:lnTo>
                  <a:close/>
                </a:path>
              </a:pathLst>
            </a:custGeom>
            <a:solidFill>
              <a:srgbClr val="DFDFE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76" name="Google Shape;882;g2e0683f995c_0_0">
              <a:extLst>
                <a:ext uri="{FF2B5EF4-FFF2-40B4-BE49-F238E27FC236}">
                  <a16:creationId xmlns:a16="http://schemas.microsoft.com/office/drawing/2014/main" id="{6D23B073-801B-D41F-F8F1-478549B86513}"/>
                </a:ext>
              </a:extLst>
            </p:cNvPr>
            <p:cNvSpPr/>
            <p:nvPr/>
          </p:nvSpPr>
          <p:spPr>
            <a:xfrm>
              <a:off x="2443046" y="1886108"/>
              <a:ext cx="4509" cy="1049"/>
            </a:xfrm>
            <a:custGeom>
              <a:avLst/>
              <a:gdLst/>
              <a:ahLst/>
              <a:cxnLst/>
              <a:rect l="l" t="t" r="r" b="b"/>
              <a:pathLst>
                <a:path w="460" h="107" fill="none" extrusionOk="0">
                  <a:moveTo>
                    <a:pt x="460" y="1"/>
                  </a:moveTo>
                  <a:lnTo>
                    <a:pt x="460" y="1"/>
                  </a:lnTo>
                  <a:lnTo>
                    <a:pt x="1" y="107"/>
                  </a:lnTo>
                  <a:lnTo>
                    <a:pt x="36" y="107"/>
                  </a:lnTo>
                  <a:lnTo>
                    <a:pt x="460"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77" name="Google Shape;883;g2e0683f995c_0_0">
              <a:extLst>
                <a:ext uri="{FF2B5EF4-FFF2-40B4-BE49-F238E27FC236}">
                  <a16:creationId xmlns:a16="http://schemas.microsoft.com/office/drawing/2014/main" id="{1385785A-6F20-3654-6743-38EBD8BBED50}"/>
                </a:ext>
              </a:extLst>
            </p:cNvPr>
            <p:cNvSpPr/>
            <p:nvPr/>
          </p:nvSpPr>
          <p:spPr>
            <a:xfrm>
              <a:off x="2447546" y="1882305"/>
              <a:ext cx="27016" cy="144352"/>
            </a:xfrm>
            <a:custGeom>
              <a:avLst/>
              <a:gdLst/>
              <a:ahLst/>
              <a:cxnLst/>
              <a:rect l="l" t="t" r="r" b="b"/>
              <a:pathLst>
                <a:path w="2756" h="14726" fill="none" extrusionOk="0">
                  <a:moveTo>
                    <a:pt x="2014" y="0"/>
                  </a:moveTo>
                  <a:lnTo>
                    <a:pt x="2014" y="0"/>
                  </a:lnTo>
                  <a:lnTo>
                    <a:pt x="1" y="389"/>
                  </a:lnTo>
                  <a:lnTo>
                    <a:pt x="283" y="5898"/>
                  </a:lnTo>
                  <a:lnTo>
                    <a:pt x="1201" y="5756"/>
                  </a:lnTo>
                  <a:lnTo>
                    <a:pt x="1590" y="7875"/>
                  </a:lnTo>
                  <a:lnTo>
                    <a:pt x="389" y="8087"/>
                  </a:lnTo>
                  <a:lnTo>
                    <a:pt x="389" y="8087"/>
                  </a:lnTo>
                  <a:lnTo>
                    <a:pt x="425" y="8723"/>
                  </a:lnTo>
                  <a:lnTo>
                    <a:pt x="531" y="10912"/>
                  </a:lnTo>
                  <a:lnTo>
                    <a:pt x="742" y="14726"/>
                  </a:lnTo>
                  <a:lnTo>
                    <a:pt x="742" y="14726"/>
                  </a:lnTo>
                  <a:lnTo>
                    <a:pt x="2755" y="14302"/>
                  </a:lnTo>
                  <a:lnTo>
                    <a:pt x="2014" y="0"/>
                  </a:lnTo>
                  <a:lnTo>
                    <a:pt x="2014"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78" name="Google Shape;884;g2e0683f995c_0_0">
              <a:extLst>
                <a:ext uri="{FF2B5EF4-FFF2-40B4-BE49-F238E27FC236}">
                  <a16:creationId xmlns:a16="http://schemas.microsoft.com/office/drawing/2014/main" id="{941289ED-1502-4A23-5FB4-95D561263A2B}"/>
                </a:ext>
              </a:extLst>
            </p:cNvPr>
            <p:cNvSpPr/>
            <p:nvPr/>
          </p:nvSpPr>
          <p:spPr>
            <a:xfrm>
              <a:off x="2292127" y="1806835"/>
              <a:ext cx="183473" cy="237132"/>
            </a:xfrm>
            <a:custGeom>
              <a:avLst/>
              <a:gdLst/>
              <a:ahLst/>
              <a:cxnLst/>
              <a:rect l="l" t="t" r="r" b="b"/>
              <a:pathLst>
                <a:path w="18717" h="24191" extrusionOk="0">
                  <a:moveTo>
                    <a:pt x="989" y="1"/>
                  </a:moveTo>
                  <a:lnTo>
                    <a:pt x="742" y="36"/>
                  </a:lnTo>
                  <a:lnTo>
                    <a:pt x="495" y="142"/>
                  </a:lnTo>
                  <a:lnTo>
                    <a:pt x="318" y="319"/>
                  </a:lnTo>
                  <a:lnTo>
                    <a:pt x="177" y="531"/>
                  </a:lnTo>
                  <a:lnTo>
                    <a:pt x="71" y="813"/>
                  </a:lnTo>
                  <a:lnTo>
                    <a:pt x="0" y="990"/>
                  </a:lnTo>
                  <a:lnTo>
                    <a:pt x="0" y="1131"/>
                  </a:lnTo>
                  <a:lnTo>
                    <a:pt x="0" y="1308"/>
                  </a:lnTo>
                  <a:lnTo>
                    <a:pt x="35" y="1484"/>
                  </a:lnTo>
                  <a:lnTo>
                    <a:pt x="106" y="1625"/>
                  </a:lnTo>
                  <a:lnTo>
                    <a:pt x="212" y="1731"/>
                  </a:lnTo>
                  <a:lnTo>
                    <a:pt x="353" y="1837"/>
                  </a:lnTo>
                  <a:lnTo>
                    <a:pt x="495" y="1943"/>
                  </a:lnTo>
                  <a:lnTo>
                    <a:pt x="15220" y="8123"/>
                  </a:lnTo>
                  <a:lnTo>
                    <a:pt x="15361" y="8194"/>
                  </a:lnTo>
                  <a:lnTo>
                    <a:pt x="15397" y="8194"/>
                  </a:lnTo>
                  <a:lnTo>
                    <a:pt x="15856" y="8088"/>
                  </a:lnTo>
                  <a:lnTo>
                    <a:pt x="17869" y="7699"/>
                  </a:lnTo>
                  <a:lnTo>
                    <a:pt x="16915" y="6605"/>
                  </a:lnTo>
                  <a:lnTo>
                    <a:pt x="15750" y="6145"/>
                  </a:lnTo>
                  <a:lnTo>
                    <a:pt x="15715" y="6110"/>
                  </a:lnTo>
                  <a:lnTo>
                    <a:pt x="1307" y="72"/>
                  </a:lnTo>
                  <a:lnTo>
                    <a:pt x="1130" y="1"/>
                  </a:lnTo>
                  <a:close/>
                  <a:moveTo>
                    <a:pt x="18610" y="22001"/>
                  </a:moveTo>
                  <a:lnTo>
                    <a:pt x="16597" y="22425"/>
                  </a:lnTo>
                  <a:lnTo>
                    <a:pt x="16597" y="22531"/>
                  </a:lnTo>
                  <a:lnTo>
                    <a:pt x="16633" y="22990"/>
                  </a:lnTo>
                  <a:lnTo>
                    <a:pt x="16668" y="24191"/>
                  </a:lnTo>
                  <a:lnTo>
                    <a:pt x="18716" y="23767"/>
                  </a:lnTo>
                  <a:lnTo>
                    <a:pt x="18716" y="23732"/>
                  </a:lnTo>
                  <a:lnTo>
                    <a:pt x="18610" y="22072"/>
                  </a:lnTo>
                  <a:lnTo>
                    <a:pt x="18610" y="22001"/>
                  </a:lnTo>
                  <a:close/>
                </a:path>
              </a:pathLst>
            </a:custGeom>
            <a:solidFill>
              <a:srgbClr val="BD571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79" name="Google Shape;885;g2e0683f995c_0_0">
              <a:extLst>
                <a:ext uri="{FF2B5EF4-FFF2-40B4-BE49-F238E27FC236}">
                  <a16:creationId xmlns:a16="http://schemas.microsoft.com/office/drawing/2014/main" id="{E1B2F060-F033-E7B5-0BC0-6BA9DE078E8C}"/>
                </a:ext>
              </a:extLst>
            </p:cNvPr>
            <p:cNvSpPr/>
            <p:nvPr/>
          </p:nvSpPr>
          <p:spPr>
            <a:xfrm>
              <a:off x="2454819" y="2022500"/>
              <a:ext cx="20781" cy="21467"/>
            </a:xfrm>
            <a:custGeom>
              <a:avLst/>
              <a:gdLst/>
              <a:ahLst/>
              <a:cxnLst/>
              <a:rect l="l" t="t" r="r" b="b"/>
              <a:pathLst>
                <a:path w="2120" h="2190" fill="none" extrusionOk="0">
                  <a:moveTo>
                    <a:pt x="2013" y="0"/>
                  </a:moveTo>
                  <a:lnTo>
                    <a:pt x="2013" y="0"/>
                  </a:lnTo>
                  <a:lnTo>
                    <a:pt x="0" y="424"/>
                  </a:lnTo>
                  <a:lnTo>
                    <a:pt x="0" y="424"/>
                  </a:lnTo>
                  <a:lnTo>
                    <a:pt x="0" y="530"/>
                  </a:lnTo>
                  <a:lnTo>
                    <a:pt x="36" y="989"/>
                  </a:lnTo>
                  <a:lnTo>
                    <a:pt x="71" y="2190"/>
                  </a:lnTo>
                  <a:lnTo>
                    <a:pt x="71" y="2190"/>
                  </a:lnTo>
                  <a:lnTo>
                    <a:pt x="2119" y="1766"/>
                  </a:lnTo>
                  <a:lnTo>
                    <a:pt x="2119" y="1731"/>
                  </a:lnTo>
                  <a:lnTo>
                    <a:pt x="2013" y="71"/>
                  </a:lnTo>
                  <a:lnTo>
                    <a:pt x="2013" y="0"/>
                  </a:lnTo>
                  <a:lnTo>
                    <a:pt x="2013"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80" name="Google Shape;886;g2e0683f995c_0_0">
              <a:extLst>
                <a:ext uri="{FF2B5EF4-FFF2-40B4-BE49-F238E27FC236}">
                  <a16:creationId xmlns:a16="http://schemas.microsoft.com/office/drawing/2014/main" id="{53D0C4BC-0A1F-E92C-8E92-F192595A8B9B}"/>
                </a:ext>
              </a:extLst>
            </p:cNvPr>
            <p:cNvSpPr/>
            <p:nvPr/>
          </p:nvSpPr>
          <p:spPr>
            <a:xfrm>
              <a:off x="2292127" y="1806835"/>
              <a:ext cx="175161" cy="80322"/>
            </a:xfrm>
            <a:custGeom>
              <a:avLst/>
              <a:gdLst/>
              <a:ahLst/>
              <a:cxnLst/>
              <a:rect l="l" t="t" r="r" b="b"/>
              <a:pathLst>
                <a:path w="17869" h="8194" fill="none" extrusionOk="0">
                  <a:moveTo>
                    <a:pt x="989" y="1"/>
                  </a:moveTo>
                  <a:lnTo>
                    <a:pt x="989" y="1"/>
                  </a:lnTo>
                  <a:lnTo>
                    <a:pt x="742" y="36"/>
                  </a:lnTo>
                  <a:lnTo>
                    <a:pt x="495" y="142"/>
                  </a:lnTo>
                  <a:lnTo>
                    <a:pt x="318" y="319"/>
                  </a:lnTo>
                  <a:lnTo>
                    <a:pt x="177" y="531"/>
                  </a:lnTo>
                  <a:lnTo>
                    <a:pt x="71" y="813"/>
                  </a:lnTo>
                  <a:lnTo>
                    <a:pt x="71" y="813"/>
                  </a:lnTo>
                  <a:lnTo>
                    <a:pt x="0" y="990"/>
                  </a:lnTo>
                  <a:lnTo>
                    <a:pt x="0" y="1131"/>
                  </a:lnTo>
                  <a:lnTo>
                    <a:pt x="0" y="1308"/>
                  </a:lnTo>
                  <a:lnTo>
                    <a:pt x="35" y="1484"/>
                  </a:lnTo>
                  <a:lnTo>
                    <a:pt x="106" y="1625"/>
                  </a:lnTo>
                  <a:lnTo>
                    <a:pt x="212" y="1731"/>
                  </a:lnTo>
                  <a:lnTo>
                    <a:pt x="353" y="1837"/>
                  </a:lnTo>
                  <a:lnTo>
                    <a:pt x="495" y="1943"/>
                  </a:lnTo>
                  <a:lnTo>
                    <a:pt x="15220" y="8123"/>
                  </a:lnTo>
                  <a:lnTo>
                    <a:pt x="15361" y="8194"/>
                  </a:lnTo>
                  <a:lnTo>
                    <a:pt x="15397" y="8194"/>
                  </a:lnTo>
                  <a:lnTo>
                    <a:pt x="15397" y="8194"/>
                  </a:lnTo>
                  <a:lnTo>
                    <a:pt x="15856" y="8088"/>
                  </a:lnTo>
                  <a:lnTo>
                    <a:pt x="15856" y="8088"/>
                  </a:lnTo>
                  <a:lnTo>
                    <a:pt x="15856" y="8088"/>
                  </a:lnTo>
                  <a:lnTo>
                    <a:pt x="15856" y="8088"/>
                  </a:lnTo>
                  <a:lnTo>
                    <a:pt x="17869" y="7699"/>
                  </a:lnTo>
                  <a:lnTo>
                    <a:pt x="16915" y="6605"/>
                  </a:lnTo>
                  <a:lnTo>
                    <a:pt x="15750" y="6145"/>
                  </a:lnTo>
                  <a:lnTo>
                    <a:pt x="15715" y="6110"/>
                  </a:lnTo>
                  <a:lnTo>
                    <a:pt x="1307" y="72"/>
                  </a:lnTo>
                  <a:lnTo>
                    <a:pt x="1307" y="72"/>
                  </a:lnTo>
                  <a:lnTo>
                    <a:pt x="1130" y="1"/>
                  </a:lnTo>
                  <a:lnTo>
                    <a:pt x="989"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81" name="Google Shape;887;g2e0683f995c_0_0">
              <a:extLst>
                <a:ext uri="{FF2B5EF4-FFF2-40B4-BE49-F238E27FC236}">
                  <a16:creationId xmlns:a16="http://schemas.microsoft.com/office/drawing/2014/main" id="{7D332E37-E224-A9E4-79C2-A7D6AB8288D3}"/>
                </a:ext>
              </a:extLst>
            </p:cNvPr>
            <p:cNvSpPr/>
            <p:nvPr/>
          </p:nvSpPr>
          <p:spPr>
            <a:xfrm>
              <a:off x="2292813" y="2870936"/>
              <a:ext cx="19742" cy="3813"/>
            </a:xfrm>
            <a:custGeom>
              <a:avLst/>
              <a:gdLst/>
              <a:ahLst/>
              <a:cxnLst/>
              <a:rect l="l" t="t" r="r" b="b"/>
              <a:pathLst>
                <a:path w="2014" h="389" extrusionOk="0">
                  <a:moveTo>
                    <a:pt x="2014" y="0"/>
                  </a:moveTo>
                  <a:lnTo>
                    <a:pt x="2014" y="0"/>
                  </a:lnTo>
                  <a:lnTo>
                    <a:pt x="1" y="389"/>
                  </a:lnTo>
                  <a:lnTo>
                    <a:pt x="1" y="389"/>
                  </a:lnTo>
                  <a:lnTo>
                    <a:pt x="2014" y="0"/>
                  </a:lnTo>
                  <a:lnTo>
                    <a:pt x="2014" y="0"/>
                  </a:lnTo>
                  <a:close/>
                </a:path>
              </a:pathLst>
            </a:custGeom>
            <a:solidFill>
              <a:srgbClr val="DFDFE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82" name="Google Shape;888;g2e0683f995c_0_0">
              <a:extLst>
                <a:ext uri="{FF2B5EF4-FFF2-40B4-BE49-F238E27FC236}">
                  <a16:creationId xmlns:a16="http://schemas.microsoft.com/office/drawing/2014/main" id="{E79DBD16-2134-48D3-5861-E169AA727555}"/>
                </a:ext>
              </a:extLst>
            </p:cNvPr>
            <p:cNvSpPr/>
            <p:nvPr/>
          </p:nvSpPr>
          <p:spPr>
            <a:xfrm>
              <a:off x="2292813" y="2870936"/>
              <a:ext cx="19742" cy="3813"/>
            </a:xfrm>
            <a:custGeom>
              <a:avLst/>
              <a:gdLst/>
              <a:ahLst/>
              <a:cxnLst/>
              <a:rect l="l" t="t" r="r" b="b"/>
              <a:pathLst>
                <a:path w="2014" h="389" fill="none" extrusionOk="0">
                  <a:moveTo>
                    <a:pt x="2014" y="0"/>
                  </a:moveTo>
                  <a:lnTo>
                    <a:pt x="2014" y="0"/>
                  </a:lnTo>
                  <a:lnTo>
                    <a:pt x="1" y="389"/>
                  </a:lnTo>
                  <a:lnTo>
                    <a:pt x="1" y="389"/>
                  </a:lnTo>
                  <a:lnTo>
                    <a:pt x="2014" y="0"/>
                  </a:lnTo>
                  <a:lnTo>
                    <a:pt x="2014"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83" name="Google Shape;889;g2e0683f995c_0_0">
              <a:extLst>
                <a:ext uri="{FF2B5EF4-FFF2-40B4-BE49-F238E27FC236}">
                  <a16:creationId xmlns:a16="http://schemas.microsoft.com/office/drawing/2014/main" id="{44F1A44E-BB99-7C89-DB8E-36CA0E0F0749}"/>
                </a:ext>
              </a:extLst>
            </p:cNvPr>
            <p:cNvSpPr/>
            <p:nvPr/>
          </p:nvSpPr>
          <p:spPr>
            <a:xfrm>
              <a:off x="2284511" y="2715164"/>
              <a:ext cx="27006" cy="143322"/>
            </a:xfrm>
            <a:custGeom>
              <a:avLst/>
              <a:gdLst/>
              <a:ahLst/>
              <a:cxnLst/>
              <a:rect l="l" t="t" r="r" b="b"/>
              <a:pathLst>
                <a:path w="2755" h="14621" extrusionOk="0">
                  <a:moveTo>
                    <a:pt x="318" y="0"/>
                  </a:moveTo>
                  <a:lnTo>
                    <a:pt x="0" y="71"/>
                  </a:lnTo>
                  <a:lnTo>
                    <a:pt x="177" y="3532"/>
                  </a:lnTo>
                  <a:lnTo>
                    <a:pt x="283" y="5721"/>
                  </a:lnTo>
                  <a:lnTo>
                    <a:pt x="636" y="12925"/>
                  </a:lnTo>
                  <a:lnTo>
                    <a:pt x="742" y="14620"/>
                  </a:lnTo>
                  <a:lnTo>
                    <a:pt x="2755" y="14196"/>
                  </a:lnTo>
                  <a:lnTo>
                    <a:pt x="2719" y="13172"/>
                  </a:lnTo>
                  <a:lnTo>
                    <a:pt x="2472" y="8617"/>
                  </a:lnTo>
                  <a:lnTo>
                    <a:pt x="2331" y="5968"/>
                  </a:lnTo>
                  <a:lnTo>
                    <a:pt x="2225" y="3779"/>
                  </a:lnTo>
                  <a:lnTo>
                    <a:pt x="2084" y="1272"/>
                  </a:lnTo>
                  <a:lnTo>
                    <a:pt x="671" y="1590"/>
                  </a:lnTo>
                  <a:lnTo>
                    <a:pt x="318" y="0"/>
                  </a:lnTo>
                  <a:close/>
                </a:path>
              </a:pathLst>
            </a:custGeom>
            <a:solidFill>
              <a:srgbClr val="DFDFE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84" name="Google Shape;890;g2e0683f995c_0_0">
              <a:extLst>
                <a:ext uri="{FF2B5EF4-FFF2-40B4-BE49-F238E27FC236}">
                  <a16:creationId xmlns:a16="http://schemas.microsoft.com/office/drawing/2014/main" id="{F5670482-868B-8B3D-BB25-F7767157FDDA}"/>
                </a:ext>
              </a:extLst>
            </p:cNvPr>
            <p:cNvSpPr/>
            <p:nvPr/>
          </p:nvSpPr>
          <p:spPr>
            <a:xfrm>
              <a:off x="2284511" y="2715164"/>
              <a:ext cx="27006" cy="143322"/>
            </a:xfrm>
            <a:custGeom>
              <a:avLst/>
              <a:gdLst/>
              <a:ahLst/>
              <a:cxnLst/>
              <a:rect l="l" t="t" r="r" b="b"/>
              <a:pathLst>
                <a:path w="2755" h="14621" fill="none" extrusionOk="0">
                  <a:moveTo>
                    <a:pt x="318" y="0"/>
                  </a:moveTo>
                  <a:lnTo>
                    <a:pt x="318" y="0"/>
                  </a:lnTo>
                  <a:lnTo>
                    <a:pt x="0" y="71"/>
                  </a:lnTo>
                  <a:lnTo>
                    <a:pt x="0" y="71"/>
                  </a:lnTo>
                  <a:lnTo>
                    <a:pt x="177" y="3532"/>
                  </a:lnTo>
                  <a:lnTo>
                    <a:pt x="283" y="5721"/>
                  </a:lnTo>
                  <a:lnTo>
                    <a:pt x="636" y="12925"/>
                  </a:lnTo>
                  <a:lnTo>
                    <a:pt x="742" y="14620"/>
                  </a:lnTo>
                  <a:lnTo>
                    <a:pt x="742" y="14620"/>
                  </a:lnTo>
                  <a:lnTo>
                    <a:pt x="742" y="14620"/>
                  </a:lnTo>
                  <a:lnTo>
                    <a:pt x="2755" y="14196"/>
                  </a:lnTo>
                  <a:lnTo>
                    <a:pt x="2719" y="13172"/>
                  </a:lnTo>
                  <a:lnTo>
                    <a:pt x="2472" y="8617"/>
                  </a:lnTo>
                  <a:lnTo>
                    <a:pt x="2331" y="5968"/>
                  </a:lnTo>
                  <a:lnTo>
                    <a:pt x="2225" y="3779"/>
                  </a:lnTo>
                  <a:lnTo>
                    <a:pt x="2084" y="1272"/>
                  </a:lnTo>
                  <a:lnTo>
                    <a:pt x="2084" y="1272"/>
                  </a:lnTo>
                  <a:lnTo>
                    <a:pt x="671" y="1590"/>
                  </a:lnTo>
                  <a:lnTo>
                    <a:pt x="318"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85" name="Google Shape;891;g2e0683f995c_0_0">
              <a:extLst>
                <a:ext uri="{FF2B5EF4-FFF2-40B4-BE49-F238E27FC236}">
                  <a16:creationId xmlns:a16="http://schemas.microsoft.com/office/drawing/2014/main" id="{62A52ADF-17A5-F7C1-E5D4-8F05334FC2C9}"/>
                </a:ext>
              </a:extLst>
            </p:cNvPr>
            <p:cNvSpPr/>
            <p:nvPr/>
          </p:nvSpPr>
          <p:spPr>
            <a:xfrm>
              <a:off x="2283472" y="2696471"/>
              <a:ext cx="29084" cy="178278"/>
            </a:xfrm>
            <a:custGeom>
              <a:avLst/>
              <a:gdLst/>
              <a:ahLst/>
              <a:cxnLst/>
              <a:rect l="l" t="t" r="r" b="b"/>
              <a:pathLst>
                <a:path w="2967" h="18187" extrusionOk="0">
                  <a:moveTo>
                    <a:pt x="2048" y="0"/>
                  </a:moveTo>
                  <a:lnTo>
                    <a:pt x="0" y="424"/>
                  </a:lnTo>
                  <a:lnTo>
                    <a:pt x="106" y="1978"/>
                  </a:lnTo>
                  <a:lnTo>
                    <a:pt x="424" y="1907"/>
                  </a:lnTo>
                  <a:lnTo>
                    <a:pt x="318" y="1378"/>
                  </a:lnTo>
                  <a:lnTo>
                    <a:pt x="2084" y="989"/>
                  </a:lnTo>
                  <a:lnTo>
                    <a:pt x="2048" y="248"/>
                  </a:lnTo>
                  <a:lnTo>
                    <a:pt x="2048" y="0"/>
                  </a:lnTo>
                  <a:close/>
                  <a:moveTo>
                    <a:pt x="2861" y="16103"/>
                  </a:moveTo>
                  <a:lnTo>
                    <a:pt x="848" y="16527"/>
                  </a:lnTo>
                  <a:lnTo>
                    <a:pt x="848" y="16739"/>
                  </a:lnTo>
                  <a:lnTo>
                    <a:pt x="883" y="17022"/>
                  </a:lnTo>
                  <a:lnTo>
                    <a:pt x="954" y="18187"/>
                  </a:lnTo>
                  <a:lnTo>
                    <a:pt x="2967" y="17798"/>
                  </a:lnTo>
                  <a:lnTo>
                    <a:pt x="2931" y="17269"/>
                  </a:lnTo>
                  <a:lnTo>
                    <a:pt x="2896" y="16315"/>
                  </a:lnTo>
                  <a:lnTo>
                    <a:pt x="2861" y="16103"/>
                  </a:lnTo>
                  <a:close/>
                </a:path>
              </a:pathLst>
            </a:custGeom>
            <a:solidFill>
              <a:srgbClr val="38383B"/>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86" name="Google Shape;892;g2e0683f995c_0_0">
              <a:extLst>
                <a:ext uri="{FF2B5EF4-FFF2-40B4-BE49-F238E27FC236}">
                  <a16:creationId xmlns:a16="http://schemas.microsoft.com/office/drawing/2014/main" id="{EDCC71D8-2DA3-737A-D821-8B0EC5AB8F4A}"/>
                </a:ext>
              </a:extLst>
            </p:cNvPr>
            <p:cNvSpPr/>
            <p:nvPr/>
          </p:nvSpPr>
          <p:spPr>
            <a:xfrm>
              <a:off x="2291774" y="2854321"/>
              <a:ext cx="20781" cy="20428"/>
            </a:xfrm>
            <a:custGeom>
              <a:avLst/>
              <a:gdLst/>
              <a:ahLst/>
              <a:cxnLst/>
              <a:rect l="l" t="t" r="r" b="b"/>
              <a:pathLst>
                <a:path w="2120" h="2084" fill="none" extrusionOk="0">
                  <a:moveTo>
                    <a:pt x="2014" y="0"/>
                  </a:moveTo>
                  <a:lnTo>
                    <a:pt x="2014" y="0"/>
                  </a:lnTo>
                  <a:lnTo>
                    <a:pt x="1" y="424"/>
                  </a:lnTo>
                  <a:lnTo>
                    <a:pt x="1" y="636"/>
                  </a:lnTo>
                  <a:lnTo>
                    <a:pt x="36" y="919"/>
                  </a:lnTo>
                  <a:lnTo>
                    <a:pt x="107" y="2084"/>
                  </a:lnTo>
                  <a:lnTo>
                    <a:pt x="107" y="2084"/>
                  </a:lnTo>
                  <a:lnTo>
                    <a:pt x="2120" y="1695"/>
                  </a:lnTo>
                  <a:lnTo>
                    <a:pt x="2084" y="1166"/>
                  </a:lnTo>
                  <a:lnTo>
                    <a:pt x="2049" y="212"/>
                  </a:lnTo>
                  <a:lnTo>
                    <a:pt x="2014" y="0"/>
                  </a:lnTo>
                  <a:lnTo>
                    <a:pt x="2014"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87" name="Google Shape;893;g2e0683f995c_0_0">
              <a:extLst>
                <a:ext uri="{FF2B5EF4-FFF2-40B4-BE49-F238E27FC236}">
                  <a16:creationId xmlns:a16="http://schemas.microsoft.com/office/drawing/2014/main" id="{88C571D5-6E3D-995C-6C61-5F90A8E7D955}"/>
                </a:ext>
              </a:extLst>
            </p:cNvPr>
            <p:cNvSpPr/>
            <p:nvPr/>
          </p:nvSpPr>
          <p:spPr>
            <a:xfrm>
              <a:off x="2283472" y="2696471"/>
              <a:ext cx="20428" cy="19399"/>
            </a:xfrm>
            <a:custGeom>
              <a:avLst/>
              <a:gdLst/>
              <a:ahLst/>
              <a:cxnLst/>
              <a:rect l="l" t="t" r="r" b="b"/>
              <a:pathLst>
                <a:path w="2084" h="1979" fill="none" extrusionOk="0">
                  <a:moveTo>
                    <a:pt x="2048" y="0"/>
                  </a:moveTo>
                  <a:lnTo>
                    <a:pt x="2048" y="0"/>
                  </a:lnTo>
                  <a:lnTo>
                    <a:pt x="0" y="424"/>
                  </a:lnTo>
                  <a:lnTo>
                    <a:pt x="106" y="1978"/>
                  </a:lnTo>
                  <a:lnTo>
                    <a:pt x="106" y="1978"/>
                  </a:lnTo>
                  <a:lnTo>
                    <a:pt x="424" y="1907"/>
                  </a:lnTo>
                  <a:lnTo>
                    <a:pt x="318" y="1378"/>
                  </a:lnTo>
                  <a:lnTo>
                    <a:pt x="2084" y="989"/>
                  </a:lnTo>
                  <a:lnTo>
                    <a:pt x="2084" y="989"/>
                  </a:lnTo>
                  <a:lnTo>
                    <a:pt x="2048" y="248"/>
                  </a:lnTo>
                  <a:lnTo>
                    <a:pt x="2048" y="0"/>
                  </a:lnTo>
                  <a:lnTo>
                    <a:pt x="2048"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88" name="Google Shape;894;g2e0683f995c_0_0">
              <a:extLst>
                <a:ext uri="{FF2B5EF4-FFF2-40B4-BE49-F238E27FC236}">
                  <a16:creationId xmlns:a16="http://schemas.microsoft.com/office/drawing/2014/main" id="{5005DF88-A5A8-85C0-139A-D91381291A95}"/>
                </a:ext>
              </a:extLst>
            </p:cNvPr>
            <p:cNvSpPr/>
            <p:nvPr/>
          </p:nvSpPr>
          <p:spPr>
            <a:xfrm>
              <a:off x="2276894" y="2569774"/>
              <a:ext cx="25624" cy="114591"/>
            </a:xfrm>
            <a:custGeom>
              <a:avLst/>
              <a:gdLst/>
              <a:ahLst/>
              <a:cxnLst/>
              <a:rect l="l" t="t" r="r" b="b"/>
              <a:pathLst>
                <a:path w="2614" h="11690" extrusionOk="0">
                  <a:moveTo>
                    <a:pt x="2049" y="1"/>
                  </a:moveTo>
                  <a:lnTo>
                    <a:pt x="0" y="389"/>
                  </a:lnTo>
                  <a:lnTo>
                    <a:pt x="36" y="1131"/>
                  </a:lnTo>
                  <a:lnTo>
                    <a:pt x="601" y="11690"/>
                  </a:lnTo>
                  <a:lnTo>
                    <a:pt x="2614" y="11266"/>
                  </a:lnTo>
                  <a:lnTo>
                    <a:pt x="2614" y="10983"/>
                  </a:lnTo>
                  <a:lnTo>
                    <a:pt x="2119" y="1413"/>
                  </a:lnTo>
                  <a:lnTo>
                    <a:pt x="2049" y="1"/>
                  </a:lnTo>
                  <a:close/>
                </a:path>
              </a:pathLst>
            </a:custGeom>
            <a:solidFill>
              <a:srgbClr val="DFDFE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89" name="Google Shape;895;g2e0683f995c_0_0">
              <a:extLst>
                <a:ext uri="{FF2B5EF4-FFF2-40B4-BE49-F238E27FC236}">
                  <a16:creationId xmlns:a16="http://schemas.microsoft.com/office/drawing/2014/main" id="{7A2978B2-9DD1-F11A-3595-3B26EFECD6F0}"/>
                </a:ext>
              </a:extLst>
            </p:cNvPr>
            <p:cNvSpPr/>
            <p:nvPr/>
          </p:nvSpPr>
          <p:spPr>
            <a:xfrm>
              <a:off x="2276894" y="2569774"/>
              <a:ext cx="25624" cy="114591"/>
            </a:xfrm>
            <a:custGeom>
              <a:avLst/>
              <a:gdLst/>
              <a:ahLst/>
              <a:cxnLst/>
              <a:rect l="l" t="t" r="r" b="b"/>
              <a:pathLst>
                <a:path w="2614" h="11690" fill="none" extrusionOk="0">
                  <a:moveTo>
                    <a:pt x="2049" y="1"/>
                  </a:moveTo>
                  <a:lnTo>
                    <a:pt x="2049" y="1"/>
                  </a:lnTo>
                  <a:lnTo>
                    <a:pt x="0" y="389"/>
                  </a:lnTo>
                  <a:lnTo>
                    <a:pt x="0" y="389"/>
                  </a:lnTo>
                  <a:lnTo>
                    <a:pt x="36" y="1131"/>
                  </a:lnTo>
                  <a:lnTo>
                    <a:pt x="601" y="11690"/>
                  </a:lnTo>
                  <a:lnTo>
                    <a:pt x="601" y="11690"/>
                  </a:lnTo>
                  <a:lnTo>
                    <a:pt x="601" y="11690"/>
                  </a:lnTo>
                  <a:lnTo>
                    <a:pt x="2614" y="11266"/>
                  </a:lnTo>
                  <a:lnTo>
                    <a:pt x="2614" y="10983"/>
                  </a:lnTo>
                  <a:lnTo>
                    <a:pt x="2119" y="1413"/>
                  </a:lnTo>
                  <a:lnTo>
                    <a:pt x="2049" y="1"/>
                  </a:lnTo>
                  <a:lnTo>
                    <a:pt x="2049"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90" name="Google Shape;896;g2e0683f995c_0_0">
              <a:extLst>
                <a:ext uri="{FF2B5EF4-FFF2-40B4-BE49-F238E27FC236}">
                  <a16:creationId xmlns:a16="http://schemas.microsoft.com/office/drawing/2014/main" id="{CBC95FFD-2342-60D1-8EA2-1C8BDEC1ABC9}"/>
                </a:ext>
              </a:extLst>
            </p:cNvPr>
            <p:cNvSpPr/>
            <p:nvPr/>
          </p:nvSpPr>
          <p:spPr>
            <a:xfrm>
              <a:off x="2282776" y="2680199"/>
              <a:ext cx="20781" cy="20438"/>
            </a:xfrm>
            <a:custGeom>
              <a:avLst/>
              <a:gdLst/>
              <a:ahLst/>
              <a:cxnLst/>
              <a:rect l="l" t="t" r="r" b="b"/>
              <a:pathLst>
                <a:path w="2120" h="2085" extrusionOk="0">
                  <a:moveTo>
                    <a:pt x="2014" y="1"/>
                  </a:moveTo>
                  <a:lnTo>
                    <a:pt x="1" y="425"/>
                  </a:lnTo>
                  <a:lnTo>
                    <a:pt x="1" y="707"/>
                  </a:lnTo>
                  <a:lnTo>
                    <a:pt x="71" y="2084"/>
                  </a:lnTo>
                  <a:lnTo>
                    <a:pt x="2119" y="1660"/>
                  </a:lnTo>
                  <a:lnTo>
                    <a:pt x="2049" y="283"/>
                  </a:lnTo>
                  <a:lnTo>
                    <a:pt x="2014" y="1"/>
                  </a:lnTo>
                  <a:close/>
                </a:path>
              </a:pathLst>
            </a:custGeom>
            <a:solidFill>
              <a:srgbClr val="D47E08"/>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91" name="Google Shape;897;g2e0683f995c_0_0">
              <a:extLst>
                <a:ext uri="{FF2B5EF4-FFF2-40B4-BE49-F238E27FC236}">
                  <a16:creationId xmlns:a16="http://schemas.microsoft.com/office/drawing/2014/main" id="{525B5AA6-A4D0-F681-93D0-568265AD8C0F}"/>
                </a:ext>
              </a:extLst>
            </p:cNvPr>
            <p:cNvSpPr/>
            <p:nvPr/>
          </p:nvSpPr>
          <p:spPr>
            <a:xfrm>
              <a:off x="2282776" y="2680199"/>
              <a:ext cx="20781" cy="20438"/>
            </a:xfrm>
            <a:custGeom>
              <a:avLst/>
              <a:gdLst/>
              <a:ahLst/>
              <a:cxnLst/>
              <a:rect l="l" t="t" r="r" b="b"/>
              <a:pathLst>
                <a:path w="2120" h="2085" fill="none" extrusionOk="0">
                  <a:moveTo>
                    <a:pt x="2014" y="1"/>
                  </a:moveTo>
                  <a:lnTo>
                    <a:pt x="2014" y="1"/>
                  </a:lnTo>
                  <a:lnTo>
                    <a:pt x="1" y="425"/>
                  </a:lnTo>
                  <a:lnTo>
                    <a:pt x="1" y="707"/>
                  </a:lnTo>
                  <a:lnTo>
                    <a:pt x="71" y="2084"/>
                  </a:lnTo>
                  <a:lnTo>
                    <a:pt x="71" y="2084"/>
                  </a:lnTo>
                  <a:lnTo>
                    <a:pt x="71" y="2084"/>
                  </a:lnTo>
                  <a:lnTo>
                    <a:pt x="71" y="2084"/>
                  </a:lnTo>
                  <a:lnTo>
                    <a:pt x="2119" y="1660"/>
                  </a:lnTo>
                  <a:lnTo>
                    <a:pt x="2119" y="1660"/>
                  </a:lnTo>
                  <a:lnTo>
                    <a:pt x="2049" y="283"/>
                  </a:lnTo>
                  <a:lnTo>
                    <a:pt x="2014" y="1"/>
                  </a:lnTo>
                  <a:lnTo>
                    <a:pt x="2014"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92" name="Google Shape;898;g2e0683f995c_0_0">
              <a:extLst>
                <a:ext uri="{FF2B5EF4-FFF2-40B4-BE49-F238E27FC236}">
                  <a16:creationId xmlns:a16="http://schemas.microsoft.com/office/drawing/2014/main" id="{6A7CF720-7D3C-B50F-CBA9-02523F9FAF6A}"/>
                </a:ext>
              </a:extLst>
            </p:cNvPr>
            <p:cNvSpPr/>
            <p:nvPr/>
          </p:nvSpPr>
          <p:spPr>
            <a:xfrm>
              <a:off x="2268582" y="2410199"/>
              <a:ext cx="27359" cy="147126"/>
            </a:xfrm>
            <a:custGeom>
              <a:avLst/>
              <a:gdLst/>
              <a:ahLst/>
              <a:cxnLst/>
              <a:rect l="l" t="t" r="r" b="b"/>
              <a:pathLst>
                <a:path w="2791" h="15009" extrusionOk="0">
                  <a:moveTo>
                    <a:pt x="2049" y="0"/>
                  </a:moveTo>
                  <a:lnTo>
                    <a:pt x="1" y="389"/>
                  </a:lnTo>
                  <a:lnTo>
                    <a:pt x="248" y="5015"/>
                  </a:lnTo>
                  <a:lnTo>
                    <a:pt x="601" y="11830"/>
                  </a:lnTo>
                  <a:lnTo>
                    <a:pt x="672" y="13384"/>
                  </a:lnTo>
                  <a:lnTo>
                    <a:pt x="778" y="15008"/>
                  </a:lnTo>
                  <a:lnTo>
                    <a:pt x="2791" y="14620"/>
                  </a:lnTo>
                  <a:lnTo>
                    <a:pt x="2720" y="13031"/>
                  </a:lnTo>
                  <a:lnTo>
                    <a:pt x="1201" y="13384"/>
                  </a:lnTo>
                  <a:lnTo>
                    <a:pt x="742" y="11265"/>
                  </a:lnTo>
                  <a:lnTo>
                    <a:pt x="2614" y="10841"/>
                  </a:lnTo>
                  <a:lnTo>
                    <a:pt x="2543" y="10029"/>
                  </a:lnTo>
                  <a:lnTo>
                    <a:pt x="2437" y="7840"/>
                  </a:lnTo>
                  <a:lnTo>
                    <a:pt x="2332" y="5721"/>
                  </a:lnTo>
                  <a:lnTo>
                    <a:pt x="2049" y="0"/>
                  </a:lnTo>
                  <a:close/>
                </a:path>
              </a:pathLst>
            </a:custGeom>
            <a:solidFill>
              <a:srgbClr val="DFDFE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93" name="Google Shape;899;g2e0683f995c_0_0">
              <a:extLst>
                <a:ext uri="{FF2B5EF4-FFF2-40B4-BE49-F238E27FC236}">
                  <a16:creationId xmlns:a16="http://schemas.microsoft.com/office/drawing/2014/main" id="{CB49B321-D84E-AD2E-094F-78E660D9F09A}"/>
                </a:ext>
              </a:extLst>
            </p:cNvPr>
            <p:cNvSpPr/>
            <p:nvPr/>
          </p:nvSpPr>
          <p:spPr>
            <a:xfrm>
              <a:off x="2268582" y="2410199"/>
              <a:ext cx="27359" cy="147126"/>
            </a:xfrm>
            <a:custGeom>
              <a:avLst/>
              <a:gdLst/>
              <a:ahLst/>
              <a:cxnLst/>
              <a:rect l="l" t="t" r="r" b="b"/>
              <a:pathLst>
                <a:path w="2791" h="15009" fill="none" extrusionOk="0">
                  <a:moveTo>
                    <a:pt x="2049" y="0"/>
                  </a:moveTo>
                  <a:lnTo>
                    <a:pt x="2049" y="0"/>
                  </a:lnTo>
                  <a:lnTo>
                    <a:pt x="1" y="389"/>
                  </a:lnTo>
                  <a:lnTo>
                    <a:pt x="1" y="389"/>
                  </a:lnTo>
                  <a:lnTo>
                    <a:pt x="248" y="5015"/>
                  </a:lnTo>
                  <a:lnTo>
                    <a:pt x="601" y="11830"/>
                  </a:lnTo>
                  <a:lnTo>
                    <a:pt x="672" y="13384"/>
                  </a:lnTo>
                  <a:lnTo>
                    <a:pt x="778" y="15008"/>
                  </a:lnTo>
                  <a:lnTo>
                    <a:pt x="778" y="15008"/>
                  </a:lnTo>
                  <a:lnTo>
                    <a:pt x="778" y="15008"/>
                  </a:lnTo>
                  <a:lnTo>
                    <a:pt x="2791" y="14620"/>
                  </a:lnTo>
                  <a:lnTo>
                    <a:pt x="2720" y="13031"/>
                  </a:lnTo>
                  <a:lnTo>
                    <a:pt x="2720" y="13031"/>
                  </a:lnTo>
                  <a:lnTo>
                    <a:pt x="1201" y="13384"/>
                  </a:lnTo>
                  <a:lnTo>
                    <a:pt x="742" y="11265"/>
                  </a:lnTo>
                  <a:lnTo>
                    <a:pt x="2614" y="10841"/>
                  </a:lnTo>
                  <a:lnTo>
                    <a:pt x="2543" y="10029"/>
                  </a:lnTo>
                  <a:lnTo>
                    <a:pt x="2437" y="7840"/>
                  </a:lnTo>
                  <a:lnTo>
                    <a:pt x="2332" y="5721"/>
                  </a:lnTo>
                  <a:lnTo>
                    <a:pt x="2049" y="0"/>
                  </a:lnTo>
                  <a:lnTo>
                    <a:pt x="2049"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94" name="Google Shape;900;g2e0683f995c_0_0">
              <a:extLst>
                <a:ext uri="{FF2B5EF4-FFF2-40B4-BE49-F238E27FC236}">
                  <a16:creationId xmlns:a16="http://schemas.microsoft.com/office/drawing/2014/main" id="{7B0CCA23-3FF9-BBB3-4CD5-6D658E2EF935}"/>
                </a:ext>
              </a:extLst>
            </p:cNvPr>
            <p:cNvSpPr/>
            <p:nvPr/>
          </p:nvSpPr>
          <p:spPr>
            <a:xfrm>
              <a:off x="2268238" y="2404308"/>
              <a:ext cx="28741" cy="169289"/>
            </a:xfrm>
            <a:custGeom>
              <a:avLst/>
              <a:gdLst/>
              <a:ahLst/>
              <a:cxnLst/>
              <a:rect l="l" t="t" r="r" b="b"/>
              <a:pathLst>
                <a:path w="2932" h="17270" extrusionOk="0">
                  <a:moveTo>
                    <a:pt x="2049" y="1"/>
                  </a:moveTo>
                  <a:lnTo>
                    <a:pt x="1" y="425"/>
                  </a:lnTo>
                  <a:lnTo>
                    <a:pt x="36" y="990"/>
                  </a:lnTo>
                  <a:lnTo>
                    <a:pt x="2084" y="601"/>
                  </a:lnTo>
                  <a:lnTo>
                    <a:pt x="2049" y="1"/>
                  </a:lnTo>
                  <a:close/>
                  <a:moveTo>
                    <a:pt x="2826" y="15221"/>
                  </a:moveTo>
                  <a:lnTo>
                    <a:pt x="813" y="15609"/>
                  </a:lnTo>
                  <a:lnTo>
                    <a:pt x="813" y="15821"/>
                  </a:lnTo>
                  <a:lnTo>
                    <a:pt x="813" y="15892"/>
                  </a:lnTo>
                  <a:lnTo>
                    <a:pt x="883" y="17269"/>
                  </a:lnTo>
                  <a:lnTo>
                    <a:pt x="2932" y="16881"/>
                  </a:lnTo>
                  <a:lnTo>
                    <a:pt x="2861" y="16104"/>
                  </a:lnTo>
                  <a:lnTo>
                    <a:pt x="2861" y="15468"/>
                  </a:lnTo>
                  <a:lnTo>
                    <a:pt x="2826" y="15221"/>
                  </a:lnTo>
                  <a:close/>
                </a:path>
              </a:pathLst>
            </a:custGeom>
            <a:solidFill>
              <a:srgbClr val="C14C6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95" name="Google Shape;901;g2e0683f995c_0_0">
              <a:extLst>
                <a:ext uri="{FF2B5EF4-FFF2-40B4-BE49-F238E27FC236}">
                  <a16:creationId xmlns:a16="http://schemas.microsoft.com/office/drawing/2014/main" id="{F146D206-F9EB-5D53-A6EA-97C8EDF62B9F}"/>
                </a:ext>
              </a:extLst>
            </p:cNvPr>
            <p:cNvSpPr/>
            <p:nvPr/>
          </p:nvSpPr>
          <p:spPr>
            <a:xfrm>
              <a:off x="2276198" y="2553511"/>
              <a:ext cx="20781" cy="20085"/>
            </a:xfrm>
            <a:custGeom>
              <a:avLst/>
              <a:gdLst/>
              <a:ahLst/>
              <a:cxnLst/>
              <a:rect l="l" t="t" r="r" b="b"/>
              <a:pathLst>
                <a:path w="2120" h="2049" fill="none" extrusionOk="0">
                  <a:moveTo>
                    <a:pt x="2014" y="0"/>
                  </a:moveTo>
                  <a:lnTo>
                    <a:pt x="2014" y="0"/>
                  </a:lnTo>
                  <a:lnTo>
                    <a:pt x="1" y="388"/>
                  </a:lnTo>
                  <a:lnTo>
                    <a:pt x="1" y="600"/>
                  </a:lnTo>
                  <a:lnTo>
                    <a:pt x="1" y="671"/>
                  </a:lnTo>
                  <a:lnTo>
                    <a:pt x="71" y="2048"/>
                  </a:lnTo>
                  <a:lnTo>
                    <a:pt x="71" y="2048"/>
                  </a:lnTo>
                  <a:lnTo>
                    <a:pt x="2120" y="1660"/>
                  </a:lnTo>
                  <a:lnTo>
                    <a:pt x="2049" y="883"/>
                  </a:lnTo>
                  <a:lnTo>
                    <a:pt x="2049" y="247"/>
                  </a:lnTo>
                  <a:lnTo>
                    <a:pt x="2014" y="0"/>
                  </a:lnTo>
                  <a:lnTo>
                    <a:pt x="2014"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96" name="Google Shape;902;g2e0683f995c_0_0">
              <a:extLst>
                <a:ext uri="{FF2B5EF4-FFF2-40B4-BE49-F238E27FC236}">
                  <a16:creationId xmlns:a16="http://schemas.microsoft.com/office/drawing/2014/main" id="{F5D3AC27-516C-2BB9-602B-829B140FEAFC}"/>
                </a:ext>
              </a:extLst>
            </p:cNvPr>
            <p:cNvSpPr/>
            <p:nvPr/>
          </p:nvSpPr>
          <p:spPr>
            <a:xfrm>
              <a:off x="2268238" y="2404308"/>
              <a:ext cx="20428" cy="9704"/>
            </a:xfrm>
            <a:custGeom>
              <a:avLst/>
              <a:gdLst/>
              <a:ahLst/>
              <a:cxnLst/>
              <a:rect l="l" t="t" r="r" b="b"/>
              <a:pathLst>
                <a:path w="2084" h="990" fill="none" extrusionOk="0">
                  <a:moveTo>
                    <a:pt x="2049" y="1"/>
                  </a:moveTo>
                  <a:lnTo>
                    <a:pt x="2049" y="1"/>
                  </a:lnTo>
                  <a:lnTo>
                    <a:pt x="1" y="425"/>
                  </a:lnTo>
                  <a:lnTo>
                    <a:pt x="36" y="990"/>
                  </a:lnTo>
                  <a:lnTo>
                    <a:pt x="36" y="990"/>
                  </a:lnTo>
                  <a:lnTo>
                    <a:pt x="2084" y="601"/>
                  </a:lnTo>
                  <a:lnTo>
                    <a:pt x="2049" y="1"/>
                  </a:lnTo>
                  <a:lnTo>
                    <a:pt x="2049"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97" name="Google Shape;903;g2e0683f995c_0_0">
              <a:extLst>
                <a:ext uri="{FF2B5EF4-FFF2-40B4-BE49-F238E27FC236}">
                  <a16:creationId xmlns:a16="http://schemas.microsoft.com/office/drawing/2014/main" id="{A72FB2D7-88BF-4717-91E2-723815207A48}"/>
                </a:ext>
              </a:extLst>
            </p:cNvPr>
            <p:cNvSpPr/>
            <p:nvPr/>
          </p:nvSpPr>
          <p:spPr>
            <a:xfrm>
              <a:off x="2260965" y="2264112"/>
              <a:ext cx="26320" cy="128089"/>
            </a:xfrm>
            <a:custGeom>
              <a:avLst/>
              <a:gdLst/>
              <a:ahLst/>
              <a:cxnLst/>
              <a:rect l="l" t="t" r="r" b="b"/>
              <a:pathLst>
                <a:path w="2685" h="13067" extrusionOk="0">
                  <a:moveTo>
                    <a:pt x="2049" y="1"/>
                  </a:moveTo>
                  <a:lnTo>
                    <a:pt x="1" y="425"/>
                  </a:lnTo>
                  <a:lnTo>
                    <a:pt x="72" y="1696"/>
                  </a:lnTo>
                  <a:lnTo>
                    <a:pt x="566" y="10736"/>
                  </a:lnTo>
                  <a:lnTo>
                    <a:pt x="672" y="12926"/>
                  </a:lnTo>
                  <a:lnTo>
                    <a:pt x="672" y="13067"/>
                  </a:lnTo>
                  <a:lnTo>
                    <a:pt x="2685" y="12643"/>
                  </a:lnTo>
                  <a:lnTo>
                    <a:pt x="2614" y="10983"/>
                  </a:lnTo>
                  <a:lnTo>
                    <a:pt x="2473" y="8370"/>
                  </a:lnTo>
                  <a:lnTo>
                    <a:pt x="1202" y="8617"/>
                  </a:lnTo>
                  <a:lnTo>
                    <a:pt x="778" y="6499"/>
                  </a:lnTo>
                  <a:lnTo>
                    <a:pt x="2367" y="6181"/>
                  </a:lnTo>
                  <a:lnTo>
                    <a:pt x="2332" y="5510"/>
                  </a:lnTo>
                  <a:lnTo>
                    <a:pt x="2226" y="3320"/>
                  </a:lnTo>
                  <a:lnTo>
                    <a:pt x="2155" y="2402"/>
                  </a:lnTo>
                  <a:lnTo>
                    <a:pt x="2049" y="1"/>
                  </a:lnTo>
                  <a:close/>
                </a:path>
              </a:pathLst>
            </a:custGeom>
            <a:solidFill>
              <a:srgbClr val="DFDFE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98" name="Google Shape;904;g2e0683f995c_0_0">
              <a:extLst>
                <a:ext uri="{FF2B5EF4-FFF2-40B4-BE49-F238E27FC236}">
                  <a16:creationId xmlns:a16="http://schemas.microsoft.com/office/drawing/2014/main" id="{3D2D36A6-76CC-35D2-3827-33B6C343EA85}"/>
                </a:ext>
              </a:extLst>
            </p:cNvPr>
            <p:cNvSpPr/>
            <p:nvPr/>
          </p:nvSpPr>
          <p:spPr>
            <a:xfrm>
              <a:off x="2260965" y="2264112"/>
              <a:ext cx="26320" cy="128089"/>
            </a:xfrm>
            <a:custGeom>
              <a:avLst/>
              <a:gdLst/>
              <a:ahLst/>
              <a:cxnLst/>
              <a:rect l="l" t="t" r="r" b="b"/>
              <a:pathLst>
                <a:path w="2685" h="13067" fill="none" extrusionOk="0">
                  <a:moveTo>
                    <a:pt x="2049" y="1"/>
                  </a:moveTo>
                  <a:lnTo>
                    <a:pt x="2049" y="1"/>
                  </a:lnTo>
                  <a:lnTo>
                    <a:pt x="1" y="425"/>
                  </a:lnTo>
                  <a:lnTo>
                    <a:pt x="1" y="425"/>
                  </a:lnTo>
                  <a:lnTo>
                    <a:pt x="72" y="1696"/>
                  </a:lnTo>
                  <a:lnTo>
                    <a:pt x="566" y="10736"/>
                  </a:lnTo>
                  <a:lnTo>
                    <a:pt x="672" y="12926"/>
                  </a:lnTo>
                  <a:lnTo>
                    <a:pt x="672" y="13067"/>
                  </a:lnTo>
                  <a:lnTo>
                    <a:pt x="672" y="13067"/>
                  </a:lnTo>
                  <a:lnTo>
                    <a:pt x="2685" y="12643"/>
                  </a:lnTo>
                  <a:lnTo>
                    <a:pt x="2685" y="12643"/>
                  </a:lnTo>
                  <a:lnTo>
                    <a:pt x="2614" y="10983"/>
                  </a:lnTo>
                  <a:lnTo>
                    <a:pt x="2473" y="8370"/>
                  </a:lnTo>
                  <a:lnTo>
                    <a:pt x="2473" y="8370"/>
                  </a:lnTo>
                  <a:lnTo>
                    <a:pt x="1202" y="8617"/>
                  </a:lnTo>
                  <a:lnTo>
                    <a:pt x="778" y="6499"/>
                  </a:lnTo>
                  <a:lnTo>
                    <a:pt x="2367" y="6181"/>
                  </a:lnTo>
                  <a:lnTo>
                    <a:pt x="2367" y="6181"/>
                  </a:lnTo>
                  <a:lnTo>
                    <a:pt x="2332" y="5510"/>
                  </a:lnTo>
                  <a:lnTo>
                    <a:pt x="2226" y="3320"/>
                  </a:lnTo>
                  <a:lnTo>
                    <a:pt x="2155" y="2402"/>
                  </a:lnTo>
                  <a:lnTo>
                    <a:pt x="2049"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99" name="Google Shape;905;g2e0683f995c_0_0">
              <a:extLst>
                <a:ext uri="{FF2B5EF4-FFF2-40B4-BE49-F238E27FC236}">
                  <a16:creationId xmlns:a16="http://schemas.microsoft.com/office/drawing/2014/main" id="{7DC28DEA-6958-8874-5342-A0F377AAF330}"/>
                </a:ext>
              </a:extLst>
            </p:cNvPr>
            <p:cNvSpPr/>
            <p:nvPr/>
          </p:nvSpPr>
          <p:spPr>
            <a:xfrm>
              <a:off x="2267542" y="2388045"/>
              <a:ext cx="20781" cy="20428"/>
            </a:xfrm>
            <a:custGeom>
              <a:avLst/>
              <a:gdLst/>
              <a:ahLst/>
              <a:cxnLst/>
              <a:rect l="l" t="t" r="r" b="b"/>
              <a:pathLst>
                <a:path w="2120" h="2084" extrusionOk="0">
                  <a:moveTo>
                    <a:pt x="2014" y="0"/>
                  </a:moveTo>
                  <a:lnTo>
                    <a:pt x="1" y="424"/>
                  </a:lnTo>
                  <a:lnTo>
                    <a:pt x="36" y="777"/>
                  </a:lnTo>
                  <a:lnTo>
                    <a:pt x="36" y="1166"/>
                  </a:lnTo>
                  <a:lnTo>
                    <a:pt x="72" y="2084"/>
                  </a:lnTo>
                  <a:lnTo>
                    <a:pt x="2120" y="1660"/>
                  </a:lnTo>
                  <a:lnTo>
                    <a:pt x="2084" y="742"/>
                  </a:lnTo>
                  <a:lnTo>
                    <a:pt x="2049" y="530"/>
                  </a:lnTo>
                  <a:lnTo>
                    <a:pt x="2049" y="353"/>
                  </a:lnTo>
                  <a:lnTo>
                    <a:pt x="2014" y="0"/>
                  </a:lnTo>
                  <a:close/>
                </a:path>
              </a:pathLst>
            </a:custGeom>
            <a:solidFill>
              <a:srgbClr val="DDA808"/>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00" name="Google Shape;906;g2e0683f995c_0_0">
              <a:extLst>
                <a:ext uri="{FF2B5EF4-FFF2-40B4-BE49-F238E27FC236}">
                  <a16:creationId xmlns:a16="http://schemas.microsoft.com/office/drawing/2014/main" id="{F3EB3C39-6B88-B599-75E2-4271C0D428FB}"/>
                </a:ext>
              </a:extLst>
            </p:cNvPr>
            <p:cNvSpPr/>
            <p:nvPr/>
          </p:nvSpPr>
          <p:spPr>
            <a:xfrm>
              <a:off x="2267542" y="2388045"/>
              <a:ext cx="20781" cy="20428"/>
            </a:xfrm>
            <a:custGeom>
              <a:avLst/>
              <a:gdLst/>
              <a:ahLst/>
              <a:cxnLst/>
              <a:rect l="l" t="t" r="r" b="b"/>
              <a:pathLst>
                <a:path w="2120" h="2084" fill="none" extrusionOk="0">
                  <a:moveTo>
                    <a:pt x="2014" y="0"/>
                  </a:moveTo>
                  <a:lnTo>
                    <a:pt x="2014" y="0"/>
                  </a:lnTo>
                  <a:lnTo>
                    <a:pt x="1" y="424"/>
                  </a:lnTo>
                  <a:lnTo>
                    <a:pt x="1" y="424"/>
                  </a:lnTo>
                  <a:lnTo>
                    <a:pt x="36" y="777"/>
                  </a:lnTo>
                  <a:lnTo>
                    <a:pt x="36" y="1166"/>
                  </a:lnTo>
                  <a:lnTo>
                    <a:pt x="72" y="2084"/>
                  </a:lnTo>
                  <a:lnTo>
                    <a:pt x="72" y="2084"/>
                  </a:lnTo>
                  <a:lnTo>
                    <a:pt x="72" y="2084"/>
                  </a:lnTo>
                  <a:lnTo>
                    <a:pt x="2120" y="1660"/>
                  </a:lnTo>
                  <a:lnTo>
                    <a:pt x="2084" y="742"/>
                  </a:lnTo>
                  <a:lnTo>
                    <a:pt x="2049" y="530"/>
                  </a:lnTo>
                  <a:lnTo>
                    <a:pt x="2049" y="353"/>
                  </a:lnTo>
                  <a:lnTo>
                    <a:pt x="2014"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01" name="Google Shape;907;g2e0683f995c_0_0">
              <a:extLst>
                <a:ext uri="{FF2B5EF4-FFF2-40B4-BE49-F238E27FC236}">
                  <a16:creationId xmlns:a16="http://schemas.microsoft.com/office/drawing/2014/main" id="{4BCA1CF9-C9B8-AA52-5192-F14A3B5B0FA0}"/>
                </a:ext>
              </a:extLst>
            </p:cNvPr>
            <p:cNvSpPr/>
            <p:nvPr/>
          </p:nvSpPr>
          <p:spPr>
            <a:xfrm>
              <a:off x="2252662" y="2103841"/>
              <a:ext cx="27359" cy="147822"/>
            </a:xfrm>
            <a:custGeom>
              <a:avLst/>
              <a:gdLst/>
              <a:ahLst/>
              <a:cxnLst/>
              <a:rect l="l" t="t" r="r" b="b"/>
              <a:pathLst>
                <a:path w="2791" h="15080" extrusionOk="0">
                  <a:moveTo>
                    <a:pt x="2049" y="1"/>
                  </a:moveTo>
                  <a:lnTo>
                    <a:pt x="0" y="389"/>
                  </a:lnTo>
                  <a:lnTo>
                    <a:pt x="142" y="2932"/>
                  </a:lnTo>
                  <a:lnTo>
                    <a:pt x="530" y="10030"/>
                  </a:lnTo>
                  <a:lnTo>
                    <a:pt x="636" y="12255"/>
                  </a:lnTo>
                  <a:lnTo>
                    <a:pt x="671" y="13279"/>
                  </a:lnTo>
                  <a:lnTo>
                    <a:pt x="777" y="14762"/>
                  </a:lnTo>
                  <a:lnTo>
                    <a:pt x="777" y="15080"/>
                  </a:lnTo>
                  <a:lnTo>
                    <a:pt x="2790" y="14691"/>
                  </a:lnTo>
                  <a:lnTo>
                    <a:pt x="2790" y="14373"/>
                  </a:lnTo>
                  <a:lnTo>
                    <a:pt x="2720" y="12855"/>
                  </a:lnTo>
                  <a:lnTo>
                    <a:pt x="2684" y="12502"/>
                  </a:lnTo>
                  <a:lnTo>
                    <a:pt x="2578" y="10312"/>
                  </a:lnTo>
                  <a:lnTo>
                    <a:pt x="2437" y="7346"/>
                  </a:lnTo>
                  <a:lnTo>
                    <a:pt x="1554" y="7487"/>
                  </a:lnTo>
                  <a:lnTo>
                    <a:pt x="1166" y="5369"/>
                  </a:lnTo>
                  <a:lnTo>
                    <a:pt x="2296" y="5157"/>
                  </a:lnTo>
                  <a:lnTo>
                    <a:pt x="2260" y="4450"/>
                  </a:lnTo>
                  <a:lnTo>
                    <a:pt x="2225" y="3638"/>
                  </a:lnTo>
                  <a:lnTo>
                    <a:pt x="2155" y="2261"/>
                  </a:lnTo>
                  <a:lnTo>
                    <a:pt x="2049" y="1"/>
                  </a:lnTo>
                  <a:close/>
                </a:path>
              </a:pathLst>
            </a:custGeom>
            <a:solidFill>
              <a:srgbClr val="DFDFE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02" name="Google Shape;908;g2e0683f995c_0_0">
              <a:extLst>
                <a:ext uri="{FF2B5EF4-FFF2-40B4-BE49-F238E27FC236}">
                  <a16:creationId xmlns:a16="http://schemas.microsoft.com/office/drawing/2014/main" id="{60AE7D20-A18C-FA6B-8CEA-52004D980739}"/>
                </a:ext>
              </a:extLst>
            </p:cNvPr>
            <p:cNvSpPr/>
            <p:nvPr/>
          </p:nvSpPr>
          <p:spPr>
            <a:xfrm>
              <a:off x="2252662" y="2103841"/>
              <a:ext cx="27359" cy="147822"/>
            </a:xfrm>
            <a:custGeom>
              <a:avLst/>
              <a:gdLst/>
              <a:ahLst/>
              <a:cxnLst/>
              <a:rect l="l" t="t" r="r" b="b"/>
              <a:pathLst>
                <a:path w="2791" h="15080" fill="none" extrusionOk="0">
                  <a:moveTo>
                    <a:pt x="2049" y="1"/>
                  </a:moveTo>
                  <a:lnTo>
                    <a:pt x="2049" y="1"/>
                  </a:lnTo>
                  <a:lnTo>
                    <a:pt x="0" y="389"/>
                  </a:lnTo>
                  <a:lnTo>
                    <a:pt x="0" y="389"/>
                  </a:lnTo>
                  <a:lnTo>
                    <a:pt x="142" y="2932"/>
                  </a:lnTo>
                  <a:lnTo>
                    <a:pt x="530" y="10030"/>
                  </a:lnTo>
                  <a:lnTo>
                    <a:pt x="636" y="12255"/>
                  </a:lnTo>
                  <a:lnTo>
                    <a:pt x="671" y="13279"/>
                  </a:lnTo>
                  <a:lnTo>
                    <a:pt x="777" y="14762"/>
                  </a:lnTo>
                  <a:lnTo>
                    <a:pt x="777" y="15080"/>
                  </a:lnTo>
                  <a:lnTo>
                    <a:pt x="777" y="15080"/>
                  </a:lnTo>
                  <a:lnTo>
                    <a:pt x="2790" y="14691"/>
                  </a:lnTo>
                  <a:lnTo>
                    <a:pt x="2790" y="14373"/>
                  </a:lnTo>
                  <a:lnTo>
                    <a:pt x="2720" y="12855"/>
                  </a:lnTo>
                  <a:lnTo>
                    <a:pt x="2684" y="12502"/>
                  </a:lnTo>
                  <a:lnTo>
                    <a:pt x="2578" y="10312"/>
                  </a:lnTo>
                  <a:lnTo>
                    <a:pt x="2437" y="7346"/>
                  </a:lnTo>
                  <a:lnTo>
                    <a:pt x="1554" y="7487"/>
                  </a:lnTo>
                  <a:lnTo>
                    <a:pt x="1166" y="5369"/>
                  </a:lnTo>
                  <a:lnTo>
                    <a:pt x="2296" y="5157"/>
                  </a:lnTo>
                  <a:lnTo>
                    <a:pt x="2296" y="5157"/>
                  </a:lnTo>
                  <a:lnTo>
                    <a:pt x="2260" y="4450"/>
                  </a:lnTo>
                  <a:lnTo>
                    <a:pt x="2225" y="3638"/>
                  </a:lnTo>
                  <a:lnTo>
                    <a:pt x="2155" y="2261"/>
                  </a:lnTo>
                  <a:lnTo>
                    <a:pt x="2049"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03" name="Google Shape;909;g2e0683f995c_0_0">
              <a:extLst>
                <a:ext uri="{FF2B5EF4-FFF2-40B4-BE49-F238E27FC236}">
                  <a16:creationId xmlns:a16="http://schemas.microsoft.com/office/drawing/2014/main" id="{7C9F06C4-89F9-7935-3663-0FCC74C43016}"/>
                </a:ext>
              </a:extLst>
            </p:cNvPr>
            <p:cNvSpPr/>
            <p:nvPr/>
          </p:nvSpPr>
          <p:spPr>
            <a:xfrm>
              <a:off x="2251623" y="2081001"/>
              <a:ext cx="29437" cy="187277"/>
            </a:xfrm>
            <a:custGeom>
              <a:avLst/>
              <a:gdLst/>
              <a:ahLst/>
              <a:cxnLst/>
              <a:rect l="l" t="t" r="r" b="b"/>
              <a:pathLst>
                <a:path w="3003" h="19105" extrusionOk="0">
                  <a:moveTo>
                    <a:pt x="2013" y="0"/>
                  </a:moveTo>
                  <a:lnTo>
                    <a:pt x="0" y="424"/>
                  </a:lnTo>
                  <a:lnTo>
                    <a:pt x="36" y="1307"/>
                  </a:lnTo>
                  <a:lnTo>
                    <a:pt x="106" y="2719"/>
                  </a:lnTo>
                  <a:lnTo>
                    <a:pt x="2155" y="2331"/>
                  </a:lnTo>
                  <a:lnTo>
                    <a:pt x="2084" y="883"/>
                  </a:lnTo>
                  <a:lnTo>
                    <a:pt x="2013" y="0"/>
                  </a:lnTo>
                  <a:close/>
                  <a:moveTo>
                    <a:pt x="2896" y="17021"/>
                  </a:moveTo>
                  <a:lnTo>
                    <a:pt x="883" y="17410"/>
                  </a:lnTo>
                  <a:lnTo>
                    <a:pt x="919" y="17798"/>
                  </a:lnTo>
                  <a:lnTo>
                    <a:pt x="954" y="19105"/>
                  </a:lnTo>
                  <a:lnTo>
                    <a:pt x="3002" y="18681"/>
                  </a:lnTo>
                  <a:lnTo>
                    <a:pt x="2931" y="17374"/>
                  </a:lnTo>
                  <a:lnTo>
                    <a:pt x="2896" y="17021"/>
                  </a:lnTo>
                  <a:close/>
                </a:path>
              </a:pathLst>
            </a:custGeom>
            <a:solidFill>
              <a:srgbClr val="5A595D"/>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04" name="Google Shape;910;g2e0683f995c_0_0">
              <a:extLst>
                <a:ext uri="{FF2B5EF4-FFF2-40B4-BE49-F238E27FC236}">
                  <a16:creationId xmlns:a16="http://schemas.microsoft.com/office/drawing/2014/main" id="{D1B952E3-D880-7F7F-EFD6-FE17D6773B13}"/>
                </a:ext>
              </a:extLst>
            </p:cNvPr>
            <p:cNvSpPr/>
            <p:nvPr/>
          </p:nvSpPr>
          <p:spPr>
            <a:xfrm>
              <a:off x="2260279" y="2247850"/>
              <a:ext cx="20781" cy="20428"/>
            </a:xfrm>
            <a:custGeom>
              <a:avLst/>
              <a:gdLst/>
              <a:ahLst/>
              <a:cxnLst/>
              <a:rect l="l" t="t" r="r" b="b"/>
              <a:pathLst>
                <a:path w="2120" h="2084" fill="none" extrusionOk="0">
                  <a:moveTo>
                    <a:pt x="2013" y="0"/>
                  </a:moveTo>
                  <a:lnTo>
                    <a:pt x="2013" y="0"/>
                  </a:lnTo>
                  <a:lnTo>
                    <a:pt x="0" y="389"/>
                  </a:lnTo>
                  <a:lnTo>
                    <a:pt x="0" y="389"/>
                  </a:lnTo>
                  <a:lnTo>
                    <a:pt x="36" y="777"/>
                  </a:lnTo>
                  <a:lnTo>
                    <a:pt x="71" y="2084"/>
                  </a:lnTo>
                  <a:lnTo>
                    <a:pt x="71" y="2084"/>
                  </a:lnTo>
                  <a:lnTo>
                    <a:pt x="2119" y="1660"/>
                  </a:lnTo>
                  <a:lnTo>
                    <a:pt x="2119" y="1660"/>
                  </a:lnTo>
                  <a:lnTo>
                    <a:pt x="2048" y="353"/>
                  </a:lnTo>
                  <a:lnTo>
                    <a:pt x="2013" y="0"/>
                  </a:lnTo>
                  <a:lnTo>
                    <a:pt x="2013"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05" name="Google Shape;911;g2e0683f995c_0_0">
              <a:extLst>
                <a:ext uri="{FF2B5EF4-FFF2-40B4-BE49-F238E27FC236}">
                  <a16:creationId xmlns:a16="http://schemas.microsoft.com/office/drawing/2014/main" id="{F4D2809A-6EC7-AA39-BC00-B350FEC1DF46}"/>
                </a:ext>
              </a:extLst>
            </p:cNvPr>
            <p:cNvSpPr/>
            <p:nvPr/>
          </p:nvSpPr>
          <p:spPr>
            <a:xfrm>
              <a:off x="2251623" y="2081001"/>
              <a:ext cx="21124" cy="26663"/>
            </a:xfrm>
            <a:custGeom>
              <a:avLst/>
              <a:gdLst/>
              <a:ahLst/>
              <a:cxnLst/>
              <a:rect l="l" t="t" r="r" b="b"/>
              <a:pathLst>
                <a:path w="2155" h="2720" fill="none" extrusionOk="0">
                  <a:moveTo>
                    <a:pt x="2013" y="0"/>
                  </a:moveTo>
                  <a:lnTo>
                    <a:pt x="2013" y="0"/>
                  </a:lnTo>
                  <a:lnTo>
                    <a:pt x="0" y="424"/>
                  </a:lnTo>
                  <a:lnTo>
                    <a:pt x="36" y="1307"/>
                  </a:lnTo>
                  <a:lnTo>
                    <a:pt x="106" y="2719"/>
                  </a:lnTo>
                  <a:lnTo>
                    <a:pt x="106" y="2719"/>
                  </a:lnTo>
                  <a:lnTo>
                    <a:pt x="2155" y="2331"/>
                  </a:lnTo>
                  <a:lnTo>
                    <a:pt x="2155" y="2331"/>
                  </a:lnTo>
                  <a:lnTo>
                    <a:pt x="2084" y="883"/>
                  </a:lnTo>
                  <a:lnTo>
                    <a:pt x="2013" y="0"/>
                  </a:lnTo>
                  <a:lnTo>
                    <a:pt x="2013"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06" name="Google Shape;912;g2e0683f995c_0_0">
              <a:extLst>
                <a:ext uri="{FF2B5EF4-FFF2-40B4-BE49-F238E27FC236}">
                  <a16:creationId xmlns:a16="http://schemas.microsoft.com/office/drawing/2014/main" id="{40AC4C7B-4751-5172-1971-C42995938330}"/>
                </a:ext>
              </a:extLst>
            </p:cNvPr>
            <p:cNvSpPr/>
            <p:nvPr/>
          </p:nvSpPr>
          <p:spPr>
            <a:xfrm>
              <a:off x="2245389" y="1921074"/>
              <a:ext cx="25281" cy="147469"/>
            </a:xfrm>
            <a:custGeom>
              <a:avLst/>
              <a:gdLst/>
              <a:ahLst/>
              <a:cxnLst/>
              <a:rect l="l" t="t" r="r" b="b"/>
              <a:pathLst>
                <a:path w="2579" h="15044" extrusionOk="0">
                  <a:moveTo>
                    <a:pt x="177" y="318"/>
                  </a:moveTo>
                  <a:lnTo>
                    <a:pt x="1" y="353"/>
                  </a:lnTo>
                  <a:lnTo>
                    <a:pt x="177" y="353"/>
                  </a:lnTo>
                  <a:lnTo>
                    <a:pt x="177" y="318"/>
                  </a:lnTo>
                  <a:close/>
                  <a:moveTo>
                    <a:pt x="1802" y="0"/>
                  </a:moveTo>
                  <a:lnTo>
                    <a:pt x="213" y="318"/>
                  </a:lnTo>
                  <a:lnTo>
                    <a:pt x="319" y="4450"/>
                  </a:lnTo>
                  <a:lnTo>
                    <a:pt x="283" y="10171"/>
                  </a:lnTo>
                  <a:lnTo>
                    <a:pt x="425" y="12395"/>
                  </a:lnTo>
                  <a:lnTo>
                    <a:pt x="531" y="15044"/>
                  </a:lnTo>
                  <a:lnTo>
                    <a:pt x="2579" y="14655"/>
                  </a:lnTo>
                  <a:lnTo>
                    <a:pt x="2473" y="12643"/>
                  </a:lnTo>
                  <a:lnTo>
                    <a:pt x="2367" y="10453"/>
                  </a:lnTo>
                  <a:lnTo>
                    <a:pt x="2190" y="7451"/>
                  </a:lnTo>
                  <a:lnTo>
                    <a:pt x="2190" y="7416"/>
                  </a:lnTo>
                  <a:lnTo>
                    <a:pt x="1484" y="7557"/>
                  </a:lnTo>
                  <a:lnTo>
                    <a:pt x="1096" y="5439"/>
                  </a:lnTo>
                  <a:lnTo>
                    <a:pt x="2084" y="5262"/>
                  </a:lnTo>
                  <a:lnTo>
                    <a:pt x="2049" y="4838"/>
                  </a:lnTo>
                  <a:lnTo>
                    <a:pt x="2049" y="4556"/>
                  </a:lnTo>
                  <a:lnTo>
                    <a:pt x="1943" y="2366"/>
                  </a:lnTo>
                  <a:lnTo>
                    <a:pt x="1802" y="0"/>
                  </a:lnTo>
                  <a:close/>
                </a:path>
              </a:pathLst>
            </a:custGeom>
            <a:solidFill>
              <a:srgbClr val="DFDFE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07" name="Google Shape;913;g2e0683f995c_0_0">
              <a:extLst>
                <a:ext uri="{FF2B5EF4-FFF2-40B4-BE49-F238E27FC236}">
                  <a16:creationId xmlns:a16="http://schemas.microsoft.com/office/drawing/2014/main" id="{45F5F2C8-0876-7E2C-91AC-E7EA5ECA21EE}"/>
                </a:ext>
              </a:extLst>
            </p:cNvPr>
            <p:cNvSpPr/>
            <p:nvPr/>
          </p:nvSpPr>
          <p:spPr>
            <a:xfrm>
              <a:off x="2245389" y="1924191"/>
              <a:ext cx="1745" cy="353"/>
            </a:xfrm>
            <a:custGeom>
              <a:avLst/>
              <a:gdLst/>
              <a:ahLst/>
              <a:cxnLst/>
              <a:rect l="l" t="t" r="r" b="b"/>
              <a:pathLst>
                <a:path w="178" h="36" fill="none" extrusionOk="0">
                  <a:moveTo>
                    <a:pt x="177" y="0"/>
                  </a:moveTo>
                  <a:lnTo>
                    <a:pt x="177" y="0"/>
                  </a:lnTo>
                  <a:lnTo>
                    <a:pt x="1" y="35"/>
                  </a:lnTo>
                  <a:lnTo>
                    <a:pt x="177" y="35"/>
                  </a:lnTo>
                  <a:lnTo>
                    <a:pt x="177"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08" name="Google Shape;914;g2e0683f995c_0_0">
              <a:extLst>
                <a:ext uri="{FF2B5EF4-FFF2-40B4-BE49-F238E27FC236}">
                  <a16:creationId xmlns:a16="http://schemas.microsoft.com/office/drawing/2014/main" id="{F034A212-280F-E017-BF95-C4B0EE045F35}"/>
                </a:ext>
              </a:extLst>
            </p:cNvPr>
            <p:cNvSpPr/>
            <p:nvPr/>
          </p:nvSpPr>
          <p:spPr>
            <a:xfrm>
              <a:off x="2247467" y="1921074"/>
              <a:ext cx="23203" cy="147469"/>
            </a:xfrm>
            <a:custGeom>
              <a:avLst/>
              <a:gdLst/>
              <a:ahLst/>
              <a:cxnLst/>
              <a:rect l="l" t="t" r="r" b="b"/>
              <a:pathLst>
                <a:path w="2367" h="15044" fill="none" extrusionOk="0">
                  <a:moveTo>
                    <a:pt x="1590" y="0"/>
                  </a:moveTo>
                  <a:lnTo>
                    <a:pt x="1590" y="0"/>
                  </a:lnTo>
                  <a:lnTo>
                    <a:pt x="1" y="318"/>
                  </a:lnTo>
                  <a:lnTo>
                    <a:pt x="107" y="4450"/>
                  </a:lnTo>
                  <a:lnTo>
                    <a:pt x="71" y="10171"/>
                  </a:lnTo>
                  <a:lnTo>
                    <a:pt x="213" y="12395"/>
                  </a:lnTo>
                  <a:lnTo>
                    <a:pt x="319" y="15044"/>
                  </a:lnTo>
                  <a:lnTo>
                    <a:pt x="319" y="15044"/>
                  </a:lnTo>
                  <a:lnTo>
                    <a:pt x="2367" y="14655"/>
                  </a:lnTo>
                  <a:lnTo>
                    <a:pt x="2261" y="12643"/>
                  </a:lnTo>
                  <a:lnTo>
                    <a:pt x="2155" y="10453"/>
                  </a:lnTo>
                  <a:lnTo>
                    <a:pt x="1978" y="7451"/>
                  </a:lnTo>
                  <a:lnTo>
                    <a:pt x="1978" y="7416"/>
                  </a:lnTo>
                  <a:lnTo>
                    <a:pt x="1272" y="7557"/>
                  </a:lnTo>
                  <a:lnTo>
                    <a:pt x="884" y="5439"/>
                  </a:lnTo>
                  <a:lnTo>
                    <a:pt x="1872" y="5262"/>
                  </a:lnTo>
                  <a:lnTo>
                    <a:pt x="1837" y="4838"/>
                  </a:lnTo>
                  <a:lnTo>
                    <a:pt x="1837" y="4556"/>
                  </a:lnTo>
                  <a:lnTo>
                    <a:pt x="1731" y="2366"/>
                  </a:lnTo>
                  <a:lnTo>
                    <a:pt x="1590"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09" name="Google Shape;915;g2e0683f995c_0_0">
              <a:extLst>
                <a:ext uri="{FF2B5EF4-FFF2-40B4-BE49-F238E27FC236}">
                  <a16:creationId xmlns:a16="http://schemas.microsoft.com/office/drawing/2014/main" id="{4E4FA666-1784-D07E-BA2B-ADEC23A86BBA}"/>
                </a:ext>
              </a:extLst>
            </p:cNvPr>
            <p:cNvSpPr/>
            <p:nvPr/>
          </p:nvSpPr>
          <p:spPr>
            <a:xfrm>
              <a:off x="2035272" y="1834527"/>
              <a:ext cx="236093" cy="250630"/>
            </a:xfrm>
            <a:custGeom>
              <a:avLst/>
              <a:gdLst/>
              <a:ahLst/>
              <a:cxnLst/>
              <a:rect l="l" t="t" r="r" b="b"/>
              <a:pathLst>
                <a:path w="24085" h="25568" extrusionOk="0">
                  <a:moveTo>
                    <a:pt x="989" y="1"/>
                  </a:moveTo>
                  <a:lnTo>
                    <a:pt x="742" y="36"/>
                  </a:lnTo>
                  <a:lnTo>
                    <a:pt x="495" y="142"/>
                  </a:lnTo>
                  <a:lnTo>
                    <a:pt x="318" y="319"/>
                  </a:lnTo>
                  <a:lnTo>
                    <a:pt x="248" y="425"/>
                  </a:lnTo>
                  <a:lnTo>
                    <a:pt x="177" y="566"/>
                  </a:lnTo>
                  <a:lnTo>
                    <a:pt x="71" y="849"/>
                  </a:lnTo>
                  <a:lnTo>
                    <a:pt x="36" y="1025"/>
                  </a:lnTo>
                  <a:lnTo>
                    <a:pt x="1" y="1166"/>
                  </a:lnTo>
                  <a:lnTo>
                    <a:pt x="36" y="1343"/>
                  </a:lnTo>
                  <a:lnTo>
                    <a:pt x="71" y="1519"/>
                  </a:lnTo>
                  <a:lnTo>
                    <a:pt x="177" y="1661"/>
                  </a:lnTo>
                  <a:lnTo>
                    <a:pt x="283" y="1767"/>
                  </a:lnTo>
                  <a:lnTo>
                    <a:pt x="389" y="1873"/>
                  </a:lnTo>
                  <a:lnTo>
                    <a:pt x="566" y="1943"/>
                  </a:lnTo>
                  <a:lnTo>
                    <a:pt x="10418" y="5616"/>
                  </a:lnTo>
                  <a:lnTo>
                    <a:pt x="21189" y="9182"/>
                  </a:lnTo>
                  <a:lnTo>
                    <a:pt x="21436" y="9182"/>
                  </a:lnTo>
                  <a:lnTo>
                    <a:pt x="21612" y="9147"/>
                  </a:lnTo>
                  <a:lnTo>
                    <a:pt x="21612" y="8935"/>
                  </a:lnTo>
                  <a:lnTo>
                    <a:pt x="21648" y="9147"/>
                  </a:lnTo>
                  <a:lnTo>
                    <a:pt x="23237" y="8829"/>
                  </a:lnTo>
                  <a:lnTo>
                    <a:pt x="21401" y="7523"/>
                  </a:lnTo>
                  <a:lnTo>
                    <a:pt x="21365" y="7487"/>
                  </a:lnTo>
                  <a:lnTo>
                    <a:pt x="11866" y="3956"/>
                  </a:lnTo>
                  <a:lnTo>
                    <a:pt x="1272" y="36"/>
                  </a:lnTo>
                  <a:lnTo>
                    <a:pt x="1131" y="1"/>
                  </a:lnTo>
                  <a:close/>
                  <a:moveTo>
                    <a:pt x="24014" y="23484"/>
                  </a:moveTo>
                  <a:lnTo>
                    <a:pt x="21966" y="23873"/>
                  </a:lnTo>
                  <a:lnTo>
                    <a:pt x="22001" y="24226"/>
                  </a:lnTo>
                  <a:lnTo>
                    <a:pt x="22071" y="25568"/>
                  </a:lnTo>
                  <a:lnTo>
                    <a:pt x="24084" y="25144"/>
                  </a:lnTo>
                  <a:lnTo>
                    <a:pt x="24014" y="23802"/>
                  </a:lnTo>
                  <a:lnTo>
                    <a:pt x="24014" y="23484"/>
                  </a:lnTo>
                  <a:close/>
                </a:path>
              </a:pathLst>
            </a:custGeom>
            <a:solidFill>
              <a:srgbClr val="BD571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10" name="Google Shape;916;g2e0683f995c_0_0">
              <a:extLst>
                <a:ext uri="{FF2B5EF4-FFF2-40B4-BE49-F238E27FC236}">
                  <a16:creationId xmlns:a16="http://schemas.microsoft.com/office/drawing/2014/main" id="{5882FF0C-744B-AC08-9D2A-618FCF3841BD}"/>
                </a:ext>
              </a:extLst>
            </p:cNvPr>
            <p:cNvSpPr/>
            <p:nvPr/>
          </p:nvSpPr>
          <p:spPr>
            <a:xfrm>
              <a:off x="2250584" y="2064729"/>
              <a:ext cx="20781" cy="20428"/>
            </a:xfrm>
            <a:custGeom>
              <a:avLst/>
              <a:gdLst/>
              <a:ahLst/>
              <a:cxnLst/>
              <a:rect l="l" t="t" r="r" b="b"/>
              <a:pathLst>
                <a:path w="2120" h="2084" fill="none" extrusionOk="0">
                  <a:moveTo>
                    <a:pt x="2049" y="0"/>
                  </a:moveTo>
                  <a:lnTo>
                    <a:pt x="2049" y="0"/>
                  </a:lnTo>
                  <a:lnTo>
                    <a:pt x="1" y="389"/>
                  </a:lnTo>
                  <a:lnTo>
                    <a:pt x="1" y="389"/>
                  </a:lnTo>
                  <a:lnTo>
                    <a:pt x="36" y="742"/>
                  </a:lnTo>
                  <a:lnTo>
                    <a:pt x="106" y="2084"/>
                  </a:lnTo>
                  <a:lnTo>
                    <a:pt x="106" y="2084"/>
                  </a:lnTo>
                  <a:lnTo>
                    <a:pt x="106" y="2084"/>
                  </a:lnTo>
                  <a:lnTo>
                    <a:pt x="2119" y="1660"/>
                  </a:lnTo>
                  <a:lnTo>
                    <a:pt x="2049" y="318"/>
                  </a:lnTo>
                  <a:lnTo>
                    <a:pt x="2049" y="0"/>
                  </a:lnTo>
                  <a:lnTo>
                    <a:pt x="2049"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11" name="Google Shape;917;g2e0683f995c_0_0">
              <a:extLst>
                <a:ext uri="{FF2B5EF4-FFF2-40B4-BE49-F238E27FC236}">
                  <a16:creationId xmlns:a16="http://schemas.microsoft.com/office/drawing/2014/main" id="{98208113-02F7-0BEE-1C11-22CB32BCCE6E}"/>
                </a:ext>
              </a:extLst>
            </p:cNvPr>
            <p:cNvSpPr/>
            <p:nvPr/>
          </p:nvSpPr>
          <p:spPr>
            <a:xfrm>
              <a:off x="2035272" y="1834527"/>
              <a:ext cx="227781" cy="90016"/>
            </a:xfrm>
            <a:custGeom>
              <a:avLst/>
              <a:gdLst/>
              <a:ahLst/>
              <a:cxnLst/>
              <a:rect l="l" t="t" r="r" b="b"/>
              <a:pathLst>
                <a:path w="23237" h="9183" fill="none" extrusionOk="0">
                  <a:moveTo>
                    <a:pt x="989" y="1"/>
                  </a:moveTo>
                  <a:lnTo>
                    <a:pt x="989" y="1"/>
                  </a:lnTo>
                  <a:lnTo>
                    <a:pt x="742" y="36"/>
                  </a:lnTo>
                  <a:lnTo>
                    <a:pt x="495" y="142"/>
                  </a:lnTo>
                  <a:lnTo>
                    <a:pt x="318" y="319"/>
                  </a:lnTo>
                  <a:lnTo>
                    <a:pt x="248" y="425"/>
                  </a:lnTo>
                  <a:lnTo>
                    <a:pt x="177" y="566"/>
                  </a:lnTo>
                  <a:lnTo>
                    <a:pt x="71" y="849"/>
                  </a:lnTo>
                  <a:lnTo>
                    <a:pt x="71" y="849"/>
                  </a:lnTo>
                  <a:lnTo>
                    <a:pt x="36" y="1025"/>
                  </a:lnTo>
                  <a:lnTo>
                    <a:pt x="1" y="1166"/>
                  </a:lnTo>
                  <a:lnTo>
                    <a:pt x="36" y="1343"/>
                  </a:lnTo>
                  <a:lnTo>
                    <a:pt x="71" y="1519"/>
                  </a:lnTo>
                  <a:lnTo>
                    <a:pt x="177" y="1661"/>
                  </a:lnTo>
                  <a:lnTo>
                    <a:pt x="283" y="1767"/>
                  </a:lnTo>
                  <a:lnTo>
                    <a:pt x="389" y="1873"/>
                  </a:lnTo>
                  <a:lnTo>
                    <a:pt x="566" y="1943"/>
                  </a:lnTo>
                  <a:lnTo>
                    <a:pt x="10418" y="5616"/>
                  </a:lnTo>
                  <a:lnTo>
                    <a:pt x="21189" y="9182"/>
                  </a:lnTo>
                  <a:lnTo>
                    <a:pt x="21436" y="9182"/>
                  </a:lnTo>
                  <a:lnTo>
                    <a:pt x="21436" y="9182"/>
                  </a:lnTo>
                  <a:lnTo>
                    <a:pt x="21612" y="9147"/>
                  </a:lnTo>
                  <a:lnTo>
                    <a:pt x="21612" y="8935"/>
                  </a:lnTo>
                  <a:lnTo>
                    <a:pt x="21648" y="9147"/>
                  </a:lnTo>
                  <a:lnTo>
                    <a:pt x="21648" y="9147"/>
                  </a:lnTo>
                  <a:lnTo>
                    <a:pt x="23237" y="8829"/>
                  </a:lnTo>
                  <a:lnTo>
                    <a:pt x="23237" y="8829"/>
                  </a:lnTo>
                  <a:lnTo>
                    <a:pt x="21401" y="7523"/>
                  </a:lnTo>
                  <a:lnTo>
                    <a:pt x="21365" y="7487"/>
                  </a:lnTo>
                  <a:lnTo>
                    <a:pt x="11866" y="3956"/>
                  </a:lnTo>
                  <a:lnTo>
                    <a:pt x="1272" y="36"/>
                  </a:lnTo>
                  <a:lnTo>
                    <a:pt x="1272" y="36"/>
                  </a:lnTo>
                  <a:lnTo>
                    <a:pt x="1131" y="1"/>
                  </a:lnTo>
                  <a:lnTo>
                    <a:pt x="989"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12" name="Google Shape;918;g2e0683f995c_0_0">
              <a:extLst>
                <a:ext uri="{FF2B5EF4-FFF2-40B4-BE49-F238E27FC236}">
                  <a16:creationId xmlns:a16="http://schemas.microsoft.com/office/drawing/2014/main" id="{268460E1-2228-EF98-A1F7-05365474F6D9}"/>
                </a:ext>
              </a:extLst>
            </p:cNvPr>
            <p:cNvSpPr/>
            <p:nvPr/>
          </p:nvSpPr>
          <p:spPr>
            <a:xfrm>
              <a:off x="2256123" y="1938728"/>
              <a:ext cx="207009" cy="56433"/>
            </a:xfrm>
            <a:custGeom>
              <a:avLst/>
              <a:gdLst/>
              <a:ahLst/>
              <a:cxnLst/>
              <a:rect l="l" t="t" r="r" b="b"/>
              <a:pathLst>
                <a:path w="21118" h="5757" extrusionOk="0">
                  <a:moveTo>
                    <a:pt x="20729" y="0"/>
                  </a:moveTo>
                  <a:lnTo>
                    <a:pt x="19811" y="142"/>
                  </a:lnTo>
                  <a:lnTo>
                    <a:pt x="989" y="3461"/>
                  </a:lnTo>
                  <a:lnTo>
                    <a:pt x="1" y="3638"/>
                  </a:lnTo>
                  <a:lnTo>
                    <a:pt x="389" y="5756"/>
                  </a:lnTo>
                  <a:lnTo>
                    <a:pt x="1095" y="5615"/>
                  </a:lnTo>
                  <a:lnTo>
                    <a:pt x="19917" y="2331"/>
                  </a:lnTo>
                  <a:lnTo>
                    <a:pt x="21118" y="2119"/>
                  </a:lnTo>
                  <a:lnTo>
                    <a:pt x="20729" y="0"/>
                  </a:lnTo>
                  <a:close/>
                </a:path>
              </a:pathLst>
            </a:custGeom>
            <a:solidFill>
              <a:srgbClr val="DFDFE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13" name="Google Shape;919;g2e0683f995c_0_0">
              <a:extLst>
                <a:ext uri="{FF2B5EF4-FFF2-40B4-BE49-F238E27FC236}">
                  <a16:creationId xmlns:a16="http://schemas.microsoft.com/office/drawing/2014/main" id="{86B6951E-ACE7-C053-DD29-011CC2D13C22}"/>
                </a:ext>
              </a:extLst>
            </p:cNvPr>
            <p:cNvSpPr/>
            <p:nvPr/>
          </p:nvSpPr>
          <p:spPr>
            <a:xfrm>
              <a:off x="2256123" y="1938728"/>
              <a:ext cx="207009" cy="56433"/>
            </a:xfrm>
            <a:custGeom>
              <a:avLst/>
              <a:gdLst/>
              <a:ahLst/>
              <a:cxnLst/>
              <a:rect l="l" t="t" r="r" b="b"/>
              <a:pathLst>
                <a:path w="21118" h="5757" fill="none" extrusionOk="0">
                  <a:moveTo>
                    <a:pt x="20729" y="0"/>
                  </a:moveTo>
                  <a:lnTo>
                    <a:pt x="19811" y="142"/>
                  </a:lnTo>
                  <a:lnTo>
                    <a:pt x="989" y="3461"/>
                  </a:lnTo>
                  <a:lnTo>
                    <a:pt x="1" y="3638"/>
                  </a:lnTo>
                  <a:lnTo>
                    <a:pt x="389" y="5756"/>
                  </a:lnTo>
                  <a:lnTo>
                    <a:pt x="1095" y="5615"/>
                  </a:lnTo>
                  <a:lnTo>
                    <a:pt x="19917" y="2331"/>
                  </a:lnTo>
                  <a:lnTo>
                    <a:pt x="21118" y="2119"/>
                  </a:lnTo>
                  <a:lnTo>
                    <a:pt x="20729"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14" name="Google Shape;920;g2e0683f995c_0_0">
              <a:extLst>
                <a:ext uri="{FF2B5EF4-FFF2-40B4-BE49-F238E27FC236}">
                  <a16:creationId xmlns:a16="http://schemas.microsoft.com/office/drawing/2014/main" id="{AFC44894-2994-22C1-CFDE-F517A9AA6D05}"/>
                </a:ext>
              </a:extLst>
            </p:cNvPr>
            <p:cNvSpPr/>
            <p:nvPr/>
          </p:nvSpPr>
          <p:spPr>
            <a:xfrm>
              <a:off x="2264082" y="2119074"/>
              <a:ext cx="206666" cy="58168"/>
            </a:xfrm>
            <a:custGeom>
              <a:avLst/>
              <a:gdLst/>
              <a:ahLst/>
              <a:cxnLst/>
              <a:rect l="l" t="t" r="r" b="b"/>
              <a:pathLst>
                <a:path w="21083" h="5934" extrusionOk="0">
                  <a:moveTo>
                    <a:pt x="20694" y="1"/>
                  </a:moveTo>
                  <a:lnTo>
                    <a:pt x="19953" y="142"/>
                  </a:lnTo>
                  <a:lnTo>
                    <a:pt x="1131" y="3603"/>
                  </a:lnTo>
                  <a:lnTo>
                    <a:pt x="1" y="3815"/>
                  </a:lnTo>
                  <a:lnTo>
                    <a:pt x="389" y="5933"/>
                  </a:lnTo>
                  <a:lnTo>
                    <a:pt x="1272" y="5792"/>
                  </a:lnTo>
                  <a:lnTo>
                    <a:pt x="20059" y="2331"/>
                  </a:lnTo>
                  <a:lnTo>
                    <a:pt x="21083" y="2155"/>
                  </a:lnTo>
                  <a:lnTo>
                    <a:pt x="20694" y="1"/>
                  </a:lnTo>
                  <a:close/>
                </a:path>
              </a:pathLst>
            </a:custGeom>
            <a:solidFill>
              <a:srgbClr val="DFDFE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15" name="Google Shape;921;g2e0683f995c_0_0">
              <a:extLst>
                <a:ext uri="{FF2B5EF4-FFF2-40B4-BE49-F238E27FC236}">
                  <a16:creationId xmlns:a16="http://schemas.microsoft.com/office/drawing/2014/main" id="{86BEFF3B-C6F5-34B6-EFC3-7350E9DA218B}"/>
                </a:ext>
              </a:extLst>
            </p:cNvPr>
            <p:cNvSpPr/>
            <p:nvPr/>
          </p:nvSpPr>
          <p:spPr>
            <a:xfrm>
              <a:off x="2264082" y="2119074"/>
              <a:ext cx="206666" cy="58168"/>
            </a:xfrm>
            <a:custGeom>
              <a:avLst/>
              <a:gdLst/>
              <a:ahLst/>
              <a:cxnLst/>
              <a:rect l="l" t="t" r="r" b="b"/>
              <a:pathLst>
                <a:path w="21083" h="5934" fill="none" extrusionOk="0">
                  <a:moveTo>
                    <a:pt x="20694" y="1"/>
                  </a:moveTo>
                  <a:lnTo>
                    <a:pt x="19953" y="142"/>
                  </a:lnTo>
                  <a:lnTo>
                    <a:pt x="1131" y="3603"/>
                  </a:lnTo>
                  <a:lnTo>
                    <a:pt x="1" y="3815"/>
                  </a:lnTo>
                  <a:lnTo>
                    <a:pt x="389" y="5933"/>
                  </a:lnTo>
                  <a:lnTo>
                    <a:pt x="1272" y="5792"/>
                  </a:lnTo>
                  <a:lnTo>
                    <a:pt x="20059" y="2331"/>
                  </a:lnTo>
                  <a:lnTo>
                    <a:pt x="21083" y="2155"/>
                  </a:lnTo>
                  <a:lnTo>
                    <a:pt x="20694"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16" name="Google Shape;922;g2e0683f995c_0_0">
              <a:extLst>
                <a:ext uri="{FF2B5EF4-FFF2-40B4-BE49-F238E27FC236}">
                  <a16:creationId xmlns:a16="http://schemas.microsoft.com/office/drawing/2014/main" id="{D14E7764-1453-65A9-FBEA-E228C107D8ED}"/>
                </a:ext>
              </a:extLst>
            </p:cNvPr>
            <p:cNvSpPr/>
            <p:nvPr/>
          </p:nvSpPr>
          <p:spPr>
            <a:xfrm>
              <a:off x="2268582" y="2288344"/>
              <a:ext cx="206323" cy="60246"/>
            </a:xfrm>
            <a:custGeom>
              <a:avLst/>
              <a:gdLst/>
              <a:ahLst/>
              <a:cxnLst/>
              <a:rect l="l" t="t" r="r" b="b"/>
              <a:pathLst>
                <a:path w="21048" h="6146" extrusionOk="0">
                  <a:moveTo>
                    <a:pt x="20624" y="1"/>
                  </a:moveTo>
                  <a:lnTo>
                    <a:pt x="20377" y="72"/>
                  </a:lnTo>
                  <a:lnTo>
                    <a:pt x="1590" y="3709"/>
                  </a:lnTo>
                  <a:lnTo>
                    <a:pt x="1" y="4027"/>
                  </a:lnTo>
                  <a:lnTo>
                    <a:pt x="425" y="6145"/>
                  </a:lnTo>
                  <a:lnTo>
                    <a:pt x="1696" y="5898"/>
                  </a:lnTo>
                  <a:lnTo>
                    <a:pt x="20483" y="2226"/>
                  </a:lnTo>
                  <a:lnTo>
                    <a:pt x="21048" y="2120"/>
                  </a:lnTo>
                  <a:lnTo>
                    <a:pt x="20624" y="1"/>
                  </a:lnTo>
                  <a:close/>
                </a:path>
              </a:pathLst>
            </a:custGeom>
            <a:solidFill>
              <a:srgbClr val="DFDFE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17" name="Google Shape;923;g2e0683f995c_0_0">
              <a:extLst>
                <a:ext uri="{FF2B5EF4-FFF2-40B4-BE49-F238E27FC236}">
                  <a16:creationId xmlns:a16="http://schemas.microsoft.com/office/drawing/2014/main" id="{0A72A01F-3631-011A-4BAF-ADBB7AA11BA5}"/>
                </a:ext>
              </a:extLst>
            </p:cNvPr>
            <p:cNvSpPr/>
            <p:nvPr/>
          </p:nvSpPr>
          <p:spPr>
            <a:xfrm>
              <a:off x="2268582" y="2288344"/>
              <a:ext cx="206323" cy="60246"/>
            </a:xfrm>
            <a:custGeom>
              <a:avLst/>
              <a:gdLst/>
              <a:ahLst/>
              <a:cxnLst/>
              <a:rect l="l" t="t" r="r" b="b"/>
              <a:pathLst>
                <a:path w="21048" h="6146" fill="none" extrusionOk="0">
                  <a:moveTo>
                    <a:pt x="20624" y="1"/>
                  </a:moveTo>
                  <a:lnTo>
                    <a:pt x="20377" y="72"/>
                  </a:lnTo>
                  <a:lnTo>
                    <a:pt x="1590" y="3709"/>
                  </a:lnTo>
                  <a:lnTo>
                    <a:pt x="1" y="4027"/>
                  </a:lnTo>
                  <a:lnTo>
                    <a:pt x="425" y="6145"/>
                  </a:lnTo>
                  <a:lnTo>
                    <a:pt x="1696" y="5898"/>
                  </a:lnTo>
                  <a:lnTo>
                    <a:pt x="20483" y="2226"/>
                  </a:lnTo>
                  <a:lnTo>
                    <a:pt x="21048" y="2120"/>
                  </a:lnTo>
                  <a:lnTo>
                    <a:pt x="20624"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18" name="Google Shape;924;g2e0683f995c_0_0">
              <a:extLst>
                <a:ext uri="{FF2B5EF4-FFF2-40B4-BE49-F238E27FC236}">
                  <a16:creationId xmlns:a16="http://schemas.microsoft.com/office/drawing/2014/main" id="{974F113C-1096-815B-D559-45A43B52A60C}"/>
                </a:ext>
              </a:extLst>
            </p:cNvPr>
            <p:cNvSpPr/>
            <p:nvPr/>
          </p:nvSpPr>
          <p:spPr>
            <a:xfrm>
              <a:off x="2275855" y="2475621"/>
              <a:ext cx="205970" cy="65785"/>
            </a:xfrm>
            <a:custGeom>
              <a:avLst/>
              <a:gdLst/>
              <a:ahLst/>
              <a:cxnLst/>
              <a:rect l="l" t="t" r="r" b="b"/>
              <a:pathLst>
                <a:path w="21012" h="6711" extrusionOk="0">
                  <a:moveTo>
                    <a:pt x="20517" y="1"/>
                  </a:moveTo>
                  <a:lnTo>
                    <a:pt x="1872" y="4167"/>
                  </a:lnTo>
                  <a:lnTo>
                    <a:pt x="0" y="4591"/>
                  </a:lnTo>
                  <a:lnTo>
                    <a:pt x="459" y="6710"/>
                  </a:lnTo>
                  <a:lnTo>
                    <a:pt x="1978" y="6357"/>
                  </a:lnTo>
                  <a:lnTo>
                    <a:pt x="20729" y="2155"/>
                  </a:lnTo>
                  <a:lnTo>
                    <a:pt x="21012" y="2084"/>
                  </a:lnTo>
                  <a:lnTo>
                    <a:pt x="20659" y="601"/>
                  </a:lnTo>
                  <a:lnTo>
                    <a:pt x="20517" y="1"/>
                  </a:lnTo>
                  <a:close/>
                </a:path>
              </a:pathLst>
            </a:custGeom>
            <a:solidFill>
              <a:srgbClr val="DFDFE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19" name="Google Shape;925;g2e0683f995c_0_0">
              <a:extLst>
                <a:ext uri="{FF2B5EF4-FFF2-40B4-BE49-F238E27FC236}">
                  <a16:creationId xmlns:a16="http://schemas.microsoft.com/office/drawing/2014/main" id="{300A5BD3-D999-19F3-C187-2D3050809156}"/>
                </a:ext>
              </a:extLst>
            </p:cNvPr>
            <p:cNvSpPr/>
            <p:nvPr/>
          </p:nvSpPr>
          <p:spPr>
            <a:xfrm>
              <a:off x="2275855" y="2475621"/>
              <a:ext cx="205970" cy="65785"/>
            </a:xfrm>
            <a:custGeom>
              <a:avLst/>
              <a:gdLst/>
              <a:ahLst/>
              <a:cxnLst/>
              <a:rect l="l" t="t" r="r" b="b"/>
              <a:pathLst>
                <a:path w="21012" h="6711" fill="none" extrusionOk="0">
                  <a:moveTo>
                    <a:pt x="20517" y="1"/>
                  </a:moveTo>
                  <a:lnTo>
                    <a:pt x="1872" y="4167"/>
                  </a:lnTo>
                  <a:lnTo>
                    <a:pt x="0" y="4591"/>
                  </a:lnTo>
                  <a:lnTo>
                    <a:pt x="459" y="6710"/>
                  </a:lnTo>
                  <a:lnTo>
                    <a:pt x="1978" y="6357"/>
                  </a:lnTo>
                  <a:lnTo>
                    <a:pt x="20729" y="2155"/>
                  </a:lnTo>
                  <a:lnTo>
                    <a:pt x="21012" y="2084"/>
                  </a:lnTo>
                  <a:lnTo>
                    <a:pt x="20659" y="601"/>
                  </a:lnTo>
                  <a:lnTo>
                    <a:pt x="20517"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20" name="Google Shape;926;g2e0683f995c_0_0">
              <a:extLst>
                <a:ext uri="{FF2B5EF4-FFF2-40B4-BE49-F238E27FC236}">
                  <a16:creationId xmlns:a16="http://schemas.microsoft.com/office/drawing/2014/main" id="{11393A8D-EB08-EB4C-417E-2FC54901BBA2}"/>
                </a:ext>
              </a:extLst>
            </p:cNvPr>
            <p:cNvSpPr/>
            <p:nvPr/>
          </p:nvSpPr>
          <p:spPr>
            <a:xfrm>
              <a:off x="2287628" y="2675700"/>
              <a:ext cx="204931" cy="55051"/>
            </a:xfrm>
            <a:custGeom>
              <a:avLst/>
              <a:gdLst/>
              <a:ahLst/>
              <a:cxnLst/>
              <a:rect l="l" t="t" r="r" b="b"/>
              <a:pathLst>
                <a:path w="20906" h="5616" extrusionOk="0">
                  <a:moveTo>
                    <a:pt x="20658" y="1"/>
                  </a:moveTo>
                  <a:lnTo>
                    <a:pt x="15609" y="1025"/>
                  </a:lnTo>
                  <a:lnTo>
                    <a:pt x="10417" y="2049"/>
                  </a:lnTo>
                  <a:lnTo>
                    <a:pt x="0" y="4026"/>
                  </a:lnTo>
                  <a:lnTo>
                    <a:pt x="353" y="5616"/>
                  </a:lnTo>
                  <a:lnTo>
                    <a:pt x="1766" y="5298"/>
                  </a:lnTo>
                  <a:lnTo>
                    <a:pt x="20552" y="1307"/>
                  </a:lnTo>
                  <a:lnTo>
                    <a:pt x="20906" y="1201"/>
                  </a:lnTo>
                  <a:lnTo>
                    <a:pt x="20658" y="1"/>
                  </a:lnTo>
                  <a:close/>
                </a:path>
              </a:pathLst>
            </a:custGeom>
            <a:solidFill>
              <a:srgbClr val="DFDFE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21" name="Google Shape;927;g2e0683f995c_0_0">
              <a:extLst>
                <a:ext uri="{FF2B5EF4-FFF2-40B4-BE49-F238E27FC236}">
                  <a16:creationId xmlns:a16="http://schemas.microsoft.com/office/drawing/2014/main" id="{61D79381-A944-663D-02BA-5B179E86B6A0}"/>
                </a:ext>
              </a:extLst>
            </p:cNvPr>
            <p:cNvSpPr/>
            <p:nvPr/>
          </p:nvSpPr>
          <p:spPr>
            <a:xfrm>
              <a:off x="2287628" y="2675700"/>
              <a:ext cx="204931" cy="55051"/>
            </a:xfrm>
            <a:custGeom>
              <a:avLst/>
              <a:gdLst/>
              <a:ahLst/>
              <a:cxnLst/>
              <a:rect l="l" t="t" r="r" b="b"/>
              <a:pathLst>
                <a:path w="20906" h="5616" fill="none" extrusionOk="0">
                  <a:moveTo>
                    <a:pt x="20658" y="1"/>
                  </a:moveTo>
                  <a:lnTo>
                    <a:pt x="20658" y="1"/>
                  </a:lnTo>
                  <a:lnTo>
                    <a:pt x="15609" y="1025"/>
                  </a:lnTo>
                  <a:lnTo>
                    <a:pt x="10417" y="2049"/>
                  </a:lnTo>
                  <a:lnTo>
                    <a:pt x="0" y="4026"/>
                  </a:lnTo>
                  <a:lnTo>
                    <a:pt x="353" y="5616"/>
                  </a:lnTo>
                  <a:lnTo>
                    <a:pt x="1766" y="5298"/>
                  </a:lnTo>
                  <a:lnTo>
                    <a:pt x="20552" y="1307"/>
                  </a:lnTo>
                  <a:lnTo>
                    <a:pt x="20906" y="1201"/>
                  </a:lnTo>
                  <a:lnTo>
                    <a:pt x="20658"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22" name="Google Shape;928;g2e0683f995c_0_0">
              <a:extLst>
                <a:ext uri="{FF2B5EF4-FFF2-40B4-BE49-F238E27FC236}">
                  <a16:creationId xmlns:a16="http://schemas.microsoft.com/office/drawing/2014/main" id="{15F12F00-0005-42CB-4F6A-102C9616766E}"/>
                </a:ext>
              </a:extLst>
            </p:cNvPr>
            <p:cNvSpPr/>
            <p:nvPr/>
          </p:nvSpPr>
          <p:spPr>
            <a:xfrm>
              <a:off x="2286589" y="2667044"/>
              <a:ext cx="203549" cy="48130"/>
            </a:xfrm>
            <a:custGeom>
              <a:avLst/>
              <a:gdLst/>
              <a:ahLst/>
              <a:cxnLst/>
              <a:rect l="l" t="t" r="r" b="b"/>
              <a:pathLst>
                <a:path w="20765" h="4910" extrusionOk="0">
                  <a:moveTo>
                    <a:pt x="20552" y="1"/>
                  </a:moveTo>
                  <a:lnTo>
                    <a:pt x="1766" y="3991"/>
                  </a:lnTo>
                  <a:lnTo>
                    <a:pt x="0" y="4380"/>
                  </a:lnTo>
                  <a:lnTo>
                    <a:pt x="106" y="4909"/>
                  </a:lnTo>
                  <a:lnTo>
                    <a:pt x="10523" y="2932"/>
                  </a:lnTo>
                  <a:lnTo>
                    <a:pt x="15715" y="1908"/>
                  </a:lnTo>
                  <a:lnTo>
                    <a:pt x="20764" y="884"/>
                  </a:lnTo>
                  <a:lnTo>
                    <a:pt x="20552" y="1"/>
                  </a:lnTo>
                  <a:close/>
                </a:path>
              </a:pathLst>
            </a:custGeom>
            <a:solidFill>
              <a:srgbClr val="38383B"/>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23" name="Google Shape;929;g2e0683f995c_0_0">
              <a:extLst>
                <a:ext uri="{FF2B5EF4-FFF2-40B4-BE49-F238E27FC236}">
                  <a16:creationId xmlns:a16="http://schemas.microsoft.com/office/drawing/2014/main" id="{374B1455-EACF-CAD7-6024-222FA4AE1629}"/>
                </a:ext>
              </a:extLst>
            </p:cNvPr>
            <p:cNvSpPr/>
            <p:nvPr/>
          </p:nvSpPr>
          <p:spPr>
            <a:xfrm>
              <a:off x="2286589" y="2667044"/>
              <a:ext cx="203549" cy="48130"/>
            </a:xfrm>
            <a:custGeom>
              <a:avLst/>
              <a:gdLst/>
              <a:ahLst/>
              <a:cxnLst/>
              <a:rect l="l" t="t" r="r" b="b"/>
              <a:pathLst>
                <a:path w="20765" h="4910" fill="none" extrusionOk="0">
                  <a:moveTo>
                    <a:pt x="20552" y="1"/>
                  </a:moveTo>
                  <a:lnTo>
                    <a:pt x="20552" y="1"/>
                  </a:lnTo>
                  <a:lnTo>
                    <a:pt x="1766" y="3991"/>
                  </a:lnTo>
                  <a:lnTo>
                    <a:pt x="0" y="4380"/>
                  </a:lnTo>
                  <a:lnTo>
                    <a:pt x="106" y="4909"/>
                  </a:lnTo>
                  <a:lnTo>
                    <a:pt x="106" y="4909"/>
                  </a:lnTo>
                  <a:lnTo>
                    <a:pt x="10523" y="2932"/>
                  </a:lnTo>
                  <a:lnTo>
                    <a:pt x="15715" y="1908"/>
                  </a:lnTo>
                  <a:lnTo>
                    <a:pt x="20764" y="884"/>
                  </a:lnTo>
                  <a:lnTo>
                    <a:pt x="20552"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24" name="Google Shape;930;g2e0683f995c_0_0">
              <a:extLst>
                <a:ext uri="{FF2B5EF4-FFF2-40B4-BE49-F238E27FC236}">
                  <a16:creationId xmlns:a16="http://schemas.microsoft.com/office/drawing/2014/main" id="{3B7C5B72-07E5-5281-A9E4-EBFEDCA6D9B2}"/>
                </a:ext>
              </a:extLst>
            </p:cNvPr>
            <p:cNvSpPr/>
            <p:nvPr/>
          </p:nvSpPr>
          <p:spPr>
            <a:xfrm>
              <a:off x="2292813" y="2870936"/>
              <a:ext cx="195589" cy="82743"/>
            </a:xfrm>
            <a:custGeom>
              <a:avLst/>
              <a:gdLst/>
              <a:ahLst/>
              <a:cxnLst/>
              <a:rect l="l" t="t" r="r" b="b"/>
              <a:pathLst>
                <a:path w="19953" h="8441" extrusionOk="0">
                  <a:moveTo>
                    <a:pt x="2014" y="0"/>
                  </a:moveTo>
                  <a:lnTo>
                    <a:pt x="1" y="389"/>
                  </a:lnTo>
                  <a:lnTo>
                    <a:pt x="18328" y="8440"/>
                  </a:lnTo>
                  <a:lnTo>
                    <a:pt x="19953" y="7734"/>
                  </a:lnTo>
                  <a:lnTo>
                    <a:pt x="2014" y="0"/>
                  </a:lnTo>
                  <a:close/>
                </a:path>
              </a:pathLst>
            </a:custGeom>
            <a:solidFill>
              <a:srgbClr val="DBDBD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25" name="Google Shape;931;g2e0683f995c_0_0">
              <a:extLst>
                <a:ext uri="{FF2B5EF4-FFF2-40B4-BE49-F238E27FC236}">
                  <a16:creationId xmlns:a16="http://schemas.microsoft.com/office/drawing/2014/main" id="{318A2CE6-DE6B-6C4F-F181-09705C93C6CB}"/>
                </a:ext>
              </a:extLst>
            </p:cNvPr>
            <p:cNvSpPr/>
            <p:nvPr/>
          </p:nvSpPr>
          <p:spPr>
            <a:xfrm>
              <a:off x="2292813" y="2870936"/>
              <a:ext cx="195589" cy="82743"/>
            </a:xfrm>
            <a:custGeom>
              <a:avLst/>
              <a:gdLst/>
              <a:ahLst/>
              <a:cxnLst/>
              <a:rect l="l" t="t" r="r" b="b"/>
              <a:pathLst>
                <a:path w="19953" h="8441" fill="none" extrusionOk="0">
                  <a:moveTo>
                    <a:pt x="2014" y="0"/>
                  </a:moveTo>
                  <a:lnTo>
                    <a:pt x="2014" y="0"/>
                  </a:lnTo>
                  <a:lnTo>
                    <a:pt x="1" y="389"/>
                  </a:lnTo>
                  <a:lnTo>
                    <a:pt x="18328" y="8440"/>
                  </a:lnTo>
                  <a:lnTo>
                    <a:pt x="19953" y="7734"/>
                  </a:lnTo>
                  <a:lnTo>
                    <a:pt x="2014"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26" name="Google Shape;932;g2e0683f995c_0_0">
              <a:extLst>
                <a:ext uri="{FF2B5EF4-FFF2-40B4-BE49-F238E27FC236}">
                  <a16:creationId xmlns:a16="http://schemas.microsoft.com/office/drawing/2014/main" id="{02F3B80A-F148-2462-BADB-E8312B0840A1}"/>
                </a:ext>
              </a:extLst>
            </p:cNvPr>
            <p:cNvSpPr/>
            <p:nvPr/>
          </p:nvSpPr>
          <p:spPr>
            <a:xfrm>
              <a:off x="2496705" y="2829393"/>
              <a:ext cx="191776" cy="77557"/>
            </a:xfrm>
            <a:custGeom>
              <a:avLst/>
              <a:gdLst/>
              <a:ahLst/>
              <a:cxnLst/>
              <a:rect l="l" t="t" r="r" b="b"/>
              <a:pathLst>
                <a:path w="19564" h="7912" extrusionOk="0">
                  <a:moveTo>
                    <a:pt x="1978" y="1"/>
                  </a:moveTo>
                  <a:lnTo>
                    <a:pt x="1731" y="71"/>
                  </a:lnTo>
                  <a:lnTo>
                    <a:pt x="0" y="425"/>
                  </a:lnTo>
                  <a:lnTo>
                    <a:pt x="17869" y="7911"/>
                  </a:lnTo>
                  <a:lnTo>
                    <a:pt x="19564" y="7381"/>
                  </a:lnTo>
                  <a:lnTo>
                    <a:pt x="1978" y="1"/>
                  </a:lnTo>
                  <a:close/>
                </a:path>
              </a:pathLst>
            </a:custGeom>
            <a:solidFill>
              <a:srgbClr val="DBDBD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27" name="Google Shape;933;g2e0683f995c_0_0">
              <a:extLst>
                <a:ext uri="{FF2B5EF4-FFF2-40B4-BE49-F238E27FC236}">
                  <a16:creationId xmlns:a16="http://schemas.microsoft.com/office/drawing/2014/main" id="{4387707F-B5F5-FA0D-BCF2-E3F8552F5FE1}"/>
                </a:ext>
              </a:extLst>
            </p:cNvPr>
            <p:cNvSpPr/>
            <p:nvPr/>
          </p:nvSpPr>
          <p:spPr>
            <a:xfrm>
              <a:off x="2496705" y="2829393"/>
              <a:ext cx="191776" cy="77557"/>
            </a:xfrm>
            <a:custGeom>
              <a:avLst/>
              <a:gdLst/>
              <a:ahLst/>
              <a:cxnLst/>
              <a:rect l="l" t="t" r="r" b="b"/>
              <a:pathLst>
                <a:path w="19564" h="7912" fill="none" extrusionOk="0">
                  <a:moveTo>
                    <a:pt x="1978" y="1"/>
                  </a:moveTo>
                  <a:lnTo>
                    <a:pt x="1978" y="1"/>
                  </a:lnTo>
                  <a:lnTo>
                    <a:pt x="1731" y="71"/>
                  </a:lnTo>
                  <a:lnTo>
                    <a:pt x="0" y="425"/>
                  </a:lnTo>
                  <a:lnTo>
                    <a:pt x="17869" y="7911"/>
                  </a:lnTo>
                  <a:lnTo>
                    <a:pt x="19564" y="7381"/>
                  </a:lnTo>
                  <a:lnTo>
                    <a:pt x="1978"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28" name="Google Shape;934;g2e0683f995c_0_0">
              <a:extLst>
                <a:ext uri="{FF2B5EF4-FFF2-40B4-BE49-F238E27FC236}">
                  <a16:creationId xmlns:a16="http://schemas.microsoft.com/office/drawing/2014/main" id="{4954F5F5-BBC1-F248-F90E-4615E1D9EF6D}"/>
                </a:ext>
              </a:extLst>
            </p:cNvPr>
            <p:cNvSpPr/>
            <p:nvPr/>
          </p:nvSpPr>
          <p:spPr>
            <a:xfrm>
              <a:off x="2513664" y="2829393"/>
              <a:ext cx="2431" cy="706"/>
            </a:xfrm>
            <a:custGeom>
              <a:avLst/>
              <a:gdLst/>
              <a:ahLst/>
              <a:cxnLst/>
              <a:rect l="l" t="t" r="r" b="b"/>
              <a:pathLst>
                <a:path w="248" h="72" extrusionOk="0">
                  <a:moveTo>
                    <a:pt x="248" y="1"/>
                  </a:moveTo>
                  <a:lnTo>
                    <a:pt x="248" y="1"/>
                  </a:lnTo>
                  <a:lnTo>
                    <a:pt x="1" y="71"/>
                  </a:lnTo>
                  <a:lnTo>
                    <a:pt x="1" y="71"/>
                  </a:lnTo>
                  <a:lnTo>
                    <a:pt x="248" y="1"/>
                  </a:lnTo>
                  <a:lnTo>
                    <a:pt x="248" y="1"/>
                  </a:lnTo>
                  <a:close/>
                </a:path>
              </a:pathLst>
            </a:custGeom>
            <a:solidFill>
              <a:srgbClr val="37373B"/>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29" name="Google Shape;935;g2e0683f995c_0_0">
              <a:extLst>
                <a:ext uri="{FF2B5EF4-FFF2-40B4-BE49-F238E27FC236}">
                  <a16:creationId xmlns:a16="http://schemas.microsoft.com/office/drawing/2014/main" id="{1A05EA6C-E2DD-5065-6888-71A9EC74113A}"/>
                </a:ext>
              </a:extLst>
            </p:cNvPr>
            <p:cNvSpPr/>
            <p:nvPr/>
          </p:nvSpPr>
          <p:spPr>
            <a:xfrm>
              <a:off x="2513664" y="2829393"/>
              <a:ext cx="2431" cy="706"/>
            </a:xfrm>
            <a:custGeom>
              <a:avLst/>
              <a:gdLst/>
              <a:ahLst/>
              <a:cxnLst/>
              <a:rect l="l" t="t" r="r" b="b"/>
              <a:pathLst>
                <a:path w="248" h="72" fill="none" extrusionOk="0">
                  <a:moveTo>
                    <a:pt x="248" y="1"/>
                  </a:moveTo>
                  <a:lnTo>
                    <a:pt x="248" y="1"/>
                  </a:lnTo>
                  <a:lnTo>
                    <a:pt x="1" y="71"/>
                  </a:lnTo>
                  <a:lnTo>
                    <a:pt x="1" y="71"/>
                  </a:lnTo>
                  <a:lnTo>
                    <a:pt x="248" y="1"/>
                  </a:lnTo>
                  <a:lnTo>
                    <a:pt x="248"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30" name="Google Shape;936;g2e0683f995c_0_0">
              <a:extLst>
                <a:ext uri="{FF2B5EF4-FFF2-40B4-BE49-F238E27FC236}">
                  <a16:creationId xmlns:a16="http://schemas.microsoft.com/office/drawing/2014/main" id="{FE3DE186-1F77-A377-A12C-1309E357BCDF}"/>
                </a:ext>
              </a:extLst>
            </p:cNvPr>
            <p:cNvSpPr/>
            <p:nvPr/>
          </p:nvSpPr>
          <p:spPr>
            <a:xfrm>
              <a:off x="2411894" y="1704380"/>
              <a:ext cx="277283" cy="1202914"/>
            </a:xfrm>
            <a:custGeom>
              <a:avLst/>
              <a:gdLst/>
              <a:ahLst/>
              <a:cxnLst/>
              <a:rect l="l" t="t" r="r" b="b"/>
              <a:pathLst>
                <a:path w="28287" h="122715" extrusionOk="0">
                  <a:moveTo>
                    <a:pt x="989" y="0"/>
                  </a:moveTo>
                  <a:lnTo>
                    <a:pt x="707" y="71"/>
                  </a:lnTo>
                  <a:lnTo>
                    <a:pt x="530" y="106"/>
                  </a:lnTo>
                  <a:lnTo>
                    <a:pt x="389" y="212"/>
                  </a:lnTo>
                  <a:lnTo>
                    <a:pt x="248" y="318"/>
                  </a:lnTo>
                  <a:lnTo>
                    <a:pt x="142" y="424"/>
                  </a:lnTo>
                  <a:lnTo>
                    <a:pt x="71" y="565"/>
                  </a:lnTo>
                  <a:lnTo>
                    <a:pt x="36" y="742"/>
                  </a:lnTo>
                  <a:lnTo>
                    <a:pt x="1" y="918"/>
                  </a:lnTo>
                  <a:lnTo>
                    <a:pt x="36" y="1095"/>
                  </a:lnTo>
                  <a:lnTo>
                    <a:pt x="3461" y="16880"/>
                  </a:lnTo>
                  <a:lnTo>
                    <a:pt x="5509" y="26485"/>
                  </a:lnTo>
                  <a:lnTo>
                    <a:pt x="6004" y="28639"/>
                  </a:lnTo>
                  <a:lnTo>
                    <a:pt x="9464" y="44601"/>
                  </a:lnTo>
                  <a:lnTo>
                    <a:pt x="9924" y="46755"/>
                  </a:lnTo>
                  <a:lnTo>
                    <a:pt x="11477" y="54030"/>
                  </a:lnTo>
                  <a:lnTo>
                    <a:pt x="13137" y="61657"/>
                  </a:lnTo>
                  <a:lnTo>
                    <a:pt x="13596" y="63812"/>
                  </a:lnTo>
                  <a:lnTo>
                    <a:pt x="17269" y="80656"/>
                  </a:lnTo>
                  <a:lnTo>
                    <a:pt x="17587" y="82104"/>
                  </a:lnTo>
                  <a:lnTo>
                    <a:pt x="21365" y="99655"/>
                  </a:lnTo>
                  <a:lnTo>
                    <a:pt x="21789" y="101597"/>
                  </a:lnTo>
                  <a:lnTo>
                    <a:pt x="24967" y="116323"/>
                  </a:lnTo>
                  <a:lnTo>
                    <a:pt x="25461" y="118477"/>
                  </a:lnTo>
                  <a:lnTo>
                    <a:pt x="26203" y="122361"/>
                  </a:lnTo>
                  <a:lnTo>
                    <a:pt x="26274" y="122502"/>
                  </a:lnTo>
                  <a:lnTo>
                    <a:pt x="26415" y="122644"/>
                  </a:lnTo>
                  <a:lnTo>
                    <a:pt x="26556" y="122714"/>
                  </a:lnTo>
                  <a:lnTo>
                    <a:pt x="26733" y="122714"/>
                  </a:lnTo>
                  <a:lnTo>
                    <a:pt x="27792" y="122679"/>
                  </a:lnTo>
                  <a:lnTo>
                    <a:pt x="27898" y="122679"/>
                  </a:lnTo>
                  <a:lnTo>
                    <a:pt x="28004" y="122644"/>
                  </a:lnTo>
                  <a:lnTo>
                    <a:pt x="28110" y="122573"/>
                  </a:lnTo>
                  <a:lnTo>
                    <a:pt x="28181" y="122502"/>
                  </a:lnTo>
                  <a:lnTo>
                    <a:pt x="28216" y="122397"/>
                  </a:lnTo>
                  <a:lnTo>
                    <a:pt x="28251" y="122326"/>
                  </a:lnTo>
                  <a:lnTo>
                    <a:pt x="28286" y="122220"/>
                  </a:lnTo>
                  <a:lnTo>
                    <a:pt x="28251" y="122079"/>
                  </a:lnTo>
                  <a:lnTo>
                    <a:pt x="12148" y="47391"/>
                  </a:lnTo>
                  <a:lnTo>
                    <a:pt x="5333" y="15962"/>
                  </a:lnTo>
                  <a:lnTo>
                    <a:pt x="2013" y="671"/>
                  </a:lnTo>
                  <a:lnTo>
                    <a:pt x="1978" y="495"/>
                  </a:lnTo>
                  <a:lnTo>
                    <a:pt x="1872" y="353"/>
                  </a:lnTo>
                  <a:lnTo>
                    <a:pt x="1766" y="212"/>
                  </a:lnTo>
                  <a:lnTo>
                    <a:pt x="1660" y="106"/>
                  </a:lnTo>
                  <a:lnTo>
                    <a:pt x="1484" y="35"/>
                  </a:lnTo>
                  <a:lnTo>
                    <a:pt x="1342" y="0"/>
                  </a:lnTo>
                  <a:close/>
                </a:path>
              </a:pathLst>
            </a:custGeom>
            <a:solidFill>
              <a:srgbClr val="7F5D62"/>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31" name="Google Shape;937;g2e0683f995c_0_0">
              <a:extLst>
                <a:ext uri="{FF2B5EF4-FFF2-40B4-BE49-F238E27FC236}">
                  <a16:creationId xmlns:a16="http://schemas.microsoft.com/office/drawing/2014/main" id="{CDD46D8C-1B2E-CFDF-4795-73A722BF1E43}"/>
                </a:ext>
              </a:extLst>
            </p:cNvPr>
            <p:cNvSpPr/>
            <p:nvPr/>
          </p:nvSpPr>
          <p:spPr>
            <a:xfrm>
              <a:off x="2205238" y="1722720"/>
              <a:ext cx="284557" cy="1231645"/>
            </a:xfrm>
            <a:custGeom>
              <a:avLst/>
              <a:gdLst/>
              <a:ahLst/>
              <a:cxnLst/>
              <a:rect l="l" t="t" r="r" b="b"/>
              <a:pathLst>
                <a:path w="29029" h="125646" extrusionOk="0">
                  <a:moveTo>
                    <a:pt x="989" y="1"/>
                  </a:moveTo>
                  <a:lnTo>
                    <a:pt x="707" y="71"/>
                  </a:lnTo>
                  <a:lnTo>
                    <a:pt x="530" y="107"/>
                  </a:lnTo>
                  <a:lnTo>
                    <a:pt x="389" y="213"/>
                  </a:lnTo>
                  <a:lnTo>
                    <a:pt x="248" y="319"/>
                  </a:lnTo>
                  <a:lnTo>
                    <a:pt x="142" y="425"/>
                  </a:lnTo>
                  <a:lnTo>
                    <a:pt x="71" y="566"/>
                  </a:lnTo>
                  <a:lnTo>
                    <a:pt x="36" y="742"/>
                  </a:lnTo>
                  <a:lnTo>
                    <a:pt x="0" y="919"/>
                  </a:lnTo>
                  <a:lnTo>
                    <a:pt x="36" y="1060"/>
                  </a:lnTo>
                  <a:lnTo>
                    <a:pt x="4591" y="22142"/>
                  </a:lnTo>
                  <a:lnTo>
                    <a:pt x="6993" y="33301"/>
                  </a:lnTo>
                  <a:lnTo>
                    <a:pt x="7452" y="35455"/>
                  </a:lnTo>
                  <a:lnTo>
                    <a:pt x="10912" y="51417"/>
                  </a:lnTo>
                  <a:lnTo>
                    <a:pt x="11371" y="53571"/>
                  </a:lnTo>
                  <a:lnTo>
                    <a:pt x="14550" y="68085"/>
                  </a:lnTo>
                  <a:lnTo>
                    <a:pt x="15009" y="70239"/>
                  </a:lnTo>
                  <a:lnTo>
                    <a:pt x="18646" y="87084"/>
                  </a:lnTo>
                  <a:lnTo>
                    <a:pt x="19105" y="89238"/>
                  </a:lnTo>
                  <a:lnTo>
                    <a:pt x="22742" y="106082"/>
                  </a:lnTo>
                  <a:lnTo>
                    <a:pt x="23237" y="108236"/>
                  </a:lnTo>
                  <a:lnTo>
                    <a:pt x="24755" y="115264"/>
                  </a:lnTo>
                  <a:lnTo>
                    <a:pt x="25214" y="117418"/>
                  </a:lnTo>
                  <a:lnTo>
                    <a:pt x="26803" y="124728"/>
                  </a:lnTo>
                  <a:lnTo>
                    <a:pt x="26909" y="125081"/>
                  </a:lnTo>
                  <a:lnTo>
                    <a:pt x="26945" y="125187"/>
                  </a:lnTo>
                  <a:lnTo>
                    <a:pt x="27015" y="125328"/>
                  </a:lnTo>
                  <a:lnTo>
                    <a:pt x="27086" y="125399"/>
                  </a:lnTo>
                  <a:lnTo>
                    <a:pt x="27192" y="125505"/>
                  </a:lnTo>
                  <a:lnTo>
                    <a:pt x="27298" y="125575"/>
                  </a:lnTo>
                  <a:lnTo>
                    <a:pt x="27404" y="125611"/>
                  </a:lnTo>
                  <a:lnTo>
                    <a:pt x="27545" y="125646"/>
                  </a:lnTo>
                  <a:lnTo>
                    <a:pt x="27686" y="125646"/>
                  </a:lnTo>
                  <a:lnTo>
                    <a:pt x="28640" y="125611"/>
                  </a:lnTo>
                  <a:lnTo>
                    <a:pt x="28816" y="125575"/>
                  </a:lnTo>
                  <a:lnTo>
                    <a:pt x="28957" y="125469"/>
                  </a:lnTo>
                  <a:lnTo>
                    <a:pt x="29028" y="125293"/>
                  </a:lnTo>
                  <a:lnTo>
                    <a:pt x="29028" y="125116"/>
                  </a:lnTo>
                  <a:lnTo>
                    <a:pt x="27298" y="117312"/>
                  </a:lnTo>
                  <a:lnTo>
                    <a:pt x="26839" y="115193"/>
                  </a:lnTo>
                  <a:lnTo>
                    <a:pt x="25850" y="110708"/>
                  </a:lnTo>
                  <a:lnTo>
                    <a:pt x="25285" y="108166"/>
                  </a:lnTo>
                  <a:lnTo>
                    <a:pt x="24826" y="106012"/>
                  </a:lnTo>
                  <a:lnTo>
                    <a:pt x="23660" y="100644"/>
                  </a:lnTo>
                  <a:lnTo>
                    <a:pt x="23201" y="98525"/>
                  </a:lnTo>
                  <a:lnTo>
                    <a:pt x="21188" y="89167"/>
                  </a:lnTo>
                  <a:lnTo>
                    <a:pt x="20729" y="87013"/>
                  </a:lnTo>
                  <a:lnTo>
                    <a:pt x="19564" y="81645"/>
                  </a:lnTo>
                  <a:lnTo>
                    <a:pt x="19105" y="79527"/>
                  </a:lnTo>
                  <a:lnTo>
                    <a:pt x="17057" y="70169"/>
                  </a:lnTo>
                  <a:lnTo>
                    <a:pt x="16598" y="68014"/>
                  </a:lnTo>
                  <a:lnTo>
                    <a:pt x="15432" y="62682"/>
                  </a:lnTo>
                  <a:lnTo>
                    <a:pt x="14973" y="60528"/>
                  </a:lnTo>
                  <a:lnTo>
                    <a:pt x="13455" y="53501"/>
                  </a:lnTo>
                  <a:lnTo>
                    <a:pt x="12996" y="51347"/>
                  </a:lnTo>
                  <a:lnTo>
                    <a:pt x="11760" y="45626"/>
                  </a:lnTo>
                  <a:lnTo>
                    <a:pt x="11301" y="43472"/>
                  </a:lnTo>
                  <a:lnTo>
                    <a:pt x="9535" y="35385"/>
                  </a:lnTo>
                  <a:lnTo>
                    <a:pt x="9076" y="33231"/>
                  </a:lnTo>
                  <a:lnTo>
                    <a:pt x="7840" y="27475"/>
                  </a:lnTo>
                  <a:lnTo>
                    <a:pt x="7381" y="25320"/>
                  </a:lnTo>
                  <a:lnTo>
                    <a:pt x="6569" y="21648"/>
                  </a:lnTo>
                  <a:lnTo>
                    <a:pt x="2013" y="672"/>
                  </a:lnTo>
                  <a:lnTo>
                    <a:pt x="1978" y="495"/>
                  </a:lnTo>
                  <a:lnTo>
                    <a:pt x="1872" y="354"/>
                  </a:lnTo>
                  <a:lnTo>
                    <a:pt x="1766" y="213"/>
                  </a:lnTo>
                  <a:lnTo>
                    <a:pt x="1660" y="107"/>
                  </a:lnTo>
                  <a:lnTo>
                    <a:pt x="1484" y="36"/>
                  </a:lnTo>
                  <a:lnTo>
                    <a:pt x="1342" y="1"/>
                  </a:lnTo>
                  <a:close/>
                </a:path>
              </a:pathLst>
            </a:custGeom>
            <a:solidFill>
              <a:srgbClr val="7F5D62"/>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32" name="Google Shape;938;g2e0683f995c_0_0">
              <a:extLst>
                <a:ext uri="{FF2B5EF4-FFF2-40B4-BE49-F238E27FC236}">
                  <a16:creationId xmlns:a16="http://schemas.microsoft.com/office/drawing/2014/main" id="{A830DF25-A2BD-9504-9342-3B58BA51F3C3}"/>
                </a:ext>
              </a:extLst>
            </p:cNvPr>
            <p:cNvSpPr/>
            <p:nvPr/>
          </p:nvSpPr>
          <p:spPr>
            <a:xfrm>
              <a:off x="2271699" y="1948766"/>
              <a:ext cx="206666" cy="58511"/>
            </a:xfrm>
            <a:custGeom>
              <a:avLst/>
              <a:gdLst/>
              <a:ahLst/>
              <a:cxnLst/>
              <a:rect l="l" t="t" r="r" b="b"/>
              <a:pathLst>
                <a:path w="21083" h="5969" extrusionOk="0">
                  <a:moveTo>
                    <a:pt x="20694" y="0"/>
                  </a:moveTo>
                  <a:lnTo>
                    <a:pt x="1" y="3850"/>
                  </a:lnTo>
                  <a:lnTo>
                    <a:pt x="389" y="5968"/>
                  </a:lnTo>
                  <a:lnTo>
                    <a:pt x="21083" y="2119"/>
                  </a:lnTo>
                  <a:lnTo>
                    <a:pt x="20694" y="0"/>
                  </a:lnTo>
                  <a:close/>
                </a:path>
              </a:pathLst>
            </a:custGeom>
            <a:solidFill>
              <a:srgbClr val="7F5D62"/>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33" name="Google Shape;939;g2e0683f995c_0_0">
              <a:extLst>
                <a:ext uri="{FF2B5EF4-FFF2-40B4-BE49-F238E27FC236}">
                  <a16:creationId xmlns:a16="http://schemas.microsoft.com/office/drawing/2014/main" id="{FEAB2655-DDBB-DCB9-2ED9-8DB09EA9370E}"/>
                </a:ext>
              </a:extLst>
            </p:cNvPr>
            <p:cNvSpPr/>
            <p:nvPr/>
          </p:nvSpPr>
          <p:spPr>
            <a:xfrm>
              <a:off x="2308742" y="2126348"/>
              <a:ext cx="206666" cy="58854"/>
            </a:xfrm>
            <a:custGeom>
              <a:avLst/>
              <a:gdLst/>
              <a:ahLst/>
              <a:cxnLst/>
              <a:rect l="l" t="t" r="r" b="b"/>
              <a:pathLst>
                <a:path w="21083" h="6004" extrusionOk="0">
                  <a:moveTo>
                    <a:pt x="20658" y="0"/>
                  </a:moveTo>
                  <a:lnTo>
                    <a:pt x="0" y="3885"/>
                  </a:lnTo>
                  <a:lnTo>
                    <a:pt x="389" y="6004"/>
                  </a:lnTo>
                  <a:lnTo>
                    <a:pt x="21082" y="2119"/>
                  </a:lnTo>
                  <a:lnTo>
                    <a:pt x="20658" y="0"/>
                  </a:lnTo>
                  <a:close/>
                </a:path>
              </a:pathLst>
            </a:custGeom>
            <a:solidFill>
              <a:srgbClr val="7F5D62"/>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34" name="Google Shape;940;g2e0683f995c_0_0">
              <a:extLst>
                <a:ext uri="{FF2B5EF4-FFF2-40B4-BE49-F238E27FC236}">
                  <a16:creationId xmlns:a16="http://schemas.microsoft.com/office/drawing/2014/main" id="{8B687294-B362-9EFA-1515-B22A482C2DE4}"/>
                </a:ext>
              </a:extLst>
            </p:cNvPr>
            <p:cNvSpPr/>
            <p:nvPr/>
          </p:nvSpPr>
          <p:spPr>
            <a:xfrm>
              <a:off x="2340238" y="2292853"/>
              <a:ext cx="206666" cy="60579"/>
            </a:xfrm>
            <a:custGeom>
              <a:avLst/>
              <a:gdLst/>
              <a:ahLst/>
              <a:cxnLst/>
              <a:rect l="l" t="t" r="r" b="b"/>
              <a:pathLst>
                <a:path w="21083" h="6180" extrusionOk="0">
                  <a:moveTo>
                    <a:pt x="20659" y="0"/>
                  </a:moveTo>
                  <a:lnTo>
                    <a:pt x="1" y="4061"/>
                  </a:lnTo>
                  <a:lnTo>
                    <a:pt x="424" y="6180"/>
                  </a:lnTo>
                  <a:lnTo>
                    <a:pt x="21083" y="2119"/>
                  </a:lnTo>
                  <a:lnTo>
                    <a:pt x="20659" y="0"/>
                  </a:lnTo>
                  <a:close/>
                </a:path>
              </a:pathLst>
            </a:custGeom>
            <a:solidFill>
              <a:srgbClr val="7F5D62"/>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35" name="Google Shape;941;g2e0683f995c_0_0">
              <a:extLst>
                <a:ext uri="{FF2B5EF4-FFF2-40B4-BE49-F238E27FC236}">
                  <a16:creationId xmlns:a16="http://schemas.microsoft.com/office/drawing/2014/main" id="{2E5AEB93-A7F0-5B49-65B9-F88AB219AFB4}"/>
                </a:ext>
              </a:extLst>
            </p:cNvPr>
            <p:cNvSpPr/>
            <p:nvPr/>
          </p:nvSpPr>
          <p:spPr>
            <a:xfrm>
              <a:off x="2377968" y="2478395"/>
              <a:ext cx="205980" cy="62314"/>
            </a:xfrm>
            <a:custGeom>
              <a:avLst/>
              <a:gdLst/>
              <a:ahLst/>
              <a:cxnLst/>
              <a:rect l="l" t="t" r="r" b="b"/>
              <a:pathLst>
                <a:path w="21013" h="6357" extrusionOk="0">
                  <a:moveTo>
                    <a:pt x="20588" y="0"/>
                  </a:moveTo>
                  <a:lnTo>
                    <a:pt x="1" y="4238"/>
                  </a:lnTo>
                  <a:lnTo>
                    <a:pt x="425" y="6356"/>
                  </a:lnTo>
                  <a:lnTo>
                    <a:pt x="21012" y="2119"/>
                  </a:lnTo>
                  <a:lnTo>
                    <a:pt x="20588" y="0"/>
                  </a:lnTo>
                  <a:close/>
                </a:path>
              </a:pathLst>
            </a:custGeom>
            <a:solidFill>
              <a:srgbClr val="7F5D62"/>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36" name="Google Shape;942;g2e0683f995c_0_0">
              <a:extLst>
                <a:ext uri="{FF2B5EF4-FFF2-40B4-BE49-F238E27FC236}">
                  <a16:creationId xmlns:a16="http://schemas.microsoft.com/office/drawing/2014/main" id="{B9400C27-1F8D-845C-6842-89E6A67F57EE}"/>
                </a:ext>
              </a:extLst>
            </p:cNvPr>
            <p:cNvSpPr/>
            <p:nvPr/>
          </p:nvSpPr>
          <p:spPr>
            <a:xfrm>
              <a:off x="2419168" y="2664280"/>
              <a:ext cx="205970" cy="62667"/>
            </a:xfrm>
            <a:custGeom>
              <a:avLst/>
              <a:gdLst/>
              <a:ahLst/>
              <a:cxnLst/>
              <a:rect l="l" t="t" r="r" b="b"/>
              <a:pathLst>
                <a:path w="21012" h="6393" extrusionOk="0">
                  <a:moveTo>
                    <a:pt x="20588" y="0"/>
                  </a:moveTo>
                  <a:lnTo>
                    <a:pt x="0" y="4273"/>
                  </a:lnTo>
                  <a:lnTo>
                    <a:pt x="424" y="6392"/>
                  </a:lnTo>
                  <a:lnTo>
                    <a:pt x="21012" y="2119"/>
                  </a:lnTo>
                  <a:lnTo>
                    <a:pt x="20588" y="0"/>
                  </a:lnTo>
                  <a:close/>
                </a:path>
              </a:pathLst>
            </a:custGeom>
            <a:solidFill>
              <a:srgbClr val="7F5D62"/>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37" name="Google Shape;943;g2e0683f995c_0_0">
              <a:extLst>
                <a:ext uri="{FF2B5EF4-FFF2-40B4-BE49-F238E27FC236}">
                  <a16:creationId xmlns:a16="http://schemas.microsoft.com/office/drawing/2014/main" id="{8B401F1C-891F-8DB7-30A0-5AD72E343A3E}"/>
                </a:ext>
              </a:extLst>
            </p:cNvPr>
            <p:cNvSpPr/>
            <p:nvPr/>
          </p:nvSpPr>
          <p:spPr>
            <a:xfrm>
              <a:off x="2863289" y="2252006"/>
              <a:ext cx="243004" cy="137088"/>
            </a:xfrm>
            <a:custGeom>
              <a:avLst/>
              <a:gdLst/>
              <a:ahLst/>
              <a:cxnLst/>
              <a:rect l="l" t="t" r="r" b="b"/>
              <a:pathLst>
                <a:path w="24790" h="13985" extrusionOk="0">
                  <a:moveTo>
                    <a:pt x="212" y="5509"/>
                  </a:moveTo>
                  <a:lnTo>
                    <a:pt x="212" y="5509"/>
                  </a:lnTo>
                  <a:lnTo>
                    <a:pt x="106" y="5968"/>
                  </a:lnTo>
                  <a:lnTo>
                    <a:pt x="35" y="6392"/>
                  </a:lnTo>
                  <a:lnTo>
                    <a:pt x="0" y="6851"/>
                  </a:lnTo>
                  <a:lnTo>
                    <a:pt x="35" y="7098"/>
                  </a:lnTo>
                  <a:lnTo>
                    <a:pt x="71" y="7345"/>
                  </a:lnTo>
                  <a:lnTo>
                    <a:pt x="141" y="7592"/>
                  </a:lnTo>
                  <a:lnTo>
                    <a:pt x="247" y="7840"/>
                  </a:lnTo>
                  <a:lnTo>
                    <a:pt x="353" y="8087"/>
                  </a:lnTo>
                  <a:lnTo>
                    <a:pt x="530" y="8334"/>
                  </a:lnTo>
                  <a:lnTo>
                    <a:pt x="742" y="8617"/>
                  </a:lnTo>
                  <a:lnTo>
                    <a:pt x="989" y="8899"/>
                  </a:lnTo>
                  <a:lnTo>
                    <a:pt x="1271" y="9217"/>
                  </a:lnTo>
                  <a:lnTo>
                    <a:pt x="1589" y="9499"/>
                  </a:lnTo>
                  <a:lnTo>
                    <a:pt x="1589" y="9499"/>
                  </a:lnTo>
                  <a:lnTo>
                    <a:pt x="1872" y="9711"/>
                  </a:lnTo>
                  <a:lnTo>
                    <a:pt x="2154" y="9888"/>
                  </a:lnTo>
                  <a:lnTo>
                    <a:pt x="2437" y="10029"/>
                  </a:lnTo>
                  <a:lnTo>
                    <a:pt x="2719" y="10135"/>
                  </a:lnTo>
                  <a:lnTo>
                    <a:pt x="3002" y="10206"/>
                  </a:lnTo>
                  <a:lnTo>
                    <a:pt x="3284" y="10241"/>
                  </a:lnTo>
                  <a:lnTo>
                    <a:pt x="3885" y="10312"/>
                  </a:lnTo>
                  <a:lnTo>
                    <a:pt x="4450" y="10347"/>
                  </a:lnTo>
                  <a:lnTo>
                    <a:pt x="5050" y="10382"/>
                  </a:lnTo>
                  <a:lnTo>
                    <a:pt x="5368" y="10453"/>
                  </a:lnTo>
                  <a:lnTo>
                    <a:pt x="5650" y="10523"/>
                  </a:lnTo>
                  <a:lnTo>
                    <a:pt x="5968" y="10629"/>
                  </a:lnTo>
                  <a:lnTo>
                    <a:pt x="6251" y="10771"/>
                  </a:lnTo>
                  <a:lnTo>
                    <a:pt x="6251" y="10771"/>
                  </a:lnTo>
                  <a:lnTo>
                    <a:pt x="6639" y="10983"/>
                  </a:lnTo>
                  <a:lnTo>
                    <a:pt x="6957" y="11230"/>
                  </a:lnTo>
                  <a:lnTo>
                    <a:pt x="7275" y="11477"/>
                  </a:lnTo>
                  <a:lnTo>
                    <a:pt x="7522" y="11724"/>
                  </a:lnTo>
                  <a:lnTo>
                    <a:pt x="7981" y="12218"/>
                  </a:lnTo>
                  <a:lnTo>
                    <a:pt x="8405" y="12713"/>
                  </a:lnTo>
                  <a:lnTo>
                    <a:pt x="8617" y="12925"/>
                  </a:lnTo>
                  <a:lnTo>
                    <a:pt x="8828" y="13172"/>
                  </a:lnTo>
                  <a:lnTo>
                    <a:pt x="9076" y="13349"/>
                  </a:lnTo>
                  <a:lnTo>
                    <a:pt x="9393" y="13525"/>
                  </a:lnTo>
                  <a:lnTo>
                    <a:pt x="9711" y="13666"/>
                  </a:lnTo>
                  <a:lnTo>
                    <a:pt x="10064" y="13808"/>
                  </a:lnTo>
                  <a:lnTo>
                    <a:pt x="10523" y="13914"/>
                  </a:lnTo>
                  <a:lnTo>
                    <a:pt x="11018" y="13949"/>
                  </a:lnTo>
                  <a:lnTo>
                    <a:pt x="11018" y="13949"/>
                  </a:lnTo>
                  <a:lnTo>
                    <a:pt x="11230" y="13984"/>
                  </a:lnTo>
                  <a:lnTo>
                    <a:pt x="11442" y="13949"/>
                  </a:lnTo>
                  <a:lnTo>
                    <a:pt x="11865" y="13878"/>
                  </a:lnTo>
                  <a:lnTo>
                    <a:pt x="12218" y="13702"/>
                  </a:lnTo>
                  <a:lnTo>
                    <a:pt x="12572" y="13525"/>
                  </a:lnTo>
                  <a:lnTo>
                    <a:pt x="12925" y="13278"/>
                  </a:lnTo>
                  <a:lnTo>
                    <a:pt x="13243" y="12995"/>
                  </a:lnTo>
                  <a:lnTo>
                    <a:pt x="13878" y="12466"/>
                  </a:lnTo>
                  <a:lnTo>
                    <a:pt x="14231" y="12183"/>
                  </a:lnTo>
                  <a:lnTo>
                    <a:pt x="14584" y="11936"/>
                  </a:lnTo>
                  <a:lnTo>
                    <a:pt x="14973" y="11759"/>
                  </a:lnTo>
                  <a:lnTo>
                    <a:pt x="15397" y="11618"/>
                  </a:lnTo>
                  <a:lnTo>
                    <a:pt x="15891" y="11548"/>
                  </a:lnTo>
                  <a:lnTo>
                    <a:pt x="16138" y="11548"/>
                  </a:lnTo>
                  <a:lnTo>
                    <a:pt x="16385" y="11583"/>
                  </a:lnTo>
                  <a:lnTo>
                    <a:pt x="16668" y="11618"/>
                  </a:lnTo>
                  <a:lnTo>
                    <a:pt x="16986" y="11689"/>
                  </a:lnTo>
                  <a:lnTo>
                    <a:pt x="17268" y="11759"/>
                  </a:lnTo>
                  <a:lnTo>
                    <a:pt x="17621" y="11901"/>
                  </a:lnTo>
                  <a:lnTo>
                    <a:pt x="17621" y="11901"/>
                  </a:lnTo>
                  <a:lnTo>
                    <a:pt x="18116" y="12077"/>
                  </a:lnTo>
                  <a:lnTo>
                    <a:pt x="18645" y="12218"/>
                  </a:lnTo>
                  <a:lnTo>
                    <a:pt x="19140" y="12289"/>
                  </a:lnTo>
                  <a:lnTo>
                    <a:pt x="19634" y="12360"/>
                  </a:lnTo>
                  <a:lnTo>
                    <a:pt x="20129" y="12324"/>
                  </a:lnTo>
                  <a:lnTo>
                    <a:pt x="20623" y="12289"/>
                  </a:lnTo>
                  <a:lnTo>
                    <a:pt x="21047" y="12183"/>
                  </a:lnTo>
                  <a:lnTo>
                    <a:pt x="21506" y="12042"/>
                  </a:lnTo>
                  <a:lnTo>
                    <a:pt x="21894" y="11865"/>
                  </a:lnTo>
                  <a:lnTo>
                    <a:pt x="22247" y="11653"/>
                  </a:lnTo>
                  <a:lnTo>
                    <a:pt x="22530" y="11371"/>
                  </a:lnTo>
                  <a:lnTo>
                    <a:pt x="22812" y="11053"/>
                  </a:lnTo>
                  <a:lnTo>
                    <a:pt x="23024" y="10700"/>
                  </a:lnTo>
                  <a:lnTo>
                    <a:pt x="23166" y="10312"/>
                  </a:lnTo>
                  <a:lnTo>
                    <a:pt x="23272" y="9888"/>
                  </a:lnTo>
                  <a:lnTo>
                    <a:pt x="23272" y="9429"/>
                  </a:lnTo>
                  <a:lnTo>
                    <a:pt x="23272" y="9429"/>
                  </a:lnTo>
                  <a:lnTo>
                    <a:pt x="23272" y="8970"/>
                  </a:lnTo>
                  <a:lnTo>
                    <a:pt x="23342" y="8546"/>
                  </a:lnTo>
                  <a:lnTo>
                    <a:pt x="23483" y="8157"/>
                  </a:lnTo>
                  <a:lnTo>
                    <a:pt x="23625" y="7804"/>
                  </a:lnTo>
                  <a:lnTo>
                    <a:pt x="23801" y="7486"/>
                  </a:lnTo>
                  <a:lnTo>
                    <a:pt x="23978" y="7169"/>
                  </a:lnTo>
                  <a:lnTo>
                    <a:pt x="24331" y="6604"/>
                  </a:lnTo>
                  <a:lnTo>
                    <a:pt x="24508" y="6321"/>
                  </a:lnTo>
                  <a:lnTo>
                    <a:pt x="24649" y="6003"/>
                  </a:lnTo>
                  <a:lnTo>
                    <a:pt x="24755" y="5721"/>
                  </a:lnTo>
                  <a:lnTo>
                    <a:pt x="24790" y="5403"/>
                  </a:lnTo>
                  <a:lnTo>
                    <a:pt x="24755" y="5050"/>
                  </a:lnTo>
                  <a:lnTo>
                    <a:pt x="24684" y="4661"/>
                  </a:lnTo>
                  <a:lnTo>
                    <a:pt x="24508" y="4273"/>
                  </a:lnTo>
                  <a:lnTo>
                    <a:pt x="24260" y="3814"/>
                  </a:lnTo>
                  <a:lnTo>
                    <a:pt x="24260" y="3814"/>
                  </a:lnTo>
                  <a:lnTo>
                    <a:pt x="23942" y="3390"/>
                  </a:lnTo>
                  <a:lnTo>
                    <a:pt x="23589" y="3037"/>
                  </a:lnTo>
                  <a:lnTo>
                    <a:pt x="23236" y="2790"/>
                  </a:lnTo>
                  <a:lnTo>
                    <a:pt x="22848" y="2649"/>
                  </a:lnTo>
                  <a:lnTo>
                    <a:pt x="22459" y="2543"/>
                  </a:lnTo>
                  <a:lnTo>
                    <a:pt x="22071" y="2507"/>
                  </a:lnTo>
                  <a:lnTo>
                    <a:pt x="21647" y="2507"/>
                  </a:lnTo>
                  <a:lnTo>
                    <a:pt x="21259" y="2543"/>
                  </a:lnTo>
                  <a:lnTo>
                    <a:pt x="20482" y="2649"/>
                  </a:lnTo>
                  <a:lnTo>
                    <a:pt x="19740" y="2790"/>
                  </a:lnTo>
                  <a:lnTo>
                    <a:pt x="19422" y="2825"/>
                  </a:lnTo>
                  <a:lnTo>
                    <a:pt x="19105" y="2860"/>
                  </a:lnTo>
                  <a:lnTo>
                    <a:pt x="18787" y="2825"/>
                  </a:lnTo>
                  <a:lnTo>
                    <a:pt x="18540" y="2719"/>
                  </a:lnTo>
                  <a:lnTo>
                    <a:pt x="18540" y="2719"/>
                  </a:lnTo>
                  <a:lnTo>
                    <a:pt x="18186" y="2543"/>
                  </a:lnTo>
                  <a:lnTo>
                    <a:pt x="17869" y="2331"/>
                  </a:lnTo>
                  <a:lnTo>
                    <a:pt x="17551" y="2119"/>
                  </a:lnTo>
                  <a:lnTo>
                    <a:pt x="17304" y="1907"/>
                  </a:lnTo>
                  <a:lnTo>
                    <a:pt x="16774" y="1413"/>
                  </a:lnTo>
                  <a:lnTo>
                    <a:pt x="16280" y="989"/>
                  </a:lnTo>
                  <a:lnTo>
                    <a:pt x="16032" y="777"/>
                  </a:lnTo>
                  <a:lnTo>
                    <a:pt x="15750" y="565"/>
                  </a:lnTo>
                  <a:lnTo>
                    <a:pt x="15432" y="388"/>
                  </a:lnTo>
                  <a:lnTo>
                    <a:pt x="15079" y="247"/>
                  </a:lnTo>
                  <a:lnTo>
                    <a:pt x="14726" y="141"/>
                  </a:lnTo>
                  <a:lnTo>
                    <a:pt x="14302" y="71"/>
                  </a:lnTo>
                  <a:lnTo>
                    <a:pt x="13808" y="0"/>
                  </a:lnTo>
                  <a:lnTo>
                    <a:pt x="13278" y="0"/>
                  </a:lnTo>
                  <a:lnTo>
                    <a:pt x="13278" y="0"/>
                  </a:lnTo>
                  <a:lnTo>
                    <a:pt x="12607" y="71"/>
                  </a:lnTo>
                  <a:lnTo>
                    <a:pt x="12042" y="177"/>
                  </a:lnTo>
                  <a:lnTo>
                    <a:pt x="11548" y="318"/>
                  </a:lnTo>
                  <a:lnTo>
                    <a:pt x="11088" y="459"/>
                  </a:lnTo>
                  <a:lnTo>
                    <a:pt x="10700" y="671"/>
                  </a:lnTo>
                  <a:lnTo>
                    <a:pt x="10347" y="883"/>
                  </a:lnTo>
                  <a:lnTo>
                    <a:pt x="9711" y="1307"/>
                  </a:lnTo>
                  <a:lnTo>
                    <a:pt x="9111" y="1730"/>
                  </a:lnTo>
                  <a:lnTo>
                    <a:pt x="8758" y="1907"/>
                  </a:lnTo>
                  <a:lnTo>
                    <a:pt x="8405" y="2084"/>
                  </a:lnTo>
                  <a:lnTo>
                    <a:pt x="7981" y="2189"/>
                  </a:lnTo>
                  <a:lnTo>
                    <a:pt x="7522" y="2295"/>
                  </a:lnTo>
                  <a:lnTo>
                    <a:pt x="6992" y="2366"/>
                  </a:lnTo>
                  <a:lnTo>
                    <a:pt x="6392" y="2366"/>
                  </a:lnTo>
                  <a:lnTo>
                    <a:pt x="6392" y="2366"/>
                  </a:lnTo>
                  <a:lnTo>
                    <a:pt x="5791" y="2331"/>
                  </a:lnTo>
                  <a:lnTo>
                    <a:pt x="5226" y="2366"/>
                  </a:lnTo>
                  <a:lnTo>
                    <a:pt x="4697" y="2401"/>
                  </a:lnTo>
                  <a:lnTo>
                    <a:pt x="4167" y="2507"/>
                  </a:lnTo>
                  <a:lnTo>
                    <a:pt x="3673" y="2613"/>
                  </a:lnTo>
                  <a:lnTo>
                    <a:pt x="3214" y="2754"/>
                  </a:lnTo>
                  <a:lnTo>
                    <a:pt x="2755" y="2931"/>
                  </a:lnTo>
                  <a:lnTo>
                    <a:pt x="2331" y="3108"/>
                  </a:lnTo>
                  <a:lnTo>
                    <a:pt x="1942" y="3319"/>
                  </a:lnTo>
                  <a:lnTo>
                    <a:pt x="1589" y="3567"/>
                  </a:lnTo>
                  <a:lnTo>
                    <a:pt x="1271" y="3849"/>
                  </a:lnTo>
                  <a:lnTo>
                    <a:pt x="989" y="4132"/>
                  </a:lnTo>
                  <a:lnTo>
                    <a:pt x="742" y="4450"/>
                  </a:lnTo>
                  <a:lnTo>
                    <a:pt x="530" y="4767"/>
                  </a:lnTo>
                  <a:lnTo>
                    <a:pt x="353" y="5120"/>
                  </a:lnTo>
                  <a:lnTo>
                    <a:pt x="212" y="5509"/>
                  </a:lnTo>
                  <a:lnTo>
                    <a:pt x="212" y="5509"/>
                  </a:lnTo>
                  <a:close/>
                </a:path>
              </a:pathLst>
            </a:custGeom>
            <a:solidFill>
              <a:srgbClr val="F6F6F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38" name="Google Shape;944;g2e0683f995c_0_0">
              <a:extLst>
                <a:ext uri="{FF2B5EF4-FFF2-40B4-BE49-F238E27FC236}">
                  <a16:creationId xmlns:a16="http://schemas.microsoft.com/office/drawing/2014/main" id="{CD2A1AC8-002D-28B0-4D93-8BF8BAB98F52}"/>
                </a:ext>
              </a:extLst>
            </p:cNvPr>
            <p:cNvSpPr/>
            <p:nvPr/>
          </p:nvSpPr>
          <p:spPr>
            <a:xfrm>
              <a:off x="911994" y="1352676"/>
              <a:ext cx="686087" cy="237132"/>
            </a:xfrm>
            <a:custGeom>
              <a:avLst/>
              <a:gdLst/>
              <a:ahLst/>
              <a:cxnLst/>
              <a:rect l="l" t="t" r="r" b="b"/>
              <a:pathLst>
                <a:path w="69991" h="24191" extrusionOk="0">
                  <a:moveTo>
                    <a:pt x="29522" y="1"/>
                  </a:moveTo>
                  <a:lnTo>
                    <a:pt x="28957" y="36"/>
                  </a:lnTo>
                  <a:lnTo>
                    <a:pt x="28427" y="71"/>
                  </a:lnTo>
                  <a:lnTo>
                    <a:pt x="27933" y="177"/>
                  </a:lnTo>
                  <a:lnTo>
                    <a:pt x="27509" y="283"/>
                  </a:lnTo>
                  <a:lnTo>
                    <a:pt x="27085" y="424"/>
                  </a:lnTo>
                  <a:lnTo>
                    <a:pt x="26732" y="601"/>
                  </a:lnTo>
                  <a:lnTo>
                    <a:pt x="26379" y="813"/>
                  </a:lnTo>
                  <a:lnTo>
                    <a:pt x="26097" y="1025"/>
                  </a:lnTo>
                  <a:lnTo>
                    <a:pt x="25814" y="1272"/>
                  </a:lnTo>
                  <a:lnTo>
                    <a:pt x="25567" y="1554"/>
                  </a:lnTo>
                  <a:lnTo>
                    <a:pt x="25355" y="1837"/>
                  </a:lnTo>
                  <a:lnTo>
                    <a:pt x="25178" y="2155"/>
                  </a:lnTo>
                  <a:lnTo>
                    <a:pt x="25002" y="2473"/>
                  </a:lnTo>
                  <a:lnTo>
                    <a:pt x="24861" y="2790"/>
                  </a:lnTo>
                  <a:lnTo>
                    <a:pt x="24649" y="3497"/>
                  </a:lnTo>
                  <a:lnTo>
                    <a:pt x="24472" y="4203"/>
                  </a:lnTo>
                  <a:lnTo>
                    <a:pt x="24366" y="4945"/>
                  </a:lnTo>
                  <a:lnTo>
                    <a:pt x="24190" y="6357"/>
                  </a:lnTo>
                  <a:lnTo>
                    <a:pt x="24084" y="7028"/>
                  </a:lnTo>
                  <a:lnTo>
                    <a:pt x="23978" y="7664"/>
                  </a:lnTo>
                  <a:lnTo>
                    <a:pt x="23836" y="8229"/>
                  </a:lnTo>
                  <a:lnTo>
                    <a:pt x="23731" y="8476"/>
                  </a:lnTo>
                  <a:lnTo>
                    <a:pt x="23625" y="8723"/>
                  </a:lnTo>
                  <a:lnTo>
                    <a:pt x="23519" y="8900"/>
                  </a:lnTo>
                  <a:lnTo>
                    <a:pt x="23377" y="9076"/>
                  </a:lnTo>
                  <a:lnTo>
                    <a:pt x="23201" y="9217"/>
                  </a:lnTo>
                  <a:lnTo>
                    <a:pt x="23060" y="9323"/>
                  </a:lnTo>
                  <a:lnTo>
                    <a:pt x="22848" y="9394"/>
                  </a:lnTo>
                  <a:lnTo>
                    <a:pt x="22671" y="9465"/>
                  </a:lnTo>
                  <a:lnTo>
                    <a:pt x="22459" y="9535"/>
                  </a:lnTo>
                  <a:lnTo>
                    <a:pt x="22247" y="9571"/>
                  </a:lnTo>
                  <a:lnTo>
                    <a:pt x="21824" y="9535"/>
                  </a:lnTo>
                  <a:lnTo>
                    <a:pt x="21400" y="9465"/>
                  </a:lnTo>
                  <a:lnTo>
                    <a:pt x="20976" y="9323"/>
                  </a:lnTo>
                  <a:lnTo>
                    <a:pt x="20552" y="9147"/>
                  </a:lnTo>
                  <a:lnTo>
                    <a:pt x="20199" y="8900"/>
                  </a:lnTo>
                  <a:lnTo>
                    <a:pt x="19811" y="8652"/>
                  </a:lnTo>
                  <a:lnTo>
                    <a:pt x="19069" y="8123"/>
                  </a:lnTo>
                  <a:lnTo>
                    <a:pt x="18716" y="7911"/>
                  </a:lnTo>
                  <a:lnTo>
                    <a:pt x="18328" y="7699"/>
                  </a:lnTo>
                  <a:lnTo>
                    <a:pt x="17939" y="7558"/>
                  </a:lnTo>
                  <a:lnTo>
                    <a:pt x="17515" y="7452"/>
                  </a:lnTo>
                  <a:lnTo>
                    <a:pt x="16950" y="7452"/>
                  </a:lnTo>
                  <a:lnTo>
                    <a:pt x="16668" y="7487"/>
                  </a:lnTo>
                  <a:lnTo>
                    <a:pt x="16421" y="7558"/>
                  </a:lnTo>
                  <a:lnTo>
                    <a:pt x="16138" y="7664"/>
                  </a:lnTo>
                  <a:lnTo>
                    <a:pt x="15891" y="7770"/>
                  </a:lnTo>
                  <a:lnTo>
                    <a:pt x="15397" y="8087"/>
                  </a:lnTo>
                  <a:lnTo>
                    <a:pt x="14902" y="8441"/>
                  </a:lnTo>
                  <a:lnTo>
                    <a:pt x="14478" y="8864"/>
                  </a:lnTo>
                  <a:lnTo>
                    <a:pt x="14055" y="9323"/>
                  </a:lnTo>
                  <a:lnTo>
                    <a:pt x="13666" y="9818"/>
                  </a:lnTo>
                  <a:lnTo>
                    <a:pt x="12925" y="10807"/>
                  </a:lnTo>
                  <a:lnTo>
                    <a:pt x="12536" y="11301"/>
                  </a:lnTo>
                  <a:lnTo>
                    <a:pt x="12112" y="11760"/>
                  </a:lnTo>
                  <a:lnTo>
                    <a:pt x="11689" y="12149"/>
                  </a:lnTo>
                  <a:lnTo>
                    <a:pt x="11265" y="12537"/>
                  </a:lnTo>
                  <a:lnTo>
                    <a:pt x="11018" y="12678"/>
                  </a:lnTo>
                  <a:lnTo>
                    <a:pt x="10771" y="12819"/>
                  </a:lnTo>
                  <a:lnTo>
                    <a:pt x="10488" y="12961"/>
                  </a:lnTo>
                  <a:lnTo>
                    <a:pt x="10241" y="13067"/>
                  </a:lnTo>
                  <a:lnTo>
                    <a:pt x="9782" y="13173"/>
                  </a:lnTo>
                  <a:lnTo>
                    <a:pt x="9323" y="13208"/>
                  </a:lnTo>
                  <a:lnTo>
                    <a:pt x="8864" y="13208"/>
                  </a:lnTo>
                  <a:lnTo>
                    <a:pt x="8440" y="13173"/>
                  </a:lnTo>
                  <a:lnTo>
                    <a:pt x="7486" y="13067"/>
                  </a:lnTo>
                  <a:lnTo>
                    <a:pt x="6568" y="12925"/>
                  </a:lnTo>
                  <a:lnTo>
                    <a:pt x="5862" y="12890"/>
                  </a:lnTo>
                  <a:lnTo>
                    <a:pt x="5120" y="12925"/>
                  </a:lnTo>
                  <a:lnTo>
                    <a:pt x="4414" y="12996"/>
                  </a:lnTo>
                  <a:lnTo>
                    <a:pt x="3708" y="13173"/>
                  </a:lnTo>
                  <a:lnTo>
                    <a:pt x="3355" y="13279"/>
                  </a:lnTo>
                  <a:lnTo>
                    <a:pt x="3037" y="13384"/>
                  </a:lnTo>
                  <a:lnTo>
                    <a:pt x="2719" y="13561"/>
                  </a:lnTo>
                  <a:lnTo>
                    <a:pt x="2401" y="13738"/>
                  </a:lnTo>
                  <a:lnTo>
                    <a:pt x="2083" y="13914"/>
                  </a:lnTo>
                  <a:lnTo>
                    <a:pt x="1801" y="14126"/>
                  </a:lnTo>
                  <a:lnTo>
                    <a:pt x="1518" y="14373"/>
                  </a:lnTo>
                  <a:lnTo>
                    <a:pt x="1236" y="14656"/>
                  </a:lnTo>
                  <a:lnTo>
                    <a:pt x="989" y="14938"/>
                  </a:lnTo>
                  <a:lnTo>
                    <a:pt x="777" y="15256"/>
                  </a:lnTo>
                  <a:lnTo>
                    <a:pt x="565" y="15574"/>
                  </a:lnTo>
                  <a:lnTo>
                    <a:pt x="424" y="15927"/>
                  </a:lnTo>
                  <a:lnTo>
                    <a:pt x="283" y="16280"/>
                  </a:lnTo>
                  <a:lnTo>
                    <a:pt x="141" y="16669"/>
                  </a:lnTo>
                  <a:lnTo>
                    <a:pt x="71" y="17057"/>
                  </a:lnTo>
                  <a:lnTo>
                    <a:pt x="0" y="17446"/>
                  </a:lnTo>
                  <a:lnTo>
                    <a:pt x="0" y="17834"/>
                  </a:lnTo>
                  <a:lnTo>
                    <a:pt x="0" y="18222"/>
                  </a:lnTo>
                  <a:lnTo>
                    <a:pt x="35" y="18611"/>
                  </a:lnTo>
                  <a:lnTo>
                    <a:pt x="106" y="18999"/>
                  </a:lnTo>
                  <a:lnTo>
                    <a:pt x="212" y="19352"/>
                  </a:lnTo>
                  <a:lnTo>
                    <a:pt x="353" y="19706"/>
                  </a:lnTo>
                  <a:lnTo>
                    <a:pt x="530" y="20023"/>
                  </a:lnTo>
                  <a:lnTo>
                    <a:pt x="742" y="20341"/>
                  </a:lnTo>
                  <a:lnTo>
                    <a:pt x="1095" y="20694"/>
                  </a:lnTo>
                  <a:lnTo>
                    <a:pt x="1483" y="21012"/>
                  </a:lnTo>
                  <a:lnTo>
                    <a:pt x="1872" y="21259"/>
                  </a:lnTo>
                  <a:lnTo>
                    <a:pt x="2295" y="21471"/>
                  </a:lnTo>
                  <a:lnTo>
                    <a:pt x="2754" y="21648"/>
                  </a:lnTo>
                  <a:lnTo>
                    <a:pt x="3214" y="21789"/>
                  </a:lnTo>
                  <a:lnTo>
                    <a:pt x="4132" y="22036"/>
                  </a:lnTo>
                  <a:lnTo>
                    <a:pt x="5650" y="22354"/>
                  </a:lnTo>
                  <a:lnTo>
                    <a:pt x="7169" y="22672"/>
                  </a:lnTo>
                  <a:lnTo>
                    <a:pt x="8687" y="22954"/>
                  </a:lnTo>
                  <a:lnTo>
                    <a:pt x="10170" y="23202"/>
                  </a:lnTo>
                  <a:lnTo>
                    <a:pt x="11689" y="23413"/>
                  </a:lnTo>
                  <a:lnTo>
                    <a:pt x="13172" y="23590"/>
                  </a:lnTo>
                  <a:lnTo>
                    <a:pt x="14655" y="23767"/>
                  </a:lnTo>
                  <a:lnTo>
                    <a:pt x="16173" y="23908"/>
                  </a:lnTo>
                  <a:lnTo>
                    <a:pt x="17657" y="24014"/>
                  </a:lnTo>
                  <a:lnTo>
                    <a:pt x="19175" y="24120"/>
                  </a:lnTo>
                  <a:lnTo>
                    <a:pt x="20694" y="24155"/>
                  </a:lnTo>
                  <a:lnTo>
                    <a:pt x="22212" y="24190"/>
                  </a:lnTo>
                  <a:lnTo>
                    <a:pt x="23731" y="24190"/>
                  </a:lnTo>
                  <a:lnTo>
                    <a:pt x="25249" y="24155"/>
                  </a:lnTo>
                  <a:lnTo>
                    <a:pt x="26767" y="24120"/>
                  </a:lnTo>
                  <a:lnTo>
                    <a:pt x="28321" y="24014"/>
                  </a:lnTo>
                  <a:lnTo>
                    <a:pt x="30228" y="23908"/>
                  </a:lnTo>
                  <a:lnTo>
                    <a:pt x="32170" y="23873"/>
                  </a:lnTo>
                  <a:lnTo>
                    <a:pt x="34183" y="23837"/>
                  </a:lnTo>
                  <a:lnTo>
                    <a:pt x="36196" y="23837"/>
                  </a:lnTo>
                  <a:lnTo>
                    <a:pt x="40292" y="23873"/>
                  </a:lnTo>
                  <a:lnTo>
                    <a:pt x="44530" y="23979"/>
                  </a:lnTo>
                  <a:lnTo>
                    <a:pt x="48909" y="24084"/>
                  </a:lnTo>
                  <a:lnTo>
                    <a:pt x="51134" y="24084"/>
                  </a:lnTo>
                  <a:lnTo>
                    <a:pt x="53358" y="24120"/>
                  </a:lnTo>
                  <a:lnTo>
                    <a:pt x="55654" y="24084"/>
                  </a:lnTo>
                  <a:lnTo>
                    <a:pt x="57949" y="24049"/>
                  </a:lnTo>
                  <a:lnTo>
                    <a:pt x="60280" y="23943"/>
                  </a:lnTo>
                  <a:lnTo>
                    <a:pt x="62646" y="23802"/>
                  </a:lnTo>
                  <a:lnTo>
                    <a:pt x="63387" y="23767"/>
                  </a:lnTo>
                  <a:lnTo>
                    <a:pt x="64129" y="23661"/>
                  </a:lnTo>
                  <a:lnTo>
                    <a:pt x="64871" y="23555"/>
                  </a:lnTo>
                  <a:lnTo>
                    <a:pt x="65577" y="23378"/>
                  </a:lnTo>
                  <a:lnTo>
                    <a:pt x="66283" y="23166"/>
                  </a:lnTo>
                  <a:lnTo>
                    <a:pt x="66954" y="22884"/>
                  </a:lnTo>
                  <a:lnTo>
                    <a:pt x="67272" y="22707"/>
                  </a:lnTo>
                  <a:lnTo>
                    <a:pt x="67590" y="22495"/>
                  </a:lnTo>
                  <a:lnTo>
                    <a:pt x="67907" y="22283"/>
                  </a:lnTo>
                  <a:lnTo>
                    <a:pt x="68190" y="22072"/>
                  </a:lnTo>
                  <a:lnTo>
                    <a:pt x="68472" y="21789"/>
                  </a:lnTo>
                  <a:lnTo>
                    <a:pt x="68755" y="21507"/>
                  </a:lnTo>
                  <a:lnTo>
                    <a:pt x="69002" y="21189"/>
                  </a:lnTo>
                  <a:lnTo>
                    <a:pt x="69214" y="20871"/>
                  </a:lnTo>
                  <a:lnTo>
                    <a:pt x="69391" y="20518"/>
                  </a:lnTo>
                  <a:lnTo>
                    <a:pt x="69567" y="20165"/>
                  </a:lnTo>
                  <a:lnTo>
                    <a:pt x="69708" y="19776"/>
                  </a:lnTo>
                  <a:lnTo>
                    <a:pt x="69814" y="19388"/>
                  </a:lnTo>
                  <a:lnTo>
                    <a:pt x="69920" y="18999"/>
                  </a:lnTo>
                  <a:lnTo>
                    <a:pt x="69956" y="18611"/>
                  </a:lnTo>
                  <a:lnTo>
                    <a:pt x="69991" y="18222"/>
                  </a:lnTo>
                  <a:lnTo>
                    <a:pt x="69956" y="17834"/>
                  </a:lnTo>
                  <a:lnTo>
                    <a:pt x="69885" y="17446"/>
                  </a:lnTo>
                  <a:lnTo>
                    <a:pt x="69814" y="17092"/>
                  </a:lnTo>
                  <a:lnTo>
                    <a:pt x="69673" y="16739"/>
                  </a:lnTo>
                  <a:lnTo>
                    <a:pt x="69461" y="16386"/>
                  </a:lnTo>
                  <a:lnTo>
                    <a:pt x="69214" y="15998"/>
                  </a:lnTo>
                  <a:lnTo>
                    <a:pt x="68932" y="15680"/>
                  </a:lnTo>
                  <a:lnTo>
                    <a:pt x="68578" y="15433"/>
                  </a:lnTo>
                  <a:lnTo>
                    <a:pt x="68225" y="15221"/>
                  </a:lnTo>
                  <a:lnTo>
                    <a:pt x="67872" y="15044"/>
                  </a:lnTo>
                  <a:lnTo>
                    <a:pt x="67448" y="14903"/>
                  </a:lnTo>
                  <a:lnTo>
                    <a:pt x="67025" y="14797"/>
                  </a:lnTo>
                  <a:lnTo>
                    <a:pt x="66601" y="14726"/>
                  </a:lnTo>
                  <a:lnTo>
                    <a:pt x="65718" y="14726"/>
                  </a:lnTo>
                  <a:lnTo>
                    <a:pt x="65259" y="14762"/>
                  </a:lnTo>
                  <a:lnTo>
                    <a:pt x="64800" y="14797"/>
                  </a:lnTo>
                  <a:lnTo>
                    <a:pt x="63917" y="14974"/>
                  </a:lnTo>
                  <a:lnTo>
                    <a:pt x="63034" y="15221"/>
                  </a:lnTo>
                  <a:lnTo>
                    <a:pt x="62187" y="15468"/>
                  </a:lnTo>
                  <a:lnTo>
                    <a:pt x="61304" y="15715"/>
                  </a:lnTo>
                  <a:lnTo>
                    <a:pt x="60421" y="15927"/>
                  </a:lnTo>
                  <a:lnTo>
                    <a:pt x="59962" y="15998"/>
                  </a:lnTo>
                  <a:lnTo>
                    <a:pt x="59538" y="16033"/>
                  </a:lnTo>
                  <a:lnTo>
                    <a:pt x="59079" y="16068"/>
                  </a:lnTo>
                  <a:lnTo>
                    <a:pt x="58655" y="16068"/>
                  </a:lnTo>
                  <a:lnTo>
                    <a:pt x="58232" y="16033"/>
                  </a:lnTo>
                  <a:lnTo>
                    <a:pt x="57843" y="15962"/>
                  </a:lnTo>
                  <a:lnTo>
                    <a:pt x="57419" y="15821"/>
                  </a:lnTo>
                  <a:lnTo>
                    <a:pt x="57031" y="15680"/>
                  </a:lnTo>
                  <a:lnTo>
                    <a:pt x="56678" y="15433"/>
                  </a:lnTo>
                  <a:lnTo>
                    <a:pt x="56325" y="15185"/>
                  </a:lnTo>
                  <a:lnTo>
                    <a:pt x="56007" y="14903"/>
                  </a:lnTo>
                  <a:lnTo>
                    <a:pt x="55724" y="14585"/>
                  </a:lnTo>
                  <a:lnTo>
                    <a:pt x="55477" y="14232"/>
                  </a:lnTo>
                  <a:lnTo>
                    <a:pt x="55265" y="13844"/>
                  </a:lnTo>
                  <a:lnTo>
                    <a:pt x="55053" y="13455"/>
                  </a:lnTo>
                  <a:lnTo>
                    <a:pt x="54842" y="13067"/>
                  </a:lnTo>
                  <a:lnTo>
                    <a:pt x="54488" y="12219"/>
                  </a:lnTo>
                  <a:lnTo>
                    <a:pt x="54135" y="11407"/>
                  </a:lnTo>
                  <a:lnTo>
                    <a:pt x="53782" y="10595"/>
                  </a:lnTo>
                  <a:lnTo>
                    <a:pt x="53570" y="10206"/>
                  </a:lnTo>
                  <a:lnTo>
                    <a:pt x="53323" y="9853"/>
                  </a:lnTo>
                  <a:lnTo>
                    <a:pt x="53076" y="9500"/>
                  </a:lnTo>
                  <a:lnTo>
                    <a:pt x="52758" y="9182"/>
                  </a:lnTo>
                  <a:lnTo>
                    <a:pt x="52405" y="8864"/>
                  </a:lnTo>
                  <a:lnTo>
                    <a:pt x="52016" y="8617"/>
                  </a:lnTo>
                  <a:lnTo>
                    <a:pt x="51593" y="8405"/>
                  </a:lnTo>
                  <a:lnTo>
                    <a:pt x="51169" y="8229"/>
                  </a:lnTo>
                  <a:lnTo>
                    <a:pt x="50745" y="8123"/>
                  </a:lnTo>
                  <a:lnTo>
                    <a:pt x="50286" y="8017"/>
                  </a:lnTo>
                  <a:lnTo>
                    <a:pt x="49827" y="7982"/>
                  </a:lnTo>
                  <a:lnTo>
                    <a:pt x="49368" y="7982"/>
                  </a:lnTo>
                  <a:lnTo>
                    <a:pt x="48874" y="8017"/>
                  </a:lnTo>
                  <a:lnTo>
                    <a:pt x="48379" y="8052"/>
                  </a:lnTo>
                  <a:lnTo>
                    <a:pt x="47426" y="8229"/>
                  </a:lnTo>
                  <a:lnTo>
                    <a:pt x="46472" y="8441"/>
                  </a:lnTo>
                  <a:lnTo>
                    <a:pt x="45519" y="8688"/>
                  </a:lnTo>
                  <a:lnTo>
                    <a:pt x="44601" y="8935"/>
                  </a:lnTo>
                  <a:lnTo>
                    <a:pt x="43612" y="9147"/>
                  </a:lnTo>
                  <a:lnTo>
                    <a:pt x="43118" y="9217"/>
                  </a:lnTo>
                  <a:lnTo>
                    <a:pt x="42623" y="9253"/>
                  </a:lnTo>
                  <a:lnTo>
                    <a:pt x="42164" y="9288"/>
                  </a:lnTo>
                  <a:lnTo>
                    <a:pt x="41670" y="9288"/>
                  </a:lnTo>
                  <a:lnTo>
                    <a:pt x="41211" y="9253"/>
                  </a:lnTo>
                  <a:lnTo>
                    <a:pt x="40752" y="9182"/>
                  </a:lnTo>
                  <a:lnTo>
                    <a:pt x="40292" y="9041"/>
                  </a:lnTo>
                  <a:lnTo>
                    <a:pt x="39869" y="8900"/>
                  </a:lnTo>
                  <a:lnTo>
                    <a:pt x="39480" y="8688"/>
                  </a:lnTo>
                  <a:lnTo>
                    <a:pt x="39092" y="8441"/>
                  </a:lnTo>
                  <a:lnTo>
                    <a:pt x="38703" y="8158"/>
                  </a:lnTo>
                  <a:lnTo>
                    <a:pt x="38386" y="7770"/>
                  </a:lnTo>
                  <a:lnTo>
                    <a:pt x="38280" y="7628"/>
                  </a:lnTo>
                  <a:lnTo>
                    <a:pt x="38209" y="7487"/>
                  </a:lnTo>
                  <a:lnTo>
                    <a:pt x="38068" y="7063"/>
                  </a:lnTo>
                  <a:lnTo>
                    <a:pt x="37962" y="6569"/>
                  </a:lnTo>
                  <a:lnTo>
                    <a:pt x="37821" y="6004"/>
                  </a:lnTo>
                  <a:lnTo>
                    <a:pt x="37715" y="5368"/>
                  </a:lnTo>
                  <a:lnTo>
                    <a:pt x="37538" y="4733"/>
                  </a:lnTo>
                  <a:lnTo>
                    <a:pt x="37326" y="4062"/>
                  </a:lnTo>
                  <a:lnTo>
                    <a:pt x="37185" y="3709"/>
                  </a:lnTo>
                  <a:lnTo>
                    <a:pt x="37008" y="3391"/>
                  </a:lnTo>
                  <a:lnTo>
                    <a:pt x="36832" y="3038"/>
                  </a:lnTo>
                  <a:lnTo>
                    <a:pt x="36620" y="2720"/>
                  </a:lnTo>
                  <a:lnTo>
                    <a:pt x="36373" y="2402"/>
                  </a:lnTo>
                  <a:lnTo>
                    <a:pt x="36090" y="2119"/>
                  </a:lnTo>
                  <a:lnTo>
                    <a:pt x="35808" y="1802"/>
                  </a:lnTo>
                  <a:lnTo>
                    <a:pt x="35455" y="1519"/>
                  </a:lnTo>
                  <a:lnTo>
                    <a:pt x="35066" y="1272"/>
                  </a:lnTo>
                  <a:lnTo>
                    <a:pt x="34678" y="1025"/>
                  </a:lnTo>
                  <a:lnTo>
                    <a:pt x="34183" y="813"/>
                  </a:lnTo>
                  <a:lnTo>
                    <a:pt x="33689" y="601"/>
                  </a:lnTo>
                  <a:lnTo>
                    <a:pt x="33124" y="424"/>
                  </a:lnTo>
                  <a:lnTo>
                    <a:pt x="32524" y="283"/>
                  </a:lnTo>
                  <a:lnTo>
                    <a:pt x="31853" y="177"/>
                  </a:lnTo>
                  <a:lnTo>
                    <a:pt x="31146" y="71"/>
                  </a:lnTo>
                  <a:lnTo>
                    <a:pt x="30369" y="36"/>
                  </a:lnTo>
                  <a:lnTo>
                    <a:pt x="29522" y="1"/>
                  </a:lnTo>
                  <a:close/>
                </a:path>
              </a:pathLst>
            </a:custGeom>
            <a:solidFill>
              <a:srgbClr val="F6F6F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39" name="Google Shape;945;g2e0683f995c_0_0">
              <a:extLst>
                <a:ext uri="{FF2B5EF4-FFF2-40B4-BE49-F238E27FC236}">
                  <a16:creationId xmlns:a16="http://schemas.microsoft.com/office/drawing/2014/main" id="{2DCAA596-5AC1-8E58-3542-9CCBBD56AEF5}"/>
                </a:ext>
              </a:extLst>
            </p:cNvPr>
            <p:cNvSpPr/>
            <p:nvPr/>
          </p:nvSpPr>
          <p:spPr>
            <a:xfrm>
              <a:off x="2514360" y="1141863"/>
              <a:ext cx="582935" cy="163751"/>
            </a:xfrm>
            <a:custGeom>
              <a:avLst/>
              <a:gdLst/>
              <a:ahLst/>
              <a:cxnLst/>
              <a:rect l="l" t="t" r="r" b="b"/>
              <a:pathLst>
                <a:path w="59468" h="16705" extrusionOk="0">
                  <a:moveTo>
                    <a:pt x="25885" y="1"/>
                  </a:moveTo>
                  <a:lnTo>
                    <a:pt x="25179" y="36"/>
                  </a:lnTo>
                  <a:lnTo>
                    <a:pt x="24543" y="71"/>
                  </a:lnTo>
                  <a:lnTo>
                    <a:pt x="23943" y="177"/>
                  </a:lnTo>
                  <a:lnTo>
                    <a:pt x="23378" y="319"/>
                  </a:lnTo>
                  <a:lnTo>
                    <a:pt x="22883" y="495"/>
                  </a:lnTo>
                  <a:lnTo>
                    <a:pt x="22389" y="672"/>
                  </a:lnTo>
                  <a:lnTo>
                    <a:pt x="21965" y="884"/>
                  </a:lnTo>
                  <a:lnTo>
                    <a:pt x="21541" y="1131"/>
                  </a:lnTo>
                  <a:lnTo>
                    <a:pt x="21188" y="1413"/>
                  </a:lnTo>
                  <a:lnTo>
                    <a:pt x="20835" y="1696"/>
                  </a:lnTo>
                  <a:lnTo>
                    <a:pt x="20517" y="2014"/>
                  </a:lnTo>
                  <a:lnTo>
                    <a:pt x="20235" y="2331"/>
                  </a:lnTo>
                  <a:lnTo>
                    <a:pt x="19952" y="2685"/>
                  </a:lnTo>
                  <a:lnTo>
                    <a:pt x="19705" y="3038"/>
                  </a:lnTo>
                  <a:lnTo>
                    <a:pt x="19246" y="3744"/>
                  </a:lnTo>
                  <a:lnTo>
                    <a:pt x="18398" y="5192"/>
                  </a:lnTo>
                  <a:lnTo>
                    <a:pt x="17975" y="5898"/>
                  </a:lnTo>
                  <a:lnTo>
                    <a:pt x="17516" y="6569"/>
                  </a:lnTo>
                  <a:lnTo>
                    <a:pt x="17268" y="6852"/>
                  </a:lnTo>
                  <a:lnTo>
                    <a:pt x="16986" y="7134"/>
                  </a:lnTo>
                  <a:lnTo>
                    <a:pt x="16703" y="7417"/>
                  </a:lnTo>
                  <a:lnTo>
                    <a:pt x="16421" y="7664"/>
                  </a:lnTo>
                  <a:lnTo>
                    <a:pt x="16103" y="7876"/>
                  </a:lnTo>
                  <a:lnTo>
                    <a:pt x="15750" y="8052"/>
                  </a:lnTo>
                  <a:lnTo>
                    <a:pt x="15362" y="8229"/>
                  </a:lnTo>
                  <a:lnTo>
                    <a:pt x="14938" y="8370"/>
                  </a:lnTo>
                  <a:lnTo>
                    <a:pt x="14161" y="8547"/>
                  </a:lnTo>
                  <a:lnTo>
                    <a:pt x="13490" y="8653"/>
                  </a:lnTo>
                  <a:lnTo>
                    <a:pt x="12890" y="8723"/>
                  </a:lnTo>
                  <a:lnTo>
                    <a:pt x="12395" y="8759"/>
                  </a:lnTo>
                  <a:lnTo>
                    <a:pt x="11971" y="8723"/>
                  </a:lnTo>
                  <a:lnTo>
                    <a:pt x="11618" y="8688"/>
                  </a:lnTo>
                  <a:lnTo>
                    <a:pt x="11301" y="8617"/>
                  </a:lnTo>
                  <a:lnTo>
                    <a:pt x="11018" y="8547"/>
                  </a:lnTo>
                  <a:lnTo>
                    <a:pt x="10488" y="8299"/>
                  </a:lnTo>
                  <a:lnTo>
                    <a:pt x="9959" y="8052"/>
                  </a:lnTo>
                  <a:lnTo>
                    <a:pt x="9429" y="7770"/>
                  </a:lnTo>
                  <a:lnTo>
                    <a:pt x="9111" y="7664"/>
                  </a:lnTo>
                  <a:lnTo>
                    <a:pt x="8758" y="7558"/>
                  </a:lnTo>
                  <a:lnTo>
                    <a:pt x="8370" y="7452"/>
                  </a:lnTo>
                  <a:lnTo>
                    <a:pt x="7910" y="7381"/>
                  </a:lnTo>
                  <a:lnTo>
                    <a:pt x="7416" y="7346"/>
                  </a:lnTo>
                  <a:lnTo>
                    <a:pt x="6427" y="7346"/>
                  </a:lnTo>
                  <a:lnTo>
                    <a:pt x="6004" y="7417"/>
                  </a:lnTo>
                  <a:lnTo>
                    <a:pt x="5544" y="7523"/>
                  </a:lnTo>
                  <a:lnTo>
                    <a:pt x="5121" y="7664"/>
                  </a:lnTo>
                  <a:lnTo>
                    <a:pt x="4626" y="7840"/>
                  </a:lnTo>
                  <a:lnTo>
                    <a:pt x="4167" y="8017"/>
                  </a:lnTo>
                  <a:lnTo>
                    <a:pt x="3708" y="8264"/>
                  </a:lnTo>
                  <a:lnTo>
                    <a:pt x="3249" y="8511"/>
                  </a:lnTo>
                  <a:lnTo>
                    <a:pt x="2825" y="8794"/>
                  </a:lnTo>
                  <a:lnTo>
                    <a:pt x="2402" y="9076"/>
                  </a:lnTo>
                  <a:lnTo>
                    <a:pt x="1978" y="9394"/>
                  </a:lnTo>
                  <a:lnTo>
                    <a:pt x="1589" y="9747"/>
                  </a:lnTo>
                  <a:lnTo>
                    <a:pt x="1236" y="10100"/>
                  </a:lnTo>
                  <a:lnTo>
                    <a:pt x="918" y="10454"/>
                  </a:lnTo>
                  <a:lnTo>
                    <a:pt x="636" y="10807"/>
                  </a:lnTo>
                  <a:lnTo>
                    <a:pt x="424" y="11195"/>
                  </a:lnTo>
                  <a:lnTo>
                    <a:pt x="212" y="11584"/>
                  </a:lnTo>
                  <a:lnTo>
                    <a:pt x="106" y="11937"/>
                  </a:lnTo>
                  <a:lnTo>
                    <a:pt x="0" y="12325"/>
                  </a:lnTo>
                  <a:lnTo>
                    <a:pt x="0" y="12678"/>
                  </a:lnTo>
                  <a:lnTo>
                    <a:pt x="36" y="13067"/>
                  </a:lnTo>
                  <a:lnTo>
                    <a:pt x="177" y="13420"/>
                  </a:lnTo>
                  <a:lnTo>
                    <a:pt x="353" y="13773"/>
                  </a:lnTo>
                  <a:lnTo>
                    <a:pt x="636" y="14091"/>
                  </a:lnTo>
                  <a:lnTo>
                    <a:pt x="1024" y="14409"/>
                  </a:lnTo>
                  <a:lnTo>
                    <a:pt x="1483" y="14691"/>
                  </a:lnTo>
                  <a:lnTo>
                    <a:pt x="2013" y="14974"/>
                  </a:lnTo>
                  <a:lnTo>
                    <a:pt x="2649" y="15221"/>
                  </a:lnTo>
                  <a:lnTo>
                    <a:pt x="3426" y="15433"/>
                  </a:lnTo>
                  <a:lnTo>
                    <a:pt x="4273" y="15645"/>
                  </a:lnTo>
                  <a:lnTo>
                    <a:pt x="5227" y="15821"/>
                  </a:lnTo>
                  <a:lnTo>
                    <a:pt x="6321" y="15927"/>
                  </a:lnTo>
                  <a:lnTo>
                    <a:pt x="8829" y="16139"/>
                  </a:lnTo>
                  <a:lnTo>
                    <a:pt x="11477" y="16316"/>
                  </a:lnTo>
                  <a:lnTo>
                    <a:pt x="14196" y="16457"/>
                  </a:lnTo>
                  <a:lnTo>
                    <a:pt x="16986" y="16563"/>
                  </a:lnTo>
                  <a:lnTo>
                    <a:pt x="19846" y="16633"/>
                  </a:lnTo>
                  <a:lnTo>
                    <a:pt x="22707" y="16669"/>
                  </a:lnTo>
                  <a:lnTo>
                    <a:pt x="28322" y="16704"/>
                  </a:lnTo>
                  <a:lnTo>
                    <a:pt x="32912" y="16704"/>
                  </a:lnTo>
                  <a:lnTo>
                    <a:pt x="37115" y="16633"/>
                  </a:lnTo>
                  <a:lnTo>
                    <a:pt x="43895" y="16598"/>
                  </a:lnTo>
                  <a:lnTo>
                    <a:pt x="47603" y="16598"/>
                  </a:lnTo>
                  <a:lnTo>
                    <a:pt x="49404" y="16563"/>
                  </a:lnTo>
                  <a:lnTo>
                    <a:pt x="51028" y="16527"/>
                  </a:lnTo>
                  <a:lnTo>
                    <a:pt x="52476" y="16422"/>
                  </a:lnTo>
                  <a:lnTo>
                    <a:pt x="53782" y="16316"/>
                  </a:lnTo>
                  <a:lnTo>
                    <a:pt x="54912" y="16139"/>
                  </a:lnTo>
                  <a:lnTo>
                    <a:pt x="55901" y="15962"/>
                  </a:lnTo>
                  <a:lnTo>
                    <a:pt x="56325" y="15821"/>
                  </a:lnTo>
                  <a:lnTo>
                    <a:pt x="56749" y="15680"/>
                  </a:lnTo>
                  <a:lnTo>
                    <a:pt x="57102" y="15539"/>
                  </a:lnTo>
                  <a:lnTo>
                    <a:pt x="57455" y="15362"/>
                  </a:lnTo>
                  <a:lnTo>
                    <a:pt x="57773" y="15186"/>
                  </a:lnTo>
                  <a:lnTo>
                    <a:pt x="58055" y="15009"/>
                  </a:lnTo>
                  <a:lnTo>
                    <a:pt x="58303" y="14797"/>
                  </a:lnTo>
                  <a:lnTo>
                    <a:pt x="58514" y="14550"/>
                  </a:lnTo>
                  <a:lnTo>
                    <a:pt x="58726" y="14303"/>
                  </a:lnTo>
                  <a:lnTo>
                    <a:pt x="58903" y="14056"/>
                  </a:lnTo>
                  <a:lnTo>
                    <a:pt x="59044" y="13773"/>
                  </a:lnTo>
                  <a:lnTo>
                    <a:pt x="59150" y="13455"/>
                  </a:lnTo>
                  <a:lnTo>
                    <a:pt x="59256" y="13137"/>
                  </a:lnTo>
                  <a:lnTo>
                    <a:pt x="59362" y="12784"/>
                  </a:lnTo>
                  <a:lnTo>
                    <a:pt x="59397" y="12431"/>
                  </a:lnTo>
                  <a:lnTo>
                    <a:pt x="59433" y="12043"/>
                  </a:lnTo>
                  <a:lnTo>
                    <a:pt x="59468" y="11195"/>
                  </a:lnTo>
                  <a:lnTo>
                    <a:pt x="59433" y="10595"/>
                  </a:lnTo>
                  <a:lnTo>
                    <a:pt x="59362" y="9994"/>
                  </a:lnTo>
                  <a:lnTo>
                    <a:pt x="59256" y="9288"/>
                  </a:lnTo>
                  <a:lnTo>
                    <a:pt x="59079" y="8582"/>
                  </a:lnTo>
                  <a:lnTo>
                    <a:pt x="58868" y="7840"/>
                  </a:lnTo>
                  <a:lnTo>
                    <a:pt x="58585" y="7063"/>
                  </a:lnTo>
                  <a:lnTo>
                    <a:pt x="58232" y="6322"/>
                  </a:lnTo>
                  <a:lnTo>
                    <a:pt x="57808" y="5580"/>
                  </a:lnTo>
                  <a:lnTo>
                    <a:pt x="57314" y="4874"/>
                  </a:lnTo>
                  <a:lnTo>
                    <a:pt x="57067" y="4521"/>
                  </a:lnTo>
                  <a:lnTo>
                    <a:pt x="56749" y="4168"/>
                  </a:lnTo>
                  <a:lnTo>
                    <a:pt x="56431" y="3850"/>
                  </a:lnTo>
                  <a:lnTo>
                    <a:pt x="56113" y="3567"/>
                  </a:lnTo>
                  <a:lnTo>
                    <a:pt x="55760" y="3250"/>
                  </a:lnTo>
                  <a:lnTo>
                    <a:pt x="55372" y="2967"/>
                  </a:lnTo>
                  <a:lnTo>
                    <a:pt x="54948" y="2720"/>
                  </a:lnTo>
                  <a:lnTo>
                    <a:pt x="54524" y="2473"/>
                  </a:lnTo>
                  <a:lnTo>
                    <a:pt x="54065" y="2261"/>
                  </a:lnTo>
                  <a:lnTo>
                    <a:pt x="53606" y="2084"/>
                  </a:lnTo>
                  <a:lnTo>
                    <a:pt x="53076" y="1908"/>
                  </a:lnTo>
                  <a:lnTo>
                    <a:pt x="52546" y="1766"/>
                  </a:lnTo>
                  <a:lnTo>
                    <a:pt x="52017" y="1661"/>
                  </a:lnTo>
                  <a:lnTo>
                    <a:pt x="51416" y="1555"/>
                  </a:lnTo>
                  <a:lnTo>
                    <a:pt x="50816" y="1519"/>
                  </a:lnTo>
                  <a:lnTo>
                    <a:pt x="50251" y="1484"/>
                  </a:lnTo>
                  <a:lnTo>
                    <a:pt x="49827" y="1519"/>
                  </a:lnTo>
                  <a:lnTo>
                    <a:pt x="49404" y="1555"/>
                  </a:lnTo>
                  <a:lnTo>
                    <a:pt x="49050" y="1625"/>
                  </a:lnTo>
                  <a:lnTo>
                    <a:pt x="48733" y="1696"/>
                  </a:lnTo>
                  <a:lnTo>
                    <a:pt x="48450" y="1802"/>
                  </a:lnTo>
                  <a:lnTo>
                    <a:pt x="48203" y="1943"/>
                  </a:lnTo>
                  <a:lnTo>
                    <a:pt x="47991" y="2084"/>
                  </a:lnTo>
                  <a:lnTo>
                    <a:pt x="47779" y="2261"/>
                  </a:lnTo>
                  <a:lnTo>
                    <a:pt x="47603" y="2437"/>
                  </a:lnTo>
                  <a:lnTo>
                    <a:pt x="47426" y="2649"/>
                  </a:lnTo>
                  <a:lnTo>
                    <a:pt x="47144" y="3073"/>
                  </a:lnTo>
                  <a:lnTo>
                    <a:pt x="46614" y="3991"/>
                  </a:lnTo>
                  <a:lnTo>
                    <a:pt x="46296" y="4486"/>
                  </a:lnTo>
                  <a:lnTo>
                    <a:pt x="45943" y="4945"/>
                  </a:lnTo>
                  <a:lnTo>
                    <a:pt x="45731" y="5157"/>
                  </a:lnTo>
                  <a:lnTo>
                    <a:pt x="45484" y="5368"/>
                  </a:lnTo>
                  <a:lnTo>
                    <a:pt x="45237" y="5580"/>
                  </a:lnTo>
                  <a:lnTo>
                    <a:pt x="44954" y="5757"/>
                  </a:lnTo>
                  <a:lnTo>
                    <a:pt x="44601" y="5933"/>
                  </a:lnTo>
                  <a:lnTo>
                    <a:pt x="44248" y="6110"/>
                  </a:lnTo>
                  <a:lnTo>
                    <a:pt x="43824" y="6251"/>
                  </a:lnTo>
                  <a:lnTo>
                    <a:pt x="43365" y="6393"/>
                  </a:lnTo>
                  <a:lnTo>
                    <a:pt x="42835" y="6498"/>
                  </a:lnTo>
                  <a:lnTo>
                    <a:pt x="42270" y="6569"/>
                  </a:lnTo>
                  <a:lnTo>
                    <a:pt x="41670" y="6640"/>
                  </a:lnTo>
                  <a:lnTo>
                    <a:pt x="40999" y="6675"/>
                  </a:lnTo>
                  <a:lnTo>
                    <a:pt x="40681" y="6675"/>
                  </a:lnTo>
                  <a:lnTo>
                    <a:pt x="40081" y="6640"/>
                  </a:lnTo>
                  <a:lnTo>
                    <a:pt x="39516" y="6604"/>
                  </a:lnTo>
                  <a:lnTo>
                    <a:pt x="38951" y="6498"/>
                  </a:lnTo>
                  <a:lnTo>
                    <a:pt x="38421" y="6393"/>
                  </a:lnTo>
                  <a:lnTo>
                    <a:pt x="37927" y="6251"/>
                  </a:lnTo>
                  <a:lnTo>
                    <a:pt x="37432" y="6075"/>
                  </a:lnTo>
                  <a:lnTo>
                    <a:pt x="36973" y="5863"/>
                  </a:lnTo>
                  <a:lnTo>
                    <a:pt x="36550" y="5651"/>
                  </a:lnTo>
                  <a:lnTo>
                    <a:pt x="36126" y="5404"/>
                  </a:lnTo>
                  <a:lnTo>
                    <a:pt x="35702" y="5157"/>
                  </a:lnTo>
                  <a:lnTo>
                    <a:pt x="34925" y="4592"/>
                  </a:lnTo>
                  <a:lnTo>
                    <a:pt x="34148" y="3991"/>
                  </a:lnTo>
                  <a:lnTo>
                    <a:pt x="33407" y="3391"/>
                  </a:lnTo>
                  <a:lnTo>
                    <a:pt x="32665" y="2755"/>
                  </a:lnTo>
                  <a:lnTo>
                    <a:pt x="31888" y="2155"/>
                  </a:lnTo>
                  <a:lnTo>
                    <a:pt x="31111" y="1590"/>
                  </a:lnTo>
                  <a:lnTo>
                    <a:pt x="30688" y="1343"/>
                  </a:lnTo>
                  <a:lnTo>
                    <a:pt x="30264" y="1096"/>
                  </a:lnTo>
                  <a:lnTo>
                    <a:pt x="29840" y="884"/>
                  </a:lnTo>
                  <a:lnTo>
                    <a:pt x="29346" y="672"/>
                  </a:lnTo>
                  <a:lnTo>
                    <a:pt x="28887" y="495"/>
                  </a:lnTo>
                  <a:lnTo>
                    <a:pt x="28392" y="319"/>
                  </a:lnTo>
                  <a:lnTo>
                    <a:pt x="27862" y="213"/>
                  </a:lnTo>
                  <a:lnTo>
                    <a:pt x="27297" y="107"/>
                  </a:lnTo>
                  <a:lnTo>
                    <a:pt x="26732" y="36"/>
                  </a:lnTo>
                  <a:lnTo>
                    <a:pt x="26097" y="1"/>
                  </a:lnTo>
                  <a:close/>
                </a:path>
              </a:pathLst>
            </a:custGeom>
            <a:solidFill>
              <a:srgbClr val="F7F7F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grpSp>
      <p:grpSp>
        <p:nvGrpSpPr>
          <p:cNvPr id="440" name="Google Shape;946;g2e0683f995c_0_0">
            <a:extLst>
              <a:ext uri="{FF2B5EF4-FFF2-40B4-BE49-F238E27FC236}">
                <a16:creationId xmlns:a16="http://schemas.microsoft.com/office/drawing/2014/main" id="{652AAA81-503B-E2DC-4C73-59D16E8E8976}"/>
              </a:ext>
            </a:extLst>
          </p:cNvPr>
          <p:cNvGrpSpPr/>
          <p:nvPr/>
        </p:nvGrpSpPr>
        <p:grpSpPr>
          <a:xfrm>
            <a:off x="9296839" y="4584965"/>
            <a:ext cx="2642371" cy="1887878"/>
            <a:chOff x="7772654" y="3636374"/>
            <a:chExt cx="2469136" cy="1764108"/>
          </a:xfrm>
        </p:grpSpPr>
        <p:grpSp>
          <p:nvGrpSpPr>
            <p:cNvPr id="441" name="Google Shape;947;g2e0683f995c_0_0">
              <a:extLst>
                <a:ext uri="{FF2B5EF4-FFF2-40B4-BE49-F238E27FC236}">
                  <a16:creationId xmlns:a16="http://schemas.microsoft.com/office/drawing/2014/main" id="{D11EC118-82B1-69AF-CD66-FC5CB44DD361}"/>
                </a:ext>
              </a:extLst>
            </p:cNvPr>
            <p:cNvGrpSpPr/>
            <p:nvPr/>
          </p:nvGrpSpPr>
          <p:grpSpPr>
            <a:xfrm>
              <a:off x="8832206" y="3636374"/>
              <a:ext cx="1409584" cy="1328636"/>
              <a:chOff x="8003182" y="640422"/>
              <a:chExt cx="732247" cy="690204"/>
            </a:xfrm>
          </p:grpSpPr>
          <p:sp>
            <p:nvSpPr>
              <p:cNvPr id="446" name="Google Shape;948;g2e0683f995c_0_0">
                <a:extLst>
                  <a:ext uri="{FF2B5EF4-FFF2-40B4-BE49-F238E27FC236}">
                    <a16:creationId xmlns:a16="http://schemas.microsoft.com/office/drawing/2014/main" id="{EBEA370C-53F1-0ED0-7C9C-617F51E07305}"/>
                  </a:ext>
                </a:extLst>
              </p:cNvPr>
              <p:cNvSpPr/>
              <p:nvPr/>
            </p:nvSpPr>
            <p:spPr>
              <a:xfrm>
                <a:off x="8534706" y="640422"/>
                <a:ext cx="55553" cy="55553"/>
              </a:xfrm>
              <a:custGeom>
                <a:avLst/>
                <a:gdLst/>
                <a:ahLst/>
                <a:cxnLst/>
                <a:rect l="l" t="t" r="r" b="b"/>
                <a:pathLst>
                  <a:path w="3335" h="3335" extrusionOk="0">
                    <a:moveTo>
                      <a:pt x="2644" y="1"/>
                    </a:moveTo>
                    <a:lnTo>
                      <a:pt x="2477" y="48"/>
                    </a:lnTo>
                    <a:lnTo>
                      <a:pt x="2168" y="215"/>
                    </a:lnTo>
                    <a:lnTo>
                      <a:pt x="2001" y="286"/>
                    </a:lnTo>
                    <a:lnTo>
                      <a:pt x="1834" y="358"/>
                    </a:lnTo>
                    <a:lnTo>
                      <a:pt x="1739" y="358"/>
                    </a:lnTo>
                    <a:lnTo>
                      <a:pt x="1668" y="334"/>
                    </a:lnTo>
                    <a:lnTo>
                      <a:pt x="1620" y="263"/>
                    </a:lnTo>
                    <a:lnTo>
                      <a:pt x="1572" y="191"/>
                    </a:lnTo>
                    <a:lnTo>
                      <a:pt x="1525" y="143"/>
                    </a:lnTo>
                    <a:lnTo>
                      <a:pt x="1477" y="96"/>
                    </a:lnTo>
                    <a:lnTo>
                      <a:pt x="1382" y="72"/>
                    </a:lnTo>
                    <a:lnTo>
                      <a:pt x="1239" y="120"/>
                    </a:lnTo>
                    <a:lnTo>
                      <a:pt x="1191" y="143"/>
                    </a:lnTo>
                    <a:lnTo>
                      <a:pt x="1144" y="191"/>
                    </a:lnTo>
                    <a:lnTo>
                      <a:pt x="1096" y="310"/>
                    </a:lnTo>
                    <a:lnTo>
                      <a:pt x="1001" y="667"/>
                    </a:lnTo>
                    <a:lnTo>
                      <a:pt x="906" y="882"/>
                    </a:lnTo>
                    <a:lnTo>
                      <a:pt x="739" y="1144"/>
                    </a:lnTo>
                    <a:lnTo>
                      <a:pt x="644" y="1286"/>
                    </a:lnTo>
                    <a:lnTo>
                      <a:pt x="501" y="1429"/>
                    </a:lnTo>
                    <a:lnTo>
                      <a:pt x="334" y="1572"/>
                    </a:lnTo>
                    <a:lnTo>
                      <a:pt x="144" y="1739"/>
                    </a:lnTo>
                    <a:lnTo>
                      <a:pt x="96" y="1787"/>
                    </a:lnTo>
                    <a:lnTo>
                      <a:pt x="48" y="1882"/>
                    </a:lnTo>
                    <a:lnTo>
                      <a:pt x="1" y="2120"/>
                    </a:lnTo>
                    <a:lnTo>
                      <a:pt x="1" y="2429"/>
                    </a:lnTo>
                    <a:lnTo>
                      <a:pt x="24" y="2763"/>
                    </a:lnTo>
                    <a:lnTo>
                      <a:pt x="96" y="3049"/>
                    </a:lnTo>
                    <a:lnTo>
                      <a:pt x="144" y="3168"/>
                    </a:lnTo>
                    <a:lnTo>
                      <a:pt x="191" y="3263"/>
                    </a:lnTo>
                    <a:lnTo>
                      <a:pt x="239" y="3311"/>
                    </a:lnTo>
                    <a:lnTo>
                      <a:pt x="310" y="3334"/>
                    </a:lnTo>
                    <a:lnTo>
                      <a:pt x="405" y="3311"/>
                    </a:lnTo>
                    <a:lnTo>
                      <a:pt x="477" y="3239"/>
                    </a:lnTo>
                    <a:lnTo>
                      <a:pt x="644" y="3072"/>
                    </a:lnTo>
                    <a:lnTo>
                      <a:pt x="810" y="2906"/>
                    </a:lnTo>
                    <a:lnTo>
                      <a:pt x="1120" y="2691"/>
                    </a:lnTo>
                    <a:lnTo>
                      <a:pt x="1406" y="2525"/>
                    </a:lnTo>
                    <a:lnTo>
                      <a:pt x="1668" y="2429"/>
                    </a:lnTo>
                    <a:lnTo>
                      <a:pt x="2168" y="2263"/>
                    </a:lnTo>
                    <a:lnTo>
                      <a:pt x="2382" y="2168"/>
                    </a:lnTo>
                    <a:lnTo>
                      <a:pt x="2596" y="2025"/>
                    </a:lnTo>
                    <a:lnTo>
                      <a:pt x="2858" y="1834"/>
                    </a:lnTo>
                    <a:lnTo>
                      <a:pt x="3072" y="1620"/>
                    </a:lnTo>
                    <a:lnTo>
                      <a:pt x="3215" y="1406"/>
                    </a:lnTo>
                    <a:lnTo>
                      <a:pt x="3263" y="1310"/>
                    </a:lnTo>
                    <a:lnTo>
                      <a:pt x="3311" y="1191"/>
                    </a:lnTo>
                    <a:lnTo>
                      <a:pt x="3334" y="1096"/>
                    </a:lnTo>
                    <a:lnTo>
                      <a:pt x="3334" y="977"/>
                    </a:lnTo>
                    <a:lnTo>
                      <a:pt x="3334" y="858"/>
                    </a:lnTo>
                    <a:lnTo>
                      <a:pt x="3311" y="739"/>
                    </a:lnTo>
                    <a:lnTo>
                      <a:pt x="3263" y="596"/>
                    </a:lnTo>
                    <a:lnTo>
                      <a:pt x="3215" y="477"/>
                    </a:lnTo>
                    <a:lnTo>
                      <a:pt x="3049" y="191"/>
                    </a:lnTo>
                    <a:lnTo>
                      <a:pt x="2977" y="120"/>
                    </a:lnTo>
                    <a:lnTo>
                      <a:pt x="2906" y="48"/>
                    </a:lnTo>
                    <a:lnTo>
                      <a:pt x="2858" y="24"/>
                    </a:lnTo>
                    <a:lnTo>
                      <a:pt x="2787" y="1"/>
                    </a:lnTo>
                    <a:close/>
                  </a:path>
                </a:pathLst>
              </a:custGeom>
              <a:solidFill>
                <a:srgbClr val="EFAEA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47" name="Google Shape;949;g2e0683f995c_0_0">
                <a:extLst>
                  <a:ext uri="{FF2B5EF4-FFF2-40B4-BE49-F238E27FC236}">
                    <a16:creationId xmlns:a16="http://schemas.microsoft.com/office/drawing/2014/main" id="{A35906BB-E7E1-C45C-B9FC-00638DBB4C26}"/>
                  </a:ext>
                </a:extLst>
              </p:cNvPr>
              <p:cNvSpPr/>
              <p:nvPr/>
            </p:nvSpPr>
            <p:spPr>
              <a:xfrm>
                <a:off x="8618010" y="1143778"/>
                <a:ext cx="60700" cy="53571"/>
              </a:xfrm>
              <a:custGeom>
                <a:avLst/>
                <a:gdLst/>
                <a:ahLst/>
                <a:cxnLst/>
                <a:rect l="l" t="t" r="r" b="b"/>
                <a:pathLst>
                  <a:path w="3644" h="3216" extrusionOk="0">
                    <a:moveTo>
                      <a:pt x="1405" y="1"/>
                    </a:moveTo>
                    <a:lnTo>
                      <a:pt x="0" y="1358"/>
                    </a:lnTo>
                    <a:lnTo>
                      <a:pt x="2120" y="3215"/>
                    </a:lnTo>
                    <a:lnTo>
                      <a:pt x="3644" y="2882"/>
                    </a:lnTo>
                    <a:lnTo>
                      <a:pt x="3263" y="1787"/>
                    </a:lnTo>
                    <a:lnTo>
                      <a:pt x="2763" y="1287"/>
                    </a:lnTo>
                    <a:lnTo>
                      <a:pt x="2143" y="691"/>
                    </a:lnTo>
                    <a:lnTo>
                      <a:pt x="1405" y="1"/>
                    </a:lnTo>
                    <a:close/>
                  </a:path>
                </a:pathLst>
              </a:custGeom>
              <a:solidFill>
                <a:srgbClr val="EFAEA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48" name="Google Shape;950;g2e0683f995c_0_0">
                <a:extLst>
                  <a:ext uri="{FF2B5EF4-FFF2-40B4-BE49-F238E27FC236}">
                    <a16:creationId xmlns:a16="http://schemas.microsoft.com/office/drawing/2014/main" id="{31357315-9C78-7850-B7C5-4C3C3655D933}"/>
                  </a:ext>
                </a:extLst>
              </p:cNvPr>
              <p:cNvSpPr/>
              <p:nvPr/>
            </p:nvSpPr>
            <p:spPr>
              <a:xfrm>
                <a:off x="8648943" y="1144178"/>
                <a:ext cx="86486" cy="73393"/>
              </a:xfrm>
              <a:custGeom>
                <a:avLst/>
                <a:gdLst/>
                <a:ahLst/>
                <a:cxnLst/>
                <a:rect l="l" t="t" r="r" b="b"/>
                <a:pathLst>
                  <a:path w="5192" h="4406" extrusionOk="0">
                    <a:moveTo>
                      <a:pt x="4573" y="0"/>
                    </a:moveTo>
                    <a:lnTo>
                      <a:pt x="4525" y="24"/>
                    </a:lnTo>
                    <a:lnTo>
                      <a:pt x="4049" y="429"/>
                    </a:lnTo>
                    <a:lnTo>
                      <a:pt x="3668" y="739"/>
                    </a:lnTo>
                    <a:lnTo>
                      <a:pt x="3263" y="1048"/>
                    </a:lnTo>
                    <a:lnTo>
                      <a:pt x="2811" y="1358"/>
                    </a:lnTo>
                    <a:lnTo>
                      <a:pt x="2596" y="1477"/>
                    </a:lnTo>
                    <a:lnTo>
                      <a:pt x="2406" y="1572"/>
                    </a:lnTo>
                    <a:lnTo>
                      <a:pt x="2215" y="1644"/>
                    </a:lnTo>
                    <a:lnTo>
                      <a:pt x="2025" y="1691"/>
                    </a:lnTo>
                    <a:lnTo>
                      <a:pt x="1882" y="1691"/>
                    </a:lnTo>
                    <a:lnTo>
                      <a:pt x="1739" y="1644"/>
                    </a:lnTo>
                    <a:lnTo>
                      <a:pt x="1572" y="1501"/>
                    </a:lnTo>
                    <a:lnTo>
                      <a:pt x="1453" y="1405"/>
                    </a:lnTo>
                    <a:lnTo>
                      <a:pt x="1406" y="1382"/>
                    </a:lnTo>
                    <a:lnTo>
                      <a:pt x="1382" y="1382"/>
                    </a:lnTo>
                    <a:lnTo>
                      <a:pt x="1334" y="1405"/>
                    </a:lnTo>
                    <a:lnTo>
                      <a:pt x="1287" y="1453"/>
                    </a:lnTo>
                    <a:lnTo>
                      <a:pt x="1120" y="1715"/>
                    </a:lnTo>
                    <a:lnTo>
                      <a:pt x="929" y="1953"/>
                    </a:lnTo>
                    <a:lnTo>
                      <a:pt x="548" y="2358"/>
                    </a:lnTo>
                    <a:lnTo>
                      <a:pt x="239" y="2691"/>
                    </a:lnTo>
                    <a:lnTo>
                      <a:pt x="120" y="2834"/>
                    </a:lnTo>
                    <a:lnTo>
                      <a:pt x="24" y="2977"/>
                    </a:lnTo>
                    <a:lnTo>
                      <a:pt x="1" y="3025"/>
                    </a:lnTo>
                    <a:lnTo>
                      <a:pt x="1" y="3072"/>
                    </a:lnTo>
                    <a:lnTo>
                      <a:pt x="48" y="3215"/>
                    </a:lnTo>
                    <a:lnTo>
                      <a:pt x="144" y="3406"/>
                    </a:lnTo>
                    <a:lnTo>
                      <a:pt x="286" y="3596"/>
                    </a:lnTo>
                    <a:lnTo>
                      <a:pt x="477" y="3787"/>
                    </a:lnTo>
                    <a:lnTo>
                      <a:pt x="691" y="4001"/>
                    </a:lnTo>
                    <a:lnTo>
                      <a:pt x="929" y="4168"/>
                    </a:lnTo>
                    <a:lnTo>
                      <a:pt x="1144" y="4334"/>
                    </a:lnTo>
                    <a:lnTo>
                      <a:pt x="1287" y="4382"/>
                    </a:lnTo>
                    <a:lnTo>
                      <a:pt x="1429" y="4406"/>
                    </a:lnTo>
                    <a:lnTo>
                      <a:pt x="1548" y="4358"/>
                    </a:lnTo>
                    <a:lnTo>
                      <a:pt x="1668" y="4287"/>
                    </a:lnTo>
                    <a:lnTo>
                      <a:pt x="4954" y="1120"/>
                    </a:lnTo>
                    <a:lnTo>
                      <a:pt x="5049" y="977"/>
                    </a:lnTo>
                    <a:lnTo>
                      <a:pt x="5144" y="858"/>
                    </a:lnTo>
                    <a:lnTo>
                      <a:pt x="5192" y="739"/>
                    </a:lnTo>
                    <a:lnTo>
                      <a:pt x="5192" y="643"/>
                    </a:lnTo>
                    <a:lnTo>
                      <a:pt x="5192" y="524"/>
                    </a:lnTo>
                    <a:lnTo>
                      <a:pt x="5168" y="429"/>
                    </a:lnTo>
                    <a:lnTo>
                      <a:pt x="5120" y="334"/>
                    </a:lnTo>
                    <a:lnTo>
                      <a:pt x="5073" y="262"/>
                    </a:lnTo>
                    <a:lnTo>
                      <a:pt x="4930" y="143"/>
                    </a:lnTo>
                    <a:lnTo>
                      <a:pt x="4763" y="48"/>
                    </a:lnTo>
                    <a:lnTo>
                      <a:pt x="4620" y="0"/>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49" name="Google Shape;951;g2e0683f995c_0_0">
                <a:extLst>
                  <a:ext uri="{FF2B5EF4-FFF2-40B4-BE49-F238E27FC236}">
                    <a16:creationId xmlns:a16="http://schemas.microsoft.com/office/drawing/2014/main" id="{F53BDD19-3113-2D75-98E1-BE88596E8D0E}"/>
                  </a:ext>
                </a:extLst>
              </p:cNvPr>
              <p:cNvSpPr/>
              <p:nvPr/>
            </p:nvSpPr>
            <p:spPr>
              <a:xfrm>
                <a:off x="8090850" y="1215972"/>
                <a:ext cx="58318" cy="48007"/>
              </a:xfrm>
              <a:custGeom>
                <a:avLst/>
                <a:gdLst/>
                <a:ahLst/>
                <a:cxnLst/>
                <a:rect l="l" t="t" r="r" b="b"/>
                <a:pathLst>
                  <a:path w="3501" h="2882" extrusionOk="0">
                    <a:moveTo>
                      <a:pt x="2715" y="1"/>
                    </a:moveTo>
                    <a:lnTo>
                      <a:pt x="239" y="1310"/>
                    </a:lnTo>
                    <a:lnTo>
                      <a:pt x="0" y="2858"/>
                    </a:lnTo>
                    <a:lnTo>
                      <a:pt x="1143" y="2882"/>
                    </a:lnTo>
                    <a:lnTo>
                      <a:pt x="1810" y="2620"/>
                    </a:lnTo>
                    <a:lnTo>
                      <a:pt x="2572" y="2239"/>
                    </a:lnTo>
                    <a:lnTo>
                      <a:pt x="3501" y="1786"/>
                    </a:lnTo>
                    <a:lnTo>
                      <a:pt x="2715" y="1"/>
                    </a:lnTo>
                    <a:close/>
                  </a:path>
                </a:pathLst>
              </a:custGeom>
              <a:solidFill>
                <a:srgbClr val="EFAEA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50" name="Google Shape;952;g2e0683f995c_0_0">
                <a:extLst>
                  <a:ext uri="{FF2B5EF4-FFF2-40B4-BE49-F238E27FC236}">
                    <a16:creationId xmlns:a16="http://schemas.microsoft.com/office/drawing/2014/main" id="{F9960EF2-BEC4-CB38-897F-188FC6BD9709}"/>
                  </a:ext>
                </a:extLst>
              </p:cNvPr>
              <p:cNvSpPr/>
              <p:nvPr/>
            </p:nvSpPr>
            <p:spPr>
              <a:xfrm>
                <a:off x="8068629" y="1234212"/>
                <a:ext cx="50006" cy="96414"/>
              </a:xfrm>
              <a:custGeom>
                <a:avLst/>
                <a:gdLst/>
                <a:ahLst/>
                <a:cxnLst/>
                <a:rect l="l" t="t" r="r" b="b"/>
                <a:pathLst>
                  <a:path w="3002" h="5788" extrusionOk="0">
                    <a:moveTo>
                      <a:pt x="1620" y="1"/>
                    </a:moveTo>
                    <a:lnTo>
                      <a:pt x="1406" y="25"/>
                    </a:lnTo>
                    <a:lnTo>
                      <a:pt x="1168" y="96"/>
                    </a:lnTo>
                    <a:lnTo>
                      <a:pt x="930" y="215"/>
                    </a:lnTo>
                    <a:lnTo>
                      <a:pt x="668" y="334"/>
                    </a:lnTo>
                    <a:lnTo>
                      <a:pt x="406" y="477"/>
                    </a:lnTo>
                    <a:lnTo>
                      <a:pt x="191" y="644"/>
                    </a:lnTo>
                    <a:lnTo>
                      <a:pt x="72" y="739"/>
                    </a:lnTo>
                    <a:lnTo>
                      <a:pt x="25" y="858"/>
                    </a:lnTo>
                    <a:lnTo>
                      <a:pt x="1" y="1001"/>
                    </a:lnTo>
                    <a:lnTo>
                      <a:pt x="49" y="1144"/>
                    </a:lnTo>
                    <a:lnTo>
                      <a:pt x="1835" y="5335"/>
                    </a:lnTo>
                    <a:lnTo>
                      <a:pt x="1906" y="5478"/>
                    </a:lnTo>
                    <a:lnTo>
                      <a:pt x="2001" y="5597"/>
                    </a:lnTo>
                    <a:lnTo>
                      <a:pt x="2096" y="5692"/>
                    </a:lnTo>
                    <a:lnTo>
                      <a:pt x="2192" y="5740"/>
                    </a:lnTo>
                    <a:lnTo>
                      <a:pt x="2287" y="5764"/>
                    </a:lnTo>
                    <a:lnTo>
                      <a:pt x="2382" y="5787"/>
                    </a:lnTo>
                    <a:lnTo>
                      <a:pt x="2501" y="5787"/>
                    </a:lnTo>
                    <a:lnTo>
                      <a:pt x="2597" y="5740"/>
                    </a:lnTo>
                    <a:lnTo>
                      <a:pt x="2763" y="5668"/>
                    </a:lnTo>
                    <a:lnTo>
                      <a:pt x="2906" y="5549"/>
                    </a:lnTo>
                    <a:lnTo>
                      <a:pt x="2978" y="5430"/>
                    </a:lnTo>
                    <a:lnTo>
                      <a:pt x="3001" y="5383"/>
                    </a:lnTo>
                    <a:lnTo>
                      <a:pt x="3001" y="5335"/>
                    </a:lnTo>
                    <a:lnTo>
                      <a:pt x="2811" y="4740"/>
                    </a:lnTo>
                    <a:lnTo>
                      <a:pt x="2644" y="4287"/>
                    </a:lnTo>
                    <a:lnTo>
                      <a:pt x="2501" y="3763"/>
                    </a:lnTo>
                    <a:lnTo>
                      <a:pt x="2382" y="3263"/>
                    </a:lnTo>
                    <a:lnTo>
                      <a:pt x="2335" y="3025"/>
                    </a:lnTo>
                    <a:lnTo>
                      <a:pt x="2311" y="2787"/>
                    </a:lnTo>
                    <a:lnTo>
                      <a:pt x="2311" y="2573"/>
                    </a:lnTo>
                    <a:lnTo>
                      <a:pt x="2335" y="2406"/>
                    </a:lnTo>
                    <a:lnTo>
                      <a:pt x="2406" y="2263"/>
                    </a:lnTo>
                    <a:lnTo>
                      <a:pt x="2477" y="2168"/>
                    </a:lnTo>
                    <a:lnTo>
                      <a:pt x="2668" y="2049"/>
                    </a:lnTo>
                    <a:lnTo>
                      <a:pt x="2787" y="1977"/>
                    </a:lnTo>
                    <a:lnTo>
                      <a:pt x="2835" y="1930"/>
                    </a:lnTo>
                    <a:lnTo>
                      <a:pt x="2858" y="1906"/>
                    </a:lnTo>
                    <a:lnTo>
                      <a:pt x="2858" y="1858"/>
                    </a:lnTo>
                    <a:lnTo>
                      <a:pt x="2835" y="1811"/>
                    </a:lnTo>
                    <a:lnTo>
                      <a:pt x="2644" y="1549"/>
                    </a:lnTo>
                    <a:lnTo>
                      <a:pt x="2501" y="1287"/>
                    </a:lnTo>
                    <a:lnTo>
                      <a:pt x="2239" y="787"/>
                    </a:lnTo>
                    <a:lnTo>
                      <a:pt x="2049" y="358"/>
                    </a:lnTo>
                    <a:lnTo>
                      <a:pt x="1954" y="191"/>
                    </a:lnTo>
                    <a:lnTo>
                      <a:pt x="1858" y="72"/>
                    </a:lnTo>
                    <a:lnTo>
                      <a:pt x="1811" y="25"/>
                    </a:lnTo>
                    <a:lnTo>
                      <a:pt x="1763" y="1"/>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51" name="Google Shape;953;g2e0683f995c_0_0">
                <a:extLst>
                  <a:ext uri="{FF2B5EF4-FFF2-40B4-BE49-F238E27FC236}">
                    <a16:creationId xmlns:a16="http://schemas.microsoft.com/office/drawing/2014/main" id="{33D20987-929E-E2E5-6875-D5AFBE242036}"/>
                  </a:ext>
                </a:extLst>
              </p:cNvPr>
              <p:cNvSpPr/>
              <p:nvPr/>
            </p:nvSpPr>
            <p:spPr>
              <a:xfrm>
                <a:off x="8103943" y="926015"/>
                <a:ext cx="560092" cy="337181"/>
              </a:xfrm>
              <a:custGeom>
                <a:avLst/>
                <a:gdLst/>
                <a:ahLst/>
                <a:cxnLst/>
                <a:rect l="l" t="t" r="r" b="b"/>
                <a:pathLst>
                  <a:path w="33624" h="20242" extrusionOk="0">
                    <a:moveTo>
                      <a:pt x="9192" y="1"/>
                    </a:moveTo>
                    <a:lnTo>
                      <a:pt x="8930" y="24"/>
                    </a:lnTo>
                    <a:lnTo>
                      <a:pt x="8692" y="72"/>
                    </a:lnTo>
                    <a:lnTo>
                      <a:pt x="8478" y="143"/>
                    </a:lnTo>
                    <a:lnTo>
                      <a:pt x="8263" y="191"/>
                    </a:lnTo>
                    <a:lnTo>
                      <a:pt x="8073" y="263"/>
                    </a:lnTo>
                    <a:lnTo>
                      <a:pt x="7906" y="358"/>
                    </a:lnTo>
                    <a:lnTo>
                      <a:pt x="7763" y="453"/>
                    </a:lnTo>
                    <a:lnTo>
                      <a:pt x="7668" y="524"/>
                    </a:lnTo>
                    <a:lnTo>
                      <a:pt x="7596" y="620"/>
                    </a:lnTo>
                    <a:lnTo>
                      <a:pt x="7573" y="691"/>
                    </a:lnTo>
                    <a:lnTo>
                      <a:pt x="7477" y="1453"/>
                    </a:lnTo>
                    <a:lnTo>
                      <a:pt x="7382" y="2096"/>
                    </a:lnTo>
                    <a:lnTo>
                      <a:pt x="7311" y="2834"/>
                    </a:lnTo>
                    <a:lnTo>
                      <a:pt x="7287" y="3168"/>
                    </a:lnTo>
                    <a:lnTo>
                      <a:pt x="7311" y="3525"/>
                    </a:lnTo>
                    <a:lnTo>
                      <a:pt x="7335" y="3882"/>
                    </a:lnTo>
                    <a:lnTo>
                      <a:pt x="7406" y="4287"/>
                    </a:lnTo>
                    <a:lnTo>
                      <a:pt x="7525" y="4715"/>
                    </a:lnTo>
                    <a:lnTo>
                      <a:pt x="7668" y="5239"/>
                    </a:lnTo>
                    <a:lnTo>
                      <a:pt x="7882" y="5930"/>
                    </a:lnTo>
                    <a:lnTo>
                      <a:pt x="8168" y="6930"/>
                    </a:lnTo>
                    <a:lnTo>
                      <a:pt x="8382" y="7859"/>
                    </a:lnTo>
                    <a:lnTo>
                      <a:pt x="8573" y="8716"/>
                    </a:lnTo>
                    <a:lnTo>
                      <a:pt x="8692" y="9478"/>
                    </a:lnTo>
                    <a:lnTo>
                      <a:pt x="8787" y="10216"/>
                    </a:lnTo>
                    <a:lnTo>
                      <a:pt x="8859" y="10907"/>
                    </a:lnTo>
                    <a:lnTo>
                      <a:pt x="8978" y="12240"/>
                    </a:lnTo>
                    <a:lnTo>
                      <a:pt x="8954" y="12335"/>
                    </a:lnTo>
                    <a:lnTo>
                      <a:pt x="8882" y="12455"/>
                    </a:lnTo>
                    <a:lnTo>
                      <a:pt x="8787" y="12597"/>
                    </a:lnTo>
                    <a:lnTo>
                      <a:pt x="8668" y="12740"/>
                    </a:lnTo>
                    <a:lnTo>
                      <a:pt x="8478" y="12907"/>
                    </a:lnTo>
                    <a:lnTo>
                      <a:pt x="8287" y="13050"/>
                    </a:lnTo>
                    <a:lnTo>
                      <a:pt x="7787" y="13407"/>
                    </a:lnTo>
                    <a:lnTo>
                      <a:pt x="7192" y="13788"/>
                    </a:lnTo>
                    <a:lnTo>
                      <a:pt x="6525" y="14193"/>
                    </a:lnTo>
                    <a:lnTo>
                      <a:pt x="5025" y="15026"/>
                    </a:lnTo>
                    <a:lnTo>
                      <a:pt x="3453" y="15860"/>
                    </a:lnTo>
                    <a:lnTo>
                      <a:pt x="1977" y="16669"/>
                    </a:lnTo>
                    <a:lnTo>
                      <a:pt x="1334" y="17027"/>
                    </a:lnTo>
                    <a:lnTo>
                      <a:pt x="786" y="17360"/>
                    </a:lnTo>
                    <a:lnTo>
                      <a:pt x="334" y="17669"/>
                    </a:lnTo>
                    <a:lnTo>
                      <a:pt x="0" y="17931"/>
                    </a:lnTo>
                    <a:lnTo>
                      <a:pt x="0" y="18003"/>
                    </a:lnTo>
                    <a:lnTo>
                      <a:pt x="48" y="18122"/>
                    </a:lnTo>
                    <a:lnTo>
                      <a:pt x="238" y="18431"/>
                    </a:lnTo>
                    <a:lnTo>
                      <a:pt x="500" y="18812"/>
                    </a:lnTo>
                    <a:lnTo>
                      <a:pt x="834" y="19217"/>
                    </a:lnTo>
                    <a:lnTo>
                      <a:pt x="1167" y="19622"/>
                    </a:lnTo>
                    <a:lnTo>
                      <a:pt x="1500" y="19955"/>
                    </a:lnTo>
                    <a:lnTo>
                      <a:pt x="1643" y="20098"/>
                    </a:lnTo>
                    <a:lnTo>
                      <a:pt x="1762" y="20194"/>
                    </a:lnTo>
                    <a:lnTo>
                      <a:pt x="1881" y="20241"/>
                    </a:lnTo>
                    <a:lnTo>
                      <a:pt x="1953" y="20241"/>
                    </a:lnTo>
                    <a:lnTo>
                      <a:pt x="2477" y="20027"/>
                    </a:lnTo>
                    <a:lnTo>
                      <a:pt x="3715" y="19432"/>
                    </a:lnTo>
                    <a:lnTo>
                      <a:pt x="5406" y="18598"/>
                    </a:lnTo>
                    <a:lnTo>
                      <a:pt x="7358" y="17598"/>
                    </a:lnTo>
                    <a:lnTo>
                      <a:pt x="8335" y="17074"/>
                    </a:lnTo>
                    <a:lnTo>
                      <a:pt x="9311" y="16550"/>
                    </a:lnTo>
                    <a:lnTo>
                      <a:pt x="10240" y="16003"/>
                    </a:lnTo>
                    <a:lnTo>
                      <a:pt x="11073" y="15503"/>
                    </a:lnTo>
                    <a:lnTo>
                      <a:pt x="11811" y="15002"/>
                    </a:lnTo>
                    <a:lnTo>
                      <a:pt x="12407" y="14550"/>
                    </a:lnTo>
                    <a:lnTo>
                      <a:pt x="12645" y="14336"/>
                    </a:lnTo>
                    <a:lnTo>
                      <a:pt x="12859" y="14145"/>
                    </a:lnTo>
                    <a:lnTo>
                      <a:pt x="13002" y="13979"/>
                    </a:lnTo>
                    <a:lnTo>
                      <a:pt x="13097" y="13812"/>
                    </a:lnTo>
                    <a:lnTo>
                      <a:pt x="13192" y="13550"/>
                    </a:lnTo>
                    <a:lnTo>
                      <a:pt x="13288" y="13240"/>
                    </a:lnTo>
                    <a:lnTo>
                      <a:pt x="13359" y="12859"/>
                    </a:lnTo>
                    <a:lnTo>
                      <a:pt x="13407" y="12455"/>
                    </a:lnTo>
                    <a:lnTo>
                      <a:pt x="13431" y="12002"/>
                    </a:lnTo>
                    <a:lnTo>
                      <a:pt x="13454" y="11502"/>
                    </a:lnTo>
                    <a:lnTo>
                      <a:pt x="13454" y="10478"/>
                    </a:lnTo>
                    <a:lnTo>
                      <a:pt x="13407" y="9359"/>
                    </a:lnTo>
                    <a:lnTo>
                      <a:pt x="13311" y="8240"/>
                    </a:lnTo>
                    <a:lnTo>
                      <a:pt x="13192" y="7144"/>
                    </a:lnTo>
                    <a:lnTo>
                      <a:pt x="13073" y="6120"/>
                    </a:lnTo>
                    <a:lnTo>
                      <a:pt x="14526" y="6192"/>
                    </a:lnTo>
                    <a:lnTo>
                      <a:pt x="16074" y="6263"/>
                    </a:lnTo>
                    <a:lnTo>
                      <a:pt x="17883" y="6382"/>
                    </a:lnTo>
                    <a:lnTo>
                      <a:pt x="19812" y="6525"/>
                    </a:lnTo>
                    <a:lnTo>
                      <a:pt x="20765" y="6620"/>
                    </a:lnTo>
                    <a:lnTo>
                      <a:pt x="21646" y="6716"/>
                    </a:lnTo>
                    <a:lnTo>
                      <a:pt x="22479" y="6835"/>
                    </a:lnTo>
                    <a:lnTo>
                      <a:pt x="23217" y="6954"/>
                    </a:lnTo>
                    <a:lnTo>
                      <a:pt x="23837" y="7097"/>
                    </a:lnTo>
                    <a:lnTo>
                      <a:pt x="24099" y="7168"/>
                    </a:lnTo>
                    <a:lnTo>
                      <a:pt x="24337" y="7240"/>
                    </a:lnTo>
                    <a:lnTo>
                      <a:pt x="24456" y="7311"/>
                    </a:lnTo>
                    <a:lnTo>
                      <a:pt x="24622" y="7406"/>
                    </a:lnTo>
                    <a:lnTo>
                      <a:pt x="24956" y="7716"/>
                    </a:lnTo>
                    <a:lnTo>
                      <a:pt x="25384" y="8121"/>
                    </a:lnTo>
                    <a:lnTo>
                      <a:pt x="25837" y="8645"/>
                    </a:lnTo>
                    <a:lnTo>
                      <a:pt x="26337" y="9240"/>
                    </a:lnTo>
                    <a:lnTo>
                      <a:pt x="26861" y="9907"/>
                    </a:lnTo>
                    <a:lnTo>
                      <a:pt x="27980" y="11335"/>
                    </a:lnTo>
                    <a:lnTo>
                      <a:pt x="29075" y="12740"/>
                    </a:lnTo>
                    <a:lnTo>
                      <a:pt x="30075" y="14026"/>
                    </a:lnTo>
                    <a:lnTo>
                      <a:pt x="30528" y="14574"/>
                    </a:lnTo>
                    <a:lnTo>
                      <a:pt x="30933" y="15002"/>
                    </a:lnTo>
                    <a:lnTo>
                      <a:pt x="31266" y="15336"/>
                    </a:lnTo>
                    <a:lnTo>
                      <a:pt x="31409" y="15455"/>
                    </a:lnTo>
                    <a:lnTo>
                      <a:pt x="31528" y="15526"/>
                    </a:lnTo>
                    <a:lnTo>
                      <a:pt x="31719" y="15455"/>
                    </a:lnTo>
                    <a:lnTo>
                      <a:pt x="31957" y="15312"/>
                    </a:lnTo>
                    <a:lnTo>
                      <a:pt x="32242" y="15122"/>
                    </a:lnTo>
                    <a:lnTo>
                      <a:pt x="32576" y="14836"/>
                    </a:lnTo>
                    <a:lnTo>
                      <a:pt x="32766" y="14669"/>
                    </a:lnTo>
                    <a:lnTo>
                      <a:pt x="32933" y="14455"/>
                    </a:lnTo>
                    <a:lnTo>
                      <a:pt x="33100" y="14240"/>
                    </a:lnTo>
                    <a:lnTo>
                      <a:pt x="33290" y="13979"/>
                    </a:lnTo>
                    <a:lnTo>
                      <a:pt x="33457" y="13693"/>
                    </a:lnTo>
                    <a:lnTo>
                      <a:pt x="33624" y="13383"/>
                    </a:lnTo>
                    <a:lnTo>
                      <a:pt x="33219" y="12883"/>
                    </a:lnTo>
                    <a:lnTo>
                      <a:pt x="32409" y="11812"/>
                    </a:lnTo>
                    <a:lnTo>
                      <a:pt x="31314" y="10335"/>
                    </a:lnTo>
                    <a:lnTo>
                      <a:pt x="30028" y="8668"/>
                    </a:lnTo>
                    <a:lnTo>
                      <a:pt x="28694" y="6954"/>
                    </a:lnTo>
                    <a:lnTo>
                      <a:pt x="27432" y="5430"/>
                    </a:lnTo>
                    <a:lnTo>
                      <a:pt x="26885" y="4787"/>
                    </a:lnTo>
                    <a:lnTo>
                      <a:pt x="26385" y="4239"/>
                    </a:lnTo>
                    <a:lnTo>
                      <a:pt x="25980" y="3834"/>
                    </a:lnTo>
                    <a:lnTo>
                      <a:pt x="25813" y="3692"/>
                    </a:lnTo>
                    <a:lnTo>
                      <a:pt x="25670" y="3596"/>
                    </a:lnTo>
                    <a:lnTo>
                      <a:pt x="25456" y="3477"/>
                    </a:lnTo>
                    <a:lnTo>
                      <a:pt x="25242" y="3358"/>
                    </a:lnTo>
                    <a:lnTo>
                      <a:pt x="24765" y="3168"/>
                    </a:lnTo>
                    <a:lnTo>
                      <a:pt x="24218" y="2977"/>
                    </a:lnTo>
                    <a:lnTo>
                      <a:pt x="23622" y="2810"/>
                    </a:lnTo>
                    <a:lnTo>
                      <a:pt x="22265" y="2501"/>
                    </a:lnTo>
                    <a:lnTo>
                      <a:pt x="20812" y="2168"/>
                    </a:lnTo>
                    <a:lnTo>
                      <a:pt x="20074" y="1977"/>
                    </a:lnTo>
                    <a:lnTo>
                      <a:pt x="19312" y="1787"/>
                    </a:lnTo>
                    <a:lnTo>
                      <a:pt x="18550" y="1572"/>
                    </a:lnTo>
                    <a:lnTo>
                      <a:pt x="17836" y="1334"/>
                    </a:lnTo>
                    <a:lnTo>
                      <a:pt x="17121" y="1072"/>
                    </a:lnTo>
                    <a:lnTo>
                      <a:pt x="16431" y="763"/>
                    </a:lnTo>
                    <a:lnTo>
                      <a:pt x="16121" y="596"/>
                    </a:lnTo>
                    <a:lnTo>
                      <a:pt x="15812" y="429"/>
                    </a:lnTo>
                    <a:lnTo>
                      <a:pt x="15502" y="239"/>
                    </a:lnTo>
                    <a:lnTo>
                      <a:pt x="15216" y="48"/>
                    </a:lnTo>
                    <a:lnTo>
                      <a:pt x="15121" y="120"/>
                    </a:lnTo>
                    <a:lnTo>
                      <a:pt x="14859" y="286"/>
                    </a:lnTo>
                    <a:lnTo>
                      <a:pt x="14669" y="405"/>
                    </a:lnTo>
                    <a:lnTo>
                      <a:pt x="14431" y="501"/>
                    </a:lnTo>
                    <a:lnTo>
                      <a:pt x="14169" y="620"/>
                    </a:lnTo>
                    <a:lnTo>
                      <a:pt x="13859" y="715"/>
                    </a:lnTo>
                    <a:lnTo>
                      <a:pt x="13550" y="810"/>
                    </a:lnTo>
                    <a:lnTo>
                      <a:pt x="13192" y="858"/>
                    </a:lnTo>
                    <a:lnTo>
                      <a:pt x="12811" y="905"/>
                    </a:lnTo>
                    <a:lnTo>
                      <a:pt x="12407" y="882"/>
                    </a:lnTo>
                    <a:lnTo>
                      <a:pt x="12002" y="834"/>
                    </a:lnTo>
                    <a:lnTo>
                      <a:pt x="11573" y="715"/>
                    </a:lnTo>
                    <a:lnTo>
                      <a:pt x="11121" y="548"/>
                    </a:lnTo>
                    <a:lnTo>
                      <a:pt x="10906" y="429"/>
                    </a:lnTo>
                    <a:lnTo>
                      <a:pt x="10668" y="310"/>
                    </a:lnTo>
                    <a:lnTo>
                      <a:pt x="10430" y="191"/>
                    </a:lnTo>
                    <a:lnTo>
                      <a:pt x="10192" y="96"/>
                    </a:lnTo>
                    <a:lnTo>
                      <a:pt x="9954" y="48"/>
                    </a:lnTo>
                    <a:lnTo>
                      <a:pt x="9692" y="24"/>
                    </a:lnTo>
                    <a:lnTo>
                      <a:pt x="9430" y="1"/>
                    </a:lnTo>
                    <a:close/>
                  </a:path>
                </a:pathLst>
              </a:custGeom>
              <a:solidFill>
                <a:srgbClr val="3C3C3B"/>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52" name="Google Shape;954;g2e0683f995c_0_0">
                <a:extLst>
                  <a:ext uri="{FF2B5EF4-FFF2-40B4-BE49-F238E27FC236}">
                    <a16:creationId xmlns:a16="http://schemas.microsoft.com/office/drawing/2014/main" id="{08FD242D-655C-E7E2-F0D7-2FD3DC9FC192}"/>
                  </a:ext>
                </a:extLst>
              </p:cNvPr>
              <p:cNvSpPr/>
              <p:nvPr/>
            </p:nvSpPr>
            <p:spPr>
              <a:xfrm>
                <a:off x="8103943" y="926015"/>
                <a:ext cx="560092" cy="337181"/>
              </a:xfrm>
              <a:custGeom>
                <a:avLst/>
                <a:gdLst/>
                <a:ahLst/>
                <a:cxnLst/>
                <a:rect l="l" t="t" r="r" b="b"/>
                <a:pathLst>
                  <a:path w="33624" h="20242" fill="none" extrusionOk="0">
                    <a:moveTo>
                      <a:pt x="1953" y="20241"/>
                    </a:moveTo>
                    <a:lnTo>
                      <a:pt x="1953" y="20241"/>
                    </a:lnTo>
                    <a:lnTo>
                      <a:pt x="2477" y="20027"/>
                    </a:lnTo>
                    <a:lnTo>
                      <a:pt x="3715" y="19432"/>
                    </a:lnTo>
                    <a:lnTo>
                      <a:pt x="5406" y="18598"/>
                    </a:lnTo>
                    <a:lnTo>
                      <a:pt x="7358" y="17598"/>
                    </a:lnTo>
                    <a:lnTo>
                      <a:pt x="8335" y="17074"/>
                    </a:lnTo>
                    <a:lnTo>
                      <a:pt x="9311" y="16550"/>
                    </a:lnTo>
                    <a:lnTo>
                      <a:pt x="10240" y="16003"/>
                    </a:lnTo>
                    <a:lnTo>
                      <a:pt x="11073" y="15503"/>
                    </a:lnTo>
                    <a:lnTo>
                      <a:pt x="11811" y="15002"/>
                    </a:lnTo>
                    <a:lnTo>
                      <a:pt x="12407" y="14550"/>
                    </a:lnTo>
                    <a:lnTo>
                      <a:pt x="12645" y="14336"/>
                    </a:lnTo>
                    <a:lnTo>
                      <a:pt x="12859" y="14145"/>
                    </a:lnTo>
                    <a:lnTo>
                      <a:pt x="13002" y="13979"/>
                    </a:lnTo>
                    <a:lnTo>
                      <a:pt x="13097" y="13812"/>
                    </a:lnTo>
                    <a:lnTo>
                      <a:pt x="13097" y="13812"/>
                    </a:lnTo>
                    <a:lnTo>
                      <a:pt x="13192" y="13550"/>
                    </a:lnTo>
                    <a:lnTo>
                      <a:pt x="13288" y="13240"/>
                    </a:lnTo>
                    <a:lnTo>
                      <a:pt x="13359" y="12859"/>
                    </a:lnTo>
                    <a:lnTo>
                      <a:pt x="13407" y="12455"/>
                    </a:lnTo>
                    <a:lnTo>
                      <a:pt x="13431" y="12002"/>
                    </a:lnTo>
                    <a:lnTo>
                      <a:pt x="13454" y="11502"/>
                    </a:lnTo>
                    <a:lnTo>
                      <a:pt x="13454" y="10478"/>
                    </a:lnTo>
                    <a:lnTo>
                      <a:pt x="13407" y="9359"/>
                    </a:lnTo>
                    <a:lnTo>
                      <a:pt x="13311" y="8240"/>
                    </a:lnTo>
                    <a:lnTo>
                      <a:pt x="13192" y="7144"/>
                    </a:lnTo>
                    <a:lnTo>
                      <a:pt x="13073" y="6120"/>
                    </a:lnTo>
                    <a:lnTo>
                      <a:pt x="13073" y="6120"/>
                    </a:lnTo>
                    <a:lnTo>
                      <a:pt x="13073" y="6120"/>
                    </a:lnTo>
                    <a:lnTo>
                      <a:pt x="14526" y="6192"/>
                    </a:lnTo>
                    <a:lnTo>
                      <a:pt x="16074" y="6263"/>
                    </a:lnTo>
                    <a:lnTo>
                      <a:pt x="17883" y="6382"/>
                    </a:lnTo>
                    <a:lnTo>
                      <a:pt x="19812" y="6525"/>
                    </a:lnTo>
                    <a:lnTo>
                      <a:pt x="20765" y="6620"/>
                    </a:lnTo>
                    <a:lnTo>
                      <a:pt x="21646" y="6716"/>
                    </a:lnTo>
                    <a:lnTo>
                      <a:pt x="22479" y="6835"/>
                    </a:lnTo>
                    <a:lnTo>
                      <a:pt x="23217" y="6954"/>
                    </a:lnTo>
                    <a:lnTo>
                      <a:pt x="23837" y="7097"/>
                    </a:lnTo>
                    <a:lnTo>
                      <a:pt x="24099" y="7168"/>
                    </a:lnTo>
                    <a:lnTo>
                      <a:pt x="24337" y="7240"/>
                    </a:lnTo>
                    <a:lnTo>
                      <a:pt x="24337" y="7240"/>
                    </a:lnTo>
                    <a:lnTo>
                      <a:pt x="24456" y="7311"/>
                    </a:lnTo>
                    <a:lnTo>
                      <a:pt x="24622" y="7406"/>
                    </a:lnTo>
                    <a:lnTo>
                      <a:pt x="24956" y="7716"/>
                    </a:lnTo>
                    <a:lnTo>
                      <a:pt x="25384" y="8121"/>
                    </a:lnTo>
                    <a:lnTo>
                      <a:pt x="25837" y="8645"/>
                    </a:lnTo>
                    <a:lnTo>
                      <a:pt x="26337" y="9240"/>
                    </a:lnTo>
                    <a:lnTo>
                      <a:pt x="26861" y="9907"/>
                    </a:lnTo>
                    <a:lnTo>
                      <a:pt x="27980" y="11335"/>
                    </a:lnTo>
                    <a:lnTo>
                      <a:pt x="29075" y="12740"/>
                    </a:lnTo>
                    <a:lnTo>
                      <a:pt x="30075" y="14026"/>
                    </a:lnTo>
                    <a:lnTo>
                      <a:pt x="30528" y="14574"/>
                    </a:lnTo>
                    <a:lnTo>
                      <a:pt x="30933" y="15002"/>
                    </a:lnTo>
                    <a:lnTo>
                      <a:pt x="31266" y="15336"/>
                    </a:lnTo>
                    <a:lnTo>
                      <a:pt x="31409" y="15455"/>
                    </a:lnTo>
                    <a:lnTo>
                      <a:pt x="31528" y="15526"/>
                    </a:lnTo>
                    <a:lnTo>
                      <a:pt x="31528" y="15526"/>
                    </a:lnTo>
                    <a:lnTo>
                      <a:pt x="31719" y="15455"/>
                    </a:lnTo>
                    <a:lnTo>
                      <a:pt x="31957" y="15312"/>
                    </a:lnTo>
                    <a:lnTo>
                      <a:pt x="32242" y="15122"/>
                    </a:lnTo>
                    <a:lnTo>
                      <a:pt x="32576" y="14836"/>
                    </a:lnTo>
                    <a:lnTo>
                      <a:pt x="32766" y="14669"/>
                    </a:lnTo>
                    <a:lnTo>
                      <a:pt x="32933" y="14455"/>
                    </a:lnTo>
                    <a:lnTo>
                      <a:pt x="33100" y="14240"/>
                    </a:lnTo>
                    <a:lnTo>
                      <a:pt x="33290" y="13979"/>
                    </a:lnTo>
                    <a:lnTo>
                      <a:pt x="33457" y="13693"/>
                    </a:lnTo>
                    <a:lnTo>
                      <a:pt x="33624" y="13383"/>
                    </a:lnTo>
                    <a:lnTo>
                      <a:pt x="33624" y="13383"/>
                    </a:lnTo>
                    <a:lnTo>
                      <a:pt x="33219" y="12883"/>
                    </a:lnTo>
                    <a:lnTo>
                      <a:pt x="32409" y="11812"/>
                    </a:lnTo>
                    <a:lnTo>
                      <a:pt x="31314" y="10335"/>
                    </a:lnTo>
                    <a:lnTo>
                      <a:pt x="30028" y="8668"/>
                    </a:lnTo>
                    <a:lnTo>
                      <a:pt x="28694" y="6954"/>
                    </a:lnTo>
                    <a:lnTo>
                      <a:pt x="27432" y="5430"/>
                    </a:lnTo>
                    <a:lnTo>
                      <a:pt x="26885" y="4787"/>
                    </a:lnTo>
                    <a:lnTo>
                      <a:pt x="26385" y="4239"/>
                    </a:lnTo>
                    <a:lnTo>
                      <a:pt x="25980" y="3834"/>
                    </a:lnTo>
                    <a:lnTo>
                      <a:pt x="25813" y="3692"/>
                    </a:lnTo>
                    <a:lnTo>
                      <a:pt x="25670" y="3596"/>
                    </a:lnTo>
                    <a:lnTo>
                      <a:pt x="25670" y="3596"/>
                    </a:lnTo>
                    <a:lnTo>
                      <a:pt x="25456" y="3477"/>
                    </a:lnTo>
                    <a:lnTo>
                      <a:pt x="25242" y="3358"/>
                    </a:lnTo>
                    <a:lnTo>
                      <a:pt x="24765" y="3168"/>
                    </a:lnTo>
                    <a:lnTo>
                      <a:pt x="24218" y="2977"/>
                    </a:lnTo>
                    <a:lnTo>
                      <a:pt x="23622" y="2810"/>
                    </a:lnTo>
                    <a:lnTo>
                      <a:pt x="22265" y="2501"/>
                    </a:lnTo>
                    <a:lnTo>
                      <a:pt x="20812" y="2168"/>
                    </a:lnTo>
                    <a:lnTo>
                      <a:pt x="20074" y="1977"/>
                    </a:lnTo>
                    <a:lnTo>
                      <a:pt x="19312" y="1787"/>
                    </a:lnTo>
                    <a:lnTo>
                      <a:pt x="18550" y="1572"/>
                    </a:lnTo>
                    <a:lnTo>
                      <a:pt x="17836" y="1334"/>
                    </a:lnTo>
                    <a:lnTo>
                      <a:pt x="17121" y="1072"/>
                    </a:lnTo>
                    <a:lnTo>
                      <a:pt x="16431" y="763"/>
                    </a:lnTo>
                    <a:lnTo>
                      <a:pt x="16121" y="596"/>
                    </a:lnTo>
                    <a:lnTo>
                      <a:pt x="15812" y="429"/>
                    </a:lnTo>
                    <a:lnTo>
                      <a:pt x="15502" y="239"/>
                    </a:lnTo>
                    <a:lnTo>
                      <a:pt x="15216" y="48"/>
                    </a:lnTo>
                    <a:lnTo>
                      <a:pt x="15216" y="48"/>
                    </a:lnTo>
                    <a:lnTo>
                      <a:pt x="15121" y="120"/>
                    </a:lnTo>
                    <a:lnTo>
                      <a:pt x="14859" y="286"/>
                    </a:lnTo>
                    <a:lnTo>
                      <a:pt x="14669" y="405"/>
                    </a:lnTo>
                    <a:lnTo>
                      <a:pt x="14431" y="501"/>
                    </a:lnTo>
                    <a:lnTo>
                      <a:pt x="14169" y="620"/>
                    </a:lnTo>
                    <a:lnTo>
                      <a:pt x="13859" y="715"/>
                    </a:lnTo>
                    <a:lnTo>
                      <a:pt x="13550" y="810"/>
                    </a:lnTo>
                    <a:lnTo>
                      <a:pt x="13192" y="858"/>
                    </a:lnTo>
                    <a:lnTo>
                      <a:pt x="12811" y="905"/>
                    </a:lnTo>
                    <a:lnTo>
                      <a:pt x="12407" y="882"/>
                    </a:lnTo>
                    <a:lnTo>
                      <a:pt x="12002" y="834"/>
                    </a:lnTo>
                    <a:lnTo>
                      <a:pt x="11573" y="715"/>
                    </a:lnTo>
                    <a:lnTo>
                      <a:pt x="11121" y="548"/>
                    </a:lnTo>
                    <a:lnTo>
                      <a:pt x="10906" y="429"/>
                    </a:lnTo>
                    <a:lnTo>
                      <a:pt x="10668" y="310"/>
                    </a:lnTo>
                    <a:lnTo>
                      <a:pt x="10668" y="310"/>
                    </a:lnTo>
                    <a:lnTo>
                      <a:pt x="10430" y="191"/>
                    </a:lnTo>
                    <a:lnTo>
                      <a:pt x="10192" y="96"/>
                    </a:lnTo>
                    <a:lnTo>
                      <a:pt x="9954" y="48"/>
                    </a:lnTo>
                    <a:lnTo>
                      <a:pt x="9692" y="24"/>
                    </a:lnTo>
                    <a:lnTo>
                      <a:pt x="9430" y="1"/>
                    </a:lnTo>
                    <a:lnTo>
                      <a:pt x="9192" y="1"/>
                    </a:lnTo>
                    <a:lnTo>
                      <a:pt x="8930" y="24"/>
                    </a:lnTo>
                    <a:lnTo>
                      <a:pt x="8692" y="72"/>
                    </a:lnTo>
                    <a:lnTo>
                      <a:pt x="8478" y="143"/>
                    </a:lnTo>
                    <a:lnTo>
                      <a:pt x="8263" y="191"/>
                    </a:lnTo>
                    <a:lnTo>
                      <a:pt x="8073" y="263"/>
                    </a:lnTo>
                    <a:lnTo>
                      <a:pt x="7906" y="358"/>
                    </a:lnTo>
                    <a:lnTo>
                      <a:pt x="7763" y="453"/>
                    </a:lnTo>
                    <a:lnTo>
                      <a:pt x="7668" y="524"/>
                    </a:lnTo>
                    <a:lnTo>
                      <a:pt x="7596" y="620"/>
                    </a:lnTo>
                    <a:lnTo>
                      <a:pt x="7573" y="691"/>
                    </a:lnTo>
                    <a:lnTo>
                      <a:pt x="7573" y="691"/>
                    </a:lnTo>
                    <a:lnTo>
                      <a:pt x="7477" y="1453"/>
                    </a:lnTo>
                    <a:lnTo>
                      <a:pt x="7382" y="2096"/>
                    </a:lnTo>
                    <a:lnTo>
                      <a:pt x="7382" y="2096"/>
                    </a:lnTo>
                    <a:lnTo>
                      <a:pt x="7311" y="2834"/>
                    </a:lnTo>
                    <a:lnTo>
                      <a:pt x="7287" y="3168"/>
                    </a:lnTo>
                    <a:lnTo>
                      <a:pt x="7311" y="3525"/>
                    </a:lnTo>
                    <a:lnTo>
                      <a:pt x="7335" y="3882"/>
                    </a:lnTo>
                    <a:lnTo>
                      <a:pt x="7406" y="4287"/>
                    </a:lnTo>
                    <a:lnTo>
                      <a:pt x="7525" y="4715"/>
                    </a:lnTo>
                    <a:lnTo>
                      <a:pt x="7668" y="5239"/>
                    </a:lnTo>
                    <a:lnTo>
                      <a:pt x="7668" y="5239"/>
                    </a:lnTo>
                    <a:lnTo>
                      <a:pt x="7882" y="5930"/>
                    </a:lnTo>
                    <a:lnTo>
                      <a:pt x="7882" y="5930"/>
                    </a:lnTo>
                    <a:lnTo>
                      <a:pt x="8168" y="6930"/>
                    </a:lnTo>
                    <a:lnTo>
                      <a:pt x="8382" y="7859"/>
                    </a:lnTo>
                    <a:lnTo>
                      <a:pt x="8573" y="8716"/>
                    </a:lnTo>
                    <a:lnTo>
                      <a:pt x="8692" y="9478"/>
                    </a:lnTo>
                    <a:lnTo>
                      <a:pt x="8787" y="10216"/>
                    </a:lnTo>
                    <a:lnTo>
                      <a:pt x="8859" y="10907"/>
                    </a:lnTo>
                    <a:lnTo>
                      <a:pt x="8978" y="12240"/>
                    </a:lnTo>
                    <a:lnTo>
                      <a:pt x="8978" y="12240"/>
                    </a:lnTo>
                    <a:lnTo>
                      <a:pt x="8954" y="12335"/>
                    </a:lnTo>
                    <a:lnTo>
                      <a:pt x="8882" y="12455"/>
                    </a:lnTo>
                    <a:lnTo>
                      <a:pt x="8787" y="12597"/>
                    </a:lnTo>
                    <a:lnTo>
                      <a:pt x="8668" y="12740"/>
                    </a:lnTo>
                    <a:lnTo>
                      <a:pt x="8478" y="12907"/>
                    </a:lnTo>
                    <a:lnTo>
                      <a:pt x="8287" y="13050"/>
                    </a:lnTo>
                    <a:lnTo>
                      <a:pt x="7787" y="13407"/>
                    </a:lnTo>
                    <a:lnTo>
                      <a:pt x="7192" y="13788"/>
                    </a:lnTo>
                    <a:lnTo>
                      <a:pt x="6525" y="14193"/>
                    </a:lnTo>
                    <a:lnTo>
                      <a:pt x="5025" y="15026"/>
                    </a:lnTo>
                    <a:lnTo>
                      <a:pt x="3453" y="15860"/>
                    </a:lnTo>
                    <a:lnTo>
                      <a:pt x="1977" y="16669"/>
                    </a:lnTo>
                    <a:lnTo>
                      <a:pt x="1334" y="17027"/>
                    </a:lnTo>
                    <a:lnTo>
                      <a:pt x="786" y="17360"/>
                    </a:lnTo>
                    <a:lnTo>
                      <a:pt x="334" y="17669"/>
                    </a:lnTo>
                    <a:lnTo>
                      <a:pt x="0" y="17931"/>
                    </a:lnTo>
                    <a:lnTo>
                      <a:pt x="0" y="17931"/>
                    </a:lnTo>
                    <a:lnTo>
                      <a:pt x="0" y="18003"/>
                    </a:lnTo>
                    <a:lnTo>
                      <a:pt x="48" y="18122"/>
                    </a:lnTo>
                    <a:lnTo>
                      <a:pt x="238" y="18431"/>
                    </a:lnTo>
                    <a:lnTo>
                      <a:pt x="500" y="18812"/>
                    </a:lnTo>
                    <a:lnTo>
                      <a:pt x="834" y="19217"/>
                    </a:lnTo>
                    <a:lnTo>
                      <a:pt x="1167" y="19622"/>
                    </a:lnTo>
                    <a:lnTo>
                      <a:pt x="1500" y="19955"/>
                    </a:lnTo>
                    <a:lnTo>
                      <a:pt x="1643" y="20098"/>
                    </a:lnTo>
                    <a:lnTo>
                      <a:pt x="1762" y="20194"/>
                    </a:lnTo>
                    <a:lnTo>
                      <a:pt x="1881" y="20241"/>
                    </a:lnTo>
                    <a:lnTo>
                      <a:pt x="1953" y="2024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53" name="Google Shape;955;g2e0683f995c_0_0">
                <a:extLst>
                  <a:ext uri="{FF2B5EF4-FFF2-40B4-BE49-F238E27FC236}">
                    <a16:creationId xmlns:a16="http://schemas.microsoft.com/office/drawing/2014/main" id="{64070581-4419-FA0F-ACAB-2CD84C3897FF}"/>
                  </a:ext>
                </a:extLst>
              </p:cNvPr>
              <p:cNvSpPr/>
              <p:nvPr/>
            </p:nvSpPr>
            <p:spPr>
              <a:xfrm>
                <a:off x="8239202" y="732838"/>
                <a:ext cx="117019" cy="217780"/>
              </a:xfrm>
              <a:custGeom>
                <a:avLst/>
                <a:gdLst/>
                <a:ahLst/>
                <a:cxnLst/>
                <a:rect l="l" t="t" r="r" b="b"/>
                <a:pathLst>
                  <a:path w="7025" h="13074" extrusionOk="0">
                    <a:moveTo>
                      <a:pt x="3644" y="1"/>
                    </a:moveTo>
                    <a:lnTo>
                      <a:pt x="3286" y="334"/>
                    </a:lnTo>
                    <a:lnTo>
                      <a:pt x="2977" y="620"/>
                    </a:lnTo>
                    <a:lnTo>
                      <a:pt x="2715" y="906"/>
                    </a:lnTo>
                    <a:lnTo>
                      <a:pt x="2501" y="1144"/>
                    </a:lnTo>
                    <a:lnTo>
                      <a:pt x="2239" y="1501"/>
                    </a:lnTo>
                    <a:lnTo>
                      <a:pt x="2143" y="1644"/>
                    </a:lnTo>
                    <a:lnTo>
                      <a:pt x="1310" y="4978"/>
                    </a:lnTo>
                    <a:lnTo>
                      <a:pt x="167" y="9693"/>
                    </a:lnTo>
                    <a:lnTo>
                      <a:pt x="24" y="10074"/>
                    </a:lnTo>
                    <a:lnTo>
                      <a:pt x="0" y="10312"/>
                    </a:lnTo>
                    <a:lnTo>
                      <a:pt x="0" y="10455"/>
                    </a:lnTo>
                    <a:lnTo>
                      <a:pt x="0" y="10597"/>
                    </a:lnTo>
                    <a:lnTo>
                      <a:pt x="48" y="10764"/>
                    </a:lnTo>
                    <a:lnTo>
                      <a:pt x="96" y="10931"/>
                    </a:lnTo>
                    <a:lnTo>
                      <a:pt x="167" y="11121"/>
                    </a:lnTo>
                    <a:lnTo>
                      <a:pt x="286" y="11312"/>
                    </a:lnTo>
                    <a:lnTo>
                      <a:pt x="429" y="11550"/>
                    </a:lnTo>
                    <a:lnTo>
                      <a:pt x="619" y="11788"/>
                    </a:lnTo>
                    <a:lnTo>
                      <a:pt x="858" y="12050"/>
                    </a:lnTo>
                    <a:lnTo>
                      <a:pt x="1120" y="12312"/>
                    </a:lnTo>
                    <a:lnTo>
                      <a:pt x="1310" y="12479"/>
                    </a:lnTo>
                    <a:lnTo>
                      <a:pt x="1501" y="12622"/>
                    </a:lnTo>
                    <a:lnTo>
                      <a:pt x="1715" y="12741"/>
                    </a:lnTo>
                    <a:lnTo>
                      <a:pt x="1929" y="12836"/>
                    </a:lnTo>
                    <a:lnTo>
                      <a:pt x="2167" y="12907"/>
                    </a:lnTo>
                    <a:lnTo>
                      <a:pt x="2382" y="12979"/>
                    </a:lnTo>
                    <a:lnTo>
                      <a:pt x="2620" y="13026"/>
                    </a:lnTo>
                    <a:lnTo>
                      <a:pt x="2882" y="13050"/>
                    </a:lnTo>
                    <a:lnTo>
                      <a:pt x="3358" y="13074"/>
                    </a:lnTo>
                    <a:lnTo>
                      <a:pt x="3858" y="13026"/>
                    </a:lnTo>
                    <a:lnTo>
                      <a:pt x="4358" y="12955"/>
                    </a:lnTo>
                    <a:lnTo>
                      <a:pt x="4810" y="12860"/>
                    </a:lnTo>
                    <a:lnTo>
                      <a:pt x="5263" y="12717"/>
                    </a:lnTo>
                    <a:lnTo>
                      <a:pt x="5668" y="12574"/>
                    </a:lnTo>
                    <a:lnTo>
                      <a:pt x="6025" y="12431"/>
                    </a:lnTo>
                    <a:lnTo>
                      <a:pt x="6334" y="12288"/>
                    </a:lnTo>
                    <a:lnTo>
                      <a:pt x="6573" y="12145"/>
                    </a:lnTo>
                    <a:lnTo>
                      <a:pt x="6739" y="12050"/>
                    </a:lnTo>
                    <a:lnTo>
                      <a:pt x="6811" y="11955"/>
                    </a:lnTo>
                    <a:lnTo>
                      <a:pt x="6811" y="11931"/>
                    </a:lnTo>
                    <a:lnTo>
                      <a:pt x="6787" y="11931"/>
                    </a:lnTo>
                    <a:lnTo>
                      <a:pt x="6620" y="11860"/>
                    </a:lnTo>
                    <a:lnTo>
                      <a:pt x="6501" y="11764"/>
                    </a:lnTo>
                    <a:lnTo>
                      <a:pt x="6382" y="11621"/>
                    </a:lnTo>
                    <a:lnTo>
                      <a:pt x="6311" y="11455"/>
                    </a:lnTo>
                    <a:lnTo>
                      <a:pt x="6263" y="11240"/>
                    </a:lnTo>
                    <a:lnTo>
                      <a:pt x="6239" y="11002"/>
                    </a:lnTo>
                    <a:lnTo>
                      <a:pt x="6239" y="10740"/>
                    </a:lnTo>
                    <a:lnTo>
                      <a:pt x="6239" y="10431"/>
                    </a:lnTo>
                    <a:lnTo>
                      <a:pt x="6311" y="9764"/>
                    </a:lnTo>
                    <a:lnTo>
                      <a:pt x="6430" y="9026"/>
                    </a:lnTo>
                    <a:lnTo>
                      <a:pt x="6715" y="7359"/>
                    </a:lnTo>
                    <a:lnTo>
                      <a:pt x="6858" y="6454"/>
                    </a:lnTo>
                    <a:lnTo>
                      <a:pt x="6954" y="5525"/>
                    </a:lnTo>
                    <a:lnTo>
                      <a:pt x="6977" y="5073"/>
                    </a:lnTo>
                    <a:lnTo>
                      <a:pt x="7001" y="4597"/>
                    </a:lnTo>
                    <a:lnTo>
                      <a:pt x="7025" y="4144"/>
                    </a:lnTo>
                    <a:lnTo>
                      <a:pt x="7001" y="3692"/>
                    </a:lnTo>
                    <a:lnTo>
                      <a:pt x="6954" y="3239"/>
                    </a:lnTo>
                    <a:lnTo>
                      <a:pt x="6906" y="2811"/>
                    </a:lnTo>
                    <a:lnTo>
                      <a:pt x="6811" y="2382"/>
                    </a:lnTo>
                    <a:lnTo>
                      <a:pt x="6715" y="1977"/>
                    </a:lnTo>
                    <a:lnTo>
                      <a:pt x="6549" y="1573"/>
                    </a:lnTo>
                    <a:lnTo>
                      <a:pt x="6382" y="1192"/>
                    </a:lnTo>
                    <a:lnTo>
                      <a:pt x="6168" y="834"/>
                    </a:lnTo>
                    <a:lnTo>
                      <a:pt x="5930" y="501"/>
                    </a:lnTo>
                    <a:lnTo>
                      <a:pt x="5834" y="430"/>
                    </a:lnTo>
                    <a:lnTo>
                      <a:pt x="5763" y="382"/>
                    </a:lnTo>
                    <a:lnTo>
                      <a:pt x="5549" y="287"/>
                    </a:lnTo>
                    <a:lnTo>
                      <a:pt x="5358" y="263"/>
                    </a:lnTo>
                    <a:lnTo>
                      <a:pt x="5287" y="287"/>
                    </a:lnTo>
                    <a:lnTo>
                      <a:pt x="5239" y="310"/>
                    </a:lnTo>
                    <a:lnTo>
                      <a:pt x="5191" y="382"/>
                    </a:lnTo>
                    <a:lnTo>
                      <a:pt x="5168" y="501"/>
                    </a:lnTo>
                    <a:lnTo>
                      <a:pt x="5168" y="763"/>
                    </a:lnTo>
                    <a:lnTo>
                      <a:pt x="5144" y="882"/>
                    </a:lnTo>
                    <a:lnTo>
                      <a:pt x="5120" y="1001"/>
                    </a:lnTo>
                    <a:lnTo>
                      <a:pt x="5096" y="1025"/>
                    </a:lnTo>
                    <a:lnTo>
                      <a:pt x="5049" y="1049"/>
                    </a:lnTo>
                    <a:lnTo>
                      <a:pt x="5001" y="1072"/>
                    </a:lnTo>
                    <a:lnTo>
                      <a:pt x="4953" y="1072"/>
                    </a:lnTo>
                    <a:lnTo>
                      <a:pt x="4858" y="1049"/>
                    </a:lnTo>
                    <a:lnTo>
                      <a:pt x="4763" y="1001"/>
                    </a:lnTo>
                    <a:lnTo>
                      <a:pt x="4691" y="930"/>
                    </a:lnTo>
                    <a:lnTo>
                      <a:pt x="4620" y="858"/>
                    </a:lnTo>
                    <a:lnTo>
                      <a:pt x="4477" y="668"/>
                    </a:lnTo>
                    <a:lnTo>
                      <a:pt x="4358" y="453"/>
                    </a:lnTo>
                    <a:lnTo>
                      <a:pt x="4215" y="263"/>
                    </a:lnTo>
                    <a:lnTo>
                      <a:pt x="4144" y="168"/>
                    </a:lnTo>
                    <a:lnTo>
                      <a:pt x="4072" y="96"/>
                    </a:lnTo>
                    <a:lnTo>
                      <a:pt x="3977" y="49"/>
                    </a:lnTo>
                    <a:lnTo>
                      <a:pt x="3882" y="1"/>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54" name="Google Shape;956;g2e0683f995c_0_0">
                <a:extLst>
                  <a:ext uri="{FF2B5EF4-FFF2-40B4-BE49-F238E27FC236}">
                    <a16:creationId xmlns:a16="http://schemas.microsoft.com/office/drawing/2014/main" id="{FDD99E16-236C-89A4-BE09-3646678FA8F8}"/>
                  </a:ext>
                </a:extLst>
              </p:cNvPr>
              <p:cNvSpPr/>
              <p:nvPr/>
            </p:nvSpPr>
            <p:spPr>
              <a:xfrm>
                <a:off x="8239202" y="732838"/>
                <a:ext cx="117019" cy="217780"/>
              </a:xfrm>
              <a:custGeom>
                <a:avLst/>
                <a:gdLst/>
                <a:ahLst/>
                <a:cxnLst/>
                <a:rect l="l" t="t" r="r" b="b"/>
                <a:pathLst>
                  <a:path w="7025" h="13074" fill="none" extrusionOk="0">
                    <a:moveTo>
                      <a:pt x="3644" y="1"/>
                    </a:moveTo>
                    <a:lnTo>
                      <a:pt x="3644" y="1"/>
                    </a:lnTo>
                    <a:lnTo>
                      <a:pt x="3763" y="1"/>
                    </a:lnTo>
                    <a:lnTo>
                      <a:pt x="3882" y="1"/>
                    </a:lnTo>
                    <a:lnTo>
                      <a:pt x="3977" y="49"/>
                    </a:lnTo>
                    <a:lnTo>
                      <a:pt x="4072" y="96"/>
                    </a:lnTo>
                    <a:lnTo>
                      <a:pt x="4144" y="168"/>
                    </a:lnTo>
                    <a:lnTo>
                      <a:pt x="4215" y="263"/>
                    </a:lnTo>
                    <a:lnTo>
                      <a:pt x="4358" y="453"/>
                    </a:lnTo>
                    <a:lnTo>
                      <a:pt x="4477" y="668"/>
                    </a:lnTo>
                    <a:lnTo>
                      <a:pt x="4620" y="858"/>
                    </a:lnTo>
                    <a:lnTo>
                      <a:pt x="4691" y="930"/>
                    </a:lnTo>
                    <a:lnTo>
                      <a:pt x="4763" y="1001"/>
                    </a:lnTo>
                    <a:lnTo>
                      <a:pt x="4858" y="1049"/>
                    </a:lnTo>
                    <a:lnTo>
                      <a:pt x="4953" y="1072"/>
                    </a:lnTo>
                    <a:lnTo>
                      <a:pt x="4953" y="1072"/>
                    </a:lnTo>
                    <a:lnTo>
                      <a:pt x="5001" y="1072"/>
                    </a:lnTo>
                    <a:lnTo>
                      <a:pt x="5049" y="1049"/>
                    </a:lnTo>
                    <a:lnTo>
                      <a:pt x="5096" y="1025"/>
                    </a:lnTo>
                    <a:lnTo>
                      <a:pt x="5120" y="1001"/>
                    </a:lnTo>
                    <a:lnTo>
                      <a:pt x="5144" y="882"/>
                    </a:lnTo>
                    <a:lnTo>
                      <a:pt x="5168" y="763"/>
                    </a:lnTo>
                    <a:lnTo>
                      <a:pt x="5168" y="501"/>
                    </a:lnTo>
                    <a:lnTo>
                      <a:pt x="5191" y="382"/>
                    </a:lnTo>
                    <a:lnTo>
                      <a:pt x="5239" y="310"/>
                    </a:lnTo>
                    <a:lnTo>
                      <a:pt x="5239" y="310"/>
                    </a:lnTo>
                    <a:lnTo>
                      <a:pt x="5287" y="287"/>
                    </a:lnTo>
                    <a:lnTo>
                      <a:pt x="5358" y="263"/>
                    </a:lnTo>
                    <a:lnTo>
                      <a:pt x="5549" y="287"/>
                    </a:lnTo>
                    <a:lnTo>
                      <a:pt x="5763" y="382"/>
                    </a:lnTo>
                    <a:lnTo>
                      <a:pt x="5834" y="430"/>
                    </a:lnTo>
                    <a:lnTo>
                      <a:pt x="5930" y="501"/>
                    </a:lnTo>
                    <a:lnTo>
                      <a:pt x="5930" y="501"/>
                    </a:lnTo>
                    <a:lnTo>
                      <a:pt x="6168" y="834"/>
                    </a:lnTo>
                    <a:lnTo>
                      <a:pt x="6382" y="1192"/>
                    </a:lnTo>
                    <a:lnTo>
                      <a:pt x="6549" y="1573"/>
                    </a:lnTo>
                    <a:lnTo>
                      <a:pt x="6715" y="1977"/>
                    </a:lnTo>
                    <a:lnTo>
                      <a:pt x="6811" y="2382"/>
                    </a:lnTo>
                    <a:lnTo>
                      <a:pt x="6906" y="2811"/>
                    </a:lnTo>
                    <a:lnTo>
                      <a:pt x="6954" y="3239"/>
                    </a:lnTo>
                    <a:lnTo>
                      <a:pt x="7001" y="3692"/>
                    </a:lnTo>
                    <a:lnTo>
                      <a:pt x="7025" y="4144"/>
                    </a:lnTo>
                    <a:lnTo>
                      <a:pt x="7001" y="4597"/>
                    </a:lnTo>
                    <a:lnTo>
                      <a:pt x="6977" y="5073"/>
                    </a:lnTo>
                    <a:lnTo>
                      <a:pt x="6954" y="5525"/>
                    </a:lnTo>
                    <a:lnTo>
                      <a:pt x="6858" y="6454"/>
                    </a:lnTo>
                    <a:lnTo>
                      <a:pt x="6715" y="7359"/>
                    </a:lnTo>
                    <a:lnTo>
                      <a:pt x="6430" y="9026"/>
                    </a:lnTo>
                    <a:lnTo>
                      <a:pt x="6311" y="9764"/>
                    </a:lnTo>
                    <a:lnTo>
                      <a:pt x="6239" y="10431"/>
                    </a:lnTo>
                    <a:lnTo>
                      <a:pt x="6239" y="10740"/>
                    </a:lnTo>
                    <a:lnTo>
                      <a:pt x="6239" y="11002"/>
                    </a:lnTo>
                    <a:lnTo>
                      <a:pt x="6263" y="11240"/>
                    </a:lnTo>
                    <a:lnTo>
                      <a:pt x="6311" y="11455"/>
                    </a:lnTo>
                    <a:lnTo>
                      <a:pt x="6382" y="11621"/>
                    </a:lnTo>
                    <a:lnTo>
                      <a:pt x="6501" y="11764"/>
                    </a:lnTo>
                    <a:lnTo>
                      <a:pt x="6620" y="11860"/>
                    </a:lnTo>
                    <a:lnTo>
                      <a:pt x="6787" y="11931"/>
                    </a:lnTo>
                    <a:lnTo>
                      <a:pt x="6787" y="11931"/>
                    </a:lnTo>
                    <a:lnTo>
                      <a:pt x="6811" y="11931"/>
                    </a:lnTo>
                    <a:lnTo>
                      <a:pt x="6811" y="11955"/>
                    </a:lnTo>
                    <a:lnTo>
                      <a:pt x="6739" y="12050"/>
                    </a:lnTo>
                    <a:lnTo>
                      <a:pt x="6573" y="12145"/>
                    </a:lnTo>
                    <a:lnTo>
                      <a:pt x="6334" y="12288"/>
                    </a:lnTo>
                    <a:lnTo>
                      <a:pt x="6025" y="12431"/>
                    </a:lnTo>
                    <a:lnTo>
                      <a:pt x="5668" y="12574"/>
                    </a:lnTo>
                    <a:lnTo>
                      <a:pt x="5263" y="12717"/>
                    </a:lnTo>
                    <a:lnTo>
                      <a:pt x="4810" y="12860"/>
                    </a:lnTo>
                    <a:lnTo>
                      <a:pt x="4358" y="12955"/>
                    </a:lnTo>
                    <a:lnTo>
                      <a:pt x="3858" y="13026"/>
                    </a:lnTo>
                    <a:lnTo>
                      <a:pt x="3358" y="13074"/>
                    </a:lnTo>
                    <a:lnTo>
                      <a:pt x="2882" y="13050"/>
                    </a:lnTo>
                    <a:lnTo>
                      <a:pt x="2620" y="13026"/>
                    </a:lnTo>
                    <a:lnTo>
                      <a:pt x="2382" y="12979"/>
                    </a:lnTo>
                    <a:lnTo>
                      <a:pt x="2167" y="12907"/>
                    </a:lnTo>
                    <a:lnTo>
                      <a:pt x="1929" y="12836"/>
                    </a:lnTo>
                    <a:lnTo>
                      <a:pt x="1715" y="12741"/>
                    </a:lnTo>
                    <a:lnTo>
                      <a:pt x="1501" y="12622"/>
                    </a:lnTo>
                    <a:lnTo>
                      <a:pt x="1310" y="12479"/>
                    </a:lnTo>
                    <a:lnTo>
                      <a:pt x="1120" y="12312"/>
                    </a:lnTo>
                    <a:lnTo>
                      <a:pt x="1120" y="12312"/>
                    </a:lnTo>
                    <a:lnTo>
                      <a:pt x="858" y="12050"/>
                    </a:lnTo>
                    <a:lnTo>
                      <a:pt x="619" y="11788"/>
                    </a:lnTo>
                    <a:lnTo>
                      <a:pt x="429" y="11550"/>
                    </a:lnTo>
                    <a:lnTo>
                      <a:pt x="286" y="11312"/>
                    </a:lnTo>
                    <a:lnTo>
                      <a:pt x="167" y="11121"/>
                    </a:lnTo>
                    <a:lnTo>
                      <a:pt x="96" y="10931"/>
                    </a:lnTo>
                    <a:lnTo>
                      <a:pt x="48" y="10764"/>
                    </a:lnTo>
                    <a:lnTo>
                      <a:pt x="0" y="10597"/>
                    </a:lnTo>
                    <a:lnTo>
                      <a:pt x="0" y="10455"/>
                    </a:lnTo>
                    <a:lnTo>
                      <a:pt x="0" y="10312"/>
                    </a:lnTo>
                    <a:lnTo>
                      <a:pt x="24" y="10074"/>
                    </a:lnTo>
                    <a:lnTo>
                      <a:pt x="167" y="9693"/>
                    </a:lnTo>
                    <a:lnTo>
                      <a:pt x="167" y="9693"/>
                    </a:lnTo>
                    <a:lnTo>
                      <a:pt x="1310" y="4978"/>
                    </a:lnTo>
                    <a:lnTo>
                      <a:pt x="2143" y="1644"/>
                    </a:lnTo>
                    <a:lnTo>
                      <a:pt x="2143" y="1644"/>
                    </a:lnTo>
                    <a:lnTo>
                      <a:pt x="2239" y="1501"/>
                    </a:lnTo>
                    <a:lnTo>
                      <a:pt x="2501" y="1144"/>
                    </a:lnTo>
                    <a:lnTo>
                      <a:pt x="2715" y="906"/>
                    </a:lnTo>
                    <a:lnTo>
                      <a:pt x="2977" y="620"/>
                    </a:lnTo>
                    <a:lnTo>
                      <a:pt x="3286" y="334"/>
                    </a:lnTo>
                    <a:lnTo>
                      <a:pt x="3644"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55" name="Google Shape;957;g2e0683f995c_0_0">
                <a:extLst>
                  <a:ext uri="{FF2B5EF4-FFF2-40B4-BE49-F238E27FC236}">
                    <a16:creationId xmlns:a16="http://schemas.microsoft.com/office/drawing/2014/main" id="{B31C042F-4453-7E76-A05F-25E4EC80FF7B}"/>
                  </a:ext>
                </a:extLst>
              </p:cNvPr>
              <p:cNvSpPr/>
              <p:nvPr/>
            </p:nvSpPr>
            <p:spPr>
              <a:xfrm>
                <a:off x="8328053" y="661444"/>
                <a:ext cx="233255" cy="301084"/>
              </a:xfrm>
              <a:custGeom>
                <a:avLst/>
                <a:gdLst/>
                <a:ahLst/>
                <a:cxnLst/>
                <a:rect l="l" t="t" r="r" b="b"/>
                <a:pathLst>
                  <a:path w="14003" h="18075" extrusionOk="0">
                    <a:moveTo>
                      <a:pt x="12859" y="1"/>
                    </a:moveTo>
                    <a:lnTo>
                      <a:pt x="12811" y="24"/>
                    </a:lnTo>
                    <a:lnTo>
                      <a:pt x="12097" y="548"/>
                    </a:lnTo>
                    <a:lnTo>
                      <a:pt x="10573" y="1644"/>
                    </a:lnTo>
                    <a:lnTo>
                      <a:pt x="9692" y="2239"/>
                    </a:lnTo>
                    <a:lnTo>
                      <a:pt x="8859" y="2811"/>
                    </a:lnTo>
                    <a:lnTo>
                      <a:pt x="8120" y="3263"/>
                    </a:lnTo>
                    <a:lnTo>
                      <a:pt x="7811" y="3430"/>
                    </a:lnTo>
                    <a:lnTo>
                      <a:pt x="7549" y="3549"/>
                    </a:lnTo>
                    <a:lnTo>
                      <a:pt x="7311" y="3620"/>
                    </a:lnTo>
                    <a:lnTo>
                      <a:pt x="6977" y="3715"/>
                    </a:lnTo>
                    <a:lnTo>
                      <a:pt x="6168" y="3906"/>
                    </a:lnTo>
                    <a:lnTo>
                      <a:pt x="5191" y="4096"/>
                    </a:lnTo>
                    <a:lnTo>
                      <a:pt x="4120" y="4287"/>
                    </a:lnTo>
                    <a:lnTo>
                      <a:pt x="3048" y="4454"/>
                    </a:lnTo>
                    <a:lnTo>
                      <a:pt x="2024" y="4573"/>
                    </a:lnTo>
                    <a:lnTo>
                      <a:pt x="1167" y="4668"/>
                    </a:lnTo>
                    <a:lnTo>
                      <a:pt x="477" y="4692"/>
                    </a:lnTo>
                    <a:lnTo>
                      <a:pt x="572" y="4882"/>
                    </a:lnTo>
                    <a:lnTo>
                      <a:pt x="739" y="5430"/>
                    </a:lnTo>
                    <a:lnTo>
                      <a:pt x="834" y="5811"/>
                    </a:lnTo>
                    <a:lnTo>
                      <a:pt x="929" y="6240"/>
                    </a:lnTo>
                    <a:lnTo>
                      <a:pt x="1000" y="6740"/>
                    </a:lnTo>
                    <a:lnTo>
                      <a:pt x="1048" y="7263"/>
                    </a:lnTo>
                    <a:lnTo>
                      <a:pt x="1048" y="7621"/>
                    </a:lnTo>
                    <a:lnTo>
                      <a:pt x="1048" y="7954"/>
                    </a:lnTo>
                    <a:lnTo>
                      <a:pt x="1024" y="8287"/>
                    </a:lnTo>
                    <a:lnTo>
                      <a:pt x="977" y="8597"/>
                    </a:lnTo>
                    <a:lnTo>
                      <a:pt x="858" y="9240"/>
                    </a:lnTo>
                    <a:lnTo>
                      <a:pt x="715" y="9883"/>
                    </a:lnTo>
                    <a:lnTo>
                      <a:pt x="548" y="10526"/>
                    </a:lnTo>
                    <a:lnTo>
                      <a:pt x="381" y="11216"/>
                    </a:lnTo>
                    <a:lnTo>
                      <a:pt x="215" y="11955"/>
                    </a:lnTo>
                    <a:lnTo>
                      <a:pt x="167" y="12359"/>
                    </a:lnTo>
                    <a:lnTo>
                      <a:pt x="96" y="12788"/>
                    </a:lnTo>
                    <a:lnTo>
                      <a:pt x="48" y="13407"/>
                    </a:lnTo>
                    <a:lnTo>
                      <a:pt x="0" y="13955"/>
                    </a:lnTo>
                    <a:lnTo>
                      <a:pt x="0" y="14455"/>
                    </a:lnTo>
                    <a:lnTo>
                      <a:pt x="0" y="14907"/>
                    </a:lnTo>
                    <a:lnTo>
                      <a:pt x="24" y="15312"/>
                    </a:lnTo>
                    <a:lnTo>
                      <a:pt x="48" y="15669"/>
                    </a:lnTo>
                    <a:lnTo>
                      <a:pt x="96" y="15979"/>
                    </a:lnTo>
                    <a:lnTo>
                      <a:pt x="167" y="16265"/>
                    </a:lnTo>
                    <a:lnTo>
                      <a:pt x="238" y="16503"/>
                    </a:lnTo>
                    <a:lnTo>
                      <a:pt x="334" y="16741"/>
                    </a:lnTo>
                    <a:lnTo>
                      <a:pt x="429" y="16931"/>
                    </a:lnTo>
                    <a:lnTo>
                      <a:pt x="548" y="17098"/>
                    </a:lnTo>
                    <a:lnTo>
                      <a:pt x="762" y="17408"/>
                    </a:lnTo>
                    <a:lnTo>
                      <a:pt x="1000" y="17670"/>
                    </a:lnTo>
                    <a:lnTo>
                      <a:pt x="1167" y="17812"/>
                    </a:lnTo>
                    <a:lnTo>
                      <a:pt x="1381" y="17931"/>
                    </a:lnTo>
                    <a:lnTo>
                      <a:pt x="1620" y="18003"/>
                    </a:lnTo>
                    <a:lnTo>
                      <a:pt x="1858" y="18074"/>
                    </a:lnTo>
                    <a:lnTo>
                      <a:pt x="2096" y="18074"/>
                    </a:lnTo>
                    <a:lnTo>
                      <a:pt x="2310" y="18051"/>
                    </a:lnTo>
                    <a:lnTo>
                      <a:pt x="2501" y="18003"/>
                    </a:lnTo>
                    <a:lnTo>
                      <a:pt x="2572" y="17955"/>
                    </a:lnTo>
                    <a:lnTo>
                      <a:pt x="2644" y="17908"/>
                    </a:lnTo>
                    <a:lnTo>
                      <a:pt x="2739" y="17812"/>
                    </a:lnTo>
                    <a:lnTo>
                      <a:pt x="2786" y="17693"/>
                    </a:lnTo>
                    <a:lnTo>
                      <a:pt x="2858" y="17574"/>
                    </a:lnTo>
                    <a:lnTo>
                      <a:pt x="2882" y="17455"/>
                    </a:lnTo>
                    <a:lnTo>
                      <a:pt x="2929" y="17146"/>
                    </a:lnTo>
                    <a:lnTo>
                      <a:pt x="2929" y="16812"/>
                    </a:lnTo>
                    <a:lnTo>
                      <a:pt x="2905" y="16431"/>
                    </a:lnTo>
                    <a:lnTo>
                      <a:pt x="2858" y="16050"/>
                    </a:lnTo>
                    <a:lnTo>
                      <a:pt x="2763" y="15645"/>
                    </a:lnTo>
                    <a:lnTo>
                      <a:pt x="2667" y="15241"/>
                    </a:lnTo>
                    <a:lnTo>
                      <a:pt x="2429" y="14431"/>
                    </a:lnTo>
                    <a:lnTo>
                      <a:pt x="2191" y="13669"/>
                    </a:lnTo>
                    <a:lnTo>
                      <a:pt x="2024" y="13050"/>
                    </a:lnTo>
                    <a:lnTo>
                      <a:pt x="1953" y="12788"/>
                    </a:lnTo>
                    <a:lnTo>
                      <a:pt x="1929" y="12597"/>
                    </a:lnTo>
                    <a:lnTo>
                      <a:pt x="1929" y="12407"/>
                    </a:lnTo>
                    <a:lnTo>
                      <a:pt x="1953" y="12169"/>
                    </a:lnTo>
                    <a:lnTo>
                      <a:pt x="2024" y="11621"/>
                    </a:lnTo>
                    <a:lnTo>
                      <a:pt x="2143" y="10978"/>
                    </a:lnTo>
                    <a:lnTo>
                      <a:pt x="2310" y="10311"/>
                    </a:lnTo>
                    <a:lnTo>
                      <a:pt x="2477" y="9645"/>
                    </a:lnTo>
                    <a:lnTo>
                      <a:pt x="2667" y="9026"/>
                    </a:lnTo>
                    <a:lnTo>
                      <a:pt x="2858" y="8549"/>
                    </a:lnTo>
                    <a:lnTo>
                      <a:pt x="2929" y="8359"/>
                    </a:lnTo>
                    <a:lnTo>
                      <a:pt x="3025" y="8192"/>
                    </a:lnTo>
                    <a:lnTo>
                      <a:pt x="3239" y="7930"/>
                    </a:lnTo>
                    <a:lnTo>
                      <a:pt x="3501" y="7668"/>
                    </a:lnTo>
                    <a:lnTo>
                      <a:pt x="3787" y="7430"/>
                    </a:lnTo>
                    <a:lnTo>
                      <a:pt x="4120" y="7240"/>
                    </a:lnTo>
                    <a:lnTo>
                      <a:pt x="4453" y="7049"/>
                    </a:lnTo>
                    <a:lnTo>
                      <a:pt x="4810" y="6882"/>
                    </a:lnTo>
                    <a:lnTo>
                      <a:pt x="5191" y="6716"/>
                    </a:lnTo>
                    <a:lnTo>
                      <a:pt x="5572" y="6597"/>
                    </a:lnTo>
                    <a:lnTo>
                      <a:pt x="6358" y="6359"/>
                    </a:lnTo>
                    <a:lnTo>
                      <a:pt x="7096" y="6144"/>
                    </a:lnTo>
                    <a:lnTo>
                      <a:pt x="7763" y="5954"/>
                    </a:lnTo>
                    <a:lnTo>
                      <a:pt x="8073" y="5835"/>
                    </a:lnTo>
                    <a:lnTo>
                      <a:pt x="8335" y="5739"/>
                    </a:lnTo>
                    <a:lnTo>
                      <a:pt x="8573" y="5620"/>
                    </a:lnTo>
                    <a:lnTo>
                      <a:pt x="8882" y="5454"/>
                    </a:lnTo>
                    <a:lnTo>
                      <a:pt x="9644" y="4954"/>
                    </a:lnTo>
                    <a:lnTo>
                      <a:pt x="10549" y="4335"/>
                    </a:lnTo>
                    <a:lnTo>
                      <a:pt x="11478" y="3668"/>
                    </a:lnTo>
                    <a:lnTo>
                      <a:pt x="13145" y="2430"/>
                    </a:lnTo>
                    <a:lnTo>
                      <a:pt x="13954" y="1810"/>
                    </a:lnTo>
                    <a:lnTo>
                      <a:pt x="14002" y="1739"/>
                    </a:lnTo>
                    <a:lnTo>
                      <a:pt x="14002" y="1644"/>
                    </a:lnTo>
                    <a:lnTo>
                      <a:pt x="13978" y="1525"/>
                    </a:lnTo>
                    <a:lnTo>
                      <a:pt x="13954" y="1382"/>
                    </a:lnTo>
                    <a:lnTo>
                      <a:pt x="13788" y="1072"/>
                    </a:lnTo>
                    <a:lnTo>
                      <a:pt x="13597" y="715"/>
                    </a:lnTo>
                    <a:lnTo>
                      <a:pt x="13383" y="405"/>
                    </a:lnTo>
                    <a:lnTo>
                      <a:pt x="13145" y="167"/>
                    </a:lnTo>
                    <a:lnTo>
                      <a:pt x="13050" y="72"/>
                    </a:lnTo>
                    <a:lnTo>
                      <a:pt x="12954" y="24"/>
                    </a:lnTo>
                    <a:lnTo>
                      <a:pt x="12859" y="1"/>
                    </a:lnTo>
                    <a:close/>
                  </a:path>
                </a:pathLst>
              </a:custGeom>
              <a:solidFill>
                <a:srgbClr val="E37C09"/>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56" name="Google Shape;958;g2e0683f995c_0_0">
                <a:extLst>
                  <a:ext uri="{FF2B5EF4-FFF2-40B4-BE49-F238E27FC236}">
                    <a16:creationId xmlns:a16="http://schemas.microsoft.com/office/drawing/2014/main" id="{58CDEEB7-5490-FD2F-1A94-DF7682B77BB7}"/>
                  </a:ext>
                </a:extLst>
              </p:cNvPr>
              <p:cNvSpPr/>
              <p:nvPr/>
            </p:nvSpPr>
            <p:spPr>
              <a:xfrm>
                <a:off x="8225310" y="945854"/>
                <a:ext cx="43659" cy="78940"/>
              </a:xfrm>
              <a:custGeom>
                <a:avLst/>
                <a:gdLst/>
                <a:ahLst/>
                <a:cxnLst/>
                <a:rect l="l" t="t" r="r" b="b"/>
                <a:pathLst>
                  <a:path w="2621" h="4739" extrusionOk="0">
                    <a:moveTo>
                      <a:pt x="2620" y="0"/>
                    </a:moveTo>
                    <a:lnTo>
                      <a:pt x="2549" y="215"/>
                    </a:lnTo>
                    <a:lnTo>
                      <a:pt x="2454" y="405"/>
                    </a:lnTo>
                    <a:lnTo>
                      <a:pt x="2311" y="572"/>
                    </a:lnTo>
                    <a:lnTo>
                      <a:pt x="2168" y="738"/>
                    </a:lnTo>
                    <a:lnTo>
                      <a:pt x="1977" y="857"/>
                    </a:lnTo>
                    <a:lnTo>
                      <a:pt x="1787" y="953"/>
                    </a:lnTo>
                    <a:lnTo>
                      <a:pt x="1573" y="1024"/>
                    </a:lnTo>
                    <a:lnTo>
                      <a:pt x="1334" y="1072"/>
                    </a:lnTo>
                    <a:lnTo>
                      <a:pt x="1096" y="1119"/>
                    </a:lnTo>
                    <a:lnTo>
                      <a:pt x="572" y="1191"/>
                    </a:lnTo>
                    <a:lnTo>
                      <a:pt x="49" y="1215"/>
                    </a:lnTo>
                    <a:lnTo>
                      <a:pt x="25" y="1619"/>
                    </a:lnTo>
                    <a:lnTo>
                      <a:pt x="1" y="2024"/>
                    </a:lnTo>
                    <a:lnTo>
                      <a:pt x="25" y="2453"/>
                    </a:lnTo>
                    <a:lnTo>
                      <a:pt x="96" y="2905"/>
                    </a:lnTo>
                    <a:lnTo>
                      <a:pt x="215" y="3429"/>
                    </a:lnTo>
                    <a:lnTo>
                      <a:pt x="382" y="4048"/>
                    </a:lnTo>
                    <a:lnTo>
                      <a:pt x="596" y="4739"/>
                    </a:lnTo>
                    <a:lnTo>
                      <a:pt x="811" y="4548"/>
                    </a:lnTo>
                    <a:lnTo>
                      <a:pt x="1001" y="4334"/>
                    </a:lnTo>
                    <a:lnTo>
                      <a:pt x="1192" y="4072"/>
                    </a:lnTo>
                    <a:lnTo>
                      <a:pt x="1358" y="3834"/>
                    </a:lnTo>
                    <a:lnTo>
                      <a:pt x="1525" y="3548"/>
                    </a:lnTo>
                    <a:lnTo>
                      <a:pt x="1668" y="3239"/>
                    </a:lnTo>
                    <a:lnTo>
                      <a:pt x="1811" y="2953"/>
                    </a:lnTo>
                    <a:lnTo>
                      <a:pt x="1930" y="2620"/>
                    </a:lnTo>
                    <a:lnTo>
                      <a:pt x="2168" y="1953"/>
                    </a:lnTo>
                    <a:lnTo>
                      <a:pt x="2358" y="1286"/>
                    </a:lnTo>
                    <a:lnTo>
                      <a:pt x="2501" y="619"/>
                    </a:lnTo>
                    <a:lnTo>
                      <a:pt x="2620" y="0"/>
                    </a:lnTo>
                    <a:close/>
                  </a:path>
                </a:pathLst>
              </a:custGeom>
              <a:solidFill>
                <a:srgbClr val="17171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57" name="Google Shape;959;g2e0683f995c_0_0">
                <a:extLst>
                  <a:ext uri="{FF2B5EF4-FFF2-40B4-BE49-F238E27FC236}">
                    <a16:creationId xmlns:a16="http://schemas.microsoft.com/office/drawing/2014/main" id="{6DC6AF9B-C599-40F6-F273-ADDEDB2D9301}"/>
                  </a:ext>
                </a:extLst>
              </p:cNvPr>
              <p:cNvSpPr/>
              <p:nvPr/>
            </p:nvSpPr>
            <p:spPr>
              <a:xfrm>
                <a:off x="8225310" y="945854"/>
                <a:ext cx="43659" cy="78940"/>
              </a:xfrm>
              <a:custGeom>
                <a:avLst/>
                <a:gdLst/>
                <a:ahLst/>
                <a:cxnLst/>
                <a:rect l="l" t="t" r="r" b="b"/>
                <a:pathLst>
                  <a:path w="2621" h="4739" fill="none" extrusionOk="0">
                    <a:moveTo>
                      <a:pt x="2620" y="0"/>
                    </a:moveTo>
                    <a:lnTo>
                      <a:pt x="2620" y="0"/>
                    </a:lnTo>
                    <a:lnTo>
                      <a:pt x="2549" y="215"/>
                    </a:lnTo>
                    <a:lnTo>
                      <a:pt x="2549" y="215"/>
                    </a:lnTo>
                    <a:lnTo>
                      <a:pt x="2454" y="405"/>
                    </a:lnTo>
                    <a:lnTo>
                      <a:pt x="2311" y="572"/>
                    </a:lnTo>
                    <a:lnTo>
                      <a:pt x="2168" y="738"/>
                    </a:lnTo>
                    <a:lnTo>
                      <a:pt x="1977" y="857"/>
                    </a:lnTo>
                    <a:lnTo>
                      <a:pt x="1977" y="857"/>
                    </a:lnTo>
                    <a:lnTo>
                      <a:pt x="1787" y="953"/>
                    </a:lnTo>
                    <a:lnTo>
                      <a:pt x="1573" y="1024"/>
                    </a:lnTo>
                    <a:lnTo>
                      <a:pt x="1334" y="1072"/>
                    </a:lnTo>
                    <a:lnTo>
                      <a:pt x="1096" y="1119"/>
                    </a:lnTo>
                    <a:lnTo>
                      <a:pt x="572" y="1191"/>
                    </a:lnTo>
                    <a:lnTo>
                      <a:pt x="49" y="1215"/>
                    </a:lnTo>
                    <a:lnTo>
                      <a:pt x="49" y="1215"/>
                    </a:lnTo>
                    <a:lnTo>
                      <a:pt x="25" y="1619"/>
                    </a:lnTo>
                    <a:lnTo>
                      <a:pt x="1" y="2024"/>
                    </a:lnTo>
                    <a:lnTo>
                      <a:pt x="1" y="2024"/>
                    </a:lnTo>
                    <a:lnTo>
                      <a:pt x="25" y="2453"/>
                    </a:lnTo>
                    <a:lnTo>
                      <a:pt x="96" y="2905"/>
                    </a:lnTo>
                    <a:lnTo>
                      <a:pt x="215" y="3429"/>
                    </a:lnTo>
                    <a:lnTo>
                      <a:pt x="382" y="4048"/>
                    </a:lnTo>
                    <a:lnTo>
                      <a:pt x="382" y="4048"/>
                    </a:lnTo>
                    <a:lnTo>
                      <a:pt x="596" y="4739"/>
                    </a:lnTo>
                    <a:lnTo>
                      <a:pt x="596" y="4739"/>
                    </a:lnTo>
                    <a:lnTo>
                      <a:pt x="811" y="4548"/>
                    </a:lnTo>
                    <a:lnTo>
                      <a:pt x="1001" y="4334"/>
                    </a:lnTo>
                    <a:lnTo>
                      <a:pt x="1192" y="4072"/>
                    </a:lnTo>
                    <a:lnTo>
                      <a:pt x="1358" y="3834"/>
                    </a:lnTo>
                    <a:lnTo>
                      <a:pt x="1525" y="3548"/>
                    </a:lnTo>
                    <a:lnTo>
                      <a:pt x="1668" y="3239"/>
                    </a:lnTo>
                    <a:lnTo>
                      <a:pt x="1811" y="2953"/>
                    </a:lnTo>
                    <a:lnTo>
                      <a:pt x="1930" y="2620"/>
                    </a:lnTo>
                    <a:lnTo>
                      <a:pt x="2168" y="1953"/>
                    </a:lnTo>
                    <a:lnTo>
                      <a:pt x="2358" y="1286"/>
                    </a:lnTo>
                    <a:lnTo>
                      <a:pt x="2501" y="619"/>
                    </a:lnTo>
                    <a:lnTo>
                      <a:pt x="2620" y="0"/>
                    </a:lnTo>
                    <a:lnTo>
                      <a:pt x="2620" y="0"/>
                    </a:lnTo>
                    <a:lnTo>
                      <a:pt x="2620"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58" name="Google Shape;960;g2e0683f995c_0_0">
                <a:extLst>
                  <a:ext uri="{FF2B5EF4-FFF2-40B4-BE49-F238E27FC236}">
                    <a16:creationId xmlns:a16="http://schemas.microsoft.com/office/drawing/2014/main" id="{1DC884AF-7836-F8F1-2E86-46B42F58748B}"/>
                  </a:ext>
                </a:extLst>
              </p:cNvPr>
              <p:cNvSpPr/>
              <p:nvPr/>
            </p:nvSpPr>
            <p:spPr>
              <a:xfrm>
                <a:off x="8268952" y="945454"/>
                <a:ext cx="416" cy="416"/>
              </a:xfrm>
              <a:custGeom>
                <a:avLst/>
                <a:gdLst/>
                <a:ahLst/>
                <a:cxnLst/>
                <a:rect l="l" t="t" r="r" b="b"/>
                <a:pathLst>
                  <a:path w="25" h="25" extrusionOk="0">
                    <a:moveTo>
                      <a:pt x="24" y="0"/>
                    </a:moveTo>
                    <a:lnTo>
                      <a:pt x="24" y="0"/>
                    </a:lnTo>
                    <a:lnTo>
                      <a:pt x="24" y="0"/>
                    </a:lnTo>
                    <a:lnTo>
                      <a:pt x="0" y="24"/>
                    </a:lnTo>
                    <a:lnTo>
                      <a:pt x="0" y="24"/>
                    </a:lnTo>
                    <a:lnTo>
                      <a:pt x="0" y="24"/>
                    </a:lnTo>
                    <a:lnTo>
                      <a:pt x="0" y="24"/>
                    </a:lnTo>
                    <a:lnTo>
                      <a:pt x="24" y="0"/>
                    </a:lnTo>
                    <a:close/>
                  </a:path>
                </a:pathLst>
              </a:custGeom>
              <a:solidFill>
                <a:srgbClr val="616161"/>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59" name="Google Shape;961;g2e0683f995c_0_0">
                <a:extLst>
                  <a:ext uri="{FF2B5EF4-FFF2-40B4-BE49-F238E27FC236}">
                    <a16:creationId xmlns:a16="http://schemas.microsoft.com/office/drawing/2014/main" id="{FD39378F-C270-DA65-05EB-206036A673AF}"/>
                  </a:ext>
                </a:extLst>
              </p:cNvPr>
              <p:cNvSpPr/>
              <p:nvPr/>
            </p:nvSpPr>
            <p:spPr>
              <a:xfrm>
                <a:off x="8268952" y="945454"/>
                <a:ext cx="416" cy="416"/>
              </a:xfrm>
              <a:custGeom>
                <a:avLst/>
                <a:gdLst/>
                <a:ahLst/>
                <a:cxnLst/>
                <a:rect l="l" t="t" r="r" b="b"/>
                <a:pathLst>
                  <a:path w="25" h="25" fill="none" extrusionOk="0">
                    <a:moveTo>
                      <a:pt x="24" y="0"/>
                    </a:moveTo>
                    <a:lnTo>
                      <a:pt x="24" y="0"/>
                    </a:lnTo>
                    <a:lnTo>
                      <a:pt x="24" y="0"/>
                    </a:lnTo>
                    <a:lnTo>
                      <a:pt x="0" y="24"/>
                    </a:lnTo>
                    <a:lnTo>
                      <a:pt x="0" y="24"/>
                    </a:lnTo>
                    <a:lnTo>
                      <a:pt x="0" y="24"/>
                    </a:lnTo>
                    <a:lnTo>
                      <a:pt x="0" y="24"/>
                    </a:lnTo>
                    <a:lnTo>
                      <a:pt x="24"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60" name="Google Shape;962;g2e0683f995c_0_0">
                <a:extLst>
                  <a:ext uri="{FF2B5EF4-FFF2-40B4-BE49-F238E27FC236}">
                    <a16:creationId xmlns:a16="http://schemas.microsoft.com/office/drawing/2014/main" id="{D0199DE4-A6B6-880B-232B-22CFD92C8160}"/>
                  </a:ext>
                </a:extLst>
              </p:cNvPr>
              <p:cNvSpPr/>
              <p:nvPr/>
            </p:nvSpPr>
            <p:spPr>
              <a:xfrm>
                <a:off x="8294338" y="698340"/>
                <a:ext cx="34514" cy="56735"/>
              </a:xfrm>
              <a:custGeom>
                <a:avLst/>
                <a:gdLst/>
                <a:ahLst/>
                <a:cxnLst/>
                <a:rect l="l" t="t" r="r" b="b"/>
                <a:pathLst>
                  <a:path w="2072" h="3406" extrusionOk="0">
                    <a:moveTo>
                      <a:pt x="953" y="0"/>
                    </a:moveTo>
                    <a:lnTo>
                      <a:pt x="905" y="24"/>
                    </a:lnTo>
                    <a:lnTo>
                      <a:pt x="762" y="119"/>
                    </a:lnTo>
                    <a:lnTo>
                      <a:pt x="691" y="215"/>
                    </a:lnTo>
                    <a:lnTo>
                      <a:pt x="596" y="357"/>
                    </a:lnTo>
                    <a:lnTo>
                      <a:pt x="477" y="524"/>
                    </a:lnTo>
                    <a:lnTo>
                      <a:pt x="381" y="762"/>
                    </a:lnTo>
                    <a:lnTo>
                      <a:pt x="262" y="1000"/>
                    </a:lnTo>
                    <a:lnTo>
                      <a:pt x="191" y="1286"/>
                    </a:lnTo>
                    <a:lnTo>
                      <a:pt x="96" y="1572"/>
                    </a:lnTo>
                    <a:lnTo>
                      <a:pt x="48" y="1858"/>
                    </a:lnTo>
                    <a:lnTo>
                      <a:pt x="0" y="2167"/>
                    </a:lnTo>
                    <a:lnTo>
                      <a:pt x="0" y="2453"/>
                    </a:lnTo>
                    <a:lnTo>
                      <a:pt x="0" y="2739"/>
                    </a:lnTo>
                    <a:lnTo>
                      <a:pt x="48" y="3001"/>
                    </a:lnTo>
                    <a:lnTo>
                      <a:pt x="524" y="3167"/>
                    </a:lnTo>
                    <a:lnTo>
                      <a:pt x="977" y="3310"/>
                    </a:lnTo>
                    <a:lnTo>
                      <a:pt x="1405" y="3405"/>
                    </a:lnTo>
                    <a:lnTo>
                      <a:pt x="1667" y="3286"/>
                    </a:lnTo>
                    <a:lnTo>
                      <a:pt x="1834" y="3167"/>
                    </a:lnTo>
                    <a:lnTo>
                      <a:pt x="1905" y="3072"/>
                    </a:lnTo>
                    <a:lnTo>
                      <a:pt x="2001" y="2929"/>
                    </a:lnTo>
                    <a:lnTo>
                      <a:pt x="1905" y="2691"/>
                    </a:lnTo>
                    <a:lnTo>
                      <a:pt x="1881" y="2524"/>
                    </a:lnTo>
                    <a:lnTo>
                      <a:pt x="1881" y="2429"/>
                    </a:lnTo>
                    <a:lnTo>
                      <a:pt x="1881" y="2358"/>
                    </a:lnTo>
                    <a:lnTo>
                      <a:pt x="1929" y="2191"/>
                    </a:lnTo>
                    <a:lnTo>
                      <a:pt x="1929" y="2096"/>
                    </a:lnTo>
                    <a:lnTo>
                      <a:pt x="1929" y="1834"/>
                    </a:lnTo>
                    <a:lnTo>
                      <a:pt x="1977" y="1643"/>
                    </a:lnTo>
                    <a:lnTo>
                      <a:pt x="2001" y="1500"/>
                    </a:lnTo>
                    <a:lnTo>
                      <a:pt x="2048" y="1358"/>
                    </a:lnTo>
                    <a:lnTo>
                      <a:pt x="2072" y="1310"/>
                    </a:lnTo>
                    <a:lnTo>
                      <a:pt x="1620" y="857"/>
                    </a:lnTo>
                    <a:lnTo>
                      <a:pt x="953" y="0"/>
                    </a:lnTo>
                    <a:close/>
                  </a:path>
                </a:pathLst>
              </a:custGeom>
              <a:solidFill>
                <a:srgbClr val="EFAEA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61" name="Google Shape;963;g2e0683f995c_0_0">
                <a:extLst>
                  <a:ext uri="{FF2B5EF4-FFF2-40B4-BE49-F238E27FC236}">
                    <a16:creationId xmlns:a16="http://schemas.microsoft.com/office/drawing/2014/main" id="{455DC429-67B9-650F-72FC-215E13587ED8}"/>
                  </a:ext>
                </a:extLst>
              </p:cNvPr>
              <p:cNvSpPr/>
              <p:nvPr/>
            </p:nvSpPr>
            <p:spPr>
              <a:xfrm>
                <a:off x="8294338" y="698340"/>
                <a:ext cx="34514" cy="56735"/>
              </a:xfrm>
              <a:custGeom>
                <a:avLst/>
                <a:gdLst/>
                <a:ahLst/>
                <a:cxnLst/>
                <a:rect l="l" t="t" r="r" b="b"/>
                <a:pathLst>
                  <a:path w="2072" h="3406" fill="none" extrusionOk="0">
                    <a:moveTo>
                      <a:pt x="48" y="3001"/>
                    </a:moveTo>
                    <a:lnTo>
                      <a:pt x="48" y="3001"/>
                    </a:lnTo>
                    <a:lnTo>
                      <a:pt x="524" y="3167"/>
                    </a:lnTo>
                    <a:lnTo>
                      <a:pt x="977" y="3310"/>
                    </a:lnTo>
                    <a:lnTo>
                      <a:pt x="1405" y="3405"/>
                    </a:lnTo>
                    <a:lnTo>
                      <a:pt x="1405" y="3405"/>
                    </a:lnTo>
                    <a:lnTo>
                      <a:pt x="1667" y="3286"/>
                    </a:lnTo>
                    <a:lnTo>
                      <a:pt x="1834" y="3167"/>
                    </a:lnTo>
                    <a:lnTo>
                      <a:pt x="1905" y="3072"/>
                    </a:lnTo>
                    <a:lnTo>
                      <a:pt x="2001" y="2929"/>
                    </a:lnTo>
                    <a:lnTo>
                      <a:pt x="2001" y="2929"/>
                    </a:lnTo>
                    <a:lnTo>
                      <a:pt x="1905" y="2691"/>
                    </a:lnTo>
                    <a:lnTo>
                      <a:pt x="1881" y="2524"/>
                    </a:lnTo>
                    <a:lnTo>
                      <a:pt x="1881" y="2524"/>
                    </a:lnTo>
                    <a:lnTo>
                      <a:pt x="1881" y="2429"/>
                    </a:lnTo>
                    <a:lnTo>
                      <a:pt x="1881" y="2358"/>
                    </a:lnTo>
                    <a:lnTo>
                      <a:pt x="1929" y="2191"/>
                    </a:lnTo>
                    <a:lnTo>
                      <a:pt x="1929" y="2191"/>
                    </a:lnTo>
                    <a:lnTo>
                      <a:pt x="1929" y="2096"/>
                    </a:lnTo>
                    <a:lnTo>
                      <a:pt x="1929" y="2096"/>
                    </a:lnTo>
                    <a:lnTo>
                      <a:pt x="1929" y="1834"/>
                    </a:lnTo>
                    <a:lnTo>
                      <a:pt x="1977" y="1643"/>
                    </a:lnTo>
                    <a:lnTo>
                      <a:pt x="1977" y="1643"/>
                    </a:lnTo>
                    <a:lnTo>
                      <a:pt x="2001" y="1500"/>
                    </a:lnTo>
                    <a:lnTo>
                      <a:pt x="2001" y="1500"/>
                    </a:lnTo>
                    <a:lnTo>
                      <a:pt x="2048" y="1358"/>
                    </a:lnTo>
                    <a:lnTo>
                      <a:pt x="2072" y="1310"/>
                    </a:lnTo>
                    <a:lnTo>
                      <a:pt x="1620" y="857"/>
                    </a:lnTo>
                    <a:lnTo>
                      <a:pt x="953" y="0"/>
                    </a:lnTo>
                    <a:lnTo>
                      <a:pt x="953" y="0"/>
                    </a:lnTo>
                    <a:lnTo>
                      <a:pt x="905" y="24"/>
                    </a:lnTo>
                    <a:lnTo>
                      <a:pt x="762" y="119"/>
                    </a:lnTo>
                    <a:lnTo>
                      <a:pt x="691" y="215"/>
                    </a:lnTo>
                    <a:lnTo>
                      <a:pt x="596" y="357"/>
                    </a:lnTo>
                    <a:lnTo>
                      <a:pt x="477" y="524"/>
                    </a:lnTo>
                    <a:lnTo>
                      <a:pt x="381" y="762"/>
                    </a:lnTo>
                    <a:lnTo>
                      <a:pt x="381" y="762"/>
                    </a:lnTo>
                    <a:lnTo>
                      <a:pt x="262" y="1000"/>
                    </a:lnTo>
                    <a:lnTo>
                      <a:pt x="191" y="1286"/>
                    </a:lnTo>
                    <a:lnTo>
                      <a:pt x="96" y="1572"/>
                    </a:lnTo>
                    <a:lnTo>
                      <a:pt x="48" y="1858"/>
                    </a:lnTo>
                    <a:lnTo>
                      <a:pt x="0" y="2167"/>
                    </a:lnTo>
                    <a:lnTo>
                      <a:pt x="0" y="2453"/>
                    </a:lnTo>
                    <a:lnTo>
                      <a:pt x="0" y="2739"/>
                    </a:lnTo>
                    <a:lnTo>
                      <a:pt x="48" y="300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62" name="Google Shape;964;g2e0683f995c_0_0">
                <a:extLst>
                  <a:ext uri="{FF2B5EF4-FFF2-40B4-BE49-F238E27FC236}">
                    <a16:creationId xmlns:a16="http://schemas.microsoft.com/office/drawing/2014/main" id="{993FD90C-2602-2778-3593-DA0CF71C9162}"/>
                  </a:ext>
                </a:extLst>
              </p:cNvPr>
              <p:cNvSpPr/>
              <p:nvPr/>
            </p:nvSpPr>
            <p:spPr>
              <a:xfrm>
                <a:off x="8309014" y="718962"/>
                <a:ext cx="18656" cy="21438"/>
              </a:xfrm>
              <a:custGeom>
                <a:avLst/>
                <a:gdLst/>
                <a:ahLst/>
                <a:cxnLst/>
                <a:rect l="l" t="t" r="r" b="b"/>
                <a:pathLst>
                  <a:path w="1120" h="1287" extrusionOk="0">
                    <a:moveTo>
                      <a:pt x="167" y="0"/>
                    </a:moveTo>
                    <a:lnTo>
                      <a:pt x="96" y="48"/>
                    </a:lnTo>
                    <a:lnTo>
                      <a:pt x="48" y="96"/>
                    </a:lnTo>
                    <a:lnTo>
                      <a:pt x="24" y="167"/>
                    </a:lnTo>
                    <a:lnTo>
                      <a:pt x="0" y="239"/>
                    </a:lnTo>
                    <a:lnTo>
                      <a:pt x="24" y="429"/>
                    </a:lnTo>
                    <a:lnTo>
                      <a:pt x="96" y="620"/>
                    </a:lnTo>
                    <a:lnTo>
                      <a:pt x="143" y="739"/>
                    </a:lnTo>
                    <a:lnTo>
                      <a:pt x="215" y="834"/>
                    </a:lnTo>
                    <a:lnTo>
                      <a:pt x="310" y="929"/>
                    </a:lnTo>
                    <a:lnTo>
                      <a:pt x="405" y="1024"/>
                    </a:lnTo>
                    <a:lnTo>
                      <a:pt x="524" y="1096"/>
                    </a:lnTo>
                    <a:lnTo>
                      <a:pt x="667" y="1167"/>
                    </a:lnTo>
                    <a:lnTo>
                      <a:pt x="834" y="1239"/>
                    </a:lnTo>
                    <a:lnTo>
                      <a:pt x="1000" y="1286"/>
                    </a:lnTo>
                    <a:lnTo>
                      <a:pt x="1000" y="1239"/>
                    </a:lnTo>
                    <a:lnTo>
                      <a:pt x="1000" y="1120"/>
                    </a:lnTo>
                    <a:lnTo>
                      <a:pt x="1048" y="953"/>
                    </a:lnTo>
                    <a:lnTo>
                      <a:pt x="1048" y="858"/>
                    </a:lnTo>
                    <a:lnTo>
                      <a:pt x="1048" y="596"/>
                    </a:lnTo>
                    <a:lnTo>
                      <a:pt x="1096" y="405"/>
                    </a:lnTo>
                    <a:lnTo>
                      <a:pt x="1120" y="262"/>
                    </a:lnTo>
                    <a:lnTo>
                      <a:pt x="762" y="120"/>
                    </a:lnTo>
                    <a:lnTo>
                      <a:pt x="500" y="24"/>
                    </a:lnTo>
                    <a:lnTo>
                      <a:pt x="358" y="0"/>
                    </a:lnTo>
                    <a:close/>
                  </a:path>
                </a:pathLst>
              </a:custGeom>
              <a:solidFill>
                <a:srgbClr val="D29A9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63" name="Google Shape;965;g2e0683f995c_0_0">
                <a:extLst>
                  <a:ext uri="{FF2B5EF4-FFF2-40B4-BE49-F238E27FC236}">
                    <a16:creationId xmlns:a16="http://schemas.microsoft.com/office/drawing/2014/main" id="{9F51367E-4037-91F0-FECD-D5B7B7D91C87}"/>
                  </a:ext>
                </a:extLst>
              </p:cNvPr>
              <p:cNvSpPr/>
              <p:nvPr/>
            </p:nvSpPr>
            <p:spPr>
              <a:xfrm>
                <a:off x="8309014" y="718962"/>
                <a:ext cx="18656" cy="21438"/>
              </a:xfrm>
              <a:custGeom>
                <a:avLst/>
                <a:gdLst/>
                <a:ahLst/>
                <a:cxnLst/>
                <a:rect l="l" t="t" r="r" b="b"/>
                <a:pathLst>
                  <a:path w="1120" h="1287" fill="none" extrusionOk="0">
                    <a:moveTo>
                      <a:pt x="238" y="0"/>
                    </a:moveTo>
                    <a:lnTo>
                      <a:pt x="238" y="0"/>
                    </a:lnTo>
                    <a:lnTo>
                      <a:pt x="167" y="0"/>
                    </a:lnTo>
                    <a:lnTo>
                      <a:pt x="167" y="0"/>
                    </a:lnTo>
                    <a:lnTo>
                      <a:pt x="96" y="48"/>
                    </a:lnTo>
                    <a:lnTo>
                      <a:pt x="48" y="96"/>
                    </a:lnTo>
                    <a:lnTo>
                      <a:pt x="24" y="167"/>
                    </a:lnTo>
                    <a:lnTo>
                      <a:pt x="0" y="239"/>
                    </a:lnTo>
                    <a:lnTo>
                      <a:pt x="24" y="429"/>
                    </a:lnTo>
                    <a:lnTo>
                      <a:pt x="96" y="620"/>
                    </a:lnTo>
                    <a:lnTo>
                      <a:pt x="143" y="739"/>
                    </a:lnTo>
                    <a:lnTo>
                      <a:pt x="215" y="834"/>
                    </a:lnTo>
                    <a:lnTo>
                      <a:pt x="310" y="929"/>
                    </a:lnTo>
                    <a:lnTo>
                      <a:pt x="405" y="1024"/>
                    </a:lnTo>
                    <a:lnTo>
                      <a:pt x="524" y="1096"/>
                    </a:lnTo>
                    <a:lnTo>
                      <a:pt x="667" y="1167"/>
                    </a:lnTo>
                    <a:lnTo>
                      <a:pt x="834" y="1239"/>
                    </a:lnTo>
                    <a:lnTo>
                      <a:pt x="1000" y="1286"/>
                    </a:lnTo>
                    <a:lnTo>
                      <a:pt x="1000" y="1286"/>
                    </a:lnTo>
                    <a:lnTo>
                      <a:pt x="1000" y="1239"/>
                    </a:lnTo>
                    <a:lnTo>
                      <a:pt x="1000" y="1239"/>
                    </a:lnTo>
                    <a:lnTo>
                      <a:pt x="1000" y="1239"/>
                    </a:lnTo>
                    <a:lnTo>
                      <a:pt x="1000" y="1239"/>
                    </a:lnTo>
                    <a:lnTo>
                      <a:pt x="1000" y="1120"/>
                    </a:lnTo>
                    <a:lnTo>
                      <a:pt x="1048" y="953"/>
                    </a:lnTo>
                    <a:lnTo>
                      <a:pt x="1048" y="953"/>
                    </a:lnTo>
                    <a:lnTo>
                      <a:pt x="1048" y="858"/>
                    </a:lnTo>
                    <a:lnTo>
                      <a:pt x="1048" y="858"/>
                    </a:lnTo>
                    <a:lnTo>
                      <a:pt x="1048" y="858"/>
                    </a:lnTo>
                    <a:lnTo>
                      <a:pt x="1048" y="858"/>
                    </a:lnTo>
                    <a:lnTo>
                      <a:pt x="1048" y="858"/>
                    </a:lnTo>
                    <a:lnTo>
                      <a:pt x="1048" y="858"/>
                    </a:lnTo>
                    <a:lnTo>
                      <a:pt x="1048" y="596"/>
                    </a:lnTo>
                    <a:lnTo>
                      <a:pt x="1096" y="405"/>
                    </a:lnTo>
                    <a:lnTo>
                      <a:pt x="1096" y="405"/>
                    </a:lnTo>
                    <a:lnTo>
                      <a:pt x="1120" y="262"/>
                    </a:lnTo>
                    <a:lnTo>
                      <a:pt x="1120" y="262"/>
                    </a:lnTo>
                    <a:lnTo>
                      <a:pt x="762" y="120"/>
                    </a:lnTo>
                    <a:lnTo>
                      <a:pt x="500" y="24"/>
                    </a:lnTo>
                    <a:lnTo>
                      <a:pt x="358" y="0"/>
                    </a:lnTo>
                    <a:lnTo>
                      <a:pt x="238"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64" name="Google Shape;966;g2e0683f995c_0_0">
                <a:extLst>
                  <a:ext uri="{FF2B5EF4-FFF2-40B4-BE49-F238E27FC236}">
                    <a16:creationId xmlns:a16="http://schemas.microsoft.com/office/drawing/2014/main" id="{D660B20A-8B32-C909-2265-C0C0733DB65D}"/>
                  </a:ext>
                </a:extLst>
              </p:cNvPr>
              <p:cNvSpPr/>
              <p:nvPr/>
            </p:nvSpPr>
            <p:spPr>
              <a:xfrm>
                <a:off x="8299102" y="686830"/>
                <a:ext cx="45225" cy="46824"/>
              </a:xfrm>
              <a:custGeom>
                <a:avLst/>
                <a:gdLst/>
                <a:ahLst/>
                <a:cxnLst/>
                <a:rect l="l" t="t" r="r" b="b"/>
                <a:pathLst>
                  <a:path w="2715" h="2811" extrusionOk="0">
                    <a:moveTo>
                      <a:pt x="2286" y="1"/>
                    </a:moveTo>
                    <a:lnTo>
                      <a:pt x="0" y="48"/>
                    </a:lnTo>
                    <a:lnTo>
                      <a:pt x="0" y="763"/>
                    </a:lnTo>
                    <a:lnTo>
                      <a:pt x="48" y="1358"/>
                    </a:lnTo>
                    <a:lnTo>
                      <a:pt x="71" y="1620"/>
                    </a:lnTo>
                    <a:lnTo>
                      <a:pt x="119" y="1810"/>
                    </a:lnTo>
                    <a:lnTo>
                      <a:pt x="143" y="1906"/>
                    </a:lnTo>
                    <a:lnTo>
                      <a:pt x="214" y="2001"/>
                    </a:lnTo>
                    <a:lnTo>
                      <a:pt x="381" y="2168"/>
                    </a:lnTo>
                    <a:lnTo>
                      <a:pt x="619" y="2358"/>
                    </a:lnTo>
                    <a:lnTo>
                      <a:pt x="929" y="2501"/>
                    </a:lnTo>
                    <a:lnTo>
                      <a:pt x="1262" y="2644"/>
                    </a:lnTo>
                    <a:lnTo>
                      <a:pt x="1619" y="2739"/>
                    </a:lnTo>
                    <a:lnTo>
                      <a:pt x="1976" y="2787"/>
                    </a:lnTo>
                    <a:lnTo>
                      <a:pt x="2334" y="2811"/>
                    </a:lnTo>
                    <a:lnTo>
                      <a:pt x="2405" y="2787"/>
                    </a:lnTo>
                    <a:lnTo>
                      <a:pt x="2453" y="2739"/>
                    </a:lnTo>
                    <a:lnTo>
                      <a:pt x="2477" y="2691"/>
                    </a:lnTo>
                    <a:lnTo>
                      <a:pt x="2500" y="2596"/>
                    </a:lnTo>
                    <a:lnTo>
                      <a:pt x="2500" y="2406"/>
                    </a:lnTo>
                    <a:lnTo>
                      <a:pt x="2477" y="2191"/>
                    </a:lnTo>
                    <a:lnTo>
                      <a:pt x="2477" y="1977"/>
                    </a:lnTo>
                    <a:lnTo>
                      <a:pt x="2477" y="1787"/>
                    </a:lnTo>
                    <a:lnTo>
                      <a:pt x="2477" y="1715"/>
                    </a:lnTo>
                    <a:lnTo>
                      <a:pt x="2500" y="1668"/>
                    </a:lnTo>
                    <a:lnTo>
                      <a:pt x="2548" y="1620"/>
                    </a:lnTo>
                    <a:lnTo>
                      <a:pt x="2619" y="1620"/>
                    </a:lnTo>
                    <a:lnTo>
                      <a:pt x="2667" y="1596"/>
                    </a:lnTo>
                    <a:lnTo>
                      <a:pt x="2715" y="1572"/>
                    </a:lnTo>
                    <a:lnTo>
                      <a:pt x="2715" y="1501"/>
                    </a:lnTo>
                    <a:lnTo>
                      <a:pt x="2715" y="1429"/>
                    </a:lnTo>
                    <a:lnTo>
                      <a:pt x="2691" y="1239"/>
                    </a:lnTo>
                    <a:lnTo>
                      <a:pt x="2619" y="1025"/>
                    </a:lnTo>
                    <a:lnTo>
                      <a:pt x="2429" y="501"/>
                    </a:lnTo>
                    <a:lnTo>
                      <a:pt x="2334" y="239"/>
                    </a:lnTo>
                    <a:lnTo>
                      <a:pt x="2286" y="1"/>
                    </a:lnTo>
                    <a:close/>
                  </a:path>
                </a:pathLst>
              </a:custGeom>
              <a:solidFill>
                <a:srgbClr val="EFAEA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65" name="Google Shape;967;g2e0683f995c_0_0">
                <a:extLst>
                  <a:ext uri="{FF2B5EF4-FFF2-40B4-BE49-F238E27FC236}">
                    <a16:creationId xmlns:a16="http://schemas.microsoft.com/office/drawing/2014/main" id="{1F441CB8-5F3A-8940-F0EC-9C8B894EA67C}"/>
                  </a:ext>
                </a:extLst>
              </p:cNvPr>
              <p:cNvSpPr/>
              <p:nvPr/>
            </p:nvSpPr>
            <p:spPr>
              <a:xfrm>
                <a:off x="8284027" y="664226"/>
                <a:ext cx="63865" cy="53954"/>
              </a:xfrm>
              <a:custGeom>
                <a:avLst/>
                <a:gdLst/>
                <a:ahLst/>
                <a:cxnLst/>
                <a:rect l="l" t="t" r="r" b="b"/>
                <a:pathLst>
                  <a:path w="3834" h="3239" extrusionOk="0">
                    <a:moveTo>
                      <a:pt x="2167" y="0"/>
                    </a:moveTo>
                    <a:lnTo>
                      <a:pt x="2048" y="24"/>
                    </a:lnTo>
                    <a:lnTo>
                      <a:pt x="1977" y="48"/>
                    </a:lnTo>
                    <a:lnTo>
                      <a:pt x="1834" y="143"/>
                    </a:lnTo>
                    <a:lnTo>
                      <a:pt x="1715" y="238"/>
                    </a:lnTo>
                    <a:lnTo>
                      <a:pt x="1643" y="262"/>
                    </a:lnTo>
                    <a:lnTo>
                      <a:pt x="1524" y="286"/>
                    </a:lnTo>
                    <a:lnTo>
                      <a:pt x="1453" y="286"/>
                    </a:lnTo>
                    <a:lnTo>
                      <a:pt x="1357" y="262"/>
                    </a:lnTo>
                    <a:lnTo>
                      <a:pt x="1143" y="191"/>
                    </a:lnTo>
                    <a:lnTo>
                      <a:pt x="1000" y="167"/>
                    </a:lnTo>
                    <a:lnTo>
                      <a:pt x="881" y="143"/>
                    </a:lnTo>
                    <a:lnTo>
                      <a:pt x="762" y="167"/>
                    </a:lnTo>
                    <a:lnTo>
                      <a:pt x="643" y="238"/>
                    </a:lnTo>
                    <a:lnTo>
                      <a:pt x="572" y="334"/>
                    </a:lnTo>
                    <a:lnTo>
                      <a:pt x="500" y="405"/>
                    </a:lnTo>
                    <a:lnTo>
                      <a:pt x="429" y="500"/>
                    </a:lnTo>
                    <a:lnTo>
                      <a:pt x="405" y="596"/>
                    </a:lnTo>
                    <a:lnTo>
                      <a:pt x="357" y="786"/>
                    </a:lnTo>
                    <a:lnTo>
                      <a:pt x="357" y="953"/>
                    </a:lnTo>
                    <a:lnTo>
                      <a:pt x="357" y="1143"/>
                    </a:lnTo>
                    <a:lnTo>
                      <a:pt x="334" y="1334"/>
                    </a:lnTo>
                    <a:lnTo>
                      <a:pt x="262" y="1524"/>
                    </a:lnTo>
                    <a:lnTo>
                      <a:pt x="214" y="1596"/>
                    </a:lnTo>
                    <a:lnTo>
                      <a:pt x="119" y="1691"/>
                    </a:lnTo>
                    <a:lnTo>
                      <a:pt x="48" y="1810"/>
                    </a:lnTo>
                    <a:lnTo>
                      <a:pt x="0" y="1929"/>
                    </a:lnTo>
                    <a:lnTo>
                      <a:pt x="0" y="2048"/>
                    </a:lnTo>
                    <a:lnTo>
                      <a:pt x="24" y="2191"/>
                    </a:lnTo>
                    <a:lnTo>
                      <a:pt x="72" y="2334"/>
                    </a:lnTo>
                    <a:lnTo>
                      <a:pt x="143" y="2477"/>
                    </a:lnTo>
                    <a:lnTo>
                      <a:pt x="334" y="2739"/>
                    </a:lnTo>
                    <a:lnTo>
                      <a:pt x="548" y="2953"/>
                    </a:lnTo>
                    <a:lnTo>
                      <a:pt x="762" y="3144"/>
                    </a:lnTo>
                    <a:lnTo>
                      <a:pt x="953" y="3239"/>
                    </a:lnTo>
                    <a:lnTo>
                      <a:pt x="1048" y="3239"/>
                    </a:lnTo>
                    <a:lnTo>
                      <a:pt x="1096" y="3144"/>
                    </a:lnTo>
                    <a:lnTo>
                      <a:pt x="1096" y="3048"/>
                    </a:lnTo>
                    <a:lnTo>
                      <a:pt x="1072" y="2786"/>
                    </a:lnTo>
                    <a:lnTo>
                      <a:pt x="1048" y="2548"/>
                    </a:lnTo>
                    <a:lnTo>
                      <a:pt x="1072" y="2453"/>
                    </a:lnTo>
                    <a:lnTo>
                      <a:pt x="1119" y="2382"/>
                    </a:lnTo>
                    <a:lnTo>
                      <a:pt x="1191" y="2310"/>
                    </a:lnTo>
                    <a:lnTo>
                      <a:pt x="1262" y="2286"/>
                    </a:lnTo>
                    <a:lnTo>
                      <a:pt x="1334" y="2286"/>
                    </a:lnTo>
                    <a:lnTo>
                      <a:pt x="1381" y="2334"/>
                    </a:lnTo>
                    <a:lnTo>
                      <a:pt x="1500" y="2453"/>
                    </a:lnTo>
                    <a:lnTo>
                      <a:pt x="1643" y="2596"/>
                    </a:lnTo>
                    <a:lnTo>
                      <a:pt x="1738" y="2667"/>
                    </a:lnTo>
                    <a:lnTo>
                      <a:pt x="1834" y="2715"/>
                    </a:lnTo>
                    <a:lnTo>
                      <a:pt x="1929" y="2739"/>
                    </a:lnTo>
                    <a:lnTo>
                      <a:pt x="2024" y="2715"/>
                    </a:lnTo>
                    <a:lnTo>
                      <a:pt x="2096" y="2691"/>
                    </a:lnTo>
                    <a:lnTo>
                      <a:pt x="2119" y="2620"/>
                    </a:lnTo>
                    <a:lnTo>
                      <a:pt x="2096" y="2524"/>
                    </a:lnTo>
                    <a:lnTo>
                      <a:pt x="2024" y="2382"/>
                    </a:lnTo>
                    <a:lnTo>
                      <a:pt x="1929" y="2239"/>
                    </a:lnTo>
                    <a:lnTo>
                      <a:pt x="1881" y="2143"/>
                    </a:lnTo>
                    <a:lnTo>
                      <a:pt x="1881" y="2048"/>
                    </a:lnTo>
                    <a:lnTo>
                      <a:pt x="1905" y="1977"/>
                    </a:lnTo>
                    <a:lnTo>
                      <a:pt x="1953" y="1953"/>
                    </a:lnTo>
                    <a:lnTo>
                      <a:pt x="2024" y="1929"/>
                    </a:lnTo>
                    <a:lnTo>
                      <a:pt x="2215" y="1929"/>
                    </a:lnTo>
                    <a:lnTo>
                      <a:pt x="2405" y="1953"/>
                    </a:lnTo>
                    <a:lnTo>
                      <a:pt x="2524" y="1977"/>
                    </a:lnTo>
                    <a:lnTo>
                      <a:pt x="2620" y="1977"/>
                    </a:lnTo>
                    <a:lnTo>
                      <a:pt x="2739" y="1905"/>
                    </a:lnTo>
                    <a:lnTo>
                      <a:pt x="2810" y="1858"/>
                    </a:lnTo>
                    <a:lnTo>
                      <a:pt x="2810" y="1810"/>
                    </a:lnTo>
                    <a:lnTo>
                      <a:pt x="2786" y="1667"/>
                    </a:lnTo>
                    <a:lnTo>
                      <a:pt x="2786" y="1596"/>
                    </a:lnTo>
                    <a:lnTo>
                      <a:pt x="2810" y="1524"/>
                    </a:lnTo>
                    <a:lnTo>
                      <a:pt x="2858" y="1477"/>
                    </a:lnTo>
                    <a:lnTo>
                      <a:pt x="2977" y="1453"/>
                    </a:lnTo>
                    <a:lnTo>
                      <a:pt x="3262" y="1381"/>
                    </a:lnTo>
                    <a:lnTo>
                      <a:pt x="3405" y="1358"/>
                    </a:lnTo>
                    <a:lnTo>
                      <a:pt x="3548" y="1310"/>
                    </a:lnTo>
                    <a:lnTo>
                      <a:pt x="3643" y="1239"/>
                    </a:lnTo>
                    <a:lnTo>
                      <a:pt x="3739" y="1143"/>
                    </a:lnTo>
                    <a:lnTo>
                      <a:pt x="3810" y="1024"/>
                    </a:lnTo>
                    <a:lnTo>
                      <a:pt x="3834" y="881"/>
                    </a:lnTo>
                    <a:lnTo>
                      <a:pt x="3834" y="762"/>
                    </a:lnTo>
                    <a:lnTo>
                      <a:pt x="3810" y="667"/>
                    </a:lnTo>
                    <a:lnTo>
                      <a:pt x="3786" y="572"/>
                    </a:lnTo>
                    <a:lnTo>
                      <a:pt x="3763" y="524"/>
                    </a:lnTo>
                    <a:lnTo>
                      <a:pt x="3715" y="453"/>
                    </a:lnTo>
                    <a:lnTo>
                      <a:pt x="3667" y="429"/>
                    </a:lnTo>
                    <a:lnTo>
                      <a:pt x="3524" y="381"/>
                    </a:lnTo>
                    <a:lnTo>
                      <a:pt x="3382" y="358"/>
                    </a:lnTo>
                    <a:lnTo>
                      <a:pt x="3239" y="358"/>
                    </a:lnTo>
                    <a:lnTo>
                      <a:pt x="2929" y="429"/>
                    </a:lnTo>
                    <a:lnTo>
                      <a:pt x="2858" y="429"/>
                    </a:lnTo>
                    <a:lnTo>
                      <a:pt x="2786" y="381"/>
                    </a:lnTo>
                    <a:lnTo>
                      <a:pt x="2643" y="215"/>
                    </a:lnTo>
                    <a:lnTo>
                      <a:pt x="2548" y="143"/>
                    </a:lnTo>
                    <a:lnTo>
                      <a:pt x="2453" y="72"/>
                    </a:lnTo>
                    <a:lnTo>
                      <a:pt x="2334" y="24"/>
                    </a:lnTo>
                    <a:lnTo>
                      <a:pt x="2167" y="0"/>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66" name="Google Shape;968;g2e0683f995c_0_0">
                <a:extLst>
                  <a:ext uri="{FF2B5EF4-FFF2-40B4-BE49-F238E27FC236}">
                    <a16:creationId xmlns:a16="http://schemas.microsoft.com/office/drawing/2014/main" id="{83E0C7A9-A772-DEDC-E2F6-125E57AA640C}"/>
                  </a:ext>
                </a:extLst>
              </p:cNvPr>
              <p:cNvSpPr/>
              <p:nvPr/>
            </p:nvSpPr>
            <p:spPr>
              <a:xfrm>
                <a:off x="8075375" y="967276"/>
                <a:ext cx="41677" cy="34514"/>
              </a:xfrm>
              <a:custGeom>
                <a:avLst/>
                <a:gdLst/>
                <a:ahLst/>
                <a:cxnLst/>
                <a:rect l="l" t="t" r="r" b="b"/>
                <a:pathLst>
                  <a:path w="2502" h="2072" extrusionOk="0">
                    <a:moveTo>
                      <a:pt x="763" y="0"/>
                    </a:moveTo>
                    <a:lnTo>
                      <a:pt x="620" y="48"/>
                    </a:lnTo>
                    <a:lnTo>
                      <a:pt x="501" y="119"/>
                    </a:lnTo>
                    <a:lnTo>
                      <a:pt x="406" y="262"/>
                    </a:lnTo>
                    <a:lnTo>
                      <a:pt x="334" y="405"/>
                    </a:lnTo>
                    <a:lnTo>
                      <a:pt x="215" y="738"/>
                    </a:lnTo>
                    <a:lnTo>
                      <a:pt x="1" y="1238"/>
                    </a:lnTo>
                    <a:lnTo>
                      <a:pt x="263" y="1357"/>
                    </a:lnTo>
                    <a:lnTo>
                      <a:pt x="477" y="834"/>
                    </a:lnTo>
                    <a:lnTo>
                      <a:pt x="501" y="762"/>
                    </a:lnTo>
                    <a:lnTo>
                      <a:pt x="548" y="643"/>
                    </a:lnTo>
                    <a:lnTo>
                      <a:pt x="644" y="548"/>
                    </a:lnTo>
                    <a:lnTo>
                      <a:pt x="715" y="476"/>
                    </a:lnTo>
                    <a:lnTo>
                      <a:pt x="810" y="453"/>
                    </a:lnTo>
                    <a:lnTo>
                      <a:pt x="953" y="453"/>
                    </a:lnTo>
                    <a:lnTo>
                      <a:pt x="1882" y="834"/>
                    </a:lnTo>
                    <a:lnTo>
                      <a:pt x="1953" y="857"/>
                    </a:lnTo>
                    <a:lnTo>
                      <a:pt x="2025" y="881"/>
                    </a:lnTo>
                    <a:lnTo>
                      <a:pt x="2072" y="929"/>
                    </a:lnTo>
                    <a:lnTo>
                      <a:pt x="2120" y="1048"/>
                    </a:lnTo>
                    <a:lnTo>
                      <a:pt x="2144" y="1191"/>
                    </a:lnTo>
                    <a:lnTo>
                      <a:pt x="2096" y="1357"/>
                    </a:lnTo>
                    <a:lnTo>
                      <a:pt x="2072" y="1429"/>
                    </a:lnTo>
                    <a:lnTo>
                      <a:pt x="1858" y="1953"/>
                    </a:lnTo>
                    <a:lnTo>
                      <a:pt x="2144" y="2072"/>
                    </a:lnTo>
                    <a:lnTo>
                      <a:pt x="2334" y="1524"/>
                    </a:lnTo>
                    <a:lnTo>
                      <a:pt x="2453" y="1215"/>
                    </a:lnTo>
                    <a:lnTo>
                      <a:pt x="2477" y="1167"/>
                    </a:lnTo>
                    <a:lnTo>
                      <a:pt x="2501" y="1095"/>
                    </a:lnTo>
                    <a:lnTo>
                      <a:pt x="2501" y="929"/>
                    </a:lnTo>
                    <a:lnTo>
                      <a:pt x="2501" y="786"/>
                    </a:lnTo>
                    <a:lnTo>
                      <a:pt x="2453" y="714"/>
                    </a:lnTo>
                    <a:lnTo>
                      <a:pt x="2406" y="643"/>
                    </a:lnTo>
                    <a:lnTo>
                      <a:pt x="2358" y="572"/>
                    </a:lnTo>
                    <a:lnTo>
                      <a:pt x="2287" y="548"/>
                    </a:lnTo>
                    <a:lnTo>
                      <a:pt x="2025" y="429"/>
                    </a:lnTo>
                    <a:lnTo>
                      <a:pt x="1977" y="429"/>
                    </a:lnTo>
                    <a:lnTo>
                      <a:pt x="906" y="24"/>
                    </a:lnTo>
                    <a:lnTo>
                      <a:pt x="834" y="0"/>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67" name="Google Shape;969;g2e0683f995c_0_0">
                <a:extLst>
                  <a:ext uri="{FF2B5EF4-FFF2-40B4-BE49-F238E27FC236}">
                    <a16:creationId xmlns:a16="http://schemas.microsoft.com/office/drawing/2014/main" id="{8735EC71-1808-346D-D9FC-9D024245FD15}"/>
                  </a:ext>
                </a:extLst>
              </p:cNvPr>
              <p:cNvSpPr/>
              <p:nvPr/>
            </p:nvSpPr>
            <p:spPr>
              <a:xfrm>
                <a:off x="8088068" y="943472"/>
                <a:ext cx="29767" cy="38879"/>
              </a:xfrm>
              <a:custGeom>
                <a:avLst/>
                <a:gdLst/>
                <a:ahLst/>
                <a:cxnLst/>
                <a:rect l="l" t="t" r="r" b="b"/>
                <a:pathLst>
                  <a:path w="1787" h="2334" extrusionOk="0">
                    <a:moveTo>
                      <a:pt x="691" y="0"/>
                    </a:moveTo>
                    <a:lnTo>
                      <a:pt x="668" y="24"/>
                    </a:lnTo>
                    <a:lnTo>
                      <a:pt x="382" y="453"/>
                    </a:lnTo>
                    <a:lnTo>
                      <a:pt x="191" y="762"/>
                    </a:lnTo>
                    <a:lnTo>
                      <a:pt x="120" y="929"/>
                    </a:lnTo>
                    <a:lnTo>
                      <a:pt x="48" y="1072"/>
                    </a:lnTo>
                    <a:lnTo>
                      <a:pt x="25" y="1239"/>
                    </a:lnTo>
                    <a:lnTo>
                      <a:pt x="1" y="1381"/>
                    </a:lnTo>
                    <a:lnTo>
                      <a:pt x="1" y="1524"/>
                    </a:lnTo>
                    <a:lnTo>
                      <a:pt x="1" y="1643"/>
                    </a:lnTo>
                    <a:lnTo>
                      <a:pt x="25" y="1786"/>
                    </a:lnTo>
                    <a:lnTo>
                      <a:pt x="72" y="1905"/>
                    </a:lnTo>
                    <a:lnTo>
                      <a:pt x="120" y="2001"/>
                    </a:lnTo>
                    <a:lnTo>
                      <a:pt x="167" y="2096"/>
                    </a:lnTo>
                    <a:lnTo>
                      <a:pt x="263" y="2191"/>
                    </a:lnTo>
                    <a:lnTo>
                      <a:pt x="382" y="2239"/>
                    </a:lnTo>
                    <a:lnTo>
                      <a:pt x="501" y="2286"/>
                    </a:lnTo>
                    <a:lnTo>
                      <a:pt x="644" y="2310"/>
                    </a:lnTo>
                    <a:lnTo>
                      <a:pt x="787" y="2334"/>
                    </a:lnTo>
                    <a:lnTo>
                      <a:pt x="929" y="2334"/>
                    </a:lnTo>
                    <a:lnTo>
                      <a:pt x="1049" y="2286"/>
                    </a:lnTo>
                    <a:lnTo>
                      <a:pt x="1120" y="2239"/>
                    </a:lnTo>
                    <a:lnTo>
                      <a:pt x="1191" y="2191"/>
                    </a:lnTo>
                    <a:lnTo>
                      <a:pt x="1215" y="2120"/>
                    </a:lnTo>
                    <a:lnTo>
                      <a:pt x="1239" y="1953"/>
                    </a:lnTo>
                    <a:lnTo>
                      <a:pt x="1215" y="1858"/>
                    </a:lnTo>
                    <a:lnTo>
                      <a:pt x="1239" y="1834"/>
                    </a:lnTo>
                    <a:lnTo>
                      <a:pt x="1263" y="1858"/>
                    </a:lnTo>
                    <a:lnTo>
                      <a:pt x="1310" y="1953"/>
                    </a:lnTo>
                    <a:lnTo>
                      <a:pt x="1406" y="2096"/>
                    </a:lnTo>
                    <a:lnTo>
                      <a:pt x="1453" y="2143"/>
                    </a:lnTo>
                    <a:lnTo>
                      <a:pt x="1501" y="2191"/>
                    </a:lnTo>
                    <a:lnTo>
                      <a:pt x="1572" y="2239"/>
                    </a:lnTo>
                    <a:lnTo>
                      <a:pt x="1644" y="2263"/>
                    </a:lnTo>
                    <a:lnTo>
                      <a:pt x="1691" y="2239"/>
                    </a:lnTo>
                    <a:lnTo>
                      <a:pt x="1715" y="2215"/>
                    </a:lnTo>
                    <a:lnTo>
                      <a:pt x="1763" y="2143"/>
                    </a:lnTo>
                    <a:lnTo>
                      <a:pt x="1787" y="2024"/>
                    </a:lnTo>
                    <a:lnTo>
                      <a:pt x="1787" y="1858"/>
                    </a:lnTo>
                    <a:lnTo>
                      <a:pt x="1763" y="1501"/>
                    </a:lnTo>
                    <a:lnTo>
                      <a:pt x="1763" y="1120"/>
                    </a:lnTo>
                    <a:lnTo>
                      <a:pt x="1763" y="881"/>
                    </a:lnTo>
                    <a:lnTo>
                      <a:pt x="1739" y="715"/>
                    </a:lnTo>
                    <a:lnTo>
                      <a:pt x="1715" y="596"/>
                    </a:lnTo>
                    <a:lnTo>
                      <a:pt x="1739" y="405"/>
                    </a:lnTo>
                    <a:lnTo>
                      <a:pt x="1572" y="334"/>
                    </a:lnTo>
                    <a:lnTo>
                      <a:pt x="1239" y="143"/>
                    </a:lnTo>
                    <a:lnTo>
                      <a:pt x="1049" y="72"/>
                    </a:lnTo>
                    <a:lnTo>
                      <a:pt x="882" y="0"/>
                    </a:lnTo>
                    <a:close/>
                  </a:path>
                </a:pathLst>
              </a:custGeom>
              <a:solidFill>
                <a:srgbClr val="EEADA5"/>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68" name="Google Shape;970;g2e0683f995c_0_0">
                <a:extLst>
                  <a:ext uri="{FF2B5EF4-FFF2-40B4-BE49-F238E27FC236}">
                    <a16:creationId xmlns:a16="http://schemas.microsoft.com/office/drawing/2014/main" id="{C8597561-A015-057C-F166-524F0DA4EBD7}"/>
                  </a:ext>
                </a:extLst>
              </p:cNvPr>
              <p:cNvSpPr/>
              <p:nvPr/>
            </p:nvSpPr>
            <p:spPr>
              <a:xfrm>
                <a:off x="8106325" y="974405"/>
                <a:ext cx="10727" cy="26985"/>
              </a:xfrm>
              <a:custGeom>
                <a:avLst/>
                <a:gdLst/>
                <a:ahLst/>
                <a:cxnLst/>
                <a:rect l="l" t="t" r="r" b="b"/>
                <a:pathLst>
                  <a:path w="644" h="1620" extrusionOk="0">
                    <a:moveTo>
                      <a:pt x="143" y="1"/>
                    </a:moveTo>
                    <a:lnTo>
                      <a:pt x="143" y="96"/>
                    </a:lnTo>
                    <a:lnTo>
                      <a:pt x="119" y="239"/>
                    </a:lnTo>
                    <a:lnTo>
                      <a:pt x="119" y="429"/>
                    </a:lnTo>
                    <a:lnTo>
                      <a:pt x="167" y="453"/>
                    </a:lnTo>
                    <a:lnTo>
                      <a:pt x="214" y="501"/>
                    </a:lnTo>
                    <a:lnTo>
                      <a:pt x="262" y="620"/>
                    </a:lnTo>
                    <a:lnTo>
                      <a:pt x="286" y="763"/>
                    </a:lnTo>
                    <a:lnTo>
                      <a:pt x="238" y="929"/>
                    </a:lnTo>
                    <a:lnTo>
                      <a:pt x="214" y="1001"/>
                    </a:lnTo>
                    <a:lnTo>
                      <a:pt x="0" y="1525"/>
                    </a:lnTo>
                    <a:lnTo>
                      <a:pt x="286" y="1620"/>
                    </a:lnTo>
                    <a:lnTo>
                      <a:pt x="476" y="1096"/>
                    </a:lnTo>
                    <a:lnTo>
                      <a:pt x="595" y="787"/>
                    </a:lnTo>
                    <a:lnTo>
                      <a:pt x="619" y="739"/>
                    </a:lnTo>
                    <a:lnTo>
                      <a:pt x="643" y="667"/>
                    </a:lnTo>
                    <a:lnTo>
                      <a:pt x="643" y="501"/>
                    </a:lnTo>
                    <a:lnTo>
                      <a:pt x="643" y="358"/>
                    </a:lnTo>
                    <a:lnTo>
                      <a:pt x="595" y="263"/>
                    </a:lnTo>
                    <a:lnTo>
                      <a:pt x="548" y="191"/>
                    </a:lnTo>
                    <a:lnTo>
                      <a:pt x="500" y="144"/>
                    </a:lnTo>
                    <a:lnTo>
                      <a:pt x="429" y="96"/>
                    </a:lnTo>
                    <a:lnTo>
                      <a:pt x="167" y="1"/>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69" name="Google Shape;971;g2e0683f995c_0_0">
                <a:extLst>
                  <a:ext uri="{FF2B5EF4-FFF2-40B4-BE49-F238E27FC236}">
                    <a16:creationId xmlns:a16="http://schemas.microsoft.com/office/drawing/2014/main" id="{43E7D78E-BA1F-D404-69F8-C858144E860D}"/>
                  </a:ext>
                </a:extLst>
              </p:cNvPr>
              <p:cNvSpPr/>
              <p:nvPr/>
            </p:nvSpPr>
            <p:spPr>
              <a:xfrm>
                <a:off x="8003182" y="966076"/>
                <a:ext cx="159879" cy="130512"/>
              </a:xfrm>
              <a:custGeom>
                <a:avLst/>
                <a:gdLst/>
                <a:ahLst/>
                <a:cxnLst/>
                <a:rect l="l" t="t" r="r" b="b"/>
                <a:pathLst>
                  <a:path w="9598" h="7835" extrusionOk="0">
                    <a:moveTo>
                      <a:pt x="2120" y="1"/>
                    </a:moveTo>
                    <a:lnTo>
                      <a:pt x="1930" y="48"/>
                    </a:lnTo>
                    <a:lnTo>
                      <a:pt x="1763" y="120"/>
                    </a:lnTo>
                    <a:lnTo>
                      <a:pt x="1620" y="215"/>
                    </a:lnTo>
                    <a:lnTo>
                      <a:pt x="1501" y="334"/>
                    </a:lnTo>
                    <a:lnTo>
                      <a:pt x="1406" y="453"/>
                    </a:lnTo>
                    <a:lnTo>
                      <a:pt x="1358" y="548"/>
                    </a:lnTo>
                    <a:lnTo>
                      <a:pt x="96" y="4239"/>
                    </a:lnTo>
                    <a:lnTo>
                      <a:pt x="25" y="4454"/>
                    </a:lnTo>
                    <a:lnTo>
                      <a:pt x="1" y="4596"/>
                    </a:lnTo>
                    <a:lnTo>
                      <a:pt x="1" y="4739"/>
                    </a:lnTo>
                    <a:lnTo>
                      <a:pt x="49" y="4882"/>
                    </a:lnTo>
                    <a:lnTo>
                      <a:pt x="144" y="5049"/>
                    </a:lnTo>
                    <a:lnTo>
                      <a:pt x="215" y="5120"/>
                    </a:lnTo>
                    <a:lnTo>
                      <a:pt x="310" y="5168"/>
                    </a:lnTo>
                    <a:lnTo>
                      <a:pt x="430" y="5239"/>
                    </a:lnTo>
                    <a:lnTo>
                      <a:pt x="572" y="5287"/>
                    </a:lnTo>
                    <a:lnTo>
                      <a:pt x="7478" y="7811"/>
                    </a:lnTo>
                    <a:lnTo>
                      <a:pt x="7502" y="7811"/>
                    </a:lnTo>
                    <a:lnTo>
                      <a:pt x="7597" y="7835"/>
                    </a:lnTo>
                    <a:lnTo>
                      <a:pt x="7764" y="7835"/>
                    </a:lnTo>
                    <a:lnTo>
                      <a:pt x="7835" y="7811"/>
                    </a:lnTo>
                    <a:lnTo>
                      <a:pt x="7907" y="7764"/>
                    </a:lnTo>
                    <a:lnTo>
                      <a:pt x="7978" y="7716"/>
                    </a:lnTo>
                    <a:lnTo>
                      <a:pt x="8026" y="7644"/>
                    </a:lnTo>
                    <a:lnTo>
                      <a:pt x="8073" y="7549"/>
                    </a:lnTo>
                    <a:lnTo>
                      <a:pt x="9526" y="3692"/>
                    </a:lnTo>
                    <a:lnTo>
                      <a:pt x="9574" y="3501"/>
                    </a:lnTo>
                    <a:lnTo>
                      <a:pt x="9597" y="3311"/>
                    </a:lnTo>
                    <a:lnTo>
                      <a:pt x="9550" y="3120"/>
                    </a:lnTo>
                    <a:lnTo>
                      <a:pt x="9502" y="2953"/>
                    </a:lnTo>
                    <a:lnTo>
                      <a:pt x="9383" y="2787"/>
                    </a:lnTo>
                    <a:lnTo>
                      <a:pt x="9264" y="2644"/>
                    </a:lnTo>
                    <a:lnTo>
                      <a:pt x="9097" y="2549"/>
                    </a:lnTo>
                    <a:lnTo>
                      <a:pt x="8931" y="2453"/>
                    </a:lnTo>
                    <a:lnTo>
                      <a:pt x="8692" y="2358"/>
                    </a:lnTo>
                    <a:lnTo>
                      <a:pt x="2573" y="48"/>
                    </a:lnTo>
                    <a:lnTo>
                      <a:pt x="2454" y="24"/>
                    </a:lnTo>
                    <a:lnTo>
                      <a:pt x="2335" y="1"/>
                    </a:lnTo>
                    <a:close/>
                  </a:path>
                </a:pathLst>
              </a:custGeom>
              <a:solidFill>
                <a:srgbClr val="64636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70" name="Google Shape;972;g2e0683f995c_0_0">
                <a:extLst>
                  <a:ext uri="{FF2B5EF4-FFF2-40B4-BE49-F238E27FC236}">
                    <a16:creationId xmlns:a16="http://schemas.microsoft.com/office/drawing/2014/main" id="{8DA9D726-7751-0B36-4B0B-0A604FA57A81}"/>
                  </a:ext>
                </a:extLst>
              </p:cNvPr>
              <p:cNvSpPr/>
              <p:nvPr/>
            </p:nvSpPr>
            <p:spPr>
              <a:xfrm>
                <a:off x="8127747" y="1005355"/>
                <a:ext cx="35314" cy="91233"/>
              </a:xfrm>
              <a:custGeom>
                <a:avLst/>
                <a:gdLst/>
                <a:ahLst/>
                <a:cxnLst/>
                <a:rect l="l" t="t" r="r" b="b"/>
                <a:pathLst>
                  <a:path w="2120" h="5477" extrusionOk="0">
                    <a:moveTo>
                      <a:pt x="1214" y="0"/>
                    </a:moveTo>
                    <a:lnTo>
                      <a:pt x="1191" y="476"/>
                    </a:lnTo>
                    <a:lnTo>
                      <a:pt x="1143" y="976"/>
                    </a:lnTo>
                    <a:lnTo>
                      <a:pt x="1072" y="1524"/>
                    </a:lnTo>
                    <a:lnTo>
                      <a:pt x="1000" y="2072"/>
                    </a:lnTo>
                    <a:lnTo>
                      <a:pt x="881" y="2643"/>
                    </a:lnTo>
                    <a:lnTo>
                      <a:pt x="738" y="3191"/>
                    </a:lnTo>
                    <a:lnTo>
                      <a:pt x="572" y="3739"/>
                    </a:lnTo>
                    <a:lnTo>
                      <a:pt x="357" y="4263"/>
                    </a:lnTo>
                    <a:lnTo>
                      <a:pt x="191" y="4644"/>
                    </a:lnTo>
                    <a:lnTo>
                      <a:pt x="95" y="4977"/>
                    </a:lnTo>
                    <a:lnTo>
                      <a:pt x="24" y="5239"/>
                    </a:lnTo>
                    <a:lnTo>
                      <a:pt x="0" y="5453"/>
                    </a:lnTo>
                    <a:lnTo>
                      <a:pt x="24" y="5453"/>
                    </a:lnTo>
                    <a:lnTo>
                      <a:pt x="119" y="5477"/>
                    </a:lnTo>
                    <a:lnTo>
                      <a:pt x="286" y="5477"/>
                    </a:lnTo>
                    <a:lnTo>
                      <a:pt x="357" y="5453"/>
                    </a:lnTo>
                    <a:lnTo>
                      <a:pt x="429" y="5406"/>
                    </a:lnTo>
                    <a:lnTo>
                      <a:pt x="500" y="5358"/>
                    </a:lnTo>
                    <a:lnTo>
                      <a:pt x="548" y="5286"/>
                    </a:lnTo>
                    <a:lnTo>
                      <a:pt x="595" y="5191"/>
                    </a:lnTo>
                    <a:lnTo>
                      <a:pt x="2048" y="1334"/>
                    </a:lnTo>
                    <a:lnTo>
                      <a:pt x="2096" y="1143"/>
                    </a:lnTo>
                    <a:lnTo>
                      <a:pt x="2119" y="953"/>
                    </a:lnTo>
                    <a:lnTo>
                      <a:pt x="2072" y="762"/>
                    </a:lnTo>
                    <a:lnTo>
                      <a:pt x="2024" y="595"/>
                    </a:lnTo>
                    <a:lnTo>
                      <a:pt x="1905" y="429"/>
                    </a:lnTo>
                    <a:lnTo>
                      <a:pt x="1786" y="286"/>
                    </a:lnTo>
                    <a:lnTo>
                      <a:pt x="1619" y="191"/>
                    </a:lnTo>
                    <a:lnTo>
                      <a:pt x="1453" y="95"/>
                    </a:lnTo>
                    <a:lnTo>
                      <a:pt x="1214" y="0"/>
                    </a:lnTo>
                    <a:close/>
                  </a:path>
                </a:pathLst>
              </a:custGeom>
              <a:solidFill>
                <a:srgbClr val="929292"/>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71" name="Google Shape;973;g2e0683f995c_0_0">
                <a:extLst>
                  <a:ext uri="{FF2B5EF4-FFF2-40B4-BE49-F238E27FC236}">
                    <a16:creationId xmlns:a16="http://schemas.microsoft.com/office/drawing/2014/main" id="{BA0FFC34-D3EE-00D4-D6C5-440695ED7ADE}"/>
                  </a:ext>
                </a:extLst>
              </p:cNvPr>
              <p:cNvSpPr/>
              <p:nvPr/>
            </p:nvSpPr>
            <p:spPr>
              <a:xfrm>
                <a:off x="8092433" y="738002"/>
                <a:ext cx="201922" cy="230873"/>
              </a:xfrm>
              <a:custGeom>
                <a:avLst/>
                <a:gdLst/>
                <a:ahLst/>
                <a:cxnLst/>
                <a:rect l="l" t="t" r="r" b="b"/>
                <a:pathLst>
                  <a:path w="12122" h="13860" extrusionOk="0">
                    <a:moveTo>
                      <a:pt x="12097" y="0"/>
                    </a:moveTo>
                    <a:lnTo>
                      <a:pt x="11764" y="120"/>
                    </a:lnTo>
                    <a:lnTo>
                      <a:pt x="10859" y="429"/>
                    </a:lnTo>
                    <a:lnTo>
                      <a:pt x="10312" y="643"/>
                    </a:lnTo>
                    <a:lnTo>
                      <a:pt x="9740" y="882"/>
                    </a:lnTo>
                    <a:lnTo>
                      <a:pt x="9145" y="1167"/>
                    </a:lnTo>
                    <a:lnTo>
                      <a:pt x="8621" y="1453"/>
                    </a:lnTo>
                    <a:lnTo>
                      <a:pt x="8168" y="1739"/>
                    </a:lnTo>
                    <a:lnTo>
                      <a:pt x="7383" y="2358"/>
                    </a:lnTo>
                    <a:lnTo>
                      <a:pt x="6597" y="2977"/>
                    </a:lnTo>
                    <a:lnTo>
                      <a:pt x="5763" y="3691"/>
                    </a:lnTo>
                    <a:lnTo>
                      <a:pt x="4930" y="4430"/>
                    </a:lnTo>
                    <a:lnTo>
                      <a:pt x="4096" y="5192"/>
                    </a:lnTo>
                    <a:lnTo>
                      <a:pt x="3358" y="5930"/>
                    </a:lnTo>
                    <a:lnTo>
                      <a:pt x="2715" y="6620"/>
                    </a:lnTo>
                    <a:lnTo>
                      <a:pt x="2453" y="6954"/>
                    </a:lnTo>
                    <a:lnTo>
                      <a:pt x="2215" y="7263"/>
                    </a:lnTo>
                    <a:lnTo>
                      <a:pt x="2049" y="7525"/>
                    </a:lnTo>
                    <a:lnTo>
                      <a:pt x="1906" y="7787"/>
                    </a:lnTo>
                    <a:lnTo>
                      <a:pt x="1644" y="8382"/>
                    </a:lnTo>
                    <a:lnTo>
                      <a:pt x="1334" y="9002"/>
                    </a:lnTo>
                    <a:lnTo>
                      <a:pt x="691" y="10335"/>
                    </a:lnTo>
                    <a:lnTo>
                      <a:pt x="406" y="10954"/>
                    </a:lnTo>
                    <a:lnTo>
                      <a:pt x="191" y="11550"/>
                    </a:lnTo>
                    <a:lnTo>
                      <a:pt x="96" y="11811"/>
                    </a:lnTo>
                    <a:lnTo>
                      <a:pt x="48" y="12073"/>
                    </a:lnTo>
                    <a:lnTo>
                      <a:pt x="1" y="12288"/>
                    </a:lnTo>
                    <a:lnTo>
                      <a:pt x="1" y="12478"/>
                    </a:lnTo>
                    <a:lnTo>
                      <a:pt x="72" y="12550"/>
                    </a:lnTo>
                    <a:lnTo>
                      <a:pt x="215" y="12645"/>
                    </a:lnTo>
                    <a:lnTo>
                      <a:pt x="477" y="12764"/>
                    </a:lnTo>
                    <a:lnTo>
                      <a:pt x="787" y="12883"/>
                    </a:lnTo>
                    <a:lnTo>
                      <a:pt x="1477" y="13097"/>
                    </a:lnTo>
                    <a:lnTo>
                      <a:pt x="1763" y="13193"/>
                    </a:lnTo>
                    <a:lnTo>
                      <a:pt x="1787" y="13193"/>
                    </a:lnTo>
                    <a:lnTo>
                      <a:pt x="2001" y="12621"/>
                    </a:lnTo>
                    <a:lnTo>
                      <a:pt x="2358" y="11669"/>
                    </a:lnTo>
                    <a:lnTo>
                      <a:pt x="2620" y="11049"/>
                    </a:lnTo>
                    <a:lnTo>
                      <a:pt x="2906" y="10359"/>
                    </a:lnTo>
                    <a:lnTo>
                      <a:pt x="3263" y="9597"/>
                    </a:lnTo>
                    <a:lnTo>
                      <a:pt x="3668" y="8787"/>
                    </a:lnTo>
                    <a:lnTo>
                      <a:pt x="3882" y="8478"/>
                    </a:lnTo>
                    <a:lnTo>
                      <a:pt x="4120" y="8192"/>
                    </a:lnTo>
                    <a:lnTo>
                      <a:pt x="4406" y="7882"/>
                    </a:lnTo>
                    <a:lnTo>
                      <a:pt x="4716" y="7597"/>
                    </a:lnTo>
                    <a:lnTo>
                      <a:pt x="5049" y="7311"/>
                    </a:lnTo>
                    <a:lnTo>
                      <a:pt x="5406" y="7025"/>
                    </a:lnTo>
                    <a:lnTo>
                      <a:pt x="6121" y="6501"/>
                    </a:lnTo>
                    <a:lnTo>
                      <a:pt x="6787" y="6025"/>
                    </a:lnTo>
                    <a:lnTo>
                      <a:pt x="7383" y="5644"/>
                    </a:lnTo>
                    <a:lnTo>
                      <a:pt x="7835" y="5382"/>
                    </a:lnTo>
                    <a:lnTo>
                      <a:pt x="8049" y="5263"/>
                    </a:lnTo>
                    <a:lnTo>
                      <a:pt x="8049" y="5287"/>
                    </a:lnTo>
                    <a:lnTo>
                      <a:pt x="8049" y="5358"/>
                    </a:lnTo>
                    <a:lnTo>
                      <a:pt x="8049" y="5382"/>
                    </a:lnTo>
                    <a:lnTo>
                      <a:pt x="8049" y="5406"/>
                    </a:lnTo>
                    <a:lnTo>
                      <a:pt x="8049" y="5501"/>
                    </a:lnTo>
                    <a:lnTo>
                      <a:pt x="8049" y="5549"/>
                    </a:lnTo>
                    <a:lnTo>
                      <a:pt x="8049" y="5573"/>
                    </a:lnTo>
                    <a:lnTo>
                      <a:pt x="8073" y="5715"/>
                    </a:lnTo>
                    <a:lnTo>
                      <a:pt x="8073" y="5858"/>
                    </a:lnTo>
                    <a:lnTo>
                      <a:pt x="8097" y="5930"/>
                    </a:lnTo>
                    <a:lnTo>
                      <a:pt x="8121" y="6096"/>
                    </a:lnTo>
                    <a:lnTo>
                      <a:pt x="8168" y="6430"/>
                    </a:lnTo>
                    <a:lnTo>
                      <a:pt x="8168" y="6573"/>
                    </a:lnTo>
                    <a:lnTo>
                      <a:pt x="8240" y="7073"/>
                    </a:lnTo>
                    <a:lnTo>
                      <a:pt x="8264" y="7311"/>
                    </a:lnTo>
                    <a:lnTo>
                      <a:pt x="8264" y="7525"/>
                    </a:lnTo>
                    <a:lnTo>
                      <a:pt x="8264" y="7644"/>
                    </a:lnTo>
                    <a:lnTo>
                      <a:pt x="8264" y="7692"/>
                    </a:lnTo>
                    <a:lnTo>
                      <a:pt x="8264" y="7763"/>
                    </a:lnTo>
                    <a:lnTo>
                      <a:pt x="8264" y="7859"/>
                    </a:lnTo>
                    <a:lnTo>
                      <a:pt x="8240" y="8001"/>
                    </a:lnTo>
                    <a:lnTo>
                      <a:pt x="8240" y="8049"/>
                    </a:lnTo>
                    <a:lnTo>
                      <a:pt x="8216" y="8168"/>
                    </a:lnTo>
                    <a:lnTo>
                      <a:pt x="8192" y="8287"/>
                    </a:lnTo>
                    <a:lnTo>
                      <a:pt x="8145" y="8573"/>
                    </a:lnTo>
                    <a:lnTo>
                      <a:pt x="8073" y="8859"/>
                    </a:lnTo>
                    <a:lnTo>
                      <a:pt x="7978" y="9192"/>
                    </a:lnTo>
                    <a:lnTo>
                      <a:pt x="7835" y="9525"/>
                    </a:lnTo>
                    <a:lnTo>
                      <a:pt x="7645" y="10002"/>
                    </a:lnTo>
                    <a:lnTo>
                      <a:pt x="7406" y="10502"/>
                    </a:lnTo>
                    <a:lnTo>
                      <a:pt x="7121" y="11002"/>
                    </a:lnTo>
                    <a:lnTo>
                      <a:pt x="6787" y="11478"/>
                    </a:lnTo>
                    <a:lnTo>
                      <a:pt x="6454" y="11954"/>
                    </a:lnTo>
                    <a:lnTo>
                      <a:pt x="6073" y="12383"/>
                    </a:lnTo>
                    <a:lnTo>
                      <a:pt x="5668" y="12788"/>
                    </a:lnTo>
                    <a:lnTo>
                      <a:pt x="5454" y="12978"/>
                    </a:lnTo>
                    <a:lnTo>
                      <a:pt x="5239" y="13145"/>
                    </a:lnTo>
                    <a:lnTo>
                      <a:pt x="5120" y="13240"/>
                    </a:lnTo>
                    <a:lnTo>
                      <a:pt x="5073" y="13335"/>
                    </a:lnTo>
                    <a:lnTo>
                      <a:pt x="5049" y="13431"/>
                    </a:lnTo>
                    <a:lnTo>
                      <a:pt x="5097" y="13502"/>
                    </a:lnTo>
                    <a:lnTo>
                      <a:pt x="5192" y="13574"/>
                    </a:lnTo>
                    <a:lnTo>
                      <a:pt x="5311" y="13645"/>
                    </a:lnTo>
                    <a:lnTo>
                      <a:pt x="5454" y="13693"/>
                    </a:lnTo>
                    <a:lnTo>
                      <a:pt x="5597" y="13740"/>
                    </a:lnTo>
                    <a:lnTo>
                      <a:pt x="5978" y="13812"/>
                    </a:lnTo>
                    <a:lnTo>
                      <a:pt x="6335" y="13859"/>
                    </a:lnTo>
                    <a:lnTo>
                      <a:pt x="6668" y="13859"/>
                    </a:lnTo>
                    <a:lnTo>
                      <a:pt x="6787" y="13836"/>
                    </a:lnTo>
                    <a:lnTo>
                      <a:pt x="6906" y="13812"/>
                    </a:lnTo>
                    <a:lnTo>
                      <a:pt x="7097" y="13764"/>
                    </a:lnTo>
                    <a:lnTo>
                      <a:pt x="7406" y="13740"/>
                    </a:lnTo>
                    <a:lnTo>
                      <a:pt x="8240" y="13693"/>
                    </a:lnTo>
                    <a:lnTo>
                      <a:pt x="8716" y="13645"/>
                    </a:lnTo>
                    <a:lnTo>
                      <a:pt x="9169" y="13574"/>
                    </a:lnTo>
                    <a:lnTo>
                      <a:pt x="9597" y="13478"/>
                    </a:lnTo>
                    <a:lnTo>
                      <a:pt x="9788" y="13407"/>
                    </a:lnTo>
                    <a:lnTo>
                      <a:pt x="9954" y="13335"/>
                    </a:lnTo>
                    <a:lnTo>
                      <a:pt x="10145" y="13216"/>
                    </a:lnTo>
                    <a:lnTo>
                      <a:pt x="10288" y="13050"/>
                    </a:lnTo>
                    <a:lnTo>
                      <a:pt x="10431" y="12883"/>
                    </a:lnTo>
                    <a:lnTo>
                      <a:pt x="10526" y="12693"/>
                    </a:lnTo>
                    <a:lnTo>
                      <a:pt x="10621" y="12431"/>
                    </a:lnTo>
                    <a:lnTo>
                      <a:pt x="10669" y="12169"/>
                    </a:lnTo>
                    <a:lnTo>
                      <a:pt x="10716" y="11907"/>
                    </a:lnTo>
                    <a:lnTo>
                      <a:pt x="10764" y="11621"/>
                    </a:lnTo>
                    <a:lnTo>
                      <a:pt x="10788" y="11049"/>
                    </a:lnTo>
                    <a:lnTo>
                      <a:pt x="10812" y="10549"/>
                    </a:lnTo>
                    <a:lnTo>
                      <a:pt x="10859" y="10335"/>
                    </a:lnTo>
                    <a:lnTo>
                      <a:pt x="10907" y="10121"/>
                    </a:lnTo>
                    <a:lnTo>
                      <a:pt x="11074" y="9597"/>
                    </a:lnTo>
                    <a:lnTo>
                      <a:pt x="11312" y="9025"/>
                    </a:lnTo>
                    <a:lnTo>
                      <a:pt x="11526" y="8406"/>
                    </a:lnTo>
                    <a:lnTo>
                      <a:pt x="11645" y="7906"/>
                    </a:lnTo>
                    <a:lnTo>
                      <a:pt x="11740" y="7406"/>
                    </a:lnTo>
                    <a:lnTo>
                      <a:pt x="11788" y="7073"/>
                    </a:lnTo>
                    <a:lnTo>
                      <a:pt x="11788" y="6716"/>
                    </a:lnTo>
                    <a:lnTo>
                      <a:pt x="11764" y="6358"/>
                    </a:lnTo>
                    <a:lnTo>
                      <a:pt x="11716" y="6001"/>
                    </a:lnTo>
                    <a:lnTo>
                      <a:pt x="11645" y="5620"/>
                    </a:lnTo>
                    <a:lnTo>
                      <a:pt x="11597" y="5239"/>
                    </a:lnTo>
                    <a:lnTo>
                      <a:pt x="11574" y="4834"/>
                    </a:lnTo>
                    <a:lnTo>
                      <a:pt x="11574" y="4453"/>
                    </a:lnTo>
                    <a:lnTo>
                      <a:pt x="11597" y="3668"/>
                    </a:lnTo>
                    <a:lnTo>
                      <a:pt x="11669" y="2906"/>
                    </a:lnTo>
                    <a:lnTo>
                      <a:pt x="11788" y="1977"/>
                    </a:lnTo>
                    <a:lnTo>
                      <a:pt x="12026" y="762"/>
                    </a:lnTo>
                    <a:lnTo>
                      <a:pt x="12097" y="334"/>
                    </a:lnTo>
                    <a:lnTo>
                      <a:pt x="12121" y="24"/>
                    </a:lnTo>
                    <a:lnTo>
                      <a:pt x="12097" y="0"/>
                    </a:lnTo>
                    <a:close/>
                  </a:path>
                </a:pathLst>
              </a:custGeom>
              <a:solidFill>
                <a:srgbClr val="E37C09"/>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72" name="Google Shape;974;g2e0683f995c_0_0">
                <a:extLst>
                  <a:ext uri="{FF2B5EF4-FFF2-40B4-BE49-F238E27FC236}">
                    <a16:creationId xmlns:a16="http://schemas.microsoft.com/office/drawing/2014/main" id="{2ABB3FDF-69B3-322D-8E6A-8639A3C1B10F}"/>
                  </a:ext>
                </a:extLst>
              </p:cNvPr>
              <p:cNvSpPr/>
              <p:nvPr/>
            </p:nvSpPr>
            <p:spPr>
              <a:xfrm>
                <a:off x="8092433" y="738002"/>
                <a:ext cx="201922" cy="230873"/>
              </a:xfrm>
              <a:custGeom>
                <a:avLst/>
                <a:gdLst/>
                <a:ahLst/>
                <a:cxnLst/>
                <a:rect l="l" t="t" r="r" b="b"/>
                <a:pathLst>
                  <a:path w="12122" h="13860" fill="none" extrusionOk="0">
                    <a:moveTo>
                      <a:pt x="11740" y="7406"/>
                    </a:moveTo>
                    <a:lnTo>
                      <a:pt x="11740" y="7406"/>
                    </a:lnTo>
                    <a:lnTo>
                      <a:pt x="11645" y="7906"/>
                    </a:lnTo>
                    <a:lnTo>
                      <a:pt x="11526" y="8406"/>
                    </a:lnTo>
                    <a:lnTo>
                      <a:pt x="11526" y="8406"/>
                    </a:lnTo>
                    <a:lnTo>
                      <a:pt x="11312" y="9025"/>
                    </a:lnTo>
                    <a:lnTo>
                      <a:pt x="11074" y="9597"/>
                    </a:lnTo>
                    <a:lnTo>
                      <a:pt x="10907" y="10121"/>
                    </a:lnTo>
                    <a:lnTo>
                      <a:pt x="10859" y="10335"/>
                    </a:lnTo>
                    <a:lnTo>
                      <a:pt x="10812" y="10549"/>
                    </a:lnTo>
                    <a:lnTo>
                      <a:pt x="10812" y="10549"/>
                    </a:lnTo>
                    <a:lnTo>
                      <a:pt x="10788" y="11049"/>
                    </a:lnTo>
                    <a:lnTo>
                      <a:pt x="10764" y="11621"/>
                    </a:lnTo>
                    <a:lnTo>
                      <a:pt x="10716" y="11907"/>
                    </a:lnTo>
                    <a:lnTo>
                      <a:pt x="10669" y="12169"/>
                    </a:lnTo>
                    <a:lnTo>
                      <a:pt x="10621" y="12431"/>
                    </a:lnTo>
                    <a:lnTo>
                      <a:pt x="10526" y="12693"/>
                    </a:lnTo>
                    <a:lnTo>
                      <a:pt x="10526" y="12693"/>
                    </a:lnTo>
                    <a:lnTo>
                      <a:pt x="10431" y="12883"/>
                    </a:lnTo>
                    <a:lnTo>
                      <a:pt x="10288" y="13050"/>
                    </a:lnTo>
                    <a:lnTo>
                      <a:pt x="10145" y="13216"/>
                    </a:lnTo>
                    <a:lnTo>
                      <a:pt x="9954" y="13335"/>
                    </a:lnTo>
                    <a:lnTo>
                      <a:pt x="9954" y="13335"/>
                    </a:lnTo>
                    <a:lnTo>
                      <a:pt x="9788" y="13407"/>
                    </a:lnTo>
                    <a:lnTo>
                      <a:pt x="9597" y="13478"/>
                    </a:lnTo>
                    <a:lnTo>
                      <a:pt x="9169" y="13574"/>
                    </a:lnTo>
                    <a:lnTo>
                      <a:pt x="8716" y="13645"/>
                    </a:lnTo>
                    <a:lnTo>
                      <a:pt x="8240" y="13693"/>
                    </a:lnTo>
                    <a:lnTo>
                      <a:pt x="7406" y="13740"/>
                    </a:lnTo>
                    <a:lnTo>
                      <a:pt x="7097" y="13764"/>
                    </a:lnTo>
                    <a:lnTo>
                      <a:pt x="6906" y="13812"/>
                    </a:lnTo>
                    <a:lnTo>
                      <a:pt x="6906" y="13812"/>
                    </a:lnTo>
                    <a:lnTo>
                      <a:pt x="6787" y="13836"/>
                    </a:lnTo>
                    <a:lnTo>
                      <a:pt x="6668" y="13859"/>
                    </a:lnTo>
                    <a:lnTo>
                      <a:pt x="6335" y="13859"/>
                    </a:lnTo>
                    <a:lnTo>
                      <a:pt x="5978" y="13812"/>
                    </a:lnTo>
                    <a:lnTo>
                      <a:pt x="5597" y="13740"/>
                    </a:lnTo>
                    <a:lnTo>
                      <a:pt x="5454" y="13693"/>
                    </a:lnTo>
                    <a:lnTo>
                      <a:pt x="5311" y="13645"/>
                    </a:lnTo>
                    <a:lnTo>
                      <a:pt x="5192" y="13574"/>
                    </a:lnTo>
                    <a:lnTo>
                      <a:pt x="5097" y="13502"/>
                    </a:lnTo>
                    <a:lnTo>
                      <a:pt x="5049" y="13431"/>
                    </a:lnTo>
                    <a:lnTo>
                      <a:pt x="5073" y="13335"/>
                    </a:lnTo>
                    <a:lnTo>
                      <a:pt x="5120" y="13240"/>
                    </a:lnTo>
                    <a:lnTo>
                      <a:pt x="5239" y="13145"/>
                    </a:lnTo>
                    <a:lnTo>
                      <a:pt x="5239" y="13145"/>
                    </a:lnTo>
                    <a:lnTo>
                      <a:pt x="5454" y="12978"/>
                    </a:lnTo>
                    <a:lnTo>
                      <a:pt x="5668" y="12788"/>
                    </a:lnTo>
                    <a:lnTo>
                      <a:pt x="6073" y="12383"/>
                    </a:lnTo>
                    <a:lnTo>
                      <a:pt x="6454" y="11954"/>
                    </a:lnTo>
                    <a:lnTo>
                      <a:pt x="6787" y="11478"/>
                    </a:lnTo>
                    <a:lnTo>
                      <a:pt x="7121" y="11002"/>
                    </a:lnTo>
                    <a:lnTo>
                      <a:pt x="7406" y="10502"/>
                    </a:lnTo>
                    <a:lnTo>
                      <a:pt x="7645" y="10002"/>
                    </a:lnTo>
                    <a:lnTo>
                      <a:pt x="7835" y="9525"/>
                    </a:lnTo>
                    <a:lnTo>
                      <a:pt x="7835" y="9525"/>
                    </a:lnTo>
                    <a:lnTo>
                      <a:pt x="7978" y="9192"/>
                    </a:lnTo>
                    <a:lnTo>
                      <a:pt x="8073" y="8859"/>
                    </a:lnTo>
                    <a:lnTo>
                      <a:pt x="8145" y="8573"/>
                    </a:lnTo>
                    <a:lnTo>
                      <a:pt x="8192" y="8287"/>
                    </a:lnTo>
                    <a:lnTo>
                      <a:pt x="8192" y="8287"/>
                    </a:lnTo>
                    <a:lnTo>
                      <a:pt x="8216" y="8168"/>
                    </a:lnTo>
                    <a:lnTo>
                      <a:pt x="8216" y="8168"/>
                    </a:lnTo>
                    <a:lnTo>
                      <a:pt x="8240" y="8049"/>
                    </a:lnTo>
                    <a:lnTo>
                      <a:pt x="8240" y="8049"/>
                    </a:lnTo>
                    <a:lnTo>
                      <a:pt x="8240" y="8001"/>
                    </a:lnTo>
                    <a:lnTo>
                      <a:pt x="8240" y="8001"/>
                    </a:lnTo>
                    <a:lnTo>
                      <a:pt x="8264" y="7859"/>
                    </a:lnTo>
                    <a:lnTo>
                      <a:pt x="8264" y="7859"/>
                    </a:lnTo>
                    <a:lnTo>
                      <a:pt x="8264" y="7763"/>
                    </a:lnTo>
                    <a:lnTo>
                      <a:pt x="8264" y="7763"/>
                    </a:lnTo>
                    <a:lnTo>
                      <a:pt x="8264" y="7692"/>
                    </a:lnTo>
                    <a:lnTo>
                      <a:pt x="8264" y="7692"/>
                    </a:lnTo>
                    <a:lnTo>
                      <a:pt x="8264" y="7644"/>
                    </a:lnTo>
                    <a:lnTo>
                      <a:pt x="8264" y="7644"/>
                    </a:lnTo>
                    <a:lnTo>
                      <a:pt x="8264" y="7525"/>
                    </a:lnTo>
                    <a:lnTo>
                      <a:pt x="8264" y="7525"/>
                    </a:lnTo>
                    <a:lnTo>
                      <a:pt x="8264" y="7311"/>
                    </a:lnTo>
                    <a:lnTo>
                      <a:pt x="8264" y="7311"/>
                    </a:lnTo>
                    <a:lnTo>
                      <a:pt x="8240" y="7073"/>
                    </a:lnTo>
                    <a:lnTo>
                      <a:pt x="8240" y="7073"/>
                    </a:lnTo>
                    <a:lnTo>
                      <a:pt x="8168" y="6573"/>
                    </a:lnTo>
                    <a:lnTo>
                      <a:pt x="8168" y="6573"/>
                    </a:lnTo>
                    <a:lnTo>
                      <a:pt x="8168" y="6430"/>
                    </a:lnTo>
                    <a:lnTo>
                      <a:pt x="8168" y="6430"/>
                    </a:lnTo>
                    <a:lnTo>
                      <a:pt x="8121" y="6096"/>
                    </a:lnTo>
                    <a:lnTo>
                      <a:pt x="8121" y="6096"/>
                    </a:lnTo>
                    <a:lnTo>
                      <a:pt x="8097" y="5930"/>
                    </a:lnTo>
                    <a:lnTo>
                      <a:pt x="8097" y="5930"/>
                    </a:lnTo>
                    <a:lnTo>
                      <a:pt x="8073" y="5858"/>
                    </a:lnTo>
                    <a:lnTo>
                      <a:pt x="8073" y="5858"/>
                    </a:lnTo>
                    <a:lnTo>
                      <a:pt x="8073" y="5715"/>
                    </a:lnTo>
                    <a:lnTo>
                      <a:pt x="8073" y="5715"/>
                    </a:lnTo>
                    <a:lnTo>
                      <a:pt x="8049" y="5573"/>
                    </a:lnTo>
                    <a:lnTo>
                      <a:pt x="8049" y="5573"/>
                    </a:lnTo>
                    <a:lnTo>
                      <a:pt x="8049" y="5549"/>
                    </a:lnTo>
                    <a:lnTo>
                      <a:pt x="8049" y="5549"/>
                    </a:lnTo>
                    <a:lnTo>
                      <a:pt x="8049" y="5501"/>
                    </a:lnTo>
                    <a:lnTo>
                      <a:pt x="8049" y="5501"/>
                    </a:lnTo>
                    <a:lnTo>
                      <a:pt x="8049" y="5406"/>
                    </a:lnTo>
                    <a:lnTo>
                      <a:pt x="8049" y="5406"/>
                    </a:lnTo>
                    <a:lnTo>
                      <a:pt x="8049" y="5406"/>
                    </a:lnTo>
                    <a:lnTo>
                      <a:pt x="8049" y="5382"/>
                    </a:lnTo>
                    <a:lnTo>
                      <a:pt x="8049" y="5358"/>
                    </a:lnTo>
                    <a:lnTo>
                      <a:pt x="8049" y="5358"/>
                    </a:lnTo>
                    <a:lnTo>
                      <a:pt x="8049" y="5287"/>
                    </a:lnTo>
                    <a:lnTo>
                      <a:pt x="8049" y="5263"/>
                    </a:lnTo>
                    <a:lnTo>
                      <a:pt x="8049" y="5263"/>
                    </a:lnTo>
                    <a:lnTo>
                      <a:pt x="7835" y="5382"/>
                    </a:lnTo>
                    <a:lnTo>
                      <a:pt x="7383" y="5644"/>
                    </a:lnTo>
                    <a:lnTo>
                      <a:pt x="6787" y="6025"/>
                    </a:lnTo>
                    <a:lnTo>
                      <a:pt x="6121" y="6501"/>
                    </a:lnTo>
                    <a:lnTo>
                      <a:pt x="5406" y="7025"/>
                    </a:lnTo>
                    <a:lnTo>
                      <a:pt x="5049" y="7311"/>
                    </a:lnTo>
                    <a:lnTo>
                      <a:pt x="4716" y="7597"/>
                    </a:lnTo>
                    <a:lnTo>
                      <a:pt x="4406" y="7882"/>
                    </a:lnTo>
                    <a:lnTo>
                      <a:pt x="4120" y="8192"/>
                    </a:lnTo>
                    <a:lnTo>
                      <a:pt x="3882" y="8478"/>
                    </a:lnTo>
                    <a:lnTo>
                      <a:pt x="3668" y="8787"/>
                    </a:lnTo>
                    <a:lnTo>
                      <a:pt x="3668" y="8787"/>
                    </a:lnTo>
                    <a:lnTo>
                      <a:pt x="3263" y="9597"/>
                    </a:lnTo>
                    <a:lnTo>
                      <a:pt x="2906" y="10359"/>
                    </a:lnTo>
                    <a:lnTo>
                      <a:pt x="2620" y="11049"/>
                    </a:lnTo>
                    <a:lnTo>
                      <a:pt x="2358" y="11669"/>
                    </a:lnTo>
                    <a:lnTo>
                      <a:pt x="2001" y="12621"/>
                    </a:lnTo>
                    <a:lnTo>
                      <a:pt x="1787" y="13193"/>
                    </a:lnTo>
                    <a:lnTo>
                      <a:pt x="1763" y="13193"/>
                    </a:lnTo>
                    <a:lnTo>
                      <a:pt x="1763" y="13193"/>
                    </a:lnTo>
                    <a:lnTo>
                      <a:pt x="1477" y="13097"/>
                    </a:lnTo>
                    <a:lnTo>
                      <a:pt x="1477" y="13097"/>
                    </a:lnTo>
                    <a:lnTo>
                      <a:pt x="787" y="12883"/>
                    </a:lnTo>
                    <a:lnTo>
                      <a:pt x="477" y="12764"/>
                    </a:lnTo>
                    <a:lnTo>
                      <a:pt x="215" y="12645"/>
                    </a:lnTo>
                    <a:lnTo>
                      <a:pt x="215" y="12645"/>
                    </a:lnTo>
                    <a:lnTo>
                      <a:pt x="72" y="12550"/>
                    </a:lnTo>
                    <a:lnTo>
                      <a:pt x="1" y="12478"/>
                    </a:lnTo>
                    <a:lnTo>
                      <a:pt x="1" y="12478"/>
                    </a:lnTo>
                    <a:lnTo>
                      <a:pt x="1" y="12478"/>
                    </a:lnTo>
                    <a:lnTo>
                      <a:pt x="1" y="12288"/>
                    </a:lnTo>
                    <a:lnTo>
                      <a:pt x="48" y="12073"/>
                    </a:lnTo>
                    <a:lnTo>
                      <a:pt x="96" y="11811"/>
                    </a:lnTo>
                    <a:lnTo>
                      <a:pt x="191" y="11550"/>
                    </a:lnTo>
                    <a:lnTo>
                      <a:pt x="406" y="10954"/>
                    </a:lnTo>
                    <a:lnTo>
                      <a:pt x="691" y="10335"/>
                    </a:lnTo>
                    <a:lnTo>
                      <a:pt x="1334" y="9002"/>
                    </a:lnTo>
                    <a:lnTo>
                      <a:pt x="1644" y="8382"/>
                    </a:lnTo>
                    <a:lnTo>
                      <a:pt x="1906" y="7787"/>
                    </a:lnTo>
                    <a:lnTo>
                      <a:pt x="1906" y="7787"/>
                    </a:lnTo>
                    <a:lnTo>
                      <a:pt x="2049" y="7525"/>
                    </a:lnTo>
                    <a:lnTo>
                      <a:pt x="2215" y="7263"/>
                    </a:lnTo>
                    <a:lnTo>
                      <a:pt x="2453" y="6954"/>
                    </a:lnTo>
                    <a:lnTo>
                      <a:pt x="2715" y="6620"/>
                    </a:lnTo>
                    <a:lnTo>
                      <a:pt x="3358" y="5930"/>
                    </a:lnTo>
                    <a:lnTo>
                      <a:pt x="4096" y="5192"/>
                    </a:lnTo>
                    <a:lnTo>
                      <a:pt x="4930" y="4430"/>
                    </a:lnTo>
                    <a:lnTo>
                      <a:pt x="5763" y="3691"/>
                    </a:lnTo>
                    <a:lnTo>
                      <a:pt x="6597" y="2977"/>
                    </a:lnTo>
                    <a:lnTo>
                      <a:pt x="7383" y="2358"/>
                    </a:lnTo>
                    <a:lnTo>
                      <a:pt x="7383" y="2358"/>
                    </a:lnTo>
                    <a:lnTo>
                      <a:pt x="8168" y="1739"/>
                    </a:lnTo>
                    <a:lnTo>
                      <a:pt x="8168" y="1739"/>
                    </a:lnTo>
                    <a:lnTo>
                      <a:pt x="8621" y="1453"/>
                    </a:lnTo>
                    <a:lnTo>
                      <a:pt x="8621" y="1453"/>
                    </a:lnTo>
                    <a:lnTo>
                      <a:pt x="9145" y="1167"/>
                    </a:lnTo>
                    <a:lnTo>
                      <a:pt x="9740" y="882"/>
                    </a:lnTo>
                    <a:lnTo>
                      <a:pt x="10312" y="643"/>
                    </a:lnTo>
                    <a:lnTo>
                      <a:pt x="10859" y="429"/>
                    </a:lnTo>
                    <a:lnTo>
                      <a:pt x="11764" y="120"/>
                    </a:lnTo>
                    <a:lnTo>
                      <a:pt x="12097" y="0"/>
                    </a:lnTo>
                    <a:lnTo>
                      <a:pt x="12121" y="24"/>
                    </a:lnTo>
                    <a:lnTo>
                      <a:pt x="12121" y="24"/>
                    </a:lnTo>
                    <a:lnTo>
                      <a:pt x="12097" y="334"/>
                    </a:lnTo>
                    <a:lnTo>
                      <a:pt x="12026" y="762"/>
                    </a:lnTo>
                    <a:lnTo>
                      <a:pt x="11788" y="1977"/>
                    </a:lnTo>
                    <a:lnTo>
                      <a:pt x="11788" y="1977"/>
                    </a:lnTo>
                    <a:lnTo>
                      <a:pt x="11669" y="2906"/>
                    </a:lnTo>
                    <a:lnTo>
                      <a:pt x="11669" y="2906"/>
                    </a:lnTo>
                    <a:lnTo>
                      <a:pt x="11597" y="3668"/>
                    </a:lnTo>
                    <a:lnTo>
                      <a:pt x="11574" y="4453"/>
                    </a:lnTo>
                    <a:lnTo>
                      <a:pt x="11574" y="4834"/>
                    </a:lnTo>
                    <a:lnTo>
                      <a:pt x="11597" y="5239"/>
                    </a:lnTo>
                    <a:lnTo>
                      <a:pt x="11645" y="5620"/>
                    </a:lnTo>
                    <a:lnTo>
                      <a:pt x="11716" y="6001"/>
                    </a:lnTo>
                    <a:lnTo>
                      <a:pt x="11716" y="6001"/>
                    </a:lnTo>
                    <a:lnTo>
                      <a:pt x="11764" y="6358"/>
                    </a:lnTo>
                    <a:lnTo>
                      <a:pt x="11788" y="6716"/>
                    </a:lnTo>
                    <a:lnTo>
                      <a:pt x="11788" y="7073"/>
                    </a:lnTo>
                    <a:lnTo>
                      <a:pt x="11740" y="7406"/>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73" name="Google Shape;975;g2e0683f995c_0_0">
                <a:extLst>
                  <a:ext uri="{FF2B5EF4-FFF2-40B4-BE49-F238E27FC236}">
                    <a16:creationId xmlns:a16="http://schemas.microsoft.com/office/drawing/2014/main" id="{CFE87E5C-14A0-71F5-66C1-E49B0492FDB2}"/>
                  </a:ext>
                </a:extLst>
              </p:cNvPr>
              <p:cNvSpPr/>
              <p:nvPr/>
            </p:nvSpPr>
            <p:spPr>
              <a:xfrm>
                <a:off x="8226909" y="835182"/>
                <a:ext cx="1599" cy="11127"/>
              </a:xfrm>
              <a:custGeom>
                <a:avLst/>
                <a:gdLst/>
                <a:ahLst/>
                <a:cxnLst/>
                <a:rect l="l" t="t" r="r" b="b"/>
                <a:pathLst>
                  <a:path w="96" h="668" extrusionOk="0">
                    <a:moveTo>
                      <a:pt x="0" y="1"/>
                    </a:moveTo>
                    <a:lnTo>
                      <a:pt x="0" y="24"/>
                    </a:lnTo>
                    <a:lnTo>
                      <a:pt x="24" y="72"/>
                    </a:lnTo>
                    <a:lnTo>
                      <a:pt x="0" y="1"/>
                    </a:lnTo>
                    <a:close/>
                    <a:moveTo>
                      <a:pt x="24" y="167"/>
                    </a:moveTo>
                    <a:lnTo>
                      <a:pt x="95" y="667"/>
                    </a:lnTo>
                    <a:lnTo>
                      <a:pt x="95" y="596"/>
                    </a:lnTo>
                    <a:lnTo>
                      <a:pt x="48" y="262"/>
                    </a:lnTo>
                    <a:lnTo>
                      <a:pt x="24" y="167"/>
                    </a:lnTo>
                    <a:close/>
                  </a:path>
                </a:pathLst>
              </a:custGeom>
              <a:solidFill>
                <a:srgbClr val="C1C1C8"/>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74" name="Google Shape;976;g2e0683f995c_0_0">
                <a:extLst>
                  <a:ext uri="{FF2B5EF4-FFF2-40B4-BE49-F238E27FC236}">
                    <a16:creationId xmlns:a16="http://schemas.microsoft.com/office/drawing/2014/main" id="{AF4E3D27-FB67-69B5-4504-7925DAC489AF}"/>
                  </a:ext>
                </a:extLst>
              </p:cNvPr>
              <p:cNvSpPr/>
              <p:nvPr/>
            </p:nvSpPr>
            <p:spPr>
              <a:xfrm>
                <a:off x="8229674" y="871678"/>
                <a:ext cx="17" cy="416"/>
              </a:xfrm>
              <a:custGeom>
                <a:avLst/>
                <a:gdLst/>
                <a:ahLst/>
                <a:cxnLst/>
                <a:rect l="l" t="t" r="r" b="b"/>
                <a:pathLst>
                  <a:path w="1" h="25" fill="none" extrusionOk="0">
                    <a:moveTo>
                      <a:pt x="1" y="0"/>
                    </a:moveTo>
                    <a:lnTo>
                      <a:pt x="1" y="0"/>
                    </a:lnTo>
                    <a:lnTo>
                      <a:pt x="1" y="24"/>
                    </a:lnTo>
                    <a:lnTo>
                      <a:pt x="1" y="24"/>
                    </a:lnTo>
                    <a:lnTo>
                      <a:pt x="1"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75" name="Google Shape;977;g2e0683f995c_0_0">
                <a:extLst>
                  <a:ext uri="{FF2B5EF4-FFF2-40B4-BE49-F238E27FC236}">
                    <a16:creationId xmlns:a16="http://schemas.microsoft.com/office/drawing/2014/main" id="{BC67CDDE-DD75-D42A-BCEE-59293E3E508E}"/>
                  </a:ext>
                </a:extLst>
              </p:cNvPr>
              <p:cNvSpPr/>
              <p:nvPr/>
            </p:nvSpPr>
            <p:spPr>
              <a:xfrm>
                <a:off x="8230074" y="866514"/>
                <a:ext cx="17" cy="2798"/>
              </a:xfrm>
              <a:custGeom>
                <a:avLst/>
                <a:gdLst/>
                <a:ahLst/>
                <a:cxnLst/>
                <a:rect l="l" t="t" r="r" b="b"/>
                <a:pathLst>
                  <a:path w="1" h="168" fill="none" extrusionOk="0">
                    <a:moveTo>
                      <a:pt x="1" y="1"/>
                    </a:moveTo>
                    <a:lnTo>
                      <a:pt x="1" y="1"/>
                    </a:lnTo>
                    <a:lnTo>
                      <a:pt x="1" y="167"/>
                    </a:lnTo>
                    <a:lnTo>
                      <a:pt x="1" y="167"/>
                    </a:lnTo>
                    <a:lnTo>
                      <a:pt x="1" y="144"/>
                    </a:lnTo>
                    <a:lnTo>
                      <a:pt x="1" y="144"/>
                    </a:lnTo>
                    <a:lnTo>
                      <a:pt x="1" y="48"/>
                    </a:lnTo>
                    <a:lnTo>
                      <a:pt x="1" y="48"/>
                    </a:lnTo>
                    <a:lnTo>
                      <a:pt x="1"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76" name="Google Shape;978;g2e0683f995c_0_0">
                <a:extLst>
                  <a:ext uri="{FF2B5EF4-FFF2-40B4-BE49-F238E27FC236}">
                    <a16:creationId xmlns:a16="http://schemas.microsoft.com/office/drawing/2014/main" id="{FC7B050A-10A0-8A9B-8967-79306BC3A4CE}"/>
                  </a:ext>
                </a:extLst>
              </p:cNvPr>
              <p:cNvSpPr/>
              <p:nvPr/>
            </p:nvSpPr>
            <p:spPr>
              <a:xfrm>
                <a:off x="8230074" y="865332"/>
                <a:ext cx="17" cy="17"/>
              </a:xfrm>
              <a:custGeom>
                <a:avLst/>
                <a:gdLst/>
                <a:ahLst/>
                <a:cxnLst/>
                <a:rect l="l" t="t" r="r" b="b"/>
                <a:pathLst>
                  <a:path w="1" h="1" fill="none" extrusionOk="0">
                    <a:moveTo>
                      <a:pt x="1" y="0"/>
                    </a:moveTo>
                    <a:lnTo>
                      <a:pt x="1" y="0"/>
                    </a:lnTo>
                    <a:lnTo>
                      <a:pt x="1" y="0"/>
                    </a:lnTo>
                    <a:lnTo>
                      <a:pt x="1" y="0"/>
                    </a:lnTo>
                    <a:lnTo>
                      <a:pt x="1" y="0"/>
                    </a:lnTo>
                    <a:lnTo>
                      <a:pt x="1" y="0"/>
                    </a:lnTo>
                    <a:lnTo>
                      <a:pt x="1"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77" name="Google Shape;979;g2e0683f995c_0_0">
                <a:extLst>
                  <a:ext uri="{FF2B5EF4-FFF2-40B4-BE49-F238E27FC236}">
                    <a16:creationId xmlns:a16="http://schemas.microsoft.com/office/drawing/2014/main" id="{295A38E5-D067-3552-6D29-189DCBC744AC}"/>
                  </a:ext>
                </a:extLst>
              </p:cNvPr>
              <p:cNvSpPr/>
              <p:nvPr/>
            </p:nvSpPr>
            <p:spPr>
              <a:xfrm>
                <a:off x="8229291" y="851839"/>
                <a:ext cx="800" cy="7946"/>
              </a:xfrm>
              <a:custGeom>
                <a:avLst/>
                <a:gdLst/>
                <a:ahLst/>
                <a:cxnLst/>
                <a:rect l="l" t="t" r="r" b="b"/>
                <a:pathLst>
                  <a:path w="48" h="477" fill="none" extrusionOk="0">
                    <a:moveTo>
                      <a:pt x="0" y="1"/>
                    </a:moveTo>
                    <a:lnTo>
                      <a:pt x="0" y="1"/>
                    </a:lnTo>
                    <a:lnTo>
                      <a:pt x="24" y="239"/>
                    </a:lnTo>
                    <a:lnTo>
                      <a:pt x="24" y="239"/>
                    </a:lnTo>
                    <a:lnTo>
                      <a:pt x="48" y="477"/>
                    </a:lnTo>
                    <a:lnTo>
                      <a:pt x="48" y="477"/>
                    </a:lnTo>
                    <a:lnTo>
                      <a:pt x="48" y="477"/>
                    </a:lnTo>
                    <a:lnTo>
                      <a:pt x="48" y="477"/>
                    </a:lnTo>
                    <a:lnTo>
                      <a:pt x="24" y="239"/>
                    </a:lnTo>
                    <a:lnTo>
                      <a:pt x="24" y="239"/>
                    </a:lnTo>
                    <a:lnTo>
                      <a:pt x="0"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78" name="Google Shape;980;g2e0683f995c_0_0">
                <a:extLst>
                  <a:ext uri="{FF2B5EF4-FFF2-40B4-BE49-F238E27FC236}">
                    <a16:creationId xmlns:a16="http://schemas.microsoft.com/office/drawing/2014/main" id="{FD5423CE-2739-CA77-C666-3E606F3D4623}"/>
                  </a:ext>
                </a:extLst>
              </p:cNvPr>
              <p:cNvSpPr/>
              <p:nvPr/>
            </p:nvSpPr>
            <p:spPr>
              <a:xfrm>
                <a:off x="8227292" y="837963"/>
                <a:ext cx="1216" cy="8345"/>
              </a:xfrm>
              <a:custGeom>
                <a:avLst/>
                <a:gdLst/>
                <a:ahLst/>
                <a:cxnLst/>
                <a:rect l="l" t="t" r="r" b="b"/>
                <a:pathLst>
                  <a:path w="73" h="501" fill="none" extrusionOk="0">
                    <a:moveTo>
                      <a:pt x="1" y="0"/>
                    </a:moveTo>
                    <a:lnTo>
                      <a:pt x="1" y="0"/>
                    </a:lnTo>
                    <a:lnTo>
                      <a:pt x="72" y="500"/>
                    </a:lnTo>
                    <a:lnTo>
                      <a:pt x="72" y="500"/>
                    </a:lnTo>
                    <a:lnTo>
                      <a:pt x="72" y="429"/>
                    </a:lnTo>
                    <a:lnTo>
                      <a:pt x="72" y="429"/>
                    </a:lnTo>
                    <a:lnTo>
                      <a:pt x="25" y="95"/>
                    </a:lnTo>
                    <a:lnTo>
                      <a:pt x="25" y="95"/>
                    </a:lnTo>
                    <a:lnTo>
                      <a:pt x="1"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79" name="Google Shape;981;g2e0683f995c_0_0">
                <a:extLst>
                  <a:ext uri="{FF2B5EF4-FFF2-40B4-BE49-F238E27FC236}">
                    <a16:creationId xmlns:a16="http://schemas.microsoft.com/office/drawing/2014/main" id="{5B2460E6-72F3-7B98-8F5A-66DFE4730599}"/>
                  </a:ext>
                </a:extLst>
              </p:cNvPr>
              <p:cNvSpPr/>
              <p:nvPr/>
            </p:nvSpPr>
            <p:spPr>
              <a:xfrm>
                <a:off x="8226909" y="835182"/>
                <a:ext cx="400" cy="1199"/>
              </a:xfrm>
              <a:custGeom>
                <a:avLst/>
                <a:gdLst/>
                <a:ahLst/>
                <a:cxnLst/>
                <a:rect l="l" t="t" r="r" b="b"/>
                <a:pathLst>
                  <a:path w="24" h="72" fill="none" extrusionOk="0">
                    <a:moveTo>
                      <a:pt x="0" y="1"/>
                    </a:moveTo>
                    <a:lnTo>
                      <a:pt x="0" y="1"/>
                    </a:lnTo>
                    <a:lnTo>
                      <a:pt x="24" y="72"/>
                    </a:lnTo>
                    <a:lnTo>
                      <a:pt x="24" y="72"/>
                    </a:lnTo>
                    <a:lnTo>
                      <a:pt x="0" y="24"/>
                    </a:lnTo>
                    <a:lnTo>
                      <a:pt x="0" y="24"/>
                    </a:lnTo>
                    <a:lnTo>
                      <a:pt x="0"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80" name="Google Shape;982;g2e0683f995c_0_0">
                <a:extLst>
                  <a:ext uri="{FF2B5EF4-FFF2-40B4-BE49-F238E27FC236}">
                    <a16:creationId xmlns:a16="http://schemas.microsoft.com/office/drawing/2014/main" id="{F3B6BA39-06FE-C2FC-2178-242DFDC15400}"/>
                  </a:ext>
                </a:extLst>
              </p:cNvPr>
              <p:cNvSpPr/>
              <p:nvPr/>
            </p:nvSpPr>
            <p:spPr>
              <a:xfrm>
                <a:off x="8226909" y="832800"/>
                <a:ext cx="17" cy="816"/>
              </a:xfrm>
              <a:custGeom>
                <a:avLst/>
                <a:gdLst/>
                <a:ahLst/>
                <a:cxnLst/>
                <a:rect l="l" t="t" r="r" b="b"/>
                <a:pathLst>
                  <a:path w="1" h="49" fill="none" extrusionOk="0">
                    <a:moveTo>
                      <a:pt x="0" y="1"/>
                    </a:moveTo>
                    <a:lnTo>
                      <a:pt x="0" y="1"/>
                    </a:lnTo>
                    <a:lnTo>
                      <a:pt x="0" y="48"/>
                    </a:lnTo>
                    <a:lnTo>
                      <a:pt x="0" y="48"/>
                    </a:lnTo>
                    <a:lnTo>
                      <a:pt x="0" y="24"/>
                    </a:lnTo>
                    <a:lnTo>
                      <a:pt x="0" y="24"/>
                    </a:lnTo>
                    <a:lnTo>
                      <a:pt x="0"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81" name="Google Shape;983;g2e0683f995c_0_0">
                <a:extLst>
                  <a:ext uri="{FF2B5EF4-FFF2-40B4-BE49-F238E27FC236}">
                    <a16:creationId xmlns:a16="http://schemas.microsoft.com/office/drawing/2014/main" id="{3EC8281D-3804-F12B-6A87-9D851346ECB6}"/>
                  </a:ext>
                </a:extLst>
              </p:cNvPr>
              <p:cNvSpPr/>
              <p:nvPr/>
            </p:nvSpPr>
            <p:spPr>
              <a:xfrm>
                <a:off x="8226509" y="830817"/>
                <a:ext cx="17" cy="816"/>
              </a:xfrm>
              <a:custGeom>
                <a:avLst/>
                <a:gdLst/>
                <a:ahLst/>
                <a:cxnLst/>
                <a:rect l="l" t="t" r="r" b="b"/>
                <a:pathLst>
                  <a:path w="1" h="49" fill="none" extrusionOk="0">
                    <a:moveTo>
                      <a:pt x="0" y="1"/>
                    </a:moveTo>
                    <a:lnTo>
                      <a:pt x="0" y="1"/>
                    </a:lnTo>
                    <a:lnTo>
                      <a:pt x="0" y="48"/>
                    </a:lnTo>
                    <a:lnTo>
                      <a:pt x="0" y="48"/>
                    </a:lnTo>
                    <a:lnTo>
                      <a:pt x="0"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82" name="Google Shape;984;g2e0683f995c_0_0">
                <a:extLst>
                  <a:ext uri="{FF2B5EF4-FFF2-40B4-BE49-F238E27FC236}">
                    <a16:creationId xmlns:a16="http://schemas.microsoft.com/office/drawing/2014/main" id="{CB25A344-3F9D-9916-47DB-ED04EBF270F3}"/>
                  </a:ext>
                </a:extLst>
              </p:cNvPr>
              <p:cNvSpPr/>
              <p:nvPr/>
            </p:nvSpPr>
            <p:spPr>
              <a:xfrm>
                <a:off x="8226509" y="830418"/>
                <a:ext cx="17" cy="416"/>
              </a:xfrm>
              <a:custGeom>
                <a:avLst/>
                <a:gdLst/>
                <a:ahLst/>
                <a:cxnLst/>
                <a:rect l="l" t="t" r="r" b="b"/>
                <a:pathLst>
                  <a:path w="1" h="25" fill="none" extrusionOk="0">
                    <a:moveTo>
                      <a:pt x="0" y="1"/>
                    </a:moveTo>
                    <a:lnTo>
                      <a:pt x="0" y="1"/>
                    </a:lnTo>
                    <a:lnTo>
                      <a:pt x="0" y="25"/>
                    </a:lnTo>
                    <a:lnTo>
                      <a:pt x="0" y="25"/>
                    </a:lnTo>
                    <a:lnTo>
                      <a:pt x="0"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83" name="Google Shape;985;g2e0683f995c_0_0">
                <a:extLst>
                  <a:ext uri="{FF2B5EF4-FFF2-40B4-BE49-F238E27FC236}">
                    <a16:creationId xmlns:a16="http://schemas.microsoft.com/office/drawing/2014/main" id="{9F3FBCA8-46D1-DE51-4D61-65426F430803}"/>
                  </a:ext>
                </a:extLst>
              </p:cNvPr>
              <p:cNvSpPr/>
              <p:nvPr/>
            </p:nvSpPr>
            <p:spPr>
              <a:xfrm>
                <a:off x="8226509" y="828036"/>
                <a:ext cx="17" cy="2399"/>
              </a:xfrm>
              <a:custGeom>
                <a:avLst/>
                <a:gdLst/>
                <a:ahLst/>
                <a:cxnLst/>
                <a:rect l="l" t="t" r="r" b="b"/>
                <a:pathLst>
                  <a:path w="1" h="144" fill="none" extrusionOk="0">
                    <a:moveTo>
                      <a:pt x="0" y="1"/>
                    </a:moveTo>
                    <a:lnTo>
                      <a:pt x="0" y="1"/>
                    </a:lnTo>
                    <a:lnTo>
                      <a:pt x="0" y="1"/>
                    </a:lnTo>
                    <a:lnTo>
                      <a:pt x="0" y="144"/>
                    </a:lnTo>
                    <a:lnTo>
                      <a:pt x="0" y="144"/>
                    </a:lnTo>
                    <a:lnTo>
                      <a:pt x="0" y="96"/>
                    </a:lnTo>
                    <a:lnTo>
                      <a:pt x="0" y="96"/>
                    </a:lnTo>
                    <a:lnTo>
                      <a:pt x="0" y="1"/>
                    </a:lnTo>
                    <a:lnTo>
                      <a:pt x="0"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84" name="Google Shape;986;g2e0683f995c_0_0">
                <a:extLst>
                  <a:ext uri="{FF2B5EF4-FFF2-40B4-BE49-F238E27FC236}">
                    <a16:creationId xmlns:a16="http://schemas.microsoft.com/office/drawing/2014/main" id="{49EFBCC8-16F4-0862-6C5A-CC425C80C5D9}"/>
                  </a:ext>
                </a:extLst>
              </p:cNvPr>
              <p:cNvSpPr/>
              <p:nvPr/>
            </p:nvSpPr>
            <p:spPr>
              <a:xfrm>
                <a:off x="8226509" y="816942"/>
                <a:ext cx="19056" cy="73793"/>
              </a:xfrm>
              <a:custGeom>
                <a:avLst/>
                <a:gdLst/>
                <a:ahLst/>
                <a:cxnLst/>
                <a:rect l="l" t="t" r="r" b="b"/>
                <a:pathLst>
                  <a:path w="1144" h="4430" extrusionOk="0">
                    <a:moveTo>
                      <a:pt x="1143" y="0"/>
                    </a:moveTo>
                    <a:lnTo>
                      <a:pt x="715" y="167"/>
                    </a:lnTo>
                    <a:lnTo>
                      <a:pt x="334" y="334"/>
                    </a:lnTo>
                    <a:lnTo>
                      <a:pt x="167" y="429"/>
                    </a:lnTo>
                    <a:lnTo>
                      <a:pt x="0" y="548"/>
                    </a:lnTo>
                    <a:lnTo>
                      <a:pt x="0" y="667"/>
                    </a:lnTo>
                    <a:lnTo>
                      <a:pt x="0" y="762"/>
                    </a:lnTo>
                    <a:lnTo>
                      <a:pt x="0" y="810"/>
                    </a:lnTo>
                    <a:lnTo>
                      <a:pt x="0" y="834"/>
                    </a:lnTo>
                    <a:lnTo>
                      <a:pt x="0" y="881"/>
                    </a:lnTo>
                    <a:lnTo>
                      <a:pt x="24" y="953"/>
                    </a:lnTo>
                    <a:lnTo>
                      <a:pt x="24" y="976"/>
                    </a:lnTo>
                    <a:lnTo>
                      <a:pt x="24" y="1000"/>
                    </a:lnTo>
                    <a:lnTo>
                      <a:pt x="24" y="1096"/>
                    </a:lnTo>
                    <a:lnTo>
                      <a:pt x="24" y="1119"/>
                    </a:lnTo>
                    <a:lnTo>
                      <a:pt x="48" y="1167"/>
                    </a:lnTo>
                    <a:lnTo>
                      <a:pt x="48" y="1262"/>
                    </a:lnTo>
                    <a:lnTo>
                      <a:pt x="72" y="1357"/>
                    </a:lnTo>
                    <a:lnTo>
                      <a:pt x="119" y="1691"/>
                    </a:lnTo>
                    <a:lnTo>
                      <a:pt x="119" y="1762"/>
                    </a:lnTo>
                    <a:lnTo>
                      <a:pt x="167" y="2096"/>
                    </a:lnTo>
                    <a:lnTo>
                      <a:pt x="191" y="2334"/>
                    </a:lnTo>
                    <a:lnTo>
                      <a:pt x="215" y="2572"/>
                    </a:lnTo>
                    <a:lnTo>
                      <a:pt x="215" y="2786"/>
                    </a:lnTo>
                    <a:lnTo>
                      <a:pt x="215" y="2905"/>
                    </a:lnTo>
                    <a:lnTo>
                      <a:pt x="215" y="2977"/>
                    </a:lnTo>
                    <a:lnTo>
                      <a:pt x="215" y="3024"/>
                    </a:lnTo>
                    <a:lnTo>
                      <a:pt x="215" y="3120"/>
                    </a:lnTo>
                    <a:lnTo>
                      <a:pt x="215" y="3143"/>
                    </a:lnTo>
                    <a:lnTo>
                      <a:pt x="191" y="3286"/>
                    </a:lnTo>
                    <a:lnTo>
                      <a:pt x="191" y="3310"/>
                    </a:lnTo>
                    <a:lnTo>
                      <a:pt x="143" y="3548"/>
                    </a:lnTo>
                    <a:lnTo>
                      <a:pt x="143" y="3763"/>
                    </a:lnTo>
                    <a:lnTo>
                      <a:pt x="119" y="3977"/>
                    </a:lnTo>
                    <a:lnTo>
                      <a:pt x="96" y="4191"/>
                    </a:lnTo>
                    <a:lnTo>
                      <a:pt x="72" y="4429"/>
                    </a:lnTo>
                    <a:lnTo>
                      <a:pt x="96" y="4382"/>
                    </a:lnTo>
                    <a:lnTo>
                      <a:pt x="96" y="4334"/>
                    </a:lnTo>
                    <a:lnTo>
                      <a:pt x="96" y="4310"/>
                    </a:lnTo>
                    <a:lnTo>
                      <a:pt x="119" y="4263"/>
                    </a:lnTo>
                    <a:lnTo>
                      <a:pt x="238" y="4001"/>
                    </a:lnTo>
                    <a:lnTo>
                      <a:pt x="381" y="3548"/>
                    </a:lnTo>
                    <a:lnTo>
                      <a:pt x="548" y="2953"/>
                    </a:lnTo>
                    <a:lnTo>
                      <a:pt x="715" y="2262"/>
                    </a:lnTo>
                    <a:lnTo>
                      <a:pt x="881" y="1548"/>
                    </a:lnTo>
                    <a:lnTo>
                      <a:pt x="1024" y="905"/>
                    </a:lnTo>
                    <a:lnTo>
                      <a:pt x="1096" y="357"/>
                    </a:lnTo>
                    <a:lnTo>
                      <a:pt x="1120" y="167"/>
                    </a:lnTo>
                    <a:lnTo>
                      <a:pt x="1143" y="0"/>
                    </a:lnTo>
                    <a:close/>
                  </a:path>
                </a:pathLst>
              </a:custGeom>
              <a:solidFill>
                <a:srgbClr val="AC621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85" name="Google Shape;987;g2e0683f995c_0_0">
                <a:extLst>
                  <a:ext uri="{FF2B5EF4-FFF2-40B4-BE49-F238E27FC236}">
                    <a16:creationId xmlns:a16="http://schemas.microsoft.com/office/drawing/2014/main" id="{88544BE8-510A-C5AA-1747-01F700818BCC}"/>
                  </a:ext>
                </a:extLst>
              </p:cNvPr>
              <p:cNvSpPr/>
              <p:nvPr/>
            </p:nvSpPr>
            <p:spPr>
              <a:xfrm>
                <a:off x="8226509" y="816942"/>
                <a:ext cx="19056" cy="73793"/>
              </a:xfrm>
              <a:custGeom>
                <a:avLst/>
                <a:gdLst/>
                <a:ahLst/>
                <a:cxnLst/>
                <a:rect l="l" t="t" r="r" b="b"/>
                <a:pathLst>
                  <a:path w="1144" h="4430" fill="none" extrusionOk="0">
                    <a:moveTo>
                      <a:pt x="1143" y="0"/>
                    </a:moveTo>
                    <a:lnTo>
                      <a:pt x="1143" y="0"/>
                    </a:lnTo>
                    <a:lnTo>
                      <a:pt x="715" y="167"/>
                    </a:lnTo>
                    <a:lnTo>
                      <a:pt x="334" y="334"/>
                    </a:lnTo>
                    <a:lnTo>
                      <a:pt x="167" y="429"/>
                    </a:lnTo>
                    <a:lnTo>
                      <a:pt x="0" y="548"/>
                    </a:lnTo>
                    <a:lnTo>
                      <a:pt x="0" y="667"/>
                    </a:lnTo>
                    <a:lnTo>
                      <a:pt x="0" y="667"/>
                    </a:lnTo>
                    <a:lnTo>
                      <a:pt x="0" y="667"/>
                    </a:lnTo>
                    <a:lnTo>
                      <a:pt x="0" y="667"/>
                    </a:lnTo>
                    <a:lnTo>
                      <a:pt x="0" y="762"/>
                    </a:lnTo>
                    <a:lnTo>
                      <a:pt x="0" y="762"/>
                    </a:lnTo>
                    <a:lnTo>
                      <a:pt x="0" y="810"/>
                    </a:lnTo>
                    <a:lnTo>
                      <a:pt x="0" y="810"/>
                    </a:lnTo>
                    <a:lnTo>
                      <a:pt x="0" y="810"/>
                    </a:lnTo>
                    <a:lnTo>
                      <a:pt x="0" y="810"/>
                    </a:lnTo>
                    <a:lnTo>
                      <a:pt x="0" y="834"/>
                    </a:lnTo>
                    <a:lnTo>
                      <a:pt x="0" y="834"/>
                    </a:lnTo>
                    <a:lnTo>
                      <a:pt x="0" y="834"/>
                    </a:lnTo>
                    <a:lnTo>
                      <a:pt x="0" y="834"/>
                    </a:lnTo>
                    <a:lnTo>
                      <a:pt x="0" y="881"/>
                    </a:lnTo>
                    <a:lnTo>
                      <a:pt x="0" y="881"/>
                    </a:lnTo>
                    <a:lnTo>
                      <a:pt x="24" y="953"/>
                    </a:lnTo>
                    <a:lnTo>
                      <a:pt x="24" y="953"/>
                    </a:lnTo>
                    <a:lnTo>
                      <a:pt x="24" y="976"/>
                    </a:lnTo>
                    <a:lnTo>
                      <a:pt x="24" y="976"/>
                    </a:lnTo>
                    <a:lnTo>
                      <a:pt x="24" y="1000"/>
                    </a:lnTo>
                    <a:lnTo>
                      <a:pt x="24" y="1000"/>
                    </a:lnTo>
                    <a:lnTo>
                      <a:pt x="24" y="1096"/>
                    </a:lnTo>
                    <a:lnTo>
                      <a:pt x="24" y="1096"/>
                    </a:lnTo>
                    <a:lnTo>
                      <a:pt x="24" y="1119"/>
                    </a:lnTo>
                    <a:lnTo>
                      <a:pt x="24" y="1119"/>
                    </a:lnTo>
                    <a:lnTo>
                      <a:pt x="48" y="1167"/>
                    </a:lnTo>
                    <a:lnTo>
                      <a:pt x="48" y="1167"/>
                    </a:lnTo>
                    <a:lnTo>
                      <a:pt x="48" y="1262"/>
                    </a:lnTo>
                    <a:lnTo>
                      <a:pt x="48" y="1262"/>
                    </a:lnTo>
                    <a:lnTo>
                      <a:pt x="72" y="1357"/>
                    </a:lnTo>
                    <a:lnTo>
                      <a:pt x="72" y="1357"/>
                    </a:lnTo>
                    <a:lnTo>
                      <a:pt x="119" y="1691"/>
                    </a:lnTo>
                    <a:lnTo>
                      <a:pt x="119" y="1691"/>
                    </a:lnTo>
                    <a:lnTo>
                      <a:pt x="119" y="1762"/>
                    </a:lnTo>
                    <a:lnTo>
                      <a:pt x="119" y="1762"/>
                    </a:lnTo>
                    <a:lnTo>
                      <a:pt x="167" y="2096"/>
                    </a:lnTo>
                    <a:lnTo>
                      <a:pt x="167" y="2096"/>
                    </a:lnTo>
                    <a:lnTo>
                      <a:pt x="191" y="2334"/>
                    </a:lnTo>
                    <a:lnTo>
                      <a:pt x="191" y="2334"/>
                    </a:lnTo>
                    <a:lnTo>
                      <a:pt x="215" y="2572"/>
                    </a:lnTo>
                    <a:lnTo>
                      <a:pt x="215" y="2572"/>
                    </a:lnTo>
                    <a:lnTo>
                      <a:pt x="215" y="2572"/>
                    </a:lnTo>
                    <a:lnTo>
                      <a:pt x="215" y="2572"/>
                    </a:lnTo>
                    <a:lnTo>
                      <a:pt x="215" y="2786"/>
                    </a:lnTo>
                    <a:lnTo>
                      <a:pt x="215" y="2786"/>
                    </a:lnTo>
                    <a:lnTo>
                      <a:pt x="215" y="2905"/>
                    </a:lnTo>
                    <a:lnTo>
                      <a:pt x="215" y="2905"/>
                    </a:lnTo>
                    <a:lnTo>
                      <a:pt x="215" y="2905"/>
                    </a:lnTo>
                    <a:lnTo>
                      <a:pt x="215" y="2905"/>
                    </a:lnTo>
                    <a:lnTo>
                      <a:pt x="215" y="2905"/>
                    </a:lnTo>
                    <a:lnTo>
                      <a:pt x="215" y="2905"/>
                    </a:lnTo>
                    <a:lnTo>
                      <a:pt x="215" y="2977"/>
                    </a:lnTo>
                    <a:lnTo>
                      <a:pt x="215" y="2977"/>
                    </a:lnTo>
                    <a:lnTo>
                      <a:pt x="215" y="3024"/>
                    </a:lnTo>
                    <a:lnTo>
                      <a:pt x="215" y="3024"/>
                    </a:lnTo>
                    <a:lnTo>
                      <a:pt x="215" y="3120"/>
                    </a:lnTo>
                    <a:lnTo>
                      <a:pt x="215" y="3120"/>
                    </a:lnTo>
                    <a:lnTo>
                      <a:pt x="215" y="3143"/>
                    </a:lnTo>
                    <a:lnTo>
                      <a:pt x="215" y="3143"/>
                    </a:lnTo>
                    <a:lnTo>
                      <a:pt x="191" y="3286"/>
                    </a:lnTo>
                    <a:lnTo>
                      <a:pt x="191" y="3286"/>
                    </a:lnTo>
                    <a:lnTo>
                      <a:pt x="191" y="3310"/>
                    </a:lnTo>
                    <a:lnTo>
                      <a:pt x="191" y="3310"/>
                    </a:lnTo>
                    <a:lnTo>
                      <a:pt x="143" y="3548"/>
                    </a:lnTo>
                    <a:lnTo>
                      <a:pt x="143" y="3548"/>
                    </a:lnTo>
                    <a:lnTo>
                      <a:pt x="143" y="3763"/>
                    </a:lnTo>
                    <a:lnTo>
                      <a:pt x="119" y="3977"/>
                    </a:lnTo>
                    <a:lnTo>
                      <a:pt x="96" y="4191"/>
                    </a:lnTo>
                    <a:lnTo>
                      <a:pt x="72" y="4429"/>
                    </a:lnTo>
                    <a:lnTo>
                      <a:pt x="72" y="4429"/>
                    </a:lnTo>
                    <a:lnTo>
                      <a:pt x="96" y="4382"/>
                    </a:lnTo>
                    <a:lnTo>
                      <a:pt x="96" y="4334"/>
                    </a:lnTo>
                    <a:lnTo>
                      <a:pt x="96" y="4310"/>
                    </a:lnTo>
                    <a:lnTo>
                      <a:pt x="119" y="4263"/>
                    </a:lnTo>
                    <a:lnTo>
                      <a:pt x="119" y="4263"/>
                    </a:lnTo>
                    <a:lnTo>
                      <a:pt x="238" y="4001"/>
                    </a:lnTo>
                    <a:lnTo>
                      <a:pt x="381" y="3548"/>
                    </a:lnTo>
                    <a:lnTo>
                      <a:pt x="548" y="2953"/>
                    </a:lnTo>
                    <a:lnTo>
                      <a:pt x="715" y="2262"/>
                    </a:lnTo>
                    <a:lnTo>
                      <a:pt x="881" y="1548"/>
                    </a:lnTo>
                    <a:lnTo>
                      <a:pt x="1024" y="905"/>
                    </a:lnTo>
                    <a:lnTo>
                      <a:pt x="1096" y="357"/>
                    </a:lnTo>
                    <a:lnTo>
                      <a:pt x="1120" y="167"/>
                    </a:lnTo>
                    <a:lnTo>
                      <a:pt x="1143"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86" name="Google Shape;988;g2e0683f995c_0_0">
                <a:extLst>
                  <a:ext uri="{FF2B5EF4-FFF2-40B4-BE49-F238E27FC236}">
                    <a16:creationId xmlns:a16="http://schemas.microsoft.com/office/drawing/2014/main" id="{8A476C06-63E8-AB69-F309-5AC8FB62BB92}"/>
                  </a:ext>
                </a:extLst>
              </p:cNvPr>
              <p:cNvSpPr/>
              <p:nvPr/>
            </p:nvSpPr>
            <p:spPr>
              <a:xfrm>
                <a:off x="8320124" y="753477"/>
                <a:ext cx="1599" cy="1199"/>
              </a:xfrm>
              <a:custGeom>
                <a:avLst/>
                <a:gdLst/>
                <a:ahLst/>
                <a:cxnLst/>
                <a:rect l="l" t="t" r="r" b="b"/>
                <a:pathLst>
                  <a:path w="96" h="72" extrusionOk="0">
                    <a:moveTo>
                      <a:pt x="95" y="0"/>
                    </a:moveTo>
                    <a:lnTo>
                      <a:pt x="0" y="48"/>
                    </a:lnTo>
                    <a:lnTo>
                      <a:pt x="0" y="72"/>
                    </a:lnTo>
                    <a:lnTo>
                      <a:pt x="72" y="72"/>
                    </a:lnTo>
                    <a:lnTo>
                      <a:pt x="95" y="48"/>
                    </a:lnTo>
                    <a:lnTo>
                      <a:pt x="95" y="24"/>
                    </a:lnTo>
                    <a:lnTo>
                      <a:pt x="95" y="0"/>
                    </a:lnTo>
                    <a:close/>
                  </a:path>
                </a:pathLst>
              </a:custGeom>
              <a:solidFill>
                <a:srgbClr val="C5C5CC"/>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87" name="Google Shape;989;g2e0683f995c_0_0">
                <a:extLst>
                  <a:ext uri="{FF2B5EF4-FFF2-40B4-BE49-F238E27FC236}">
                    <a16:creationId xmlns:a16="http://schemas.microsoft.com/office/drawing/2014/main" id="{64544879-1E02-0FFF-AACE-FFCBCBDC2BDA}"/>
                  </a:ext>
                </a:extLst>
              </p:cNvPr>
              <p:cNvSpPr/>
              <p:nvPr/>
            </p:nvSpPr>
            <p:spPr>
              <a:xfrm>
                <a:off x="8320124" y="753477"/>
                <a:ext cx="1599" cy="1199"/>
              </a:xfrm>
              <a:custGeom>
                <a:avLst/>
                <a:gdLst/>
                <a:ahLst/>
                <a:cxnLst/>
                <a:rect l="l" t="t" r="r" b="b"/>
                <a:pathLst>
                  <a:path w="96" h="72" fill="none" extrusionOk="0">
                    <a:moveTo>
                      <a:pt x="95" y="0"/>
                    </a:moveTo>
                    <a:lnTo>
                      <a:pt x="95" y="0"/>
                    </a:lnTo>
                    <a:lnTo>
                      <a:pt x="0" y="48"/>
                    </a:lnTo>
                    <a:lnTo>
                      <a:pt x="0" y="48"/>
                    </a:lnTo>
                    <a:lnTo>
                      <a:pt x="0" y="72"/>
                    </a:lnTo>
                    <a:lnTo>
                      <a:pt x="0" y="72"/>
                    </a:lnTo>
                    <a:lnTo>
                      <a:pt x="72" y="72"/>
                    </a:lnTo>
                    <a:lnTo>
                      <a:pt x="95" y="48"/>
                    </a:lnTo>
                    <a:lnTo>
                      <a:pt x="95" y="24"/>
                    </a:lnTo>
                    <a:lnTo>
                      <a:pt x="95"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88" name="Google Shape;990;g2e0683f995c_0_0">
                <a:extLst>
                  <a:ext uri="{FF2B5EF4-FFF2-40B4-BE49-F238E27FC236}">
                    <a16:creationId xmlns:a16="http://schemas.microsoft.com/office/drawing/2014/main" id="{69606B69-8843-3063-EF26-E4BB89986C50}"/>
                  </a:ext>
                </a:extLst>
              </p:cNvPr>
              <p:cNvSpPr/>
              <p:nvPr/>
            </p:nvSpPr>
            <p:spPr>
              <a:xfrm>
                <a:off x="8319724" y="752277"/>
                <a:ext cx="1999" cy="1999"/>
              </a:xfrm>
              <a:custGeom>
                <a:avLst/>
                <a:gdLst/>
                <a:ahLst/>
                <a:cxnLst/>
                <a:rect l="l" t="t" r="r" b="b"/>
                <a:pathLst>
                  <a:path w="120" h="120" extrusionOk="0">
                    <a:moveTo>
                      <a:pt x="0" y="1"/>
                    </a:moveTo>
                    <a:lnTo>
                      <a:pt x="0" y="48"/>
                    </a:lnTo>
                    <a:lnTo>
                      <a:pt x="24" y="120"/>
                    </a:lnTo>
                    <a:lnTo>
                      <a:pt x="119" y="72"/>
                    </a:lnTo>
                    <a:lnTo>
                      <a:pt x="72" y="25"/>
                    </a:lnTo>
                    <a:lnTo>
                      <a:pt x="24" y="1"/>
                    </a:lnTo>
                    <a:close/>
                  </a:path>
                </a:pathLst>
              </a:custGeom>
              <a:solidFill>
                <a:srgbClr val="B9898A"/>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89" name="Google Shape;991;g2e0683f995c_0_0">
                <a:extLst>
                  <a:ext uri="{FF2B5EF4-FFF2-40B4-BE49-F238E27FC236}">
                    <a16:creationId xmlns:a16="http://schemas.microsoft.com/office/drawing/2014/main" id="{AC58941E-74BC-7795-094F-75E8AC1F51EE}"/>
                  </a:ext>
                </a:extLst>
              </p:cNvPr>
              <p:cNvSpPr/>
              <p:nvPr/>
            </p:nvSpPr>
            <p:spPr>
              <a:xfrm>
                <a:off x="8319724" y="752277"/>
                <a:ext cx="1999" cy="1999"/>
              </a:xfrm>
              <a:custGeom>
                <a:avLst/>
                <a:gdLst/>
                <a:ahLst/>
                <a:cxnLst/>
                <a:rect l="l" t="t" r="r" b="b"/>
                <a:pathLst>
                  <a:path w="120" h="120" fill="none" extrusionOk="0">
                    <a:moveTo>
                      <a:pt x="24" y="1"/>
                    </a:moveTo>
                    <a:lnTo>
                      <a:pt x="24" y="1"/>
                    </a:lnTo>
                    <a:lnTo>
                      <a:pt x="0" y="1"/>
                    </a:lnTo>
                    <a:lnTo>
                      <a:pt x="0" y="48"/>
                    </a:lnTo>
                    <a:lnTo>
                      <a:pt x="0" y="48"/>
                    </a:lnTo>
                    <a:lnTo>
                      <a:pt x="24" y="120"/>
                    </a:lnTo>
                    <a:lnTo>
                      <a:pt x="24" y="120"/>
                    </a:lnTo>
                    <a:lnTo>
                      <a:pt x="119" y="72"/>
                    </a:lnTo>
                    <a:lnTo>
                      <a:pt x="119" y="72"/>
                    </a:lnTo>
                    <a:lnTo>
                      <a:pt x="72" y="25"/>
                    </a:lnTo>
                    <a:lnTo>
                      <a:pt x="24"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90" name="Google Shape;992;g2e0683f995c_0_0">
                <a:extLst>
                  <a:ext uri="{FF2B5EF4-FFF2-40B4-BE49-F238E27FC236}">
                    <a16:creationId xmlns:a16="http://schemas.microsoft.com/office/drawing/2014/main" id="{4902361C-89A3-2DE1-74F4-A4DBF4CD59C8}"/>
                  </a:ext>
                </a:extLst>
              </p:cNvPr>
              <p:cNvSpPr/>
              <p:nvPr/>
            </p:nvSpPr>
            <p:spPr>
              <a:xfrm>
                <a:off x="8286792" y="754659"/>
                <a:ext cx="36513" cy="31749"/>
              </a:xfrm>
              <a:custGeom>
                <a:avLst/>
                <a:gdLst/>
                <a:ahLst/>
                <a:cxnLst/>
                <a:rect l="l" t="t" r="r" b="b"/>
                <a:pathLst>
                  <a:path w="2192" h="1906" extrusionOk="0">
                    <a:moveTo>
                      <a:pt x="2001" y="1"/>
                    </a:moveTo>
                    <a:lnTo>
                      <a:pt x="1858" y="24"/>
                    </a:lnTo>
                    <a:lnTo>
                      <a:pt x="1834" y="24"/>
                    </a:lnTo>
                    <a:lnTo>
                      <a:pt x="1787" y="48"/>
                    </a:lnTo>
                    <a:lnTo>
                      <a:pt x="1715" y="96"/>
                    </a:lnTo>
                    <a:lnTo>
                      <a:pt x="1549" y="239"/>
                    </a:lnTo>
                    <a:lnTo>
                      <a:pt x="1239" y="429"/>
                    </a:lnTo>
                    <a:lnTo>
                      <a:pt x="906" y="620"/>
                    </a:lnTo>
                    <a:lnTo>
                      <a:pt x="525" y="810"/>
                    </a:lnTo>
                    <a:lnTo>
                      <a:pt x="120" y="977"/>
                    </a:lnTo>
                    <a:lnTo>
                      <a:pt x="1" y="1906"/>
                    </a:lnTo>
                    <a:lnTo>
                      <a:pt x="358" y="1715"/>
                    </a:lnTo>
                    <a:lnTo>
                      <a:pt x="668" y="1525"/>
                    </a:lnTo>
                    <a:lnTo>
                      <a:pt x="953" y="1310"/>
                    </a:lnTo>
                    <a:lnTo>
                      <a:pt x="1215" y="1096"/>
                    </a:lnTo>
                    <a:lnTo>
                      <a:pt x="1620" y="763"/>
                    </a:lnTo>
                    <a:lnTo>
                      <a:pt x="1739" y="667"/>
                    </a:lnTo>
                    <a:lnTo>
                      <a:pt x="1811" y="620"/>
                    </a:lnTo>
                    <a:lnTo>
                      <a:pt x="1834" y="644"/>
                    </a:lnTo>
                    <a:lnTo>
                      <a:pt x="1882" y="620"/>
                    </a:lnTo>
                    <a:lnTo>
                      <a:pt x="1906" y="596"/>
                    </a:lnTo>
                    <a:lnTo>
                      <a:pt x="1953" y="524"/>
                    </a:lnTo>
                    <a:lnTo>
                      <a:pt x="2049" y="429"/>
                    </a:lnTo>
                    <a:lnTo>
                      <a:pt x="2096" y="405"/>
                    </a:lnTo>
                    <a:lnTo>
                      <a:pt x="2168" y="382"/>
                    </a:lnTo>
                    <a:lnTo>
                      <a:pt x="2192" y="358"/>
                    </a:lnTo>
                    <a:lnTo>
                      <a:pt x="2192" y="334"/>
                    </a:lnTo>
                    <a:lnTo>
                      <a:pt x="2144" y="239"/>
                    </a:lnTo>
                    <a:lnTo>
                      <a:pt x="2001" y="1"/>
                    </a:lnTo>
                    <a:close/>
                  </a:path>
                </a:pathLst>
              </a:custGeom>
              <a:solidFill>
                <a:srgbClr val="C5C5CC"/>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91" name="Google Shape;993;g2e0683f995c_0_0">
                <a:extLst>
                  <a:ext uri="{FF2B5EF4-FFF2-40B4-BE49-F238E27FC236}">
                    <a16:creationId xmlns:a16="http://schemas.microsoft.com/office/drawing/2014/main" id="{9C99ABD6-CFD4-527E-EFB3-B1A4858FE288}"/>
                  </a:ext>
                </a:extLst>
              </p:cNvPr>
              <p:cNvSpPr/>
              <p:nvPr/>
            </p:nvSpPr>
            <p:spPr>
              <a:xfrm>
                <a:off x="8286792" y="754659"/>
                <a:ext cx="36513" cy="31749"/>
              </a:xfrm>
              <a:custGeom>
                <a:avLst/>
                <a:gdLst/>
                <a:ahLst/>
                <a:cxnLst/>
                <a:rect l="l" t="t" r="r" b="b"/>
                <a:pathLst>
                  <a:path w="2192" h="1906" fill="none" extrusionOk="0">
                    <a:moveTo>
                      <a:pt x="2001" y="1"/>
                    </a:moveTo>
                    <a:lnTo>
                      <a:pt x="2001" y="1"/>
                    </a:lnTo>
                    <a:lnTo>
                      <a:pt x="2001" y="1"/>
                    </a:lnTo>
                    <a:lnTo>
                      <a:pt x="1858" y="24"/>
                    </a:lnTo>
                    <a:lnTo>
                      <a:pt x="1858" y="24"/>
                    </a:lnTo>
                    <a:lnTo>
                      <a:pt x="1858" y="24"/>
                    </a:lnTo>
                    <a:lnTo>
                      <a:pt x="1858" y="24"/>
                    </a:lnTo>
                    <a:lnTo>
                      <a:pt x="1834" y="24"/>
                    </a:lnTo>
                    <a:lnTo>
                      <a:pt x="1834" y="24"/>
                    </a:lnTo>
                    <a:lnTo>
                      <a:pt x="1787" y="48"/>
                    </a:lnTo>
                    <a:lnTo>
                      <a:pt x="1715" y="96"/>
                    </a:lnTo>
                    <a:lnTo>
                      <a:pt x="1549" y="239"/>
                    </a:lnTo>
                    <a:lnTo>
                      <a:pt x="1549" y="239"/>
                    </a:lnTo>
                    <a:lnTo>
                      <a:pt x="1239" y="429"/>
                    </a:lnTo>
                    <a:lnTo>
                      <a:pt x="906" y="620"/>
                    </a:lnTo>
                    <a:lnTo>
                      <a:pt x="525" y="810"/>
                    </a:lnTo>
                    <a:lnTo>
                      <a:pt x="120" y="977"/>
                    </a:lnTo>
                    <a:lnTo>
                      <a:pt x="120" y="977"/>
                    </a:lnTo>
                    <a:lnTo>
                      <a:pt x="120" y="977"/>
                    </a:lnTo>
                    <a:lnTo>
                      <a:pt x="1" y="1906"/>
                    </a:lnTo>
                    <a:lnTo>
                      <a:pt x="1" y="1906"/>
                    </a:lnTo>
                    <a:lnTo>
                      <a:pt x="358" y="1715"/>
                    </a:lnTo>
                    <a:lnTo>
                      <a:pt x="668" y="1525"/>
                    </a:lnTo>
                    <a:lnTo>
                      <a:pt x="953" y="1310"/>
                    </a:lnTo>
                    <a:lnTo>
                      <a:pt x="1215" y="1096"/>
                    </a:lnTo>
                    <a:lnTo>
                      <a:pt x="1620" y="763"/>
                    </a:lnTo>
                    <a:lnTo>
                      <a:pt x="1739" y="667"/>
                    </a:lnTo>
                    <a:lnTo>
                      <a:pt x="1811" y="620"/>
                    </a:lnTo>
                    <a:lnTo>
                      <a:pt x="1811" y="620"/>
                    </a:lnTo>
                    <a:lnTo>
                      <a:pt x="1811" y="620"/>
                    </a:lnTo>
                    <a:lnTo>
                      <a:pt x="1811" y="620"/>
                    </a:lnTo>
                    <a:lnTo>
                      <a:pt x="1834" y="644"/>
                    </a:lnTo>
                    <a:lnTo>
                      <a:pt x="1834" y="644"/>
                    </a:lnTo>
                    <a:lnTo>
                      <a:pt x="1882" y="620"/>
                    </a:lnTo>
                    <a:lnTo>
                      <a:pt x="1906" y="596"/>
                    </a:lnTo>
                    <a:lnTo>
                      <a:pt x="1953" y="524"/>
                    </a:lnTo>
                    <a:lnTo>
                      <a:pt x="1953" y="524"/>
                    </a:lnTo>
                    <a:lnTo>
                      <a:pt x="2049" y="429"/>
                    </a:lnTo>
                    <a:lnTo>
                      <a:pt x="2096" y="405"/>
                    </a:lnTo>
                    <a:lnTo>
                      <a:pt x="2168" y="382"/>
                    </a:lnTo>
                    <a:lnTo>
                      <a:pt x="2168" y="382"/>
                    </a:lnTo>
                    <a:lnTo>
                      <a:pt x="2192" y="358"/>
                    </a:lnTo>
                    <a:lnTo>
                      <a:pt x="2192" y="334"/>
                    </a:lnTo>
                    <a:lnTo>
                      <a:pt x="2144" y="239"/>
                    </a:lnTo>
                    <a:lnTo>
                      <a:pt x="2001"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92" name="Google Shape;994;g2e0683f995c_0_0">
                <a:extLst>
                  <a:ext uri="{FF2B5EF4-FFF2-40B4-BE49-F238E27FC236}">
                    <a16:creationId xmlns:a16="http://schemas.microsoft.com/office/drawing/2014/main" id="{7F076C6A-B3EA-A512-5855-63078A809E51}"/>
                  </a:ext>
                </a:extLst>
              </p:cNvPr>
              <p:cNvSpPr/>
              <p:nvPr/>
            </p:nvSpPr>
            <p:spPr>
              <a:xfrm>
                <a:off x="8317342" y="755059"/>
                <a:ext cx="416" cy="17"/>
              </a:xfrm>
              <a:custGeom>
                <a:avLst/>
                <a:gdLst/>
                <a:ahLst/>
                <a:cxnLst/>
                <a:rect l="l" t="t" r="r" b="b"/>
                <a:pathLst>
                  <a:path w="25" h="1" extrusionOk="0">
                    <a:moveTo>
                      <a:pt x="24" y="0"/>
                    </a:moveTo>
                    <a:lnTo>
                      <a:pt x="24" y="0"/>
                    </a:lnTo>
                    <a:lnTo>
                      <a:pt x="0" y="0"/>
                    </a:lnTo>
                    <a:lnTo>
                      <a:pt x="0" y="0"/>
                    </a:lnTo>
                    <a:lnTo>
                      <a:pt x="24" y="0"/>
                    </a:lnTo>
                    <a:lnTo>
                      <a:pt x="24" y="0"/>
                    </a:lnTo>
                    <a:lnTo>
                      <a:pt x="24" y="0"/>
                    </a:lnTo>
                    <a:close/>
                  </a:path>
                </a:pathLst>
              </a:custGeom>
              <a:solidFill>
                <a:srgbClr val="B9898A"/>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93" name="Google Shape;995;g2e0683f995c_0_0">
                <a:extLst>
                  <a:ext uri="{FF2B5EF4-FFF2-40B4-BE49-F238E27FC236}">
                    <a16:creationId xmlns:a16="http://schemas.microsoft.com/office/drawing/2014/main" id="{27D1A680-FDA7-19CC-0675-E3238CD7B90E}"/>
                  </a:ext>
                </a:extLst>
              </p:cNvPr>
              <p:cNvSpPr/>
              <p:nvPr/>
            </p:nvSpPr>
            <p:spPr>
              <a:xfrm>
                <a:off x="8317342" y="755059"/>
                <a:ext cx="416" cy="17"/>
              </a:xfrm>
              <a:custGeom>
                <a:avLst/>
                <a:gdLst/>
                <a:ahLst/>
                <a:cxnLst/>
                <a:rect l="l" t="t" r="r" b="b"/>
                <a:pathLst>
                  <a:path w="25" h="1" fill="none" extrusionOk="0">
                    <a:moveTo>
                      <a:pt x="24" y="0"/>
                    </a:moveTo>
                    <a:lnTo>
                      <a:pt x="24" y="0"/>
                    </a:lnTo>
                    <a:lnTo>
                      <a:pt x="0" y="0"/>
                    </a:lnTo>
                    <a:lnTo>
                      <a:pt x="0" y="0"/>
                    </a:lnTo>
                    <a:lnTo>
                      <a:pt x="24" y="0"/>
                    </a:lnTo>
                    <a:lnTo>
                      <a:pt x="24" y="0"/>
                    </a:lnTo>
                    <a:lnTo>
                      <a:pt x="24"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94" name="Google Shape;996;g2e0683f995c_0_0">
                <a:extLst>
                  <a:ext uri="{FF2B5EF4-FFF2-40B4-BE49-F238E27FC236}">
                    <a16:creationId xmlns:a16="http://schemas.microsoft.com/office/drawing/2014/main" id="{5028ACEA-3DBF-3B0A-BE4F-C07D0B70C81A}"/>
                  </a:ext>
                </a:extLst>
              </p:cNvPr>
              <p:cNvSpPr/>
              <p:nvPr/>
            </p:nvSpPr>
            <p:spPr>
              <a:xfrm>
                <a:off x="8215398" y="762205"/>
                <a:ext cx="73393" cy="27385"/>
              </a:xfrm>
              <a:custGeom>
                <a:avLst/>
                <a:gdLst/>
                <a:ahLst/>
                <a:cxnLst/>
                <a:rect l="l" t="t" r="r" b="b"/>
                <a:pathLst>
                  <a:path w="4406" h="1644" extrusionOk="0">
                    <a:moveTo>
                      <a:pt x="1239" y="0"/>
                    </a:moveTo>
                    <a:lnTo>
                      <a:pt x="786" y="286"/>
                    </a:lnTo>
                    <a:lnTo>
                      <a:pt x="1" y="905"/>
                    </a:lnTo>
                    <a:lnTo>
                      <a:pt x="1834" y="1381"/>
                    </a:lnTo>
                    <a:lnTo>
                      <a:pt x="2358" y="1500"/>
                    </a:lnTo>
                    <a:lnTo>
                      <a:pt x="2858" y="1595"/>
                    </a:lnTo>
                    <a:lnTo>
                      <a:pt x="3287" y="1643"/>
                    </a:lnTo>
                    <a:lnTo>
                      <a:pt x="3382" y="1643"/>
                    </a:lnTo>
                    <a:lnTo>
                      <a:pt x="3620" y="1619"/>
                    </a:lnTo>
                    <a:lnTo>
                      <a:pt x="3834" y="1595"/>
                    </a:lnTo>
                    <a:lnTo>
                      <a:pt x="4073" y="1524"/>
                    </a:lnTo>
                    <a:lnTo>
                      <a:pt x="4287" y="1453"/>
                    </a:lnTo>
                    <a:lnTo>
                      <a:pt x="4406" y="524"/>
                    </a:lnTo>
                    <a:lnTo>
                      <a:pt x="3977" y="643"/>
                    </a:lnTo>
                    <a:lnTo>
                      <a:pt x="3739" y="691"/>
                    </a:lnTo>
                    <a:lnTo>
                      <a:pt x="3501" y="714"/>
                    </a:lnTo>
                    <a:lnTo>
                      <a:pt x="3287" y="714"/>
                    </a:lnTo>
                    <a:lnTo>
                      <a:pt x="3025" y="691"/>
                    </a:lnTo>
                    <a:lnTo>
                      <a:pt x="2715" y="619"/>
                    </a:lnTo>
                    <a:lnTo>
                      <a:pt x="2382" y="500"/>
                    </a:lnTo>
                    <a:lnTo>
                      <a:pt x="2025" y="357"/>
                    </a:lnTo>
                    <a:lnTo>
                      <a:pt x="1239" y="0"/>
                    </a:lnTo>
                    <a:close/>
                  </a:path>
                </a:pathLst>
              </a:custGeom>
              <a:solidFill>
                <a:srgbClr val="B06415"/>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95" name="Google Shape;997;g2e0683f995c_0_0">
                <a:extLst>
                  <a:ext uri="{FF2B5EF4-FFF2-40B4-BE49-F238E27FC236}">
                    <a16:creationId xmlns:a16="http://schemas.microsoft.com/office/drawing/2014/main" id="{5345A175-2B99-3157-2F54-8BD55E2AA8A6}"/>
                  </a:ext>
                </a:extLst>
              </p:cNvPr>
              <p:cNvSpPr/>
              <p:nvPr/>
            </p:nvSpPr>
            <p:spPr>
              <a:xfrm>
                <a:off x="8215398" y="762205"/>
                <a:ext cx="73393" cy="27385"/>
              </a:xfrm>
              <a:custGeom>
                <a:avLst/>
                <a:gdLst/>
                <a:ahLst/>
                <a:cxnLst/>
                <a:rect l="l" t="t" r="r" b="b"/>
                <a:pathLst>
                  <a:path w="4406" h="1644" fill="none" extrusionOk="0">
                    <a:moveTo>
                      <a:pt x="1239" y="0"/>
                    </a:moveTo>
                    <a:lnTo>
                      <a:pt x="1239" y="0"/>
                    </a:lnTo>
                    <a:lnTo>
                      <a:pt x="1239" y="0"/>
                    </a:lnTo>
                    <a:lnTo>
                      <a:pt x="786" y="286"/>
                    </a:lnTo>
                    <a:lnTo>
                      <a:pt x="786" y="286"/>
                    </a:lnTo>
                    <a:lnTo>
                      <a:pt x="1" y="905"/>
                    </a:lnTo>
                    <a:lnTo>
                      <a:pt x="1" y="905"/>
                    </a:lnTo>
                    <a:lnTo>
                      <a:pt x="1834" y="1381"/>
                    </a:lnTo>
                    <a:lnTo>
                      <a:pt x="1834" y="1381"/>
                    </a:lnTo>
                    <a:lnTo>
                      <a:pt x="2358" y="1500"/>
                    </a:lnTo>
                    <a:lnTo>
                      <a:pt x="2858" y="1595"/>
                    </a:lnTo>
                    <a:lnTo>
                      <a:pt x="2858" y="1595"/>
                    </a:lnTo>
                    <a:lnTo>
                      <a:pt x="3287" y="1643"/>
                    </a:lnTo>
                    <a:lnTo>
                      <a:pt x="3287" y="1643"/>
                    </a:lnTo>
                    <a:lnTo>
                      <a:pt x="3382" y="1643"/>
                    </a:lnTo>
                    <a:lnTo>
                      <a:pt x="3382" y="1643"/>
                    </a:lnTo>
                    <a:lnTo>
                      <a:pt x="3620" y="1619"/>
                    </a:lnTo>
                    <a:lnTo>
                      <a:pt x="3834" y="1595"/>
                    </a:lnTo>
                    <a:lnTo>
                      <a:pt x="4073" y="1524"/>
                    </a:lnTo>
                    <a:lnTo>
                      <a:pt x="4287" y="1453"/>
                    </a:lnTo>
                    <a:lnTo>
                      <a:pt x="4287" y="1453"/>
                    </a:lnTo>
                    <a:lnTo>
                      <a:pt x="4287" y="1453"/>
                    </a:lnTo>
                    <a:lnTo>
                      <a:pt x="4406" y="524"/>
                    </a:lnTo>
                    <a:lnTo>
                      <a:pt x="4406" y="524"/>
                    </a:lnTo>
                    <a:lnTo>
                      <a:pt x="4406" y="524"/>
                    </a:lnTo>
                    <a:lnTo>
                      <a:pt x="4406" y="524"/>
                    </a:lnTo>
                    <a:lnTo>
                      <a:pt x="3977" y="643"/>
                    </a:lnTo>
                    <a:lnTo>
                      <a:pt x="3739" y="691"/>
                    </a:lnTo>
                    <a:lnTo>
                      <a:pt x="3501" y="714"/>
                    </a:lnTo>
                    <a:lnTo>
                      <a:pt x="3501" y="714"/>
                    </a:lnTo>
                    <a:lnTo>
                      <a:pt x="3287" y="714"/>
                    </a:lnTo>
                    <a:lnTo>
                      <a:pt x="3287" y="714"/>
                    </a:lnTo>
                    <a:lnTo>
                      <a:pt x="3025" y="691"/>
                    </a:lnTo>
                    <a:lnTo>
                      <a:pt x="2715" y="619"/>
                    </a:lnTo>
                    <a:lnTo>
                      <a:pt x="2715" y="619"/>
                    </a:lnTo>
                    <a:lnTo>
                      <a:pt x="2382" y="500"/>
                    </a:lnTo>
                    <a:lnTo>
                      <a:pt x="2025" y="357"/>
                    </a:lnTo>
                    <a:lnTo>
                      <a:pt x="1239"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96" name="Google Shape;998;g2e0683f995c_0_0">
                <a:extLst>
                  <a:ext uri="{FF2B5EF4-FFF2-40B4-BE49-F238E27FC236}">
                    <a16:creationId xmlns:a16="http://schemas.microsoft.com/office/drawing/2014/main" id="{840170B3-E062-8D59-99E3-C672F0E85580}"/>
                  </a:ext>
                </a:extLst>
              </p:cNvPr>
              <p:cNvSpPr/>
              <p:nvPr/>
            </p:nvSpPr>
            <p:spPr>
              <a:xfrm>
                <a:off x="8017474" y="745531"/>
                <a:ext cx="307414" cy="46041"/>
              </a:xfrm>
              <a:custGeom>
                <a:avLst/>
                <a:gdLst/>
                <a:ahLst/>
                <a:cxnLst/>
                <a:rect l="l" t="t" r="r" b="b"/>
                <a:pathLst>
                  <a:path w="18455" h="2764" extrusionOk="0">
                    <a:moveTo>
                      <a:pt x="10382" y="1"/>
                    </a:moveTo>
                    <a:lnTo>
                      <a:pt x="10120" y="49"/>
                    </a:lnTo>
                    <a:lnTo>
                      <a:pt x="9859" y="120"/>
                    </a:lnTo>
                    <a:lnTo>
                      <a:pt x="9620" y="191"/>
                    </a:lnTo>
                    <a:lnTo>
                      <a:pt x="9382" y="310"/>
                    </a:lnTo>
                    <a:lnTo>
                      <a:pt x="8930" y="549"/>
                    </a:lnTo>
                    <a:lnTo>
                      <a:pt x="8501" y="811"/>
                    </a:lnTo>
                    <a:lnTo>
                      <a:pt x="8001" y="1072"/>
                    </a:lnTo>
                    <a:lnTo>
                      <a:pt x="7763" y="1192"/>
                    </a:lnTo>
                    <a:lnTo>
                      <a:pt x="7477" y="1287"/>
                    </a:lnTo>
                    <a:lnTo>
                      <a:pt x="7168" y="1382"/>
                    </a:lnTo>
                    <a:lnTo>
                      <a:pt x="6834" y="1477"/>
                    </a:lnTo>
                    <a:lnTo>
                      <a:pt x="6477" y="1525"/>
                    </a:lnTo>
                    <a:lnTo>
                      <a:pt x="6096" y="1573"/>
                    </a:lnTo>
                    <a:lnTo>
                      <a:pt x="5691" y="1573"/>
                    </a:lnTo>
                    <a:lnTo>
                      <a:pt x="5287" y="1549"/>
                    </a:lnTo>
                    <a:lnTo>
                      <a:pt x="4882" y="1501"/>
                    </a:lnTo>
                    <a:lnTo>
                      <a:pt x="4477" y="1453"/>
                    </a:lnTo>
                    <a:lnTo>
                      <a:pt x="4096" y="1358"/>
                    </a:lnTo>
                    <a:lnTo>
                      <a:pt x="3715" y="1287"/>
                    </a:lnTo>
                    <a:lnTo>
                      <a:pt x="3001" y="1072"/>
                    </a:lnTo>
                    <a:lnTo>
                      <a:pt x="1810" y="715"/>
                    </a:lnTo>
                    <a:lnTo>
                      <a:pt x="1381" y="596"/>
                    </a:lnTo>
                    <a:lnTo>
                      <a:pt x="1215" y="572"/>
                    </a:lnTo>
                    <a:lnTo>
                      <a:pt x="1072" y="549"/>
                    </a:lnTo>
                    <a:lnTo>
                      <a:pt x="619" y="596"/>
                    </a:lnTo>
                    <a:lnTo>
                      <a:pt x="453" y="620"/>
                    </a:lnTo>
                    <a:lnTo>
                      <a:pt x="310" y="668"/>
                    </a:lnTo>
                    <a:lnTo>
                      <a:pt x="191" y="715"/>
                    </a:lnTo>
                    <a:lnTo>
                      <a:pt x="95" y="787"/>
                    </a:lnTo>
                    <a:lnTo>
                      <a:pt x="24" y="858"/>
                    </a:lnTo>
                    <a:lnTo>
                      <a:pt x="0" y="953"/>
                    </a:lnTo>
                    <a:lnTo>
                      <a:pt x="24" y="1049"/>
                    </a:lnTo>
                    <a:lnTo>
                      <a:pt x="48" y="1168"/>
                    </a:lnTo>
                    <a:lnTo>
                      <a:pt x="119" y="1287"/>
                    </a:lnTo>
                    <a:lnTo>
                      <a:pt x="191" y="1406"/>
                    </a:lnTo>
                    <a:lnTo>
                      <a:pt x="286" y="1549"/>
                    </a:lnTo>
                    <a:lnTo>
                      <a:pt x="405" y="1668"/>
                    </a:lnTo>
                    <a:lnTo>
                      <a:pt x="548" y="1787"/>
                    </a:lnTo>
                    <a:lnTo>
                      <a:pt x="691" y="1882"/>
                    </a:lnTo>
                    <a:lnTo>
                      <a:pt x="953" y="1954"/>
                    </a:lnTo>
                    <a:lnTo>
                      <a:pt x="1429" y="2073"/>
                    </a:lnTo>
                    <a:lnTo>
                      <a:pt x="2572" y="2311"/>
                    </a:lnTo>
                    <a:lnTo>
                      <a:pt x="3929" y="2525"/>
                    </a:lnTo>
                    <a:lnTo>
                      <a:pt x="5167" y="2692"/>
                    </a:lnTo>
                    <a:lnTo>
                      <a:pt x="5668" y="2739"/>
                    </a:lnTo>
                    <a:lnTo>
                      <a:pt x="6049" y="2763"/>
                    </a:lnTo>
                    <a:lnTo>
                      <a:pt x="6358" y="2739"/>
                    </a:lnTo>
                    <a:lnTo>
                      <a:pt x="6691" y="2692"/>
                    </a:lnTo>
                    <a:lnTo>
                      <a:pt x="7001" y="2620"/>
                    </a:lnTo>
                    <a:lnTo>
                      <a:pt x="7287" y="2525"/>
                    </a:lnTo>
                    <a:lnTo>
                      <a:pt x="7882" y="2311"/>
                    </a:lnTo>
                    <a:lnTo>
                      <a:pt x="8477" y="2049"/>
                    </a:lnTo>
                    <a:lnTo>
                      <a:pt x="9025" y="1787"/>
                    </a:lnTo>
                    <a:lnTo>
                      <a:pt x="9549" y="1573"/>
                    </a:lnTo>
                    <a:lnTo>
                      <a:pt x="9787" y="1501"/>
                    </a:lnTo>
                    <a:lnTo>
                      <a:pt x="10025" y="1430"/>
                    </a:lnTo>
                    <a:lnTo>
                      <a:pt x="10263" y="1382"/>
                    </a:lnTo>
                    <a:lnTo>
                      <a:pt x="10692" y="1382"/>
                    </a:lnTo>
                    <a:lnTo>
                      <a:pt x="10930" y="1406"/>
                    </a:lnTo>
                    <a:lnTo>
                      <a:pt x="11430" y="1501"/>
                    </a:lnTo>
                    <a:lnTo>
                      <a:pt x="12025" y="1644"/>
                    </a:lnTo>
                    <a:lnTo>
                      <a:pt x="12621" y="1811"/>
                    </a:lnTo>
                    <a:lnTo>
                      <a:pt x="13859" y="2120"/>
                    </a:lnTo>
                    <a:lnTo>
                      <a:pt x="14431" y="2239"/>
                    </a:lnTo>
                    <a:lnTo>
                      <a:pt x="14954" y="2311"/>
                    </a:lnTo>
                    <a:lnTo>
                      <a:pt x="15073" y="2335"/>
                    </a:lnTo>
                    <a:lnTo>
                      <a:pt x="15335" y="2335"/>
                    </a:lnTo>
                    <a:lnTo>
                      <a:pt x="15597" y="2287"/>
                    </a:lnTo>
                    <a:lnTo>
                      <a:pt x="15859" y="2215"/>
                    </a:lnTo>
                    <a:lnTo>
                      <a:pt x="16097" y="2144"/>
                    </a:lnTo>
                    <a:lnTo>
                      <a:pt x="16359" y="2025"/>
                    </a:lnTo>
                    <a:lnTo>
                      <a:pt x="16574" y="1906"/>
                    </a:lnTo>
                    <a:lnTo>
                      <a:pt x="17002" y="1644"/>
                    </a:lnTo>
                    <a:lnTo>
                      <a:pt x="17359" y="1382"/>
                    </a:lnTo>
                    <a:lnTo>
                      <a:pt x="17645" y="1144"/>
                    </a:lnTo>
                    <a:lnTo>
                      <a:pt x="17836" y="977"/>
                    </a:lnTo>
                    <a:lnTo>
                      <a:pt x="17883" y="953"/>
                    </a:lnTo>
                    <a:lnTo>
                      <a:pt x="17931" y="953"/>
                    </a:lnTo>
                    <a:lnTo>
                      <a:pt x="18026" y="1025"/>
                    </a:lnTo>
                    <a:lnTo>
                      <a:pt x="18121" y="1072"/>
                    </a:lnTo>
                    <a:lnTo>
                      <a:pt x="18288" y="1072"/>
                    </a:lnTo>
                    <a:lnTo>
                      <a:pt x="18312" y="1049"/>
                    </a:lnTo>
                    <a:lnTo>
                      <a:pt x="18360" y="1001"/>
                    </a:lnTo>
                    <a:lnTo>
                      <a:pt x="18407" y="906"/>
                    </a:lnTo>
                    <a:lnTo>
                      <a:pt x="18431" y="763"/>
                    </a:lnTo>
                    <a:lnTo>
                      <a:pt x="18455" y="644"/>
                    </a:lnTo>
                    <a:lnTo>
                      <a:pt x="18431" y="525"/>
                    </a:lnTo>
                    <a:lnTo>
                      <a:pt x="18383" y="406"/>
                    </a:lnTo>
                    <a:lnTo>
                      <a:pt x="18336" y="358"/>
                    </a:lnTo>
                    <a:lnTo>
                      <a:pt x="18264" y="310"/>
                    </a:lnTo>
                    <a:lnTo>
                      <a:pt x="18193" y="263"/>
                    </a:lnTo>
                    <a:lnTo>
                      <a:pt x="18074" y="239"/>
                    </a:lnTo>
                    <a:lnTo>
                      <a:pt x="17931" y="263"/>
                    </a:lnTo>
                    <a:lnTo>
                      <a:pt x="17836" y="287"/>
                    </a:lnTo>
                    <a:lnTo>
                      <a:pt x="17621" y="453"/>
                    </a:lnTo>
                    <a:lnTo>
                      <a:pt x="17193" y="739"/>
                    </a:lnTo>
                    <a:lnTo>
                      <a:pt x="16717" y="1001"/>
                    </a:lnTo>
                    <a:lnTo>
                      <a:pt x="16478" y="1120"/>
                    </a:lnTo>
                    <a:lnTo>
                      <a:pt x="16193" y="1215"/>
                    </a:lnTo>
                    <a:lnTo>
                      <a:pt x="15907" y="1287"/>
                    </a:lnTo>
                    <a:lnTo>
                      <a:pt x="15621" y="1358"/>
                    </a:lnTo>
                    <a:lnTo>
                      <a:pt x="15359" y="1406"/>
                    </a:lnTo>
                    <a:lnTo>
                      <a:pt x="14883" y="1406"/>
                    </a:lnTo>
                    <a:lnTo>
                      <a:pt x="14692" y="1358"/>
                    </a:lnTo>
                    <a:lnTo>
                      <a:pt x="14454" y="1287"/>
                    </a:lnTo>
                    <a:lnTo>
                      <a:pt x="14216" y="1215"/>
                    </a:lnTo>
                    <a:lnTo>
                      <a:pt x="13692" y="1001"/>
                    </a:lnTo>
                    <a:lnTo>
                      <a:pt x="13145" y="739"/>
                    </a:lnTo>
                    <a:lnTo>
                      <a:pt x="12549" y="501"/>
                    </a:lnTo>
                    <a:lnTo>
                      <a:pt x="11954" y="263"/>
                    </a:lnTo>
                    <a:lnTo>
                      <a:pt x="11644" y="168"/>
                    </a:lnTo>
                    <a:lnTo>
                      <a:pt x="11359" y="96"/>
                    </a:lnTo>
                    <a:lnTo>
                      <a:pt x="11073" y="25"/>
                    </a:lnTo>
                    <a:lnTo>
                      <a:pt x="10787" y="1"/>
                    </a:lnTo>
                    <a:close/>
                  </a:path>
                </a:pathLst>
              </a:custGeom>
              <a:solidFill>
                <a:srgbClr val="FCBF0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97" name="Google Shape;999;g2e0683f995c_0_0">
                <a:extLst>
                  <a:ext uri="{FF2B5EF4-FFF2-40B4-BE49-F238E27FC236}">
                    <a16:creationId xmlns:a16="http://schemas.microsoft.com/office/drawing/2014/main" id="{B5B98254-EF78-A39B-9D7D-8FC2A67CB50B}"/>
                  </a:ext>
                </a:extLst>
              </p:cNvPr>
              <p:cNvSpPr/>
              <p:nvPr/>
            </p:nvSpPr>
            <p:spPr>
              <a:xfrm>
                <a:off x="8321707" y="1027959"/>
                <a:ext cx="17" cy="17"/>
              </a:xfrm>
              <a:custGeom>
                <a:avLst/>
                <a:gdLst/>
                <a:ahLst/>
                <a:cxnLst/>
                <a:rect l="l" t="t" r="r" b="b"/>
                <a:pathLst>
                  <a:path w="1" h="1" extrusionOk="0">
                    <a:moveTo>
                      <a:pt x="0" y="0"/>
                    </a:moveTo>
                    <a:lnTo>
                      <a:pt x="0" y="0"/>
                    </a:lnTo>
                    <a:lnTo>
                      <a:pt x="0" y="0"/>
                    </a:lnTo>
                    <a:lnTo>
                      <a:pt x="0" y="0"/>
                    </a:lnTo>
                    <a:lnTo>
                      <a:pt x="0" y="0"/>
                    </a:lnTo>
                    <a:close/>
                  </a:path>
                </a:pathLst>
              </a:custGeom>
              <a:solidFill>
                <a:srgbClr val="616161"/>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98" name="Google Shape;1000;g2e0683f995c_0_0">
                <a:extLst>
                  <a:ext uri="{FF2B5EF4-FFF2-40B4-BE49-F238E27FC236}">
                    <a16:creationId xmlns:a16="http://schemas.microsoft.com/office/drawing/2014/main" id="{FF204B13-C8BA-3A4F-3ACD-3C8306AE8B9C}"/>
                  </a:ext>
                </a:extLst>
              </p:cNvPr>
              <p:cNvSpPr/>
              <p:nvPr/>
            </p:nvSpPr>
            <p:spPr>
              <a:xfrm>
                <a:off x="8321707" y="1027959"/>
                <a:ext cx="17" cy="17"/>
              </a:xfrm>
              <a:custGeom>
                <a:avLst/>
                <a:gdLst/>
                <a:ahLst/>
                <a:cxnLst/>
                <a:rect l="l" t="t" r="r" b="b"/>
                <a:pathLst>
                  <a:path w="1" h="1" fill="none" extrusionOk="0">
                    <a:moveTo>
                      <a:pt x="0" y="0"/>
                    </a:moveTo>
                    <a:lnTo>
                      <a:pt x="0" y="0"/>
                    </a:lnTo>
                    <a:lnTo>
                      <a:pt x="0" y="0"/>
                    </a:lnTo>
                    <a:lnTo>
                      <a:pt x="0" y="0"/>
                    </a:lnTo>
                    <a:lnTo>
                      <a:pt x="0"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99" name="Google Shape;1001;g2e0683f995c_0_0">
                <a:extLst>
                  <a:ext uri="{FF2B5EF4-FFF2-40B4-BE49-F238E27FC236}">
                    <a16:creationId xmlns:a16="http://schemas.microsoft.com/office/drawing/2014/main" id="{BFB3726D-D4B8-8A8E-5792-9E4094A53719}"/>
                  </a:ext>
                </a:extLst>
              </p:cNvPr>
              <p:cNvSpPr/>
              <p:nvPr/>
            </p:nvSpPr>
            <p:spPr>
              <a:xfrm>
                <a:off x="8317742" y="1001773"/>
                <a:ext cx="67446" cy="28984"/>
              </a:xfrm>
              <a:custGeom>
                <a:avLst/>
                <a:gdLst/>
                <a:ahLst/>
                <a:cxnLst/>
                <a:rect l="l" t="t" r="r" b="b"/>
                <a:pathLst>
                  <a:path w="4049" h="1740" extrusionOk="0">
                    <a:moveTo>
                      <a:pt x="0" y="1"/>
                    </a:moveTo>
                    <a:lnTo>
                      <a:pt x="238" y="1572"/>
                    </a:lnTo>
                    <a:lnTo>
                      <a:pt x="4048" y="1739"/>
                    </a:lnTo>
                    <a:lnTo>
                      <a:pt x="0" y="1"/>
                    </a:lnTo>
                    <a:close/>
                  </a:path>
                </a:pathLst>
              </a:custGeom>
              <a:solidFill>
                <a:srgbClr val="17171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500" name="Google Shape;1002;g2e0683f995c_0_0">
                <a:extLst>
                  <a:ext uri="{FF2B5EF4-FFF2-40B4-BE49-F238E27FC236}">
                    <a16:creationId xmlns:a16="http://schemas.microsoft.com/office/drawing/2014/main" id="{CEDD4586-0FCD-0DB1-B995-A6F32AA31348}"/>
                  </a:ext>
                </a:extLst>
              </p:cNvPr>
              <p:cNvSpPr/>
              <p:nvPr/>
            </p:nvSpPr>
            <p:spPr>
              <a:xfrm>
                <a:off x="8317742" y="1001773"/>
                <a:ext cx="67446" cy="28984"/>
              </a:xfrm>
              <a:custGeom>
                <a:avLst/>
                <a:gdLst/>
                <a:ahLst/>
                <a:cxnLst/>
                <a:rect l="l" t="t" r="r" b="b"/>
                <a:pathLst>
                  <a:path w="4049" h="1740" fill="none" extrusionOk="0">
                    <a:moveTo>
                      <a:pt x="0" y="1"/>
                    </a:moveTo>
                    <a:lnTo>
                      <a:pt x="238" y="1572"/>
                    </a:lnTo>
                    <a:lnTo>
                      <a:pt x="238" y="1572"/>
                    </a:lnTo>
                    <a:lnTo>
                      <a:pt x="238" y="1572"/>
                    </a:lnTo>
                    <a:lnTo>
                      <a:pt x="238" y="1572"/>
                    </a:lnTo>
                    <a:lnTo>
                      <a:pt x="4048" y="1739"/>
                    </a:lnTo>
                    <a:lnTo>
                      <a:pt x="0"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grpSp>
        <p:grpSp>
          <p:nvGrpSpPr>
            <p:cNvPr id="442" name="Google Shape;1003;g2e0683f995c_0_0">
              <a:extLst>
                <a:ext uri="{FF2B5EF4-FFF2-40B4-BE49-F238E27FC236}">
                  <a16:creationId xmlns:a16="http://schemas.microsoft.com/office/drawing/2014/main" id="{E31155E7-1AC0-863C-BDD0-A2E735244149}"/>
                </a:ext>
              </a:extLst>
            </p:cNvPr>
            <p:cNvGrpSpPr/>
            <p:nvPr/>
          </p:nvGrpSpPr>
          <p:grpSpPr>
            <a:xfrm>
              <a:off x="7772654" y="4568967"/>
              <a:ext cx="1155264" cy="831515"/>
              <a:chOff x="7493479" y="1133068"/>
              <a:chExt cx="600169" cy="431979"/>
            </a:xfrm>
          </p:grpSpPr>
          <p:sp>
            <p:nvSpPr>
              <p:cNvPr id="443" name="Google Shape;1004;g2e0683f995c_0_0">
                <a:extLst>
                  <a:ext uri="{FF2B5EF4-FFF2-40B4-BE49-F238E27FC236}">
                    <a16:creationId xmlns:a16="http://schemas.microsoft.com/office/drawing/2014/main" id="{930905A0-E258-B208-654F-276E9DB705FB}"/>
                  </a:ext>
                </a:extLst>
              </p:cNvPr>
              <p:cNvSpPr/>
              <p:nvPr/>
            </p:nvSpPr>
            <p:spPr>
              <a:xfrm>
                <a:off x="7584312" y="1178693"/>
                <a:ext cx="418886" cy="280845"/>
              </a:xfrm>
              <a:custGeom>
                <a:avLst/>
                <a:gdLst/>
                <a:ahLst/>
                <a:cxnLst/>
                <a:rect l="l" t="t" r="r" b="b"/>
                <a:pathLst>
                  <a:path w="25147" h="16860" extrusionOk="0">
                    <a:moveTo>
                      <a:pt x="23813" y="0"/>
                    </a:moveTo>
                    <a:lnTo>
                      <a:pt x="22766" y="24"/>
                    </a:lnTo>
                    <a:lnTo>
                      <a:pt x="21742" y="95"/>
                    </a:lnTo>
                    <a:lnTo>
                      <a:pt x="20718" y="214"/>
                    </a:lnTo>
                    <a:lnTo>
                      <a:pt x="19694" y="357"/>
                    </a:lnTo>
                    <a:lnTo>
                      <a:pt x="18670" y="548"/>
                    </a:lnTo>
                    <a:lnTo>
                      <a:pt x="17670" y="786"/>
                    </a:lnTo>
                    <a:lnTo>
                      <a:pt x="16670" y="1072"/>
                    </a:lnTo>
                    <a:lnTo>
                      <a:pt x="15693" y="1405"/>
                    </a:lnTo>
                    <a:lnTo>
                      <a:pt x="14717" y="1786"/>
                    </a:lnTo>
                    <a:lnTo>
                      <a:pt x="13765" y="2191"/>
                    </a:lnTo>
                    <a:lnTo>
                      <a:pt x="12812" y="2643"/>
                    </a:lnTo>
                    <a:lnTo>
                      <a:pt x="11883" y="3143"/>
                    </a:lnTo>
                    <a:lnTo>
                      <a:pt x="10955" y="3667"/>
                    </a:lnTo>
                    <a:lnTo>
                      <a:pt x="10050" y="4263"/>
                    </a:lnTo>
                    <a:lnTo>
                      <a:pt x="9169" y="4882"/>
                    </a:lnTo>
                    <a:lnTo>
                      <a:pt x="8407" y="5453"/>
                    </a:lnTo>
                    <a:lnTo>
                      <a:pt x="7669" y="6049"/>
                    </a:lnTo>
                    <a:lnTo>
                      <a:pt x="6954" y="6668"/>
                    </a:lnTo>
                    <a:lnTo>
                      <a:pt x="6264" y="7311"/>
                    </a:lnTo>
                    <a:lnTo>
                      <a:pt x="5573" y="7977"/>
                    </a:lnTo>
                    <a:lnTo>
                      <a:pt x="4930" y="8668"/>
                    </a:lnTo>
                    <a:lnTo>
                      <a:pt x="4311" y="9382"/>
                    </a:lnTo>
                    <a:lnTo>
                      <a:pt x="3716" y="10120"/>
                    </a:lnTo>
                    <a:lnTo>
                      <a:pt x="3144" y="10859"/>
                    </a:lnTo>
                    <a:lnTo>
                      <a:pt x="2620" y="11621"/>
                    </a:lnTo>
                    <a:lnTo>
                      <a:pt x="2096" y="12383"/>
                    </a:lnTo>
                    <a:lnTo>
                      <a:pt x="1620" y="13192"/>
                    </a:lnTo>
                    <a:lnTo>
                      <a:pt x="1168" y="13978"/>
                    </a:lnTo>
                    <a:lnTo>
                      <a:pt x="763" y="14788"/>
                    </a:lnTo>
                    <a:lnTo>
                      <a:pt x="358" y="15621"/>
                    </a:lnTo>
                    <a:lnTo>
                      <a:pt x="25" y="16455"/>
                    </a:lnTo>
                    <a:lnTo>
                      <a:pt x="1" y="16574"/>
                    </a:lnTo>
                    <a:lnTo>
                      <a:pt x="25" y="16693"/>
                    </a:lnTo>
                    <a:lnTo>
                      <a:pt x="96" y="16788"/>
                    </a:lnTo>
                    <a:lnTo>
                      <a:pt x="191" y="16859"/>
                    </a:lnTo>
                    <a:lnTo>
                      <a:pt x="382" y="16859"/>
                    </a:lnTo>
                    <a:lnTo>
                      <a:pt x="477" y="16812"/>
                    </a:lnTo>
                    <a:lnTo>
                      <a:pt x="525" y="16764"/>
                    </a:lnTo>
                    <a:lnTo>
                      <a:pt x="572" y="16669"/>
                    </a:lnTo>
                    <a:lnTo>
                      <a:pt x="930" y="15859"/>
                    </a:lnTo>
                    <a:lnTo>
                      <a:pt x="1311" y="15050"/>
                    </a:lnTo>
                    <a:lnTo>
                      <a:pt x="1715" y="14264"/>
                    </a:lnTo>
                    <a:lnTo>
                      <a:pt x="2144" y="13478"/>
                    </a:lnTo>
                    <a:lnTo>
                      <a:pt x="2620" y="12716"/>
                    </a:lnTo>
                    <a:lnTo>
                      <a:pt x="3120" y="11954"/>
                    </a:lnTo>
                    <a:lnTo>
                      <a:pt x="3644" y="11216"/>
                    </a:lnTo>
                    <a:lnTo>
                      <a:pt x="4192" y="10478"/>
                    </a:lnTo>
                    <a:lnTo>
                      <a:pt x="4787" y="9763"/>
                    </a:lnTo>
                    <a:lnTo>
                      <a:pt x="5383" y="9073"/>
                    </a:lnTo>
                    <a:lnTo>
                      <a:pt x="6025" y="8406"/>
                    </a:lnTo>
                    <a:lnTo>
                      <a:pt x="6668" y="7763"/>
                    </a:lnTo>
                    <a:lnTo>
                      <a:pt x="7359" y="7120"/>
                    </a:lnTo>
                    <a:lnTo>
                      <a:pt x="8050" y="6525"/>
                    </a:lnTo>
                    <a:lnTo>
                      <a:pt x="8788" y="5929"/>
                    </a:lnTo>
                    <a:lnTo>
                      <a:pt x="9526" y="5358"/>
                    </a:lnTo>
                    <a:lnTo>
                      <a:pt x="10383" y="4763"/>
                    </a:lnTo>
                    <a:lnTo>
                      <a:pt x="11264" y="4191"/>
                    </a:lnTo>
                    <a:lnTo>
                      <a:pt x="12169" y="3667"/>
                    </a:lnTo>
                    <a:lnTo>
                      <a:pt x="13074" y="3191"/>
                    </a:lnTo>
                    <a:lnTo>
                      <a:pt x="14003" y="2739"/>
                    </a:lnTo>
                    <a:lnTo>
                      <a:pt x="14931" y="2334"/>
                    </a:lnTo>
                    <a:lnTo>
                      <a:pt x="15884" y="1977"/>
                    </a:lnTo>
                    <a:lnTo>
                      <a:pt x="16860" y="1667"/>
                    </a:lnTo>
                    <a:lnTo>
                      <a:pt x="17813" y="1381"/>
                    </a:lnTo>
                    <a:lnTo>
                      <a:pt x="18789" y="1143"/>
                    </a:lnTo>
                    <a:lnTo>
                      <a:pt x="19789" y="953"/>
                    </a:lnTo>
                    <a:lnTo>
                      <a:pt x="20789" y="810"/>
                    </a:lnTo>
                    <a:lnTo>
                      <a:pt x="21789" y="691"/>
                    </a:lnTo>
                    <a:lnTo>
                      <a:pt x="22789" y="643"/>
                    </a:lnTo>
                    <a:lnTo>
                      <a:pt x="23813" y="619"/>
                    </a:lnTo>
                    <a:lnTo>
                      <a:pt x="24837" y="643"/>
                    </a:lnTo>
                    <a:lnTo>
                      <a:pt x="24956" y="619"/>
                    </a:lnTo>
                    <a:lnTo>
                      <a:pt x="25052" y="548"/>
                    </a:lnTo>
                    <a:lnTo>
                      <a:pt x="25123" y="453"/>
                    </a:lnTo>
                    <a:lnTo>
                      <a:pt x="25147" y="334"/>
                    </a:lnTo>
                    <a:lnTo>
                      <a:pt x="25123" y="214"/>
                    </a:lnTo>
                    <a:lnTo>
                      <a:pt x="25075" y="119"/>
                    </a:lnTo>
                    <a:lnTo>
                      <a:pt x="24980" y="48"/>
                    </a:lnTo>
                    <a:lnTo>
                      <a:pt x="24861" y="24"/>
                    </a:lnTo>
                    <a:lnTo>
                      <a:pt x="23813" y="0"/>
                    </a:lnTo>
                    <a:close/>
                  </a:path>
                </a:pathLst>
              </a:custGeom>
              <a:solidFill>
                <a:srgbClr val="D76009"/>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44" name="Google Shape;1005;g2e0683f995c_0_0">
                <a:extLst>
                  <a:ext uri="{FF2B5EF4-FFF2-40B4-BE49-F238E27FC236}">
                    <a16:creationId xmlns:a16="http://schemas.microsoft.com/office/drawing/2014/main" id="{4D52E168-AD32-81D2-8A1D-15B0BDF45A77}"/>
                  </a:ext>
                </a:extLst>
              </p:cNvPr>
              <p:cNvSpPr/>
              <p:nvPr/>
            </p:nvSpPr>
            <p:spPr>
              <a:xfrm>
                <a:off x="7833425" y="1133068"/>
                <a:ext cx="260223" cy="40478"/>
              </a:xfrm>
              <a:custGeom>
                <a:avLst/>
                <a:gdLst/>
                <a:ahLst/>
                <a:cxnLst/>
                <a:rect l="l" t="t" r="r" b="b"/>
                <a:pathLst>
                  <a:path w="15622" h="2430" extrusionOk="0">
                    <a:moveTo>
                      <a:pt x="9025" y="1"/>
                    </a:moveTo>
                    <a:lnTo>
                      <a:pt x="8025" y="48"/>
                    </a:lnTo>
                    <a:lnTo>
                      <a:pt x="7001" y="144"/>
                    </a:lnTo>
                    <a:lnTo>
                      <a:pt x="5977" y="263"/>
                    </a:lnTo>
                    <a:lnTo>
                      <a:pt x="4953" y="406"/>
                    </a:lnTo>
                    <a:lnTo>
                      <a:pt x="3953" y="620"/>
                    </a:lnTo>
                    <a:lnTo>
                      <a:pt x="2977" y="858"/>
                    </a:lnTo>
                    <a:lnTo>
                      <a:pt x="2000" y="1144"/>
                    </a:lnTo>
                    <a:lnTo>
                      <a:pt x="1072" y="1477"/>
                    </a:lnTo>
                    <a:lnTo>
                      <a:pt x="619" y="1668"/>
                    </a:lnTo>
                    <a:lnTo>
                      <a:pt x="191" y="1858"/>
                    </a:lnTo>
                    <a:lnTo>
                      <a:pt x="95" y="1930"/>
                    </a:lnTo>
                    <a:lnTo>
                      <a:pt x="24" y="2025"/>
                    </a:lnTo>
                    <a:lnTo>
                      <a:pt x="0" y="2144"/>
                    </a:lnTo>
                    <a:lnTo>
                      <a:pt x="48" y="2263"/>
                    </a:lnTo>
                    <a:lnTo>
                      <a:pt x="95" y="2334"/>
                    </a:lnTo>
                    <a:lnTo>
                      <a:pt x="143" y="2382"/>
                    </a:lnTo>
                    <a:lnTo>
                      <a:pt x="238" y="2406"/>
                    </a:lnTo>
                    <a:lnTo>
                      <a:pt x="310" y="2430"/>
                    </a:lnTo>
                    <a:lnTo>
                      <a:pt x="381" y="2430"/>
                    </a:lnTo>
                    <a:lnTo>
                      <a:pt x="429" y="2406"/>
                    </a:lnTo>
                    <a:lnTo>
                      <a:pt x="857" y="2215"/>
                    </a:lnTo>
                    <a:lnTo>
                      <a:pt x="1310" y="2025"/>
                    </a:lnTo>
                    <a:lnTo>
                      <a:pt x="2215" y="1715"/>
                    </a:lnTo>
                    <a:lnTo>
                      <a:pt x="3143" y="1429"/>
                    </a:lnTo>
                    <a:lnTo>
                      <a:pt x="4120" y="1191"/>
                    </a:lnTo>
                    <a:lnTo>
                      <a:pt x="5096" y="1001"/>
                    </a:lnTo>
                    <a:lnTo>
                      <a:pt x="6072" y="858"/>
                    </a:lnTo>
                    <a:lnTo>
                      <a:pt x="7072" y="739"/>
                    </a:lnTo>
                    <a:lnTo>
                      <a:pt x="8073" y="644"/>
                    </a:lnTo>
                    <a:lnTo>
                      <a:pt x="9049" y="596"/>
                    </a:lnTo>
                    <a:lnTo>
                      <a:pt x="10025" y="596"/>
                    </a:lnTo>
                    <a:lnTo>
                      <a:pt x="10978" y="620"/>
                    </a:lnTo>
                    <a:lnTo>
                      <a:pt x="11906" y="644"/>
                    </a:lnTo>
                    <a:lnTo>
                      <a:pt x="12811" y="739"/>
                    </a:lnTo>
                    <a:lnTo>
                      <a:pt x="13692" y="834"/>
                    </a:lnTo>
                    <a:lnTo>
                      <a:pt x="14502" y="953"/>
                    </a:lnTo>
                    <a:lnTo>
                      <a:pt x="15264" y="1096"/>
                    </a:lnTo>
                    <a:lnTo>
                      <a:pt x="15383" y="1096"/>
                    </a:lnTo>
                    <a:lnTo>
                      <a:pt x="15502" y="1048"/>
                    </a:lnTo>
                    <a:lnTo>
                      <a:pt x="15574" y="977"/>
                    </a:lnTo>
                    <a:lnTo>
                      <a:pt x="15621" y="858"/>
                    </a:lnTo>
                    <a:lnTo>
                      <a:pt x="15621" y="739"/>
                    </a:lnTo>
                    <a:lnTo>
                      <a:pt x="15597" y="644"/>
                    </a:lnTo>
                    <a:lnTo>
                      <a:pt x="15502" y="548"/>
                    </a:lnTo>
                    <a:lnTo>
                      <a:pt x="15407" y="501"/>
                    </a:lnTo>
                    <a:lnTo>
                      <a:pt x="14597" y="358"/>
                    </a:lnTo>
                    <a:lnTo>
                      <a:pt x="13764" y="239"/>
                    </a:lnTo>
                    <a:lnTo>
                      <a:pt x="12883" y="120"/>
                    </a:lnTo>
                    <a:lnTo>
                      <a:pt x="11954" y="48"/>
                    </a:lnTo>
                    <a:lnTo>
                      <a:pt x="11002" y="1"/>
                    </a:lnTo>
                    <a:close/>
                  </a:path>
                </a:pathLst>
              </a:custGeom>
              <a:solidFill>
                <a:srgbClr val="D76009"/>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45" name="Google Shape;1006;g2e0683f995c_0_0">
                <a:extLst>
                  <a:ext uri="{FF2B5EF4-FFF2-40B4-BE49-F238E27FC236}">
                    <a16:creationId xmlns:a16="http://schemas.microsoft.com/office/drawing/2014/main" id="{C8E31B9E-DDC3-8F47-869A-9A641C2C03EC}"/>
                  </a:ext>
                </a:extLst>
              </p:cNvPr>
              <p:cNvSpPr/>
              <p:nvPr/>
            </p:nvSpPr>
            <p:spPr>
              <a:xfrm>
                <a:off x="7493479" y="1484508"/>
                <a:ext cx="89667" cy="80539"/>
              </a:xfrm>
              <a:custGeom>
                <a:avLst/>
                <a:gdLst/>
                <a:ahLst/>
                <a:cxnLst/>
                <a:rect l="l" t="t" r="r" b="b"/>
                <a:pathLst>
                  <a:path w="5383" h="4835" extrusionOk="0">
                    <a:moveTo>
                      <a:pt x="2192" y="1"/>
                    </a:moveTo>
                    <a:lnTo>
                      <a:pt x="2144" y="48"/>
                    </a:lnTo>
                    <a:lnTo>
                      <a:pt x="2120" y="72"/>
                    </a:lnTo>
                    <a:lnTo>
                      <a:pt x="2120" y="120"/>
                    </a:lnTo>
                    <a:lnTo>
                      <a:pt x="2120" y="358"/>
                    </a:lnTo>
                    <a:lnTo>
                      <a:pt x="2120" y="572"/>
                    </a:lnTo>
                    <a:lnTo>
                      <a:pt x="2096" y="739"/>
                    </a:lnTo>
                    <a:lnTo>
                      <a:pt x="2073" y="810"/>
                    </a:lnTo>
                    <a:lnTo>
                      <a:pt x="2025" y="882"/>
                    </a:lnTo>
                    <a:lnTo>
                      <a:pt x="1977" y="905"/>
                    </a:lnTo>
                    <a:lnTo>
                      <a:pt x="1906" y="953"/>
                    </a:lnTo>
                    <a:lnTo>
                      <a:pt x="1715" y="953"/>
                    </a:lnTo>
                    <a:lnTo>
                      <a:pt x="1453" y="905"/>
                    </a:lnTo>
                    <a:lnTo>
                      <a:pt x="1096" y="810"/>
                    </a:lnTo>
                    <a:lnTo>
                      <a:pt x="1049" y="786"/>
                    </a:lnTo>
                    <a:lnTo>
                      <a:pt x="977" y="834"/>
                    </a:lnTo>
                    <a:lnTo>
                      <a:pt x="953" y="882"/>
                    </a:lnTo>
                    <a:lnTo>
                      <a:pt x="977" y="953"/>
                    </a:lnTo>
                    <a:lnTo>
                      <a:pt x="1072" y="1144"/>
                    </a:lnTo>
                    <a:lnTo>
                      <a:pt x="1120" y="1334"/>
                    </a:lnTo>
                    <a:lnTo>
                      <a:pt x="1168" y="1501"/>
                    </a:lnTo>
                    <a:lnTo>
                      <a:pt x="1191" y="1667"/>
                    </a:lnTo>
                    <a:lnTo>
                      <a:pt x="1191" y="1787"/>
                    </a:lnTo>
                    <a:lnTo>
                      <a:pt x="1144" y="1906"/>
                    </a:lnTo>
                    <a:lnTo>
                      <a:pt x="1096" y="2025"/>
                    </a:lnTo>
                    <a:lnTo>
                      <a:pt x="1049" y="2120"/>
                    </a:lnTo>
                    <a:lnTo>
                      <a:pt x="953" y="2215"/>
                    </a:lnTo>
                    <a:lnTo>
                      <a:pt x="858" y="2287"/>
                    </a:lnTo>
                    <a:lnTo>
                      <a:pt x="644" y="2429"/>
                    </a:lnTo>
                    <a:lnTo>
                      <a:pt x="358" y="2549"/>
                    </a:lnTo>
                    <a:lnTo>
                      <a:pt x="72" y="2668"/>
                    </a:lnTo>
                    <a:lnTo>
                      <a:pt x="25" y="2715"/>
                    </a:lnTo>
                    <a:lnTo>
                      <a:pt x="1" y="2763"/>
                    </a:lnTo>
                    <a:lnTo>
                      <a:pt x="1" y="2810"/>
                    </a:lnTo>
                    <a:lnTo>
                      <a:pt x="48" y="2858"/>
                    </a:lnTo>
                    <a:lnTo>
                      <a:pt x="191" y="2953"/>
                    </a:lnTo>
                    <a:lnTo>
                      <a:pt x="358" y="3001"/>
                    </a:lnTo>
                    <a:lnTo>
                      <a:pt x="501" y="3025"/>
                    </a:lnTo>
                    <a:lnTo>
                      <a:pt x="644" y="3049"/>
                    </a:lnTo>
                    <a:lnTo>
                      <a:pt x="930" y="3072"/>
                    </a:lnTo>
                    <a:lnTo>
                      <a:pt x="1191" y="3120"/>
                    </a:lnTo>
                    <a:lnTo>
                      <a:pt x="1287" y="3144"/>
                    </a:lnTo>
                    <a:lnTo>
                      <a:pt x="1382" y="3191"/>
                    </a:lnTo>
                    <a:lnTo>
                      <a:pt x="1453" y="3239"/>
                    </a:lnTo>
                    <a:lnTo>
                      <a:pt x="1501" y="3334"/>
                    </a:lnTo>
                    <a:lnTo>
                      <a:pt x="1525" y="3453"/>
                    </a:lnTo>
                    <a:lnTo>
                      <a:pt x="1501" y="3596"/>
                    </a:lnTo>
                    <a:lnTo>
                      <a:pt x="1453" y="3787"/>
                    </a:lnTo>
                    <a:lnTo>
                      <a:pt x="1382" y="4025"/>
                    </a:lnTo>
                    <a:lnTo>
                      <a:pt x="1382" y="4096"/>
                    </a:lnTo>
                    <a:lnTo>
                      <a:pt x="1430" y="4144"/>
                    </a:lnTo>
                    <a:lnTo>
                      <a:pt x="1477" y="4168"/>
                    </a:lnTo>
                    <a:lnTo>
                      <a:pt x="1549" y="4168"/>
                    </a:lnTo>
                    <a:lnTo>
                      <a:pt x="1906" y="3977"/>
                    </a:lnTo>
                    <a:lnTo>
                      <a:pt x="2168" y="3882"/>
                    </a:lnTo>
                    <a:lnTo>
                      <a:pt x="2263" y="3858"/>
                    </a:lnTo>
                    <a:lnTo>
                      <a:pt x="2358" y="3858"/>
                    </a:lnTo>
                    <a:lnTo>
                      <a:pt x="2430" y="3882"/>
                    </a:lnTo>
                    <a:lnTo>
                      <a:pt x="2501" y="3906"/>
                    </a:lnTo>
                    <a:lnTo>
                      <a:pt x="2573" y="3953"/>
                    </a:lnTo>
                    <a:lnTo>
                      <a:pt x="2620" y="4025"/>
                    </a:lnTo>
                    <a:lnTo>
                      <a:pt x="2763" y="4215"/>
                    </a:lnTo>
                    <a:lnTo>
                      <a:pt x="2930" y="4477"/>
                    </a:lnTo>
                    <a:lnTo>
                      <a:pt x="3144" y="4787"/>
                    </a:lnTo>
                    <a:lnTo>
                      <a:pt x="3192" y="4835"/>
                    </a:lnTo>
                    <a:lnTo>
                      <a:pt x="3263" y="4835"/>
                    </a:lnTo>
                    <a:lnTo>
                      <a:pt x="3335" y="4811"/>
                    </a:lnTo>
                    <a:lnTo>
                      <a:pt x="3358" y="4739"/>
                    </a:lnTo>
                    <a:lnTo>
                      <a:pt x="3358" y="4549"/>
                    </a:lnTo>
                    <a:lnTo>
                      <a:pt x="3406" y="4382"/>
                    </a:lnTo>
                    <a:lnTo>
                      <a:pt x="3430" y="4239"/>
                    </a:lnTo>
                    <a:lnTo>
                      <a:pt x="3477" y="4120"/>
                    </a:lnTo>
                    <a:lnTo>
                      <a:pt x="3549" y="4025"/>
                    </a:lnTo>
                    <a:lnTo>
                      <a:pt x="3620" y="3953"/>
                    </a:lnTo>
                    <a:lnTo>
                      <a:pt x="3692" y="3882"/>
                    </a:lnTo>
                    <a:lnTo>
                      <a:pt x="3787" y="3834"/>
                    </a:lnTo>
                    <a:lnTo>
                      <a:pt x="3954" y="3763"/>
                    </a:lnTo>
                    <a:lnTo>
                      <a:pt x="4168" y="3739"/>
                    </a:lnTo>
                    <a:lnTo>
                      <a:pt x="4382" y="3763"/>
                    </a:lnTo>
                    <a:lnTo>
                      <a:pt x="4620" y="3787"/>
                    </a:lnTo>
                    <a:lnTo>
                      <a:pt x="4692" y="3763"/>
                    </a:lnTo>
                    <a:lnTo>
                      <a:pt x="4740" y="3715"/>
                    </a:lnTo>
                    <a:lnTo>
                      <a:pt x="4740" y="3644"/>
                    </a:lnTo>
                    <a:lnTo>
                      <a:pt x="4692" y="3596"/>
                    </a:lnTo>
                    <a:lnTo>
                      <a:pt x="4525" y="3430"/>
                    </a:lnTo>
                    <a:lnTo>
                      <a:pt x="4406" y="3263"/>
                    </a:lnTo>
                    <a:lnTo>
                      <a:pt x="4311" y="3144"/>
                    </a:lnTo>
                    <a:lnTo>
                      <a:pt x="4263" y="3001"/>
                    </a:lnTo>
                    <a:lnTo>
                      <a:pt x="4263" y="2906"/>
                    </a:lnTo>
                    <a:lnTo>
                      <a:pt x="4263" y="2787"/>
                    </a:lnTo>
                    <a:lnTo>
                      <a:pt x="4311" y="2691"/>
                    </a:lnTo>
                    <a:lnTo>
                      <a:pt x="4382" y="2620"/>
                    </a:lnTo>
                    <a:lnTo>
                      <a:pt x="4454" y="2549"/>
                    </a:lnTo>
                    <a:lnTo>
                      <a:pt x="4549" y="2477"/>
                    </a:lnTo>
                    <a:lnTo>
                      <a:pt x="4787" y="2382"/>
                    </a:lnTo>
                    <a:lnTo>
                      <a:pt x="5049" y="2310"/>
                    </a:lnTo>
                    <a:lnTo>
                      <a:pt x="5311" y="2239"/>
                    </a:lnTo>
                    <a:lnTo>
                      <a:pt x="5335" y="2239"/>
                    </a:lnTo>
                    <a:lnTo>
                      <a:pt x="5382" y="2215"/>
                    </a:lnTo>
                    <a:lnTo>
                      <a:pt x="5382" y="2144"/>
                    </a:lnTo>
                    <a:lnTo>
                      <a:pt x="5359" y="2072"/>
                    </a:lnTo>
                    <a:lnTo>
                      <a:pt x="5335" y="2048"/>
                    </a:lnTo>
                    <a:lnTo>
                      <a:pt x="5311" y="2025"/>
                    </a:lnTo>
                    <a:lnTo>
                      <a:pt x="4716" y="1906"/>
                    </a:lnTo>
                    <a:lnTo>
                      <a:pt x="4478" y="1834"/>
                    </a:lnTo>
                    <a:lnTo>
                      <a:pt x="4382" y="1787"/>
                    </a:lnTo>
                    <a:lnTo>
                      <a:pt x="4311" y="1739"/>
                    </a:lnTo>
                    <a:lnTo>
                      <a:pt x="4239" y="1667"/>
                    </a:lnTo>
                    <a:lnTo>
                      <a:pt x="4192" y="1596"/>
                    </a:lnTo>
                    <a:lnTo>
                      <a:pt x="4144" y="1477"/>
                    </a:lnTo>
                    <a:lnTo>
                      <a:pt x="4144" y="1358"/>
                    </a:lnTo>
                    <a:lnTo>
                      <a:pt x="4144" y="1215"/>
                    </a:lnTo>
                    <a:lnTo>
                      <a:pt x="4144" y="1048"/>
                    </a:lnTo>
                    <a:lnTo>
                      <a:pt x="4239" y="620"/>
                    </a:lnTo>
                    <a:lnTo>
                      <a:pt x="4239" y="548"/>
                    </a:lnTo>
                    <a:lnTo>
                      <a:pt x="4192" y="501"/>
                    </a:lnTo>
                    <a:lnTo>
                      <a:pt x="4120" y="477"/>
                    </a:lnTo>
                    <a:lnTo>
                      <a:pt x="4073" y="477"/>
                    </a:lnTo>
                    <a:lnTo>
                      <a:pt x="3882" y="572"/>
                    </a:lnTo>
                    <a:lnTo>
                      <a:pt x="3716" y="620"/>
                    </a:lnTo>
                    <a:lnTo>
                      <a:pt x="3573" y="667"/>
                    </a:lnTo>
                    <a:lnTo>
                      <a:pt x="3430" y="691"/>
                    </a:lnTo>
                    <a:lnTo>
                      <a:pt x="3168" y="691"/>
                    </a:lnTo>
                    <a:lnTo>
                      <a:pt x="3049" y="667"/>
                    </a:lnTo>
                    <a:lnTo>
                      <a:pt x="2930" y="620"/>
                    </a:lnTo>
                    <a:lnTo>
                      <a:pt x="2739" y="524"/>
                    </a:lnTo>
                    <a:lnTo>
                      <a:pt x="2573" y="382"/>
                    </a:lnTo>
                    <a:lnTo>
                      <a:pt x="2454" y="215"/>
                    </a:lnTo>
                    <a:lnTo>
                      <a:pt x="2334" y="48"/>
                    </a:lnTo>
                    <a:lnTo>
                      <a:pt x="2263" y="1"/>
                    </a:lnTo>
                    <a:close/>
                  </a:path>
                </a:pathLst>
              </a:custGeom>
              <a:solidFill>
                <a:srgbClr val="D76009"/>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grpSp>
      </p:grpSp>
      <p:sp>
        <p:nvSpPr>
          <p:cNvPr id="501" name="Google Shape;1007;g2e0683f995c_0_0">
            <a:extLst>
              <a:ext uri="{FF2B5EF4-FFF2-40B4-BE49-F238E27FC236}">
                <a16:creationId xmlns:a16="http://schemas.microsoft.com/office/drawing/2014/main" id="{12C8D1DD-A20D-778B-CCDE-0C9887737CB0}"/>
              </a:ext>
            </a:extLst>
          </p:cNvPr>
          <p:cNvSpPr txBox="1">
            <a:spLocks/>
          </p:cNvSpPr>
          <p:nvPr/>
        </p:nvSpPr>
        <p:spPr>
          <a:xfrm>
            <a:off x="382000" y="486981"/>
            <a:ext cx="11520900" cy="538974"/>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lvl="0" indent="0" fontAlgn="auto">
              <a:lnSpc>
                <a:spcPct val="100000"/>
              </a:lnSpc>
              <a:buClr>
                <a:srgbClr val="000000"/>
              </a:buClr>
              <a:buSzPts val="2800"/>
              <a:tabLst/>
              <a:defRPr/>
            </a:pPr>
            <a:r>
              <a:rPr lang="nb-NO" sz="2200" kern="0">
                <a:solidFill>
                  <a:schemeClr val="accent1"/>
                </a:solidFill>
                <a:latin typeface="Brockmann"/>
              </a:rPr>
              <a:t>Digitalt målbilde | Modernisering av VIGO-systemet </a:t>
            </a:r>
          </a:p>
        </p:txBody>
      </p:sp>
      <p:sp>
        <p:nvSpPr>
          <p:cNvPr id="502" name="Google Shape;954;p133">
            <a:extLst>
              <a:ext uri="{FF2B5EF4-FFF2-40B4-BE49-F238E27FC236}">
                <a16:creationId xmlns:a16="http://schemas.microsoft.com/office/drawing/2014/main" id="{C2E2286A-F9F2-E0AD-47D7-EEFC6B48ED86}"/>
              </a:ext>
            </a:extLst>
          </p:cNvPr>
          <p:cNvSpPr/>
          <p:nvPr/>
        </p:nvSpPr>
        <p:spPr>
          <a:xfrm>
            <a:off x="911736" y="1604728"/>
            <a:ext cx="3734075" cy="575700"/>
          </a:xfrm>
          <a:prstGeom prst="rect">
            <a:avLst/>
          </a:prstGeom>
          <a:noFill/>
          <a:ln w="9525" cap="flat" cmpd="sng">
            <a:noFill/>
            <a:prstDash val="solid"/>
            <a:miter lim="800000"/>
            <a:headEnd type="none" w="sm" len="sm"/>
            <a:tailEnd type="none" w="sm" len="sm"/>
          </a:ln>
        </p:spPr>
        <p:txBody>
          <a:bodyPr spcFirstLastPara="1" wrap="square" lIns="36000" tIns="36000" rIns="180000" bIns="36000" anchor="ctr" anchorCtr="0">
            <a:noAutofit/>
          </a:bodyPr>
          <a:lstStyle/>
          <a:p>
            <a:pPr marL="87312">
              <a:buClr>
                <a:srgbClr val="000000"/>
              </a:buClr>
              <a:buFont typeface="Arial"/>
              <a:buNone/>
            </a:pPr>
            <a:r>
              <a:rPr lang="nb-NO" sz="1400" kern="0">
                <a:ea typeface="Calibri"/>
                <a:cs typeface="Calibri"/>
                <a:sym typeface="Calibri"/>
              </a:rPr>
              <a:t>Sette brukerne i sentrum og skape førsteklasses ende til ende brukeropplevelser </a:t>
            </a:r>
          </a:p>
        </p:txBody>
      </p:sp>
      <p:sp>
        <p:nvSpPr>
          <p:cNvPr id="503" name="Google Shape;955;p133">
            <a:extLst>
              <a:ext uri="{FF2B5EF4-FFF2-40B4-BE49-F238E27FC236}">
                <a16:creationId xmlns:a16="http://schemas.microsoft.com/office/drawing/2014/main" id="{A9EFC216-3679-502C-4D64-6A575C919AF8}"/>
              </a:ext>
            </a:extLst>
          </p:cNvPr>
          <p:cNvSpPr/>
          <p:nvPr/>
        </p:nvSpPr>
        <p:spPr>
          <a:xfrm>
            <a:off x="891632" y="2958264"/>
            <a:ext cx="3066195" cy="575700"/>
          </a:xfrm>
          <a:prstGeom prst="rect">
            <a:avLst/>
          </a:prstGeom>
          <a:noFill/>
          <a:ln w="9525" cap="flat" cmpd="sng">
            <a:noFill/>
            <a:prstDash val="solid"/>
            <a:miter lim="800000"/>
            <a:headEnd type="none" w="sm" len="sm"/>
            <a:tailEnd type="none" w="sm" len="sm"/>
          </a:ln>
        </p:spPr>
        <p:txBody>
          <a:bodyPr spcFirstLastPara="1" wrap="square" lIns="36000" tIns="36000" rIns="180000" bIns="36000" anchor="ctr" anchorCtr="0">
            <a:noAutofit/>
          </a:bodyPr>
          <a:lstStyle/>
          <a:p>
            <a:pPr marL="273050">
              <a:buClr>
                <a:srgbClr val="000000"/>
              </a:buClr>
              <a:buSzPts val="1200"/>
              <a:buFont typeface="Arial"/>
              <a:buNone/>
            </a:pPr>
            <a:r>
              <a:rPr lang="nb-NO" sz="1400" kern="0">
                <a:ea typeface="Calibri"/>
                <a:cs typeface="Calibri"/>
                <a:sym typeface="Calibri"/>
              </a:rPr>
              <a:t>Tilby standardiserte tjenester for alle fylkeskommunene </a:t>
            </a:r>
            <a:endParaRPr lang="nb-NO" sz="1400" kern="0">
              <a:latin typeface="Arial"/>
              <a:cs typeface="Arial"/>
              <a:sym typeface="Arial"/>
            </a:endParaRPr>
          </a:p>
        </p:txBody>
      </p:sp>
      <p:sp>
        <p:nvSpPr>
          <p:cNvPr id="504" name="Google Shape;956;p133">
            <a:extLst>
              <a:ext uri="{FF2B5EF4-FFF2-40B4-BE49-F238E27FC236}">
                <a16:creationId xmlns:a16="http://schemas.microsoft.com/office/drawing/2014/main" id="{4946CF8A-BEE1-A000-F60E-BF3F096E5D04}"/>
              </a:ext>
            </a:extLst>
          </p:cNvPr>
          <p:cNvSpPr/>
          <p:nvPr/>
        </p:nvSpPr>
        <p:spPr>
          <a:xfrm>
            <a:off x="1977357" y="4371730"/>
            <a:ext cx="2689062" cy="575700"/>
          </a:xfrm>
          <a:prstGeom prst="rect">
            <a:avLst/>
          </a:prstGeom>
          <a:noFill/>
          <a:ln w="9525" cap="flat" cmpd="sng">
            <a:noFill/>
            <a:prstDash val="solid"/>
            <a:miter lim="800000"/>
            <a:headEnd type="none" w="sm" len="sm"/>
            <a:tailEnd type="none" w="sm" len="sm"/>
          </a:ln>
        </p:spPr>
        <p:txBody>
          <a:bodyPr spcFirstLastPara="1" wrap="square" lIns="36000" tIns="36000" rIns="180000" bIns="36000" anchor="ctr" anchorCtr="0">
            <a:noAutofit/>
          </a:bodyPr>
          <a:lstStyle/>
          <a:p>
            <a:pPr marL="86995">
              <a:buClr>
                <a:srgbClr val="000000"/>
              </a:buClr>
              <a:buFont typeface="Arial"/>
              <a:buNone/>
            </a:pPr>
            <a:r>
              <a:rPr lang="nb-NO" sz="1400" kern="0">
                <a:ea typeface="Calibri"/>
                <a:cs typeface="Calibri"/>
                <a:sym typeface="Calibri"/>
              </a:rPr>
              <a:t>Teknologien skal understøtte et system som er skalerbart og mulig å vedlikeholde</a:t>
            </a:r>
          </a:p>
        </p:txBody>
      </p:sp>
      <p:sp>
        <p:nvSpPr>
          <p:cNvPr id="505" name="Google Shape;957;p133">
            <a:extLst>
              <a:ext uri="{FF2B5EF4-FFF2-40B4-BE49-F238E27FC236}">
                <a16:creationId xmlns:a16="http://schemas.microsoft.com/office/drawing/2014/main" id="{D5F52CD1-0D06-826C-80DD-1CCFD1FD4C20}"/>
              </a:ext>
            </a:extLst>
          </p:cNvPr>
          <p:cNvSpPr/>
          <p:nvPr/>
        </p:nvSpPr>
        <p:spPr>
          <a:xfrm>
            <a:off x="7484876" y="1631479"/>
            <a:ext cx="3920465" cy="575700"/>
          </a:xfrm>
          <a:prstGeom prst="rect">
            <a:avLst/>
          </a:prstGeom>
          <a:noFill/>
          <a:ln w="9525" cap="flat" cmpd="sng">
            <a:noFill/>
            <a:prstDash val="solid"/>
            <a:miter lim="800000"/>
            <a:headEnd type="none" w="sm" len="sm"/>
            <a:tailEnd type="none" w="sm" len="sm"/>
          </a:ln>
        </p:spPr>
        <p:txBody>
          <a:bodyPr spcFirstLastPara="1" wrap="square" lIns="0" tIns="36000" rIns="144000" bIns="36000" anchor="ctr" anchorCtr="0">
            <a:noAutofit/>
          </a:bodyPr>
          <a:lstStyle/>
          <a:p>
            <a:pPr marL="273050">
              <a:buClr>
                <a:srgbClr val="000000"/>
              </a:buClr>
              <a:buSzPts val="1200"/>
              <a:buFont typeface="Arial"/>
              <a:buNone/>
            </a:pPr>
            <a:r>
              <a:rPr lang="nb-NO" sz="1400" kern="0">
                <a:ea typeface="Calibri"/>
                <a:cs typeface="Calibri"/>
                <a:sym typeface="Calibri"/>
              </a:rPr>
              <a:t>Være én kilde til sannhet og sikre god datakvalitet i VIGO og mellom Inschool og VIGO.  </a:t>
            </a:r>
          </a:p>
        </p:txBody>
      </p:sp>
      <p:sp>
        <p:nvSpPr>
          <p:cNvPr id="506" name="Google Shape;958;p133">
            <a:extLst>
              <a:ext uri="{FF2B5EF4-FFF2-40B4-BE49-F238E27FC236}">
                <a16:creationId xmlns:a16="http://schemas.microsoft.com/office/drawing/2014/main" id="{3E77FAE9-6F81-A862-87C5-AF4A81A9ADCB}"/>
              </a:ext>
            </a:extLst>
          </p:cNvPr>
          <p:cNvSpPr/>
          <p:nvPr/>
        </p:nvSpPr>
        <p:spPr>
          <a:xfrm>
            <a:off x="7952965" y="2953621"/>
            <a:ext cx="3470235" cy="575700"/>
          </a:xfrm>
          <a:prstGeom prst="rect">
            <a:avLst/>
          </a:prstGeom>
          <a:noFill/>
          <a:ln w="9525" cap="flat" cmpd="sng">
            <a:noFill/>
            <a:prstDash val="solid"/>
            <a:miter lim="800000"/>
            <a:headEnd type="none" w="sm" len="sm"/>
            <a:tailEnd type="none" w="sm" len="sm"/>
          </a:ln>
        </p:spPr>
        <p:txBody>
          <a:bodyPr spcFirstLastPara="1" wrap="square" lIns="36000" tIns="36000" rIns="180000" bIns="36000" anchor="ctr" anchorCtr="0">
            <a:noAutofit/>
          </a:bodyPr>
          <a:lstStyle/>
          <a:p>
            <a:pPr marL="360362">
              <a:buClr>
                <a:srgbClr val="000000"/>
              </a:buClr>
              <a:buFont typeface="Arial"/>
              <a:buNone/>
            </a:pPr>
            <a:r>
              <a:rPr lang="nb-NO" sz="1400" kern="0">
                <a:ea typeface="Calibri"/>
                <a:cs typeface="Calibri"/>
                <a:sym typeface="Calibri"/>
              </a:rPr>
              <a:t>Et integrert system som sikrer nødvendig dataflyt i systemet  </a:t>
            </a:r>
          </a:p>
        </p:txBody>
      </p:sp>
      <p:sp>
        <p:nvSpPr>
          <p:cNvPr id="507" name="Google Shape;959;p133">
            <a:extLst>
              <a:ext uri="{FF2B5EF4-FFF2-40B4-BE49-F238E27FC236}">
                <a16:creationId xmlns:a16="http://schemas.microsoft.com/office/drawing/2014/main" id="{2C18D6A7-A5C0-08ED-40BA-83632716E721}"/>
              </a:ext>
            </a:extLst>
          </p:cNvPr>
          <p:cNvSpPr/>
          <p:nvPr/>
        </p:nvSpPr>
        <p:spPr>
          <a:xfrm>
            <a:off x="7301756" y="4297120"/>
            <a:ext cx="3354220" cy="575700"/>
          </a:xfrm>
          <a:prstGeom prst="rect">
            <a:avLst/>
          </a:prstGeom>
          <a:noFill/>
          <a:ln w="9525" cap="flat" cmpd="sng">
            <a:noFill/>
            <a:prstDash val="solid"/>
            <a:miter lim="800000"/>
            <a:headEnd type="none" w="sm" len="sm"/>
            <a:tailEnd type="none" w="sm" len="sm"/>
          </a:ln>
        </p:spPr>
        <p:txBody>
          <a:bodyPr spcFirstLastPara="1" wrap="square" lIns="36000" tIns="36000" rIns="180000" bIns="36000" anchor="ctr" anchorCtr="0">
            <a:noAutofit/>
          </a:bodyPr>
          <a:lstStyle/>
          <a:p>
            <a:pPr marL="360362">
              <a:buClr>
                <a:srgbClr val="000000"/>
              </a:buClr>
              <a:buFont typeface="Arial"/>
              <a:buNone/>
            </a:pPr>
            <a:r>
              <a:rPr lang="nb-NO" sz="1400" kern="0">
                <a:ea typeface="Calibri"/>
                <a:cs typeface="Calibri"/>
                <a:sym typeface="Calibri"/>
              </a:rPr>
              <a:t>Gi tilgang til rapportering og analyse på sanntidsinformasjon via standardiserte </a:t>
            </a:r>
            <a:r>
              <a:rPr lang="nb-NO" sz="1400" kern="0" err="1">
                <a:ea typeface="Calibri"/>
                <a:cs typeface="Calibri"/>
                <a:sym typeface="Calibri"/>
              </a:rPr>
              <a:t>API’er</a:t>
            </a:r>
            <a:endParaRPr lang="nb-NO" sz="1400" kern="0">
              <a:ea typeface="Calibri"/>
              <a:cs typeface="Calibri"/>
              <a:sym typeface="Calibri"/>
            </a:endParaRPr>
          </a:p>
        </p:txBody>
      </p:sp>
      <p:sp>
        <p:nvSpPr>
          <p:cNvPr id="508" name="Google Shape;960;p133">
            <a:extLst>
              <a:ext uri="{FF2B5EF4-FFF2-40B4-BE49-F238E27FC236}">
                <a16:creationId xmlns:a16="http://schemas.microsoft.com/office/drawing/2014/main" id="{C68DDE2D-1EFF-F52B-1781-3A7901A574B0}"/>
              </a:ext>
            </a:extLst>
          </p:cNvPr>
          <p:cNvSpPr/>
          <p:nvPr/>
        </p:nvSpPr>
        <p:spPr>
          <a:xfrm>
            <a:off x="4415837" y="1663960"/>
            <a:ext cx="3174000" cy="3174000"/>
          </a:xfrm>
          <a:prstGeom prst="ellipse">
            <a:avLst/>
          </a:prstGeom>
          <a:noFill/>
          <a:ln w="57150" cap="flat" cmpd="sng">
            <a:solidFill>
              <a:schemeClr val="accent1">
                <a:lumMod val="60000"/>
                <a:lumOff val="4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800"/>
              <a:buFont typeface="Arial"/>
              <a:buNone/>
              <a:tabLst/>
              <a:defRPr/>
            </a:pPr>
            <a:endParaRPr kumimoji="0" lang="nb-NO" sz="1800" b="0" i="0" u="none" strike="noStrike" kern="0" cap="none" spc="0" normalizeH="0" baseline="0" noProof="0">
              <a:ln>
                <a:noFill/>
              </a:ln>
              <a:solidFill>
                <a:srgbClr val="FFFFFF"/>
              </a:solidFill>
              <a:effectLst/>
              <a:uLnTx/>
              <a:uFillTx/>
              <a:ea typeface="Calibri"/>
              <a:cs typeface="Calibri"/>
              <a:sym typeface="Calibri"/>
            </a:endParaRPr>
          </a:p>
        </p:txBody>
      </p:sp>
      <p:sp>
        <p:nvSpPr>
          <p:cNvPr id="509" name="Google Shape;961;p133">
            <a:extLst>
              <a:ext uri="{FF2B5EF4-FFF2-40B4-BE49-F238E27FC236}">
                <a16:creationId xmlns:a16="http://schemas.microsoft.com/office/drawing/2014/main" id="{1F5A2A21-3D92-910C-91DF-A2DEEC243E51}"/>
              </a:ext>
            </a:extLst>
          </p:cNvPr>
          <p:cNvSpPr/>
          <p:nvPr/>
        </p:nvSpPr>
        <p:spPr>
          <a:xfrm>
            <a:off x="4666419" y="1914542"/>
            <a:ext cx="2673000" cy="2673000"/>
          </a:xfrm>
          <a:prstGeom prst="ellipse">
            <a:avLst/>
          </a:prstGeom>
          <a:solidFill>
            <a:schemeClr val="bg2"/>
          </a:solidFill>
          <a:ln w="9525" cap="flat" cmpd="sng">
            <a:noFill/>
            <a:prstDash val="solid"/>
            <a:miter lim="800000"/>
            <a:headEnd type="none" w="sm" len="sm"/>
            <a:tailEnd type="none" w="sm" len="sm"/>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200"/>
              <a:buFont typeface="Arial"/>
              <a:buNone/>
              <a:tabLst/>
              <a:defRPr/>
            </a:pPr>
            <a:r>
              <a:rPr kumimoji="0" lang="nb-NO" sz="1200" b="1" u="none" strike="noStrike" kern="0" cap="none" spc="0" normalizeH="0" baseline="0" noProof="0">
                <a:ln>
                  <a:noFill/>
                </a:ln>
                <a:effectLst/>
                <a:uLnTx/>
                <a:uFillTx/>
                <a:ea typeface="Calibri"/>
                <a:cs typeface="Calibri"/>
                <a:sym typeface="Calibri"/>
              </a:rPr>
              <a:t>VIGO systemet </a:t>
            </a:r>
          </a:p>
          <a:p>
            <a:pPr marL="0" marR="0" lvl="0" indent="0" algn="ctr" defTabSz="914400" eaLnBrk="1" fontAlgn="auto" latinLnBrk="0" hangingPunct="1">
              <a:lnSpc>
                <a:spcPct val="100000"/>
              </a:lnSpc>
              <a:spcBef>
                <a:spcPts val="0"/>
              </a:spcBef>
              <a:spcAft>
                <a:spcPts val="0"/>
              </a:spcAft>
              <a:buClr>
                <a:srgbClr val="000000"/>
              </a:buClr>
              <a:buSzPts val="1200"/>
              <a:buFont typeface="Arial"/>
              <a:buNone/>
              <a:tabLst/>
              <a:defRPr/>
            </a:pPr>
            <a:r>
              <a:rPr kumimoji="0" lang="nb-NO" sz="1200" b="1" u="none" strike="noStrike" kern="0" cap="none" spc="0" normalizeH="0" baseline="0" noProof="0">
                <a:ln>
                  <a:noFill/>
                </a:ln>
                <a:effectLst/>
                <a:uLnTx/>
                <a:uFillTx/>
                <a:ea typeface="Calibri"/>
                <a:cs typeface="Calibri"/>
                <a:sym typeface="Calibri"/>
              </a:rPr>
              <a:t>skal tilrettelegge for gode, brukervennlige og effektive arbeids-prosesser, samt god forvaltning av data. Slik at alle fylkeskommunene kan utføre sine viktige og lovpålagte samfunns-oppdrag innen videregående </a:t>
            </a:r>
          </a:p>
          <a:p>
            <a:pPr marL="0" marR="0" lvl="0" indent="0" algn="ctr" defTabSz="914400" eaLnBrk="1" fontAlgn="auto" latinLnBrk="0" hangingPunct="1">
              <a:lnSpc>
                <a:spcPct val="100000"/>
              </a:lnSpc>
              <a:spcBef>
                <a:spcPts val="0"/>
              </a:spcBef>
              <a:spcAft>
                <a:spcPts val="0"/>
              </a:spcAft>
              <a:buClr>
                <a:srgbClr val="000000"/>
              </a:buClr>
              <a:buSzPts val="1200"/>
              <a:buFont typeface="Arial"/>
              <a:buNone/>
              <a:tabLst/>
              <a:defRPr/>
            </a:pPr>
            <a:r>
              <a:rPr kumimoji="0" lang="nb-NO" sz="1200" b="1" u="none" strike="noStrike" kern="0" cap="none" spc="0" normalizeH="0" baseline="0" noProof="0">
                <a:ln>
                  <a:noFill/>
                </a:ln>
                <a:effectLst/>
                <a:uLnTx/>
                <a:uFillTx/>
                <a:ea typeface="Calibri"/>
                <a:cs typeface="Calibri"/>
                <a:sym typeface="Calibri"/>
              </a:rPr>
              <a:t>opplæring </a:t>
            </a:r>
          </a:p>
        </p:txBody>
      </p:sp>
      <p:sp>
        <p:nvSpPr>
          <p:cNvPr id="510" name="Google Shape;962;p133">
            <a:extLst>
              <a:ext uri="{FF2B5EF4-FFF2-40B4-BE49-F238E27FC236}">
                <a16:creationId xmlns:a16="http://schemas.microsoft.com/office/drawing/2014/main" id="{A6B67582-41E8-5452-A184-ACA099AD4EF8}"/>
              </a:ext>
            </a:extLst>
          </p:cNvPr>
          <p:cNvSpPr/>
          <p:nvPr/>
        </p:nvSpPr>
        <p:spPr>
          <a:xfrm>
            <a:off x="4457053" y="1608198"/>
            <a:ext cx="694500" cy="694500"/>
          </a:xfrm>
          <a:prstGeom prst="ellipse">
            <a:avLst/>
          </a:prstGeom>
          <a:solidFill>
            <a:srgbClr val="FFFFFF"/>
          </a:solidFill>
          <a:ln w="57150" cap="flat" cmpd="sng">
            <a:solidFill>
              <a:schemeClr val="accent1">
                <a:lumMod val="60000"/>
                <a:lumOff val="4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200"/>
              <a:buFont typeface="Arial"/>
              <a:buNone/>
              <a:tabLst/>
              <a:defRPr/>
            </a:pPr>
            <a:endParaRPr kumimoji="0" lang="nb-NO" sz="2400" b="1" i="0" u="none" strike="noStrike" kern="0" cap="none" spc="0" normalizeH="0" baseline="0" noProof="0">
              <a:ln>
                <a:noFill/>
              </a:ln>
              <a:solidFill>
                <a:srgbClr val="696666"/>
              </a:solidFill>
              <a:effectLst/>
              <a:uLnTx/>
              <a:uFillTx/>
              <a:ea typeface="Calibri"/>
              <a:cs typeface="Calibri"/>
              <a:sym typeface="Calibri"/>
            </a:endParaRPr>
          </a:p>
        </p:txBody>
      </p:sp>
      <p:sp>
        <p:nvSpPr>
          <p:cNvPr id="511" name="Google Shape;963;p133">
            <a:extLst>
              <a:ext uri="{FF2B5EF4-FFF2-40B4-BE49-F238E27FC236}">
                <a16:creationId xmlns:a16="http://schemas.microsoft.com/office/drawing/2014/main" id="{66B14210-1EC5-9217-D870-551A010D5ACF}"/>
              </a:ext>
            </a:extLst>
          </p:cNvPr>
          <p:cNvSpPr/>
          <p:nvPr/>
        </p:nvSpPr>
        <p:spPr>
          <a:xfrm>
            <a:off x="6875253" y="4240106"/>
            <a:ext cx="694500" cy="694500"/>
          </a:xfrm>
          <a:prstGeom prst="ellipse">
            <a:avLst/>
          </a:prstGeom>
          <a:solidFill>
            <a:srgbClr val="FFFFFF"/>
          </a:solidFill>
          <a:ln w="57150" cap="flat" cmpd="sng">
            <a:solidFill>
              <a:schemeClr val="accent1">
                <a:lumMod val="60000"/>
                <a:lumOff val="4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200"/>
              <a:buFont typeface="Arial"/>
              <a:buNone/>
              <a:tabLst/>
              <a:defRPr/>
            </a:pPr>
            <a:endParaRPr kumimoji="0" lang="nb-NO" sz="2400" b="1" i="0" u="none" strike="noStrike" kern="0" cap="none" spc="0" normalizeH="0" baseline="0" noProof="0">
              <a:ln>
                <a:noFill/>
              </a:ln>
              <a:solidFill>
                <a:srgbClr val="696666"/>
              </a:solidFill>
              <a:effectLst/>
              <a:uLnTx/>
              <a:uFillTx/>
              <a:ea typeface="Calibri"/>
              <a:cs typeface="Calibri"/>
              <a:sym typeface="Calibri"/>
            </a:endParaRPr>
          </a:p>
        </p:txBody>
      </p:sp>
      <p:sp>
        <p:nvSpPr>
          <p:cNvPr id="512" name="Google Shape;964;p133">
            <a:extLst>
              <a:ext uri="{FF2B5EF4-FFF2-40B4-BE49-F238E27FC236}">
                <a16:creationId xmlns:a16="http://schemas.microsoft.com/office/drawing/2014/main" id="{0E6985F7-BD2C-354F-17E6-9BDE36D9B358}"/>
              </a:ext>
            </a:extLst>
          </p:cNvPr>
          <p:cNvSpPr/>
          <p:nvPr/>
        </p:nvSpPr>
        <p:spPr>
          <a:xfrm>
            <a:off x="7451929" y="2923309"/>
            <a:ext cx="694500" cy="694500"/>
          </a:xfrm>
          <a:prstGeom prst="ellipse">
            <a:avLst/>
          </a:prstGeom>
          <a:solidFill>
            <a:srgbClr val="FFFFFF"/>
          </a:solidFill>
          <a:ln w="57150" cap="flat" cmpd="sng">
            <a:solidFill>
              <a:schemeClr val="accent1">
                <a:lumMod val="60000"/>
                <a:lumOff val="4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200"/>
              <a:buFont typeface="Arial"/>
              <a:buNone/>
              <a:tabLst/>
              <a:defRPr/>
            </a:pPr>
            <a:endParaRPr kumimoji="0" lang="nb-NO" sz="2400" b="1" i="0" u="none" strike="noStrike" kern="0" cap="none" spc="0" normalizeH="0" baseline="0" noProof="0">
              <a:ln>
                <a:noFill/>
              </a:ln>
              <a:solidFill>
                <a:srgbClr val="696666"/>
              </a:solidFill>
              <a:effectLst/>
              <a:uLnTx/>
              <a:uFillTx/>
              <a:ea typeface="Calibri"/>
              <a:cs typeface="Calibri"/>
              <a:sym typeface="Calibri"/>
            </a:endParaRPr>
          </a:p>
        </p:txBody>
      </p:sp>
      <p:sp>
        <p:nvSpPr>
          <p:cNvPr id="513" name="Google Shape;965;p133">
            <a:extLst>
              <a:ext uri="{FF2B5EF4-FFF2-40B4-BE49-F238E27FC236}">
                <a16:creationId xmlns:a16="http://schemas.microsoft.com/office/drawing/2014/main" id="{4B44181D-6690-A852-59B3-E6623BA561F0}"/>
              </a:ext>
            </a:extLst>
          </p:cNvPr>
          <p:cNvSpPr/>
          <p:nvPr/>
        </p:nvSpPr>
        <p:spPr>
          <a:xfrm>
            <a:off x="3851669" y="2925965"/>
            <a:ext cx="694500" cy="694500"/>
          </a:xfrm>
          <a:prstGeom prst="ellipse">
            <a:avLst/>
          </a:prstGeom>
          <a:solidFill>
            <a:srgbClr val="FFFFFF"/>
          </a:solidFill>
          <a:ln w="57150" cap="flat" cmpd="sng">
            <a:solidFill>
              <a:schemeClr val="accent1">
                <a:lumMod val="60000"/>
                <a:lumOff val="4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200"/>
              <a:buFont typeface="Arial"/>
              <a:buNone/>
              <a:tabLst/>
              <a:defRPr/>
            </a:pPr>
            <a:endParaRPr kumimoji="0" lang="nb-NO" sz="2400" b="1" i="0" u="none" strike="noStrike" kern="0" cap="none" spc="0" normalizeH="0" baseline="0" noProof="0">
              <a:ln>
                <a:noFill/>
              </a:ln>
              <a:solidFill>
                <a:srgbClr val="696666"/>
              </a:solidFill>
              <a:effectLst/>
              <a:uLnTx/>
              <a:uFillTx/>
              <a:ea typeface="Calibri"/>
              <a:cs typeface="Calibri"/>
              <a:sym typeface="Calibri"/>
            </a:endParaRPr>
          </a:p>
        </p:txBody>
      </p:sp>
      <p:sp>
        <p:nvSpPr>
          <p:cNvPr id="514" name="Google Shape;966;p133">
            <a:extLst>
              <a:ext uri="{FF2B5EF4-FFF2-40B4-BE49-F238E27FC236}">
                <a16:creationId xmlns:a16="http://schemas.microsoft.com/office/drawing/2014/main" id="{7A9B7206-6ADA-D4D2-EEDC-74FC2947ABC4}"/>
              </a:ext>
            </a:extLst>
          </p:cNvPr>
          <p:cNvSpPr/>
          <p:nvPr/>
        </p:nvSpPr>
        <p:spPr>
          <a:xfrm>
            <a:off x="4453649" y="4243731"/>
            <a:ext cx="694500" cy="694500"/>
          </a:xfrm>
          <a:prstGeom prst="ellipse">
            <a:avLst/>
          </a:prstGeom>
          <a:solidFill>
            <a:srgbClr val="FFFFFF"/>
          </a:solidFill>
          <a:ln w="57150" cap="flat" cmpd="sng">
            <a:solidFill>
              <a:schemeClr val="accent1">
                <a:lumMod val="60000"/>
                <a:lumOff val="4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200"/>
              <a:buFont typeface="Arial"/>
              <a:buNone/>
              <a:tabLst/>
              <a:defRPr/>
            </a:pPr>
            <a:endParaRPr kumimoji="0" lang="nb-NO" sz="2400" b="1" i="0" u="none" strike="noStrike" kern="0" cap="none" spc="0" normalizeH="0" baseline="0" noProof="0">
              <a:ln>
                <a:noFill/>
              </a:ln>
              <a:solidFill>
                <a:srgbClr val="696666"/>
              </a:solidFill>
              <a:effectLst/>
              <a:uLnTx/>
              <a:uFillTx/>
              <a:ea typeface="Calibri"/>
              <a:cs typeface="Calibri"/>
              <a:sym typeface="Calibri"/>
            </a:endParaRPr>
          </a:p>
        </p:txBody>
      </p:sp>
      <p:sp>
        <p:nvSpPr>
          <p:cNvPr id="515" name="Google Shape;967;p133">
            <a:extLst>
              <a:ext uri="{FF2B5EF4-FFF2-40B4-BE49-F238E27FC236}">
                <a16:creationId xmlns:a16="http://schemas.microsoft.com/office/drawing/2014/main" id="{17435EBF-F8F2-C7A5-919B-045F92D577A9}"/>
              </a:ext>
            </a:extLst>
          </p:cNvPr>
          <p:cNvSpPr/>
          <p:nvPr/>
        </p:nvSpPr>
        <p:spPr>
          <a:xfrm>
            <a:off x="6875254" y="1606513"/>
            <a:ext cx="694500" cy="694500"/>
          </a:xfrm>
          <a:prstGeom prst="ellipse">
            <a:avLst/>
          </a:prstGeom>
          <a:solidFill>
            <a:srgbClr val="FFFFFF"/>
          </a:solidFill>
          <a:ln w="57150" cap="flat" cmpd="sng">
            <a:solidFill>
              <a:schemeClr val="accent1">
                <a:lumMod val="60000"/>
                <a:lumOff val="40000"/>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200"/>
              <a:buFont typeface="Arial"/>
              <a:buNone/>
              <a:tabLst/>
              <a:defRPr/>
            </a:pPr>
            <a:endParaRPr kumimoji="0" lang="nb-NO" sz="2400" b="1" i="0" u="none" strike="noStrike" kern="0" cap="none" spc="0" normalizeH="0" baseline="0" noProof="0">
              <a:ln>
                <a:noFill/>
              </a:ln>
              <a:solidFill>
                <a:srgbClr val="696666"/>
              </a:solidFill>
              <a:effectLst/>
              <a:uLnTx/>
              <a:uFillTx/>
              <a:ea typeface="Calibri"/>
              <a:cs typeface="Calibri"/>
              <a:sym typeface="Calibri"/>
            </a:endParaRPr>
          </a:p>
        </p:txBody>
      </p:sp>
      <p:pic>
        <p:nvPicPr>
          <p:cNvPr id="516" name="Google Shape;968;p133" descr="Blockchain outline">
            <a:extLst>
              <a:ext uri="{FF2B5EF4-FFF2-40B4-BE49-F238E27FC236}">
                <a16:creationId xmlns:a16="http://schemas.microsoft.com/office/drawing/2014/main" id="{BD2C77CA-9485-C084-0AA4-80539EC755B5}"/>
              </a:ext>
            </a:extLst>
          </p:cNvPr>
          <p:cNvPicPr preferRelativeResize="0"/>
          <p:nvPr/>
        </p:nvPicPr>
        <p:blipFill rotWithShape="1">
          <a:blip r:embed="rId2">
            <a:alphaModFix/>
          </a:blip>
          <a:srcRect/>
          <a:stretch/>
        </p:blipFill>
        <p:spPr>
          <a:xfrm>
            <a:off x="3960629" y="2989609"/>
            <a:ext cx="522724" cy="522724"/>
          </a:xfrm>
          <a:prstGeom prst="rect">
            <a:avLst/>
          </a:prstGeom>
          <a:noFill/>
          <a:ln>
            <a:noFill/>
          </a:ln>
        </p:spPr>
      </p:pic>
      <p:pic>
        <p:nvPicPr>
          <p:cNvPr id="517" name="Google Shape;969;p133" descr="Influencer outline">
            <a:extLst>
              <a:ext uri="{FF2B5EF4-FFF2-40B4-BE49-F238E27FC236}">
                <a16:creationId xmlns:a16="http://schemas.microsoft.com/office/drawing/2014/main" id="{90F50F9C-90FA-FC02-03EB-E7227A789CF8}"/>
              </a:ext>
            </a:extLst>
          </p:cNvPr>
          <p:cNvPicPr preferRelativeResize="0"/>
          <p:nvPr/>
        </p:nvPicPr>
        <p:blipFill rotWithShape="1">
          <a:blip r:embed="rId3">
            <a:alphaModFix/>
          </a:blip>
          <a:srcRect/>
          <a:stretch/>
        </p:blipFill>
        <p:spPr>
          <a:xfrm>
            <a:off x="4520962" y="1663960"/>
            <a:ext cx="559963" cy="559963"/>
          </a:xfrm>
          <a:prstGeom prst="rect">
            <a:avLst/>
          </a:prstGeom>
          <a:noFill/>
          <a:ln>
            <a:noFill/>
          </a:ln>
        </p:spPr>
      </p:pic>
      <p:pic>
        <p:nvPicPr>
          <p:cNvPr id="518" name="Google Shape;970;p133" descr="Internet Of Things outline">
            <a:extLst>
              <a:ext uri="{FF2B5EF4-FFF2-40B4-BE49-F238E27FC236}">
                <a16:creationId xmlns:a16="http://schemas.microsoft.com/office/drawing/2014/main" id="{2F10356A-A196-0848-36B4-3A01186DB988}"/>
              </a:ext>
            </a:extLst>
          </p:cNvPr>
          <p:cNvPicPr preferRelativeResize="0"/>
          <p:nvPr/>
        </p:nvPicPr>
        <p:blipFill rotWithShape="1">
          <a:blip r:embed="rId4">
            <a:alphaModFix/>
          </a:blip>
          <a:srcRect/>
          <a:stretch/>
        </p:blipFill>
        <p:spPr>
          <a:xfrm>
            <a:off x="6978772" y="4352540"/>
            <a:ext cx="497311" cy="497311"/>
          </a:xfrm>
          <a:prstGeom prst="rect">
            <a:avLst/>
          </a:prstGeom>
          <a:noFill/>
          <a:ln>
            <a:noFill/>
          </a:ln>
        </p:spPr>
      </p:pic>
      <p:pic>
        <p:nvPicPr>
          <p:cNvPr id="519" name="Google Shape;971;p133" descr="Ui Ux outline">
            <a:extLst>
              <a:ext uri="{FF2B5EF4-FFF2-40B4-BE49-F238E27FC236}">
                <a16:creationId xmlns:a16="http://schemas.microsoft.com/office/drawing/2014/main" id="{99558F78-2EAA-0033-C39A-7DA591DDFEF8}"/>
              </a:ext>
            </a:extLst>
          </p:cNvPr>
          <p:cNvPicPr preferRelativeResize="0"/>
          <p:nvPr/>
        </p:nvPicPr>
        <p:blipFill rotWithShape="1">
          <a:blip r:embed="rId5">
            <a:alphaModFix/>
          </a:blip>
          <a:srcRect/>
          <a:stretch/>
        </p:blipFill>
        <p:spPr>
          <a:xfrm>
            <a:off x="6984425" y="1721820"/>
            <a:ext cx="483051" cy="483051"/>
          </a:xfrm>
          <a:prstGeom prst="rect">
            <a:avLst/>
          </a:prstGeom>
          <a:noFill/>
          <a:ln>
            <a:noFill/>
          </a:ln>
        </p:spPr>
      </p:pic>
      <p:pic>
        <p:nvPicPr>
          <p:cNvPr id="520" name="Google Shape;972;p133" descr="Illustrator outline">
            <a:extLst>
              <a:ext uri="{FF2B5EF4-FFF2-40B4-BE49-F238E27FC236}">
                <a16:creationId xmlns:a16="http://schemas.microsoft.com/office/drawing/2014/main" id="{3E48D14B-A0B7-3CC7-2EEC-D9F4F05F6541}"/>
              </a:ext>
            </a:extLst>
          </p:cNvPr>
          <p:cNvPicPr preferRelativeResize="0"/>
          <p:nvPr/>
        </p:nvPicPr>
        <p:blipFill rotWithShape="1">
          <a:blip r:embed="rId6">
            <a:alphaModFix/>
          </a:blip>
          <a:srcRect/>
          <a:stretch/>
        </p:blipFill>
        <p:spPr>
          <a:xfrm>
            <a:off x="4530405" y="4334675"/>
            <a:ext cx="562517" cy="562517"/>
          </a:xfrm>
          <a:prstGeom prst="rect">
            <a:avLst/>
          </a:prstGeom>
          <a:noFill/>
          <a:ln>
            <a:noFill/>
          </a:ln>
        </p:spPr>
      </p:pic>
      <p:pic>
        <p:nvPicPr>
          <p:cNvPr id="521" name="Google Shape;973;p133" descr="Online Network outline">
            <a:extLst>
              <a:ext uri="{FF2B5EF4-FFF2-40B4-BE49-F238E27FC236}">
                <a16:creationId xmlns:a16="http://schemas.microsoft.com/office/drawing/2014/main" id="{BF84A75A-4FD0-DE53-6E9B-EDEC7E94E97C}"/>
              </a:ext>
            </a:extLst>
          </p:cNvPr>
          <p:cNvPicPr preferRelativeResize="0"/>
          <p:nvPr/>
        </p:nvPicPr>
        <p:blipFill rotWithShape="1">
          <a:blip r:embed="rId7">
            <a:alphaModFix/>
          </a:blip>
          <a:srcRect/>
          <a:stretch/>
        </p:blipFill>
        <p:spPr>
          <a:xfrm>
            <a:off x="7537138" y="3008519"/>
            <a:ext cx="524174" cy="524174"/>
          </a:xfrm>
          <a:prstGeom prst="rect">
            <a:avLst/>
          </a:prstGeom>
          <a:noFill/>
          <a:ln>
            <a:noFill/>
          </a:ln>
        </p:spPr>
      </p:pic>
    </p:spTree>
    <p:extLst>
      <p:ext uri="{BB962C8B-B14F-4D97-AF65-F5344CB8AC3E}">
        <p14:creationId xmlns:p14="http://schemas.microsoft.com/office/powerpoint/2010/main" val="33912949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007;g2e0683f995c_0_0">
            <a:extLst>
              <a:ext uri="{FF2B5EF4-FFF2-40B4-BE49-F238E27FC236}">
                <a16:creationId xmlns:a16="http://schemas.microsoft.com/office/drawing/2014/main" id="{3E00067F-63FF-BC07-A0C3-4A4FD83D7245}"/>
              </a:ext>
            </a:extLst>
          </p:cNvPr>
          <p:cNvSpPr txBox="1">
            <a:spLocks/>
          </p:cNvSpPr>
          <p:nvPr/>
        </p:nvSpPr>
        <p:spPr>
          <a:xfrm>
            <a:off x="382000" y="486981"/>
            <a:ext cx="11520900" cy="538974"/>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fontAlgn="auto">
              <a:lnSpc>
                <a:spcPct val="100000"/>
              </a:lnSpc>
              <a:buClr>
                <a:srgbClr val="000000"/>
              </a:buClr>
              <a:buSzPts val="2800"/>
              <a:defRPr/>
            </a:pPr>
            <a:r>
              <a:rPr lang="nb-NO" sz="2200" kern="0">
                <a:solidFill>
                  <a:schemeClr val="accent1"/>
                </a:solidFill>
                <a:latin typeface="Brockmann"/>
              </a:rPr>
              <a:t>Prinsipper | Modernisering av VIGO-systemet </a:t>
            </a:r>
          </a:p>
        </p:txBody>
      </p:sp>
      <p:sp>
        <p:nvSpPr>
          <p:cNvPr id="3" name="Google Shape;5716;p552">
            <a:extLst>
              <a:ext uri="{FF2B5EF4-FFF2-40B4-BE49-F238E27FC236}">
                <a16:creationId xmlns:a16="http://schemas.microsoft.com/office/drawing/2014/main" id="{1A6136D9-F25B-9B50-6C29-396814DA6A59}"/>
              </a:ext>
            </a:extLst>
          </p:cNvPr>
          <p:cNvSpPr txBox="1"/>
          <p:nvPr/>
        </p:nvSpPr>
        <p:spPr>
          <a:xfrm>
            <a:off x="5409769" y="1532183"/>
            <a:ext cx="1382400" cy="1513200"/>
          </a:xfrm>
          <a:prstGeom prst="rect">
            <a:avLst/>
          </a:prstGeom>
          <a:noFill/>
          <a:ln>
            <a:noFill/>
          </a:ln>
        </p:spPr>
        <p:txBody>
          <a:bodyPr spcFirstLastPara="1" wrap="square" lIns="91425" tIns="91425" rIns="914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nb-NO" sz="1200" b="1" u="none" strike="noStrike" kern="0" cap="none" spc="0" normalizeH="0" baseline="0" noProof="0">
                <a:ln>
                  <a:noFill/>
                </a:ln>
                <a:solidFill>
                  <a:schemeClr val="tx1"/>
                </a:solidFill>
                <a:effectLst/>
                <a:uLnTx/>
                <a:uFillTx/>
                <a:latin typeface="+mj-lt"/>
                <a:ea typeface="Inter" panose="02000503000000020004" pitchFamily="2" charset="0"/>
                <a:sym typeface="Arial"/>
              </a:rPr>
              <a:t>Standardiser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nb-NO" sz="1200" b="1" u="none" strike="noStrike" kern="0" cap="none" spc="0" normalizeH="0" baseline="0" noProof="0">
                <a:ln>
                  <a:noFill/>
                </a:ln>
                <a:solidFill>
                  <a:schemeClr val="tx1"/>
                </a:solidFill>
                <a:effectLst/>
                <a:uLnTx/>
                <a:uFillTx/>
                <a:latin typeface="+mj-lt"/>
                <a:ea typeface="Inter" panose="02000503000000020004" pitchFamily="2" charset="0"/>
                <a:sym typeface="Arial"/>
              </a:rPr>
              <a:t>Datadeling</a:t>
            </a:r>
          </a:p>
        </p:txBody>
      </p:sp>
      <p:sp>
        <p:nvSpPr>
          <p:cNvPr id="4" name="Google Shape;5717;p552">
            <a:extLst>
              <a:ext uri="{FF2B5EF4-FFF2-40B4-BE49-F238E27FC236}">
                <a16:creationId xmlns:a16="http://schemas.microsoft.com/office/drawing/2014/main" id="{EFBCB724-766C-CFD0-9CED-CC3A15DAB567}"/>
              </a:ext>
            </a:extLst>
          </p:cNvPr>
          <p:cNvSpPr txBox="1"/>
          <p:nvPr/>
        </p:nvSpPr>
        <p:spPr>
          <a:xfrm>
            <a:off x="7595519" y="1572683"/>
            <a:ext cx="1370409" cy="1472700"/>
          </a:xfrm>
          <a:prstGeom prst="rect">
            <a:avLst/>
          </a:prstGeom>
          <a:noFill/>
          <a:ln>
            <a:noFill/>
          </a:ln>
        </p:spPr>
        <p:txBody>
          <a:bodyPr spcFirstLastPara="1" wrap="square" lIns="91425" tIns="91425" rIns="914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nb-NO" sz="1200" b="1" u="none" strike="noStrike" kern="0" cap="none" spc="0" normalizeH="0" baseline="0" noProof="0">
                <a:ln>
                  <a:noFill/>
                </a:ln>
                <a:solidFill>
                  <a:schemeClr val="tx1"/>
                </a:solidFill>
                <a:effectLst/>
                <a:uLnTx/>
                <a:uFillTx/>
                <a:latin typeface="+mj-lt"/>
                <a:ea typeface="Inter" panose="02000503000000020004" pitchFamily="2" charset="0"/>
                <a:sym typeface="Arial"/>
              </a:rPr>
              <a:t>Automatiser der det er</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nb-NO" sz="1200" b="1" u="none" strike="noStrike" kern="0" cap="none" spc="0" normalizeH="0" baseline="0" noProof="0">
                <a:ln>
                  <a:noFill/>
                </a:ln>
                <a:solidFill>
                  <a:schemeClr val="tx1"/>
                </a:solidFill>
                <a:effectLst/>
                <a:uLnTx/>
                <a:uFillTx/>
                <a:latin typeface="+mj-lt"/>
                <a:ea typeface="Inter" panose="02000503000000020004" pitchFamily="2" charset="0"/>
                <a:sym typeface="Arial"/>
              </a:rPr>
              <a:t>mulig og hensiktsmessig</a:t>
            </a:r>
          </a:p>
        </p:txBody>
      </p:sp>
      <p:sp>
        <p:nvSpPr>
          <p:cNvPr id="5" name="Google Shape;5718;p552">
            <a:extLst>
              <a:ext uri="{FF2B5EF4-FFF2-40B4-BE49-F238E27FC236}">
                <a16:creationId xmlns:a16="http://schemas.microsoft.com/office/drawing/2014/main" id="{B6B18892-C308-F301-3E94-0B574C1CA926}"/>
              </a:ext>
            </a:extLst>
          </p:cNvPr>
          <p:cNvSpPr txBox="1"/>
          <p:nvPr/>
        </p:nvSpPr>
        <p:spPr>
          <a:xfrm>
            <a:off x="3208719" y="1600583"/>
            <a:ext cx="1397700" cy="1444800"/>
          </a:xfrm>
          <a:prstGeom prst="rect">
            <a:avLst/>
          </a:prstGeom>
          <a:noFill/>
          <a:ln>
            <a:noFill/>
          </a:ln>
        </p:spPr>
        <p:txBody>
          <a:bodyPr spcFirstLastPara="1" wrap="square" lIns="91425" tIns="91425" rIns="914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nb-NO" sz="1200" b="1" u="none" strike="noStrike" kern="0" cap="none" spc="0" normalizeH="0" baseline="0" noProof="0">
                <a:ln>
                  <a:noFill/>
                </a:ln>
                <a:solidFill>
                  <a:schemeClr val="tx1"/>
                </a:solidFill>
                <a:effectLst/>
                <a:uLnTx/>
                <a:uFillTx/>
                <a:latin typeface="+mj-lt"/>
                <a:ea typeface="Inter" panose="02000503000000020004" pitchFamily="2" charset="0"/>
                <a:sym typeface="Arial"/>
              </a:rPr>
              <a:t>Datasentrer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nb-NO" sz="1200" b="1" u="none" strike="noStrike" kern="0" cap="none" spc="0" normalizeH="0" baseline="0" noProof="0">
                <a:ln>
                  <a:noFill/>
                </a:ln>
                <a:solidFill>
                  <a:schemeClr val="tx1"/>
                </a:solidFill>
                <a:effectLst/>
                <a:uLnTx/>
                <a:uFillTx/>
                <a:latin typeface="+mj-lt"/>
                <a:ea typeface="Inter" panose="02000503000000020004" pitchFamily="2" charset="0"/>
                <a:sym typeface="Arial"/>
              </a:rPr>
              <a:t>Utvikling av VIGO</a:t>
            </a:r>
          </a:p>
        </p:txBody>
      </p:sp>
      <p:sp>
        <p:nvSpPr>
          <p:cNvPr id="6" name="Google Shape;5719;p552">
            <a:extLst>
              <a:ext uri="{FF2B5EF4-FFF2-40B4-BE49-F238E27FC236}">
                <a16:creationId xmlns:a16="http://schemas.microsoft.com/office/drawing/2014/main" id="{6D453F39-ED33-54CD-7B12-52724E8F90EA}"/>
              </a:ext>
            </a:extLst>
          </p:cNvPr>
          <p:cNvSpPr txBox="1"/>
          <p:nvPr/>
        </p:nvSpPr>
        <p:spPr>
          <a:xfrm>
            <a:off x="1010194" y="1577783"/>
            <a:ext cx="1402800" cy="1467600"/>
          </a:xfrm>
          <a:prstGeom prst="rect">
            <a:avLst/>
          </a:prstGeom>
          <a:noFill/>
          <a:ln>
            <a:noFill/>
          </a:ln>
        </p:spPr>
        <p:txBody>
          <a:bodyPr spcFirstLastPara="1" wrap="square" lIns="91425" tIns="91425" rIns="914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nb-NO" sz="1200" b="1" kern="0">
                <a:solidFill>
                  <a:schemeClr val="tx1"/>
                </a:solidFill>
                <a:latin typeface="+mj-lt"/>
                <a:ea typeface="Inter" panose="02000503000000020004" pitchFamily="2" charset="0"/>
              </a:rPr>
              <a:t>Brukerinvolvering</a:t>
            </a:r>
            <a:endParaRPr kumimoji="0" lang="nb-NO" sz="1200" b="1" u="none" strike="noStrike" kern="0" cap="none" spc="0" normalizeH="0" baseline="0" noProof="0">
              <a:ln>
                <a:noFill/>
              </a:ln>
              <a:solidFill>
                <a:schemeClr val="tx1"/>
              </a:solidFill>
              <a:effectLst/>
              <a:uLnTx/>
              <a:uFillTx/>
              <a:latin typeface="+mj-lt"/>
              <a:ea typeface="Inter" panose="02000503000000020004" pitchFamily="2" charset="0"/>
              <a:sym typeface="Arial"/>
            </a:endParaRPr>
          </a:p>
        </p:txBody>
      </p:sp>
      <p:grpSp>
        <p:nvGrpSpPr>
          <p:cNvPr id="7" name="Google Shape;5720;p552">
            <a:extLst>
              <a:ext uri="{FF2B5EF4-FFF2-40B4-BE49-F238E27FC236}">
                <a16:creationId xmlns:a16="http://schemas.microsoft.com/office/drawing/2014/main" id="{6F53F875-E09A-D83B-22B9-B5F698C20889}"/>
              </a:ext>
            </a:extLst>
          </p:cNvPr>
          <p:cNvGrpSpPr/>
          <p:nvPr/>
        </p:nvGrpSpPr>
        <p:grpSpPr>
          <a:xfrm>
            <a:off x="775176" y="1351730"/>
            <a:ext cx="1858812" cy="1920600"/>
            <a:chOff x="2544438" y="2597500"/>
            <a:chExt cx="1858812" cy="1920600"/>
          </a:xfrm>
          <a:solidFill>
            <a:srgbClr val="70AD47">
              <a:lumMod val="40000"/>
              <a:lumOff val="60000"/>
            </a:srgbClr>
          </a:solidFill>
        </p:grpSpPr>
        <p:sp>
          <p:nvSpPr>
            <p:cNvPr id="8" name="Google Shape;5721;p552">
              <a:extLst>
                <a:ext uri="{FF2B5EF4-FFF2-40B4-BE49-F238E27FC236}">
                  <a16:creationId xmlns:a16="http://schemas.microsoft.com/office/drawing/2014/main" id="{14867B6F-B72F-4395-F591-DB89C5C9D003}"/>
                </a:ext>
              </a:extLst>
            </p:cNvPr>
            <p:cNvSpPr/>
            <p:nvPr/>
          </p:nvSpPr>
          <p:spPr>
            <a:xfrm>
              <a:off x="2544438" y="4283775"/>
              <a:ext cx="1858800" cy="234300"/>
            </a:xfrm>
            <a:prstGeom prst="rect">
              <a:avLst/>
            </a:prstGeom>
            <a:solidFill>
              <a:schemeClr val="bg2"/>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400" b="0" i="0" u="none" strike="noStrike" kern="0" cap="none" spc="0" normalizeH="0" baseline="0" noProof="0">
                <a:ln>
                  <a:noFill/>
                </a:ln>
                <a:solidFill>
                  <a:srgbClr val="000000"/>
                </a:solidFill>
                <a:effectLst/>
                <a:uLnTx/>
                <a:uFillTx/>
                <a:latin typeface="Arial"/>
                <a:cs typeface="Arial"/>
                <a:sym typeface="Arial"/>
              </a:endParaRPr>
            </a:p>
          </p:txBody>
        </p:sp>
        <p:sp>
          <p:nvSpPr>
            <p:cNvPr id="9" name="Google Shape;5722;p552">
              <a:extLst>
                <a:ext uri="{FF2B5EF4-FFF2-40B4-BE49-F238E27FC236}">
                  <a16:creationId xmlns:a16="http://schemas.microsoft.com/office/drawing/2014/main" id="{F9FF7D19-DD6A-0EF8-7F13-916F827BD65D}"/>
                </a:ext>
              </a:extLst>
            </p:cNvPr>
            <p:cNvSpPr/>
            <p:nvPr/>
          </p:nvSpPr>
          <p:spPr>
            <a:xfrm rot="5400000">
              <a:off x="3762450" y="3877275"/>
              <a:ext cx="1047300" cy="234300"/>
            </a:xfrm>
            <a:prstGeom prst="rect">
              <a:avLst/>
            </a:prstGeom>
            <a:solidFill>
              <a:schemeClr val="bg2"/>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400" b="0" i="0" u="none" strike="noStrike" kern="0" cap="none" spc="0" normalizeH="0" baseline="0" noProof="0">
                <a:ln>
                  <a:noFill/>
                </a:ln>
                <a:solidFill>
                  <a:srgbClr val="000000"/>
                </a:solidFill>
                <a:effectLst/>
                <a:uLnTx/>
                <a:uFillTx/>
                <a:latin typeface="Arial"/>
                <a:cs typeface="Arial"/>
                <a:sym typeface="Arial"/>
              </a:endParaRPr>
            </a:p>
          </p:txBody>
        </p:sp>
        <p:sp>
          <p:nvSpPr>
            <p:cNvPr id="10" name="Google Shape;5723;p552">
              <a:extLst>
                <a:ext uri="{FF2B5EF4-FFF2-40B4-BE49-F238E27FC236}">
                  <a16:creationId xmlns:a16="http://schemas.microsoft.com/office/drawing/2014/main" id="{0B4BDF13-CE4A-5AAE-0B63-A6FC45812B11}"/>
                </a:ext>
              </a:extLst>
            </p:cNvPr>
            <p:cNvSpPr/>
            <p:nvPr/>
          </p:nvSpPr>
          <p:spPr>
            <a:xfrm rot="5400000">
              <a:off x="1701300" y="3440650"/>
              <a:ext cx="1920600" cy="234300"/>
            </a:xfrm>
            <a:prstGeom prst="rect">
              <a:avLst/>
            </a:prstGeom>
            <a:solidFill>
              <a:schemeClr val="bg2"/>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400" b="0" i="0" u="none" strike="noStrike" kern="0" cap="none" spc="0" normalizeH="0" baseline="0" noProof="0">
                <a:ln>
                  <a:noFill/>
                </a:ln>
                <a:solidFill>
                  <a:srgbClr val="000000"/>
                </a:solidFill>
                <a:effectLst/>
                <a:uLnTx/>
                <a:uFillTx/>
                <a:latin typeface="Arial"/>
                <a:cs typeface="Arial"/>
                <a:sym typeface="Arial"/>
              </a:endParaRPr>
            </a:p>
          </p:txBody>
        </p:sp>
        <p:sp>
          <p:nvSpPr>
            <p:cNvPr id="11" name="Google Shape;5724;p552">
              <a:extLst>
                <a:ext uri="{FF2B5EF4-FFF2-40B4-BE49-F238E27FC236}">
                  <a16:creationId xmlns:a16="http://schemas.microsoft.com/office/drawing/2014/main" id="{B363C378-4DC6-17F1-307E-71AD6FAEA67B}"/>
                </a:ext>
              </a:extLst>
            </p:cNvPr>
            <p:cNvSpPr/>
            <p:nvPr/>
          </p:nvSpPr>
          <p:spPr>
            <a:xfrm>
              <a:off x="2544450" y="2597500"/>
              <a:ext cx="581700" cy="234300"/>
            </a:xfrm>
            <a:prstGeom prst="rect">
              <a:avLst/>
            </a:prstGeom>
            <a:solidFill>
              <a:schemeClr val="bg2"/>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oogle Shape;5725;p552">
            <a:extLst>
              <a:ext uri="{FF2B5EF4-FFF2-40B4-BE49-F238E27FC236}">
                <a16:creationId xmlns:a16="http://schemas.microsoft.com/office/drawing/2014/main" id="{57483ED7-F8A8-2BC8-290D-F0DCFF87A90E}"/>
              </a:ext>
            </a:extLst>
          </p:cNvPr>
          <p:cNvGrpSpPr/>
          <p:nvPr/>
        </p:nvGrpSpPr>
        <p:grpSpPr>
          <a:xfrm>
            <a:off x="2970880" y="1351730"/>
            <a:ext cx="1858812" cy="1920600"/>
            <a:chOff x="2544438" y="2597500"/>
            <a:chExt cx="1858812" cy="1920600"/>
          </a:xfrm>
          <a:solidFill>
            <a:srgbClr val="44546A">
              <a:lumMod val="60000"/>
              <a:lumOff val="40000"/>
            </a:srgbClr>
          </a:solidFill>
        </p:grpSpPr>
        <p:sp>
          <p:nvSpPr>
            <p:cNvPr id="13" name="Google Shape;5726;p552">
              <a:extLst>
                <a:ext uri="{FF2B5EF4-FFF2-40B4-BE49-F238E27FC236}">
                  <a16:creationId xmlns:a16="http://schemas.microsoft.com/office/drawing/2014/main" id="{B20C2376-8E27-0AF6-744A-7E3218290620}"/>
                </a:ext>
              </a:extLst>
            </p:cNvPr>
            <p:cNvSpPr/>
            <p:nvPr/>
          </p:nvSpPr>
          <p:spPr>
            <a:xfrm>
              <a:off x="2544438" y="4283775"/>
              <a:ext cx="1858800" cy="234300"/>
            </a:xfrm>
            <a:prstGeom prst="rect">
              <a:avLst/>
            </a:prstGeom>
            <a:solidFill>
              <a:schemeClr val="accent1"/>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400" b="0" i="0" u="none" strike="noStrike" kern="0" cap="none" spc="0" normalizeH="0" baseline="0" noProof="0">
                <a:ln>
                  <a:noFill/>
                </a:ln>
                <a:solidFill>
                  <a:srgbClr val="000000"/>
                </a:solidFill>
                <a:effectLst/>
                <a:uLnTx/>
                <a:uFillTx/>
                <a:latin typeface="Arial"/>
                <a:cs typeface="Arial"/>
                <a:sym typeface="Arial"/>
              </a:endParaRPr>
            </a:p>
          </p:txBody>
        </p:sp>
        <p:sp>
          <p:nvSpPr>
            <p:cNvPr id="14" name="Google Shape;5727;p552">
              <a:extLst>
                <a:ext uri="{FF2B5EF4-FFF2-40B4-BE49-F238E27FC236}">
                  <a16:creationId xmlns:a16="http://schemas.microsoft.com/office/drawing/2014/main" id="{D92FCE46-54A0-29DA-3EC3-98201E28C5C3}"/>
                </a:ext>
              </a:extLst>
            </p:cNvPr>
            <p:cNvSpPr/>
            <p:nvPr/>
          </p:nvSpPr>
          <p:spPr>
            <a:xfrm rot="5400000">
              <a:off x="3762450" y="3877275"/>
              <a:ext cx="1047300" cy="234300"/>
            </a:xfrm>
            <a:prstGeom prst="rect">
              <a:avLst/>
            </a:prstGeom>
            <a:solidFill>
              <a:schemeClr val="accent1"/>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400" b="0" i="0" u="none" strike="noStrike" kern="0" cap="none" spc="0" normalizeH="0" baseline="0" noProof="0">
                <a:ln>
                  <a:noFill/>
                </a:ln>
                <a:solidFill>
                  <a:srgbClr val="000000"/>
                </a:solidFill>
                <a:effectLst/>
                <a:uLnTx/>
                <a:uFillTx/>
                <a:latin typeface="Arial"/>
                <a:cs typeface="Arial"/>
                <a:sym typeface="Arial"/>
              </a:endParaRPr>
            </a:p>
          </p:txBody>
        </p:sp>
        <p:sp>
          <p:nvSpPr>
            <p:cNvPr id="15" name="Google Shape;5728;p552">
              <a:extLst>
                <a:ext uri="{FF2B5EF4-FFF2-40B4-BE49-F238E27FC236}">
                  <a16:creationId xmlns:a16="http://schemas.microsoft.com/office/drawing/2014/main" id="{53334C91-68C3-46DB-456E-DBEDEE9C4FC1}"/>
                </a:ext>
              </a:extLst>
            </p:cNvPr>
            <p:cNvSpPr/>
            <p:nvPr/>
          </p:nvSpPr>
          <p:spPr>
            <a:xfrm rot="5400000">
              <a:off x="1701300" y="3440650"/>
              <a:ext cx="1920600" cy="234300"/>
            </a:xfrm>
            <a:prstGeom prst="rect">
              <a:avLst/>
            </a:prstGeom>
            <a:solidFill>
              <a:schemeClr val="accent1"/>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400" b="0" i="0" u="none" strike="noStrike" kern="0" cap="none" spc="0" normalizeH="0" baseline="0" noProof="0">
                <a:ln>
                  <a:noFill/>
                </a:ln>
                <a:solidFill>
                  <a:srgbClr val="000000"/>
                </a:solidFill>
                <a:effectLst/>
                <a:uLnTx/>
                <a:uFillTx/>
                <a:latin typeface="Arial"/>
                <a:cs typeface="Arial"/>
                <a:sym typeface="Arial"/>
              </a:endParaRPr>
            </a:p>
          </p:txBody>
        </p:sp>
        <p:sp>
          <p:nvSpPr>
            <p:cNvPr id="16" name="Google Shape;5729;p552">
              <a:extLst>
                <a:ext uri="{FF2B5EF4-FFF2-40B4-BE49-F238E27FC236}">
                  <a16:creationId xmlns:a16="http://schemas.microsoft.com/office/drawing/2014/main" id="{216121F2-5C71-3D12-1363-ABDA3311BE8D}"/>
                </a:ext>
              </a:extLst>
            </p:cNvPr>
            <p:cNvSpPr/>
            <p:nvPr/>
          </p:nvSpPr>
          <p:spPr>
            <a:xfrm>
              <a:off x="2544450" y="2597500"/>
              <a:ext cx="581700" cy="234300"/>
            </a:xfrm>
            <a:prstGeom prst="rect">
              <a:avLst/>
            </a:prstGeom>
            <a:solidFill>
              <a:schemeClr val="accent1"/>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7" name="Google Shape;5730;p552">
            <a:extLst>
              <a:ext uri="{FF2B5EF4-FFF2-40B4-BE49-F238E27FC236}">
                <a16:creationId xmlns:a16="http://schemas.microsoft.com/office/drawing/2014/main" id="{8AD32674-93C5-B63D-8020-901C7A782490}"/>
              </a:ext>
            </a:extLst>
          </p:cNvPr>
          <p:cNvGrpSpPr/>
          <p:nvPr/>
        </p:nvGrpSpPr>
        <p:grpSpPr>
          <a:xfrm>
            <a:off x="5164498" y="1351730"/>
            <a:ext cx="1858812" cy="1920600"/>
            <a:chOff x="2544438" y="2597500"/>
            <a:chExt cx="1858812" cy="1920600"/>
          </a:xfrm>
          <a:solidFill>
            <a:srgbClr val="FFC000">
              <a:lumMod val="60000"/>
              <a:lumOff val="40000"/>
            </a:srgbClr>
          </a:solidFill>
        </p:grpSpPr>
        <p:sp>
          <p:nvSpPr>
            <p:cNvPr id="18" name="Google Shape;5731;p552">
              <a:extLst>
                <a:ext uri="{FF2B5EF4-FFF2-40B4-BE49-F238E27FC236}">
                  <a16:creationId xmlns:a16="http://schemas.microsoft.com/office/drawing/2014/main" id="{0D8FC170-B2CD-988D-BAC1-DE28824EB259}"/>
                </a:ext>
              </a:extLst>
            </p:cNvPr>
            <p:cNvSpPr/>
            <p:nvPr/>
          </p:nvSpPr>
          <p:spPr>
            <a:xfrm>
              <a:off x="2544438" y="4283775"/>
              <a:ext cx="1858800" cy="234300"/>
            </a:xfrm>
            <a:prstGeom prst="rect">
              <a:avLst/>
            </a:prstGeom>
            <a:solidFill>
              <a:schemeClr val="accent2"/>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400" b="0" i="0" u="none" strike="noStrike" kern="0" cap="none" spc="0" normalizeH="0" baseline="0" noProof="0">
                <a:ln>
                  <a:noFill/>
                </a:ln>
                <a:solidFill>
                  <a:srgbClr val="000000"/>
                </a:solidFill>
                <a:effectLst/>
                <a:uLnTx/>
                <a:uFillTx/>
                <a:latin typeface="Arial"/>
                <a:cs typeface="Arial"/>
                <a:sym typeface="Arial"/>
              </a:endParaRPr>
            </a:p>
          </p:txBody>
        </p:sp>
        <p:sp>
          <p:nvSpPr>
            <p:cNvPr id="19" name="Google Shape;5732;p552">
              <a:extLst>
                <a:ext uri="{FF2B5EF4-FFF2-40B4-BE49-F238E27FC236}">
                  <a16:creationId xmlns:a16="http://schemas.microsoft.com/office/drawing/2014/main" id="{54C6BF16-A93B-AD7F-7734-5FC01BD0252D}"/>
                </a:ext>
              </a:extLst>
            </p:cNvPr>
            <p:cNvSpPr/>
            <p:nvPr/>
          </p:nvSpPr>
          <p:spPr>
            <a:xfrm rot="5400000">
              <a:off x="3762450" y="3877275"/>
              <a:ext cx="1047300" cy="234300"/>
            </a:xfrm>
            <a:prstGeom prst="rect">
              <a:avLst/>
            </a:prstGeom>
            <a:solidFill>
              <a:schemeClr val="accent2"/>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400" b="0" i="0" u="none" strike="noStrike" kern="0" cap="none" spc="0" normalizeH="0" baseline="0" noProof="0">
                <a:ln>
                  <a:noFill/>
                </a:ln>
                <a:solidFill>
                  <a:srgbClr val="000000"/>
                </a:solidFill>
                <a:effectLst/>
                <a:uLnTx/>
                <a:uFillTx/>
                <a:latin typeface="Arial"/>
                <a:cs typeface="Arial"/>
                <a:sym typeface="Arial"/>
              </a:endParaRPr>
            </a:p>
          </p:txBody>
        </p:sp>
        <p:sp>
          <p:nvSpPr>
            <p:cNvPr id="20" name="Google Shape;5733;p552">
              <a:extLst>
                <a:ext uri="{FF2B5EF4-FFF2-40B4-BE49-F238E27FC236}">
                  <a16:creationId xmlns:a16="http://schemas.microsoft.com/office/drawing/2014/main" id="{9F40657F-AD0C-10A5-A691-55A7AF376D9A}"/>
                </a:ext>
              </a:extLst>
            </p:cNvPr>
            <p:cNvSpPr/>
            <p:nvPr/>
          </p:nvSpPr>
          <p:spPr>
            <a:xfrm rot="5400000">
              <a:off x="1701300" y="3440650"/>
              <a:ext cx="1920600" cy="234300"/>
            </a:xfrm>
            <a:prstGeom prst="rect">
              <a:avLst/>
            </a:prstGeom>
            <a:solidFill>
              <a:schemeClr val="accent2"/>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400" b="0" i="0" u="none" strike="noStrike" kern="0" cap="none" spc="0" normalizeH="0" baseline="0" noProof="0">
                <a:ln>
                  <a:noFill/>
                </a:ln>
                <a:solidFill>
                  <a:srgbClr val="000000"/>
                </a:solidFill>
                <a:effectLst/>
                <a:uLnTx/>
                <a:uFillTx/>
                <a:latin typeface="Arial"/>
                <a:cs typeface="Arial"/>
                <a:sym typeface="Arial"/>
              </a:endParaRPr>
            </a:p>
          </p:txBody>
        </p:sp>
        <p:sp>
          <p:nvSpPr>
            <p:cNvPr id="21" name="Google Shape;5734;p552">
              <a:extLst>
                <a:ext uri="{FF2B5EF4-FFF2-40B4-BE49-F238E27FC236}">
                  <a16:creationId xmlns:a16="http://schemas.microsoft.com/office/drawing/2014/main" id="{DAD8FCE7-0C65-3810-676C-AD71A93E9F85}"/>
                </a:ext>
              </a:extLst>
            </p:cNvPr>
            <p:cNvSpPr/>
            <p:nvPr/>
          </p:nvSpPr>
          <p:spPr>
            <a:xfrm>
              <a:off x="2544450" y="2597500"/>
              <a:ext cx="581700" cy="234300"/>
            </a:xfrm>
            <a:prstGeom prst="rect">
              <a:avLst/>
            </a:prstGeom>
            <a:solidFill>
              <a:schemeClr val="accent2"/>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2" name="Google Shape;5735;p552">
            <a:extLst>
              <a:ext uri="{FF2B5EF4-FFF2-40B4-BE49-F238E27FC236}">
                <a16:creationId xmlns:a16="http://schemas.microsoft.com/office/drawing/2014/main" id="{9B8D98DC-E0AF-D78C-26F8-25A7ED92FCD1}"/>
              </a:ext>
            </a:extLst>
          </p:cNvPr>
          <p:cNvGrpSpPr/>
          <p:nvPr/>
        </p:nvGrpSpPr>
        <p:grpSpPr>
          <a:xfrm>
            <a:off x="7360211" y="1351730"/>
            <a:ext cx="1858812" cy="1920600"/>
            <a:chOff x="2544438" y="2597500"/>
            <a:chExt cx="1858812" cy="1920600"/>
          </a:xfrm>
          <a:solidFill>
            <a:schemeClr val="accent1">
              <a:lumMod val="60000"/>
              <a:lumOff val="40000"/>
            </a:schemeClr>
          </a:solidFill>
        </p:grpSpPr>
        <p:sp>
          <p:nvSpPr>
            <p:cNvPr id="23" name="Google Shape;5736;p552">
              <a:extLst>
                <a:ext uri="{FF2B5EF4-FFF2-40B4-BE49-F238E27FC236}">
                  <a16:creationId xmlns:a16="http://schemas.microsoft.com/office/drawing/2014/main" id="{4022AFAD-EB40-630F-7D37-C00AA79F1963}"/>
                </a:ext>
              </a:extLst>
            </p:cNvPr>
            <p:cNvSpPr/>
            <p:nvPr/>
          </p:nvSpPr>
          <p:spPr>
            <a:xfrm>
              <a:off x="2544438" y="4283775"/>
              <a:ext cx="1858800" cy="234300"/>
            </a:xfrm>
            <a:prstGeom prst="rect">
              <a:avLst/>
            </a:prstGeom>
            <a:grp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400" b="0" i="0" u="none" strike="noStrike" kern="0" cap="none" spc="0" normalizeH="0" baseline="0" noProof="0">
                <a:ln>
                  <a:noFill/>
                </a:ln>
                <a:solidFill>
                  <a:srgbClr val="000000"/>
                </a:solidFill>
                <a:effectLst/>
                <a:uLnTx/>
                <a:uFillTx/>
                <a:latin typeface="Arial"/>
                <a:cs typeface="Arial"/>
                <a:sym typeface="Arial"/>
              </a:endParaRPr>
            </a:p>
          </p:txBody>
        </p:sp>
        <p:sp>
          <p:nvSpPr>
            <p:cNvPr id="24" name="Google Shape;5737;p552">
              <a:extLst>
                <a:ext uri="{FF2B5EF4-FFF2-40B4-BE49-F238E27FC236}">
                  <a16:creationId xmlns:a16="http://schemas.microsoft.com/office/drawing/2014/main" id="{F6C0894F-2166-6852-3527-6A9A56D1E200}"/>
                </a:ext>
              </a:extLst>
            </p:cNvPr>
            <p:cNvSpPr/>
            <p:nvPr/>
          </p:nvSpPr>
          <p:spPr>
            <a:xfrm rot="5400000">
              <a:off x="3762450" y="3877275"/>
              <a:ext cx="1047300" cy="234300"/>
            </a:xfrm>
            <a:prstGeom prst="rect">
              <a:avLst/>
            </a:prstGeom>
            <a:grp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400" b="0" i="0" u="none" strike="noStrike" kern="0" cap="none" spc="0" normalizeH="0" baseline="0" noProof="0">
                <a:ln>
                  <a:noFill/>
                </a:ln>
                <a:solidFill>
                  <a:srgbClr val="000000"/>
                </a:solidFill>
                <a:effectLst/>
                <a:uLnTx/>
                <a:uFillTx/>
                <a:latin typeface="Arial"/>
                <a:cs typeface="Arial"/>
                <a:sym typeface="Arial"/>
              </a:endParaRPr>
            </a:p>
          </p:txBody>
        </p:sp>
        <p:sp>
          <p:nvSpPr>
            <p:cNvPr id="25" name="Google Shape;5738;p552">
              <a:extLst>
                <a:ext uri="{FF2B5EF4-FFF2-40B4-BE49-F238E27FC236}">
                  <a16:creationId xmlns:a16="http://schemas.microsoft.com/office/drawing/2014/main" id="{9C1DB797-F87C-9939-35CD-F04049508FA7}"/>
                </a:ext>
              </a:extLst>
            </p:cNvPr>
            <p:cNvSpPr/>
            <p:nvPr/>
          </p:nvSpPr>
          <p:spPr>
            <a:xfrm rot="5400000">
              <a:off x="1701300" y="3440650"/>
              <a:ext cx="1920600" cy="234300"/>
            </a:xfrm>
            <a:prstGeom prst="rect">
              <a:avLst/>
            </a:prstGeom>
            <a:grp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400" b="0" i="0" u="none" strike="noStrike" kern="0" cap="none" spc="0" normalizeH="0" baseline="0" noProof="0">
                <a:ln>
                  <a:noFill/>
                </a:ln>
                <a:solidFill>
                  <a:srgbClr val="000000"/>
                </a:solidFill>
                <a:effectLst/>
                <a:uLnTx/>
                <a:uFillTx/>
                <a:latin typeface="Arial"/>
                <a:cs typeface="Arial"/>
                <a:sym typeface="Arial"/>
              </a:endParaRPr>
            </a:p>
          </p:txBody>
        </p:sp>
        <p:sp>
          <p:nvSpPr>
            <p:cNvPr id="26" name="Google Shape;5739;p552">
              <a:extLst>
                <a:ext uri="{FF2B5EF4-FFF2-40B4-BE49-F238E27FC236}">
                  <a16:creationId xmlns:a16="http://schemas.microsoft.com/office/drawing/2014/main" id="{E7BBBDA0-55A2-FDF7-EF59-29AD489C8270}"/>
                </a:ext>
              </a:extLst>
            </p:cNvPr>
            <p:cNvSpPr/>
            <p:nvPr/>
          </p:nvSpPr>
          <p:spPr>
            <a:xfrm>
              <a:off x="2544450" y="2597500"/>
              <a:ext cx="581700" cy="234300"/>
            </a:xfrm>
            <a:prstGeom prst="rect">
              <a:avLst/>
            </a:prstGeom>
            <a:grp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7" name="Google Shape;5740;p552">
            <a:extLst>
              <a:ext uri="{FF2B5EF4-FFF2-40B4-BE49-F238E27FC236}">
                <a16:creationId xmlns:a16="http://schemas.microsoft.com/office/drawing/2014/main" id="{62B8D8E5-4497-B417-5DDD-272E9B35A09A}"/>
              </a:ext>
            </a:extLst>
          </p:cNvPr>
          <p:cNvSpPr txBox="1"/>
          <p:nvPr/>
        </p:nvSpPr>
        <p:spPr>
          <a:xfrm>
            <a:off x="9792868" y="1572683"/>
            <a:ext cx="1404255" cy="1472700"/>
          </a:xfrm>
          <a:prstGeom prst="rect">
            <a:avLst/>
          </a:prstGeom>
          <a:noFill/>
          <a:ln>
            <a:noFill/>
          </a:ln>
        </p:spPr>
        <p:txBody>
          <a:bodyPr spcFirstLastPara="1" wrap="square" lIns="91425" tIns="91425" rIns="914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nb-NO" sz="1200" b="1" u="none" strike="noStrike" kern="0" cap="none" spc="0" normalizeH="0" baseline="0" noProof="0">
                <a:ln>
                  <a:noFill/>
                </a:ln>
                <a:solidFill>
                  <a:schemeClr val="tx1"/>
                </a:solidFill>
                <a:effectLst/>
                <a:uLnTx/>
                <a:uFillTx/>
                <a:latin typeface="+mj-lt"/>
                <a:ea typeface="Inter" panose="02000503000000020004" pitchFamily="2" charset="0"/>
                <a:sym typeface="Arial"/>
              </a:rPr>
              <a:t>System-</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nb-NO" sz="1200" b="1" u="none" strike="noStrike" kern="0" cap="none" spc="0" normalizeH="0" baseline="0" noProof="0">
                <a:ln>
                  <a:noFill/>
                </a:ln>
                <a:solidFill>
                  <a:schemeClr val="tx1"/>
                </a:solidFill>
                <a:effectLst/>
                <a:uLnTx/>
                <a:uFillTx/>
                <a:latin typeface="+mj-lt"/>
                <a:ea typeface="Inter" panose="02000503000000020004" pitchFamily="2" charset="0"/>
                <a:sym typeface="Arial"/>
              </a:rPr>
              <a:t>eierskap og leverandør-</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nb-NO" sz="1200" b="1" u="none" strike="noStrike" kern="0" cap="none" spc="0" normalizeH="0" baseline="0" noProof="0">
                <a:ln>
                  <a:noFill/>
                </a:ln>
                <a:solidFill>
                  <a:schemeClr val="tx1"/>
                </a:solidFill>
                <a:effectLst/>
                <a:uLnTx/>
                <a:uFillTx/>
                <a:latin typeface="+mj-lt"/>
                <a:ea typeface="Inter" panose="02000503000000020004" pitchFamily="2" charset="0"/>
                <a:sym typeface="Arial"/>
              </a:rPr>
              <a:t>fleksibilitet </a:t>
            </a:r>
          </a:p>
        </p:txBody>
      </p:sp>
      <p:grpSp>
        <p:nvGrpSpPr>
          <p:cNvPr id="28" name="Google Shape;5741;p552">
            <a:extLst>
              <a:ext uri="{FF2B5EF4-FFF2-40B4-BE49-F238E27FC236}">
                <a16:creationId xmlns:a16="http://schemas.microsoft.com/office/drawing/2014/main" id="{049BA8F3-112F-4ED0-911D-F8811B6DE6EF}"/>
              </a:ext>
            </a:extLst>
          </p:cNvPr>
          <p:cNvGrpSpPr/>
          <p:nvPr/>
        </p:nvGrpSpPr>
        <p:grpSpPr>
          <a:xfrm>
            <a:off x="9557131" y="1351730"/>
            <a:ext cx="1858812" cy="1920600"/>
            <a:chOff x="2544438" y="2597500"/>
            <a:chExt cx="1858812" cy="1920600"/>
          </a:xfrm>
          <a:solidFill>
            <a:srgbClr val="4472C4"/>
          </a:solidFill>
        </p:grpSpPr>
        <p:sp>
          <p:nvSpPr>
            <p:cNvPr id="29" name="Google Shape;5742;p552">
              <a:extLst>
                <a:ext uri="{FF2B5EF4-FFF2-40B4-BE49-F238E27FC236}">
                  <a16:creationId xmlns:a16="http://schemas.microsoft.com/office/drawing/2014/main" id="{D97848AB-E2BD-343B-FB0E-1BA5C726B645}"/>
                </a:ext>
              </a:extLst>
            </p:cNvPr>
            <p:cNvSpPr/>
            <p:nvPr/>
          </p:nvSpPr>
          <p:spPr>
            <a:xfrm>
              <a:off x="2544438" y="4283775"/>
              <a:ext cx="1858800" cy="234300"/>
            </a:xfrm>
            <a:prstGeom prst="rect">
              <a:avLst/>
            </a:prstGeom>
            <a:solidFill>
              <a:schemeClr val="accent6"/>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400" b="0" i="0" u="none" strike="noStrike" kern="0" cap="none" spc="0" normalizeH="0" baseline="0" noProof="0">
                <a:ln>
                  <a:noFill/>
                </a:ln>
                <a:solidFill>
                  <a:srgbClr val="000000"/>
                </a:solidFill>
                <a:effectLst/>
                <a:uLnTx/>
                <a:uFillTx/>
                <a:latin typeface="Arial"/>
                <a:cs typeface="Arial"/>
                <a:sym typeface="Arial"/>
              </a:endParaRPr>
            </a:p>
          </p:txBody>
        </p:sp>
        <p:sp>
          <p:nvSpPr>
            <p:cNvPr id="30" name="Google Shape;5743;p552">
              <a:extLst>
                <a:ext uri="{FF2B5EF4-FFF2-40B4-BE49-F238E27FC236}">
                  <a16:creationId xmlns:a16="http://schemas.microsoft.com/office/drawing/2014/main" id="{F7366FF9-445B-41CD-6693-888562818C33}"/>
                </a:ext>
              </a:extLst>
            </p:cNvPr>
            <p:cNvSpPr/>
            <p:nvPr/>
          </p:nvSpPr>
          <p:spPr>
            <a:xfrm rot="5400000">
              <a:off x="3762450" y="3877275"/>
              <a:ext cx="1047300" cy="234300"/>
            </a:xfrm>
            <a:prstGeom prst="rect">
              <a:avLst/>
            </a:prstGeom>
            <a:solidFill>
              <a:schemeClr val="accent6"/>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400" b="0" i="0" u="none" strike="noStrike" kern="0" cap="none" spc="0" normalizeH="0" baseline="0" noProof="0">
                <a:ln>
                  <a:noFill/>
                </a:ln>
                <a:solidFill>
                  <a:srgbClr val="000000"/>
                </a:solidFill>
                <a:effectLst/>
                <a:uLnTx/>
                <a:uFillTx/>
                <a:latin typeface="Arial"/>
                <a:cs typeface="Arial"/>
                <a:sym typeface="Arial"/>
              </a:endParaRPr>
            </a:p>
          </p:txBody>
        </p:sp>
        <p:sp>
          <p:nvSpPr>
            <p:cNvPr id="31" name="Google Shape;5744;p552">
              <a:extLst>
                <a:ext uri="{FF2B5EF4-FFF2-40B4-BE49-F238E27FC236}">
                  <a16:creationId xmlns:a16="http://schemas.microsoft.com/office/drawing/2014/main" id="{281EFC5E-40E7-4CF2-A3B0-DF5C3B6C1C24}"/>
                </a:ext>
              </a:extLst>
            </p:cNvPr>
            <p:cNvSpPr/>
            <p:nvPr/>
          </p:nvSpPr>
          <p:spPr>
            <a:xfrm rot="5400000">
              <a:off x="1701300" y="3440650"/>
              <a:ext cx="1920600" cy="234300"/>
            </a:xfrm>
            <a:prstGeom prst="rect">
              <a:avLst/>
            </a:prstGeom>
            <a:solidFill>
              <a:schemeClr val="accent6"/>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400" b="0" i="0" u="none" strike="noStrike" kern="0" cap="none" spc="0" normalizeH="0" baseline="0" noProof="0">
                <a:ln>
                  <a:noFill/>
                </a:ln>
                <a:solidFill>
                  <a:srgbClr val="000000"/>
                </a:solidFill>
                <a:effectLst/>
                <a:uLnTx/>
                <a:uFillTx/>
                <a:latin typeface="Arial"/>
                <a:cs typeface="Arial"/>
                <a:sym typeface="Arial"/>
              </a:endParaRPr>
            </a:p>
          </p:txBody>
        </p:sp>
        <p:sp>
          <p:nvSpPr>
            <p:cNvPr id="32" name="Google Shape;5745;p552">
              <a:extLst>
                <a:ext uri="{FF2B5EF4-FFF2-40B4-BE49-F238E27FC236}">
                  <a16:creationId xmlns:a16="http://schemas.microsoft.com/office/drawing/2014/main" id="{4703DB9A-A225-99D4-B77D-53FA461C9CDA}"/>
                </a:ext>
              </a:extLst>
            </p:cNvPr>
            <p:cNvSpPr/>
            <p:nvPr/>
          </p:nvSpPr>
          <p:spPr>
            <a:xfrm>
              <a:off x="2544450" y="2597500"/>
              <a:ext cx="581700" cy="234300"/>
            </a:xfrm>
            <a:prstGeom prst="rect">
              <a:avLst/>
            </a:prstGeom>
            <a:solidFill>
              <a:schemeClr val="accent6"/>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33" name="Google Shape;5746;p552">
            <a:extLst>
              <a:ext uri="{FF2B5EF4-FFF2-40B4-BE49-F238E27FC236}">
                <a16:creationId xmlns:a16="http://schemas.microsoft.com/office/drawing/2014/main" id="{A954ED69-3EEB-D61B-4C84-E2350A964463}"/>
              </a:ext>
            </a:extLst>
          </p:cNvPr>
          <p:cNvSpPr/>
          <p:nvPr/>
        </p:nvSpPr>
        <p:spPr>
          <a:xfrm>
            <a:off x="8749636" y="1351708"/>
            <a:ext cx="471488" cy="471488"/>
          </a:xfrm>
          <a:custGeom>
            <a:avLst/>
            <a:gdLst/>
            <a:ahLst/>
            <a:cxnLst/>
            <a:rect l="l" t="t" r="r" b="b"/>
            <a:pathLst>
              <a:path w="396" h="396" extrusionOk="0">
                <a:moveTo>
                  <a:pt x="0" y="0"/>
                </a:moveTo>
                <a:lnTo>
                  <a:pt x="0" y="396"/>
                </a:lnTo>
                <a:lnTo>
                  <a:pt x="396" y="396"/>
                </a:lnTo>
                <a:lnTo>
                  <a:pt x="396" y="0"/>
                </a:lnTo>
                <a:lnTo>
                  <a:pt x="0" y="0"/>
                </a:lnTo>
                <a:close/>
                <a:moveTo>
                  <a:pt x="105" y="16"/>
                </a:moveTo>
                <a:lnTo>
                  <a:pt x="105" y="169"/>
                </a:lnTo>
                <a:lnTo>
                  <a:pt x="16" y="169"/>
                </a:lnTo>
                <a:lnTo>
                  <a:pt x="16" y="16"/>
                </a:lnTo>
                <a:lnTo>
                  <a:pt x="105" y="16"/>
                </a:lnTo>
                <a:close/>
                <a:moveTo>
                  <a:pt x="16" y="296"/>
                </a:moveTo>
                <a:lnTo>
                  <a:pt x="29" y="296"/>
                </a:lnTo>
                <a:lnTo>
                  <a:pt x="29" y="278"/>
                </a:lnTo>
                <a:lnTo>
                  <a:pt x="16" y="278"/>
                </a:lnTo>
                <a:lnTo>
                  <a:pt x="16" y="186"/>
                </a:lnTo>
                <a:lnTo>
                  <a:pt x="121" y="186"/>
                </a:lnTo>
                <a:lnTo>
                  <a:pt x="121" y="16"/>
                </a:lnTo>
                <a:lnTo>
                  <a:pt x="379" y="16"/>
                </a:lnTo>
                <a:lnTo>
                  <a:pt x="379" y="210"/>
                </a:lnTo>
                <a:lnTo>
                  <a:pt x="279" y="210"/>
                </a:lnTo>
                <a:lnTo>
                  <a:pt x="279" y="379"/>
                </a:lnTo>
                <a:lnTo>
                  <a:pt x="16" y="379"/>
                </a:lnTo>
                <a:lnTo>
                  <a:pt x="16" y="296"/>
                </a:lnTo>
                <a:close/>
                <a:moveTo>
                  <a:pt x="296" y="379"/>
                </a:moveTo>
                <a:lnTo>
                  <a:pt x="296" y="227"/>
                </a:lnTo>
                <a:lnTo>
                  <a:pt x="379" y="227"/>
                </a:lnTo>
                <a:lnTo>
                  <a:pt x="379" y="379"/>
                </a:lnTo>
                <a:lnTo>
                  <a:pt x="296" y="379"/>
                </a:lnTo>
                <a:close/>
                <a:moveTo>
                  <a:pt x="79" y="278"/>
                </a:moveTo>
                <a:lnTo>
                  <a:pt x="96" y="278"/>
                </a:lnTo>
                <a:lnTo>
                  <a:pt x="96" y="296"/>
                </a:lnTo>
                <a:lnTo>
                  <a:pt x="79" y="296"/>
                </a:lnTo>
                <a:lnTo>
                  <a:pt x="79" y="278"/>
                </a:lnTo>
                <a:close/>
                <a:moveTo>
                  <a:pt x="113" y="278"/>
                </a:moveTo>
                <a:lnTo>
                  <a:pt x="129" y="278"/>
                </a:lnTo>
                <a:lnTo>
                  <a:pt x="129" y="296"/>
                </a:lnTo>
                <a:lnTo>
                  <a:pt x="113" y="296"/>
                </a:lnTo>
                <a:lnTo>
                  <a:pt x="113" y="278"/>
                </a:lnTo>
                <a:close/>
                <a:moveTo>
                  <a:pt x="146" y="278"/>
                </a:moveTo>
                <a:lnTo>
                  <a:pt x="164" y="278"/>
                </a:lnTo>
                <a:lnTo>
                  <a:pt x="164" y="296"/>
                </a:lnTo>
                <a:lnTo>
                  <a:pt x="146" y="296"/>
                </a:lnTo>
                <a:lnTo>
                  <a:pt x="146" y="278"/>
                </a:lnTo>
                <a:close/>
                <a:moveTo>
                  <a:pt x="46" y="278"/>
                </a:moveTo>
                <a:lnTo>
                  <a:pt x="62" y="278"/>
                </a:lnTo>
                <a:lnTo>
                  <a:pt x="62" y="296"/>
                </a:lnTo>
                <a:lnTo>
                  <a:pt x="46" y="296"/>
                </a:lnTo>
                <a:lnTo>
                  <a:pt x="46" y="278"/>
                </a:lnTo>
                <a:close/>
                <a:moveTo>
                  <a:pt x="289" y="117"/>
                </a:moveTo>
                <a:lnTo>
                  <a:pt x="272" y="117"/>
                </a:lnTo>
                <a:lnTo>
                  <a:pt x="272" y="100"/>
                </a:lnTo>
                <a:lnTo>
                  <a:pt x="289" y="100"/>
                </a:lnTo>
                <a:lnTo>
                  <a:pt x="289" y="117"/>
                </a:lnTo>
                <a:close/>
                <a:moveTo>
                  <a:pt x="191" y="155"/>
                </a:moveTo>
                <a:lnTo>
                  <a:pt x="208" y="155"/>
                </a:lnTo>
                <a:lnTo>
                  <a:pt x="208" y="171"/>
                </a:lnTo>
                <a:lnTo>
                  <a:pt x="191" y="171"/>
                </a:lnTo>
                <a:lnTo>
                  <a:pt x="191" y="155"/>
                </a:lnTo>
                <a:close/>
                <a:moveTo>
                  <a:pt x="191" y="120"/>
                </a:moveTo>
                <a:lnTo>
                  <a:pt x="208" y="120"/>
                </a:lnTo>
                <a:lnTo>
                  <a:pt x="208" y="138"/>
                </a:lnTo>
                <a:lnTo>
                  <a:pt x="191" y="138"/>
                </a:lnTo>
                <a:lnTo>
                  <a:pt x="191" y="120"/>
                </a:lnTo>
                <a:close/>
                <a:moveTo>
                  <a:pt x="205" y="100"/>
                </a:moveTo>
                <a:lnTo>
                  <a:pt x="222" y="100"/>
                </a:lnTo>
                <a:lnTo>
                  <a:pt x="222" y="117"/>
                </a:lnTo>
                <a:lnTo>
                  <a:pt x="205" y="117"/>
                </a:lnTo>
                <a:lnTo>
                  <a:pt x="205" y="100"/>
                </a:lnTo>
                <a:close/>
                <a:moveTo>
                  <a:pt x="181" y="278"/>
                </a:moveTo>
                <a:lnTo>
                  <a:pt x="197" y="278"/>
                </a:lnTo>
                <a:lnTo>
                  <a:pt x="197" y="296"/>
                </a:lnTo>
                <a:lnTo>
                  <a:pt x="181" y="296"/>
                </a:lnTo>
                <a:lnTo>
                  <a:pt x="181" y="278"/>
                </a:lnTo>
                <a:close/>
                <a:moveTo>
                  <a:pt x="238" y="100"/>
                </a:moveTo>
                <a:lnTo>
                  <a:pt x="255" y="100"/>
                </a:lnTo>
                <a:lnTo>
                  <a:pt x="255" y="117"/>
                </a:lnTo>
                <a:lnTo>
                  <a:pt x="238" y="117"/>
                </a:lnTo>
                <a:lnTo>
                  <a:pt x="238" y="100"/>
                </a:lnTo>
                <a:close/>
                <a:moveTo>
                  <a:pt x="191" y="222"/>
                </a:moveTo>
                <a:lnTo>
                  <a:pt x="208" y="222"/>
                </a:lnTo>
                <a:lnTo>
                  <a:pt x="208" y="238"/>
                </a:lnTo>
                <a:lnTo>
                  <a:pt x="191" y="238"/>
                </a:lnTo>
                <a:lnTo>
                  <a:pt x="191" y="222"/>
                </a:lnTo>
                <a:close/>
                <a:moveTo>
                  <a:pt x="191" y="188"/>
                </a:moveTo>
                <a:lnTo>
                  <a:pt x="208" y="188"/>
                </a:lnTo>
                <a:lnTo>
                  <a:pt x="208" y="205"/>
                </a:lnTo>
                <a:lnTo>
                  <a:pt x="191" y="205"/>
                </a:lnTo>
                <a:lnTo>
                  <a:pt x="191" y="188"/>
                </a:lnTo>
                <a:close/>
                <a:moveTo>
                  <a:pt x="191" y="255"/>
                </a:moveTo>
                <a:lnTo>
                  <a:pt x="208" y="255"/>
                </a:lnTo>
                <a:lnTo>
                  <a:pt x="208" y="273"/>
                </a:lnTo>
                <a:lnTo>
                  <a:pt x="191" y="273"/>
                </a:lnTo>
                <a:lnTo>
                  <a:pt x="191" y="255"/>
                </a:lnTo>
                <a:close/>
                <a:moveTo>
                  <a:pt x="307" y="152"/>
                </a:moveTo>
                <a:lnTo>
                  <a:pt x="348" y="110"/>
                </a:lnTo>
                <a:lnTo>
                  <a:pt x="307" y="69"/>
                </a:lnTo>
                <a:lnTo>
                  <a:pt x="295" y="82"/>
                </a:lnTo>
                <a:lnTo>
                  <a:pt x="315" y="100"/>
                </a:lnTo>
                <a:lnTo>
                  <a:pt x="305" y="100"/>
                </a:lnTo>
                <a:lnTo>
                  <a:pt x="305" y="117"/>
                </a:lnTo>
                <a:lnTo>
                  <a:pt x="317" y="117"/>
                </a:lnTo>
                <a:lnTo>
                  <a:pt x="294" y="140"/>
                </a:lnTo>
                <a:lnTo>
                  <a:pt x="307" y="152"/>
                </a:lnTo>
                <a:close/>
                <a:moveTo>
                  <a:pt x="323" y="109"/>
                </a:moveTo>
                <a:lnTo>
                  <a:pt x="325" y="110"/>
                </a:lnTo>
                <a:lnTo>
                  <a:pt x="323" y="111"/>
                </a:lnTo>
                <a:lnTo>
                  <a:pt x="323" y="109"/>
                </a:lnTo>
                <a:close/>
              </a:path>
            </a:pathLst>
          </a:custGeom>
          <a:solidFill>
            <a:srgbClr val="FFFFFF"/>
          </a:solidFill>
          <a:ln>
            <a:noFill/>
          </a:ln>
        </p:spPr>
        <p:txBody>
          <a:bodyPr spcFirstLastPara="1" wrap="square" lIns="68575" tIns="34275" rIns="68575" bIns="3427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350" b="0" i="0" u="none" strike="noStrike" kern="0" cap="none" spc="0" normalizeH="0" baseline="0" noProof="0">
              <a:ln>
                <a:noFill/>
              </a:ln>
              <a:solidFill>
                <a:srgbClr val="D04A02"/>
              </a:solidFill>
              <a:effectLst/>
              <a:uLnTx/>
              <a:uFillTx/>
              <a:latin typeface="+mj-lt"/>
              <a:cs typeface="Arial"/>
              <a:sym typeface="Arial"/>
            </a:endParaRPr>
          </a:p>
        </p:txBody>
      </p:sp>
      <p:sp>
        <p:nvSpPr>
          <p:cNvPr id="34" name="Google Shape;5747;p552">
            <a:extLst>
              <a:ext uri="{FF2B5EF4-FFF2-40B4-BE49-F238E27FC236}">
                <a16:creationId xmlns:a16="http://schemas.microsoft.com/office/drawing/2014/main" id="{19478EB2-0901-4F99-8695-E7CE13F6D157}"/>
              </a:ext>
            </a:extLst>
          </p:cNvPr>
          <p:cNvSpPr/>
          <p:nvPr/>
        </p:nvSpPr>
        <p:spPr>
          <a:xfrm>
            <a:off x="2161608" y="1351702"/>
            <a:ext cx="471488" cy="471488"/>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209" y="249"/>
                </a:moveTo>
                <a:cubicBezTo>
                  <a:pt x="207" y="242"/>
                  <a:pt x="204" y="236"/>
                  <a:pt x="199" y="231"/>
                </a:cubicBezTo>
                <a:cubicBezTo>
                  <a:pt x="199" y="231"/>
                  <a:pt x="199" y="231"/>
                  <a:pt x="199" y="231"/>
                </a:cubicBezTo>
                <a:cubicBezTo>
                  <a:pt x="186" y="218"/>
                  <a:pt x="164" y="218"/>
                  <a:pt x="151" y="231"/>
                </a:cubicBezTo>
                <a:cubicBezTo>
                  <a:pt x="146" y="236"/>
                  <a:pt x="143" y="242"/>
                  <a:pt x="141" y="249"/>
                </a:cubicBezTo>
                <a:cubicBezTo>
                  <a:pt x="15" y="249"/>
                  <a:pt x="15" y="249"/>
                  <a:pt x="15" y="249"/>
                </a:cubicBezTo>
                <a:cubicBezTo>
                  <a:pt x="15" y="181"/>
                  <a:pt x="15" y="181"/>
                  <a:pt x="15" y="181"/>
                </a:cubicBezTo>
                <a:cubicBezTo>
                  <a:pt x="218" y="181"/>
                  <a:pt x="218" y="181"/>
                  <a:pt x="218" y="181"/>
                </a:cubicBezTo>
                <a:cubicBezTo>
                  <a:pt x="219" y="187"/>
                  <a:pt x="222" y="193"/>
                  <a:pt x="227" y="198"/>
                </a:cubicBezTo>
                <a:cubicBezTo>
                  <a:pt x="233" y="204"/>
                  <a:pt x="242" y="208"/>
                  <a:pt x="251" y="208"/>
                </a:cubicBezTo>
                <a:cubicBezTo>
                  <a:pt x="258" y="208"/>
                  <a:pt x="264" y="206"/>
                  <a:pt x="270" y="202"/>
                </a:cubicBezTo>
                <a:cubicBezTo>
                  <a:pt x="289" y="221"/>
                  <a:pt x="289" y="221"/>
                  <a:pt x="289" y="221"/>
                </a:cubicBezTo>
                <a:cubicBezTo>
                  <a:pt x="299" y="211"/>
                  <a:pt x="299" y="211"/>
                  <a:pt x="299" y="211"/>
                </a:cubicBezTo>
                <a:cubicBezTo>
                  <a:pt x="280" y="192"/>
                  <a:pt x="280" y="192"/>
                  <a:pt x="280" y="192"/>
                </a:cubicBezTo>
                <a:cubicBezTo>
                  <a:pt x="282" y="188"/>
                  <a:pt x="284" y="184"/>
                  <a:pt x="285" y="181"/>
                </a:cubicBezTo>
                <a:cubicBezTo>
                  <a:pt x="332" y="181"/>
                  <a:pt x="332" y="181"/>
                  <a:pt x="332" y="181"/>
                </a:cubicBezTo>
                <a:cubicBezTo>
                  <a:pt x="332" y="249"/>
                  <a:pt x="332" y="249"/>
                  <a:pt x="332" y="249"/>
                </a:cubicBezTo>
                <a:lnTo>
                  <a:pt x="209" y="249"/>
                </a:lnTo>
                <a:close/>
                <a:moveTo>
                  <a:pt x="175" y="275"/>
                </a:moveTo>
                <a:cubicBezTo>
                  <a:pt x="170" y="275"/>
                  <a:pt x="165" y="273"/>
                  <a:pt x="161" y="269"/>
                </a:cubicBezTo>
                <a:cubicBezTo>
                  <a:pt x="158" y="266"/>
                  <a:pt x="156" y="261"/>
                  <a:pt x="156" y="256"/>
                </a:cubicBezTo>
                <a:cubicBezTo>
                  <a:pt x="156" y="250"/>
                  <a:pt x="158" y="246"/>
                  <a:pt x="161" y="242"/>
                </a:cubicBezTo>
                <a:cubicBezTo>
                  <a:pt x="165" y="238"/>
                  <a:pt x="170" y="236"/>
                  <a:pt x="175" y="236"/>
                </a:cubicBezTo>
                <a:cubicBezTo>
                  <a:pt x="180" y="236"/>
                  <a:pt x="185" y="238"/>
                  <a:pt x="189" y="242"/>
                </a:cubicBezTo>
                <a:cubicBezTo>
                  <a:pt x="193" y="246"/>
                  <a:pt x="195" y="250"/>
                  <a:pt x="195" y="256"/>
                </a:cubicBezTo>
                <a:cubicBezTo>
                  <a:pt x="195" y="261"/>
                  <a:pt x="193" y="266"/>
                  <a:pt x="189" y="269"/>
                </a:cubicBezTo>
                <a:cubicBezTo>
                  <a:pt x="185" y="273"/>
                  <a:pt x="180" y="275"/>
                  <a:pt x="175" y="275"/>
                </a:cubicBezTo>
                <a:close/>
                <a:moveTo>
                  <a:pt x="265" y="187"/>
                </a:moveTo>
                <a:cubicBezTo>
                  <a:pt x="261" y="191"/>
                  <a:pt x="256" y="193"/>
                  <a:pt x="251" y="193"/>
                </a:cubicBezTo>
                <a:cubicBezTo>
                  <a:pt x="246" y="193"/>
                  <a:pt x="241" y="191"/>
                  <a:pt x="237" y="187"/>
                </a:cubicBezTo>
                <a:cubicBezTo>
                  <a:pt x="234" y="183"/>
                  <a:pt x="232" y="179"/>
                  <a:pt x="232" y="173"/>
                </a:cubicBezTo>
                <a:cubicBezTo>
                  <a:pt x="232" y="168"/>
                  <a:pt x="234" y="163"/>
                  <a:pt x="237" y="160"/>
                </a:cubicBezTo>
                <a:cubicBezTo>
                  <a:pt x="241" y="156"/>
                  <a:pt x="246" y="154"/>
                  <a:pt x="251" y="154"/>
                </a:cubicBezTo>
                <a:cubicBezTo>
                  <a:pt x="256" y="154"/>
                  <a:pt x="261" y="156"/>
                  <a:pt x="265" y="160"/>
                </a:cubicBezTo>
                <a:cubicBezTo>
                  <a:pt x="273" y="167"/>
                  <a:pt x="273" y="180"/>
                  <a:pt x="265" y="187"/>
                </a:cubicBezTo>
                <a:close/>
                <a:moveTo>
                  <a:pt x="285" y="166"/>
                </a:moveTo>
                <a:cubicBezTo>
                  <a:pt x="283" y="160"/>
                  <a:pt x="280" y="154"/>
                  <a:pt x="275" y="149"/>
                </a:cubicBezTo>
                <a:cubicBezTo>
                  <a:pt x="275" y="149"/>
                  <a:pt x="275" y="149"/>
                  <a:pt x="275" y="149"/>
                </a:cubicBezTo>
                <a:cubicBezTo>
                  <a:pt x="262" y="136"/>
                  <a:pt x="240" y="136"/>
                  <a:pt x="227" y="149"/>
                </a:cubicBezTo>
                <a:cubicBezTo>
                  <a:pt x="222" y="154"/>
                  <a:pt x="219" y="160"/>
                  <a:pt x="218" y="166"/>
                </a:cubicBezTo>
                <a:cubicBezTo>
                  <a:pt x="15" y="166"/>
                  <a:pt x="15" y="166"/>
                  <a:pt x="15" y="166"/>
                </a:cubicBezTo>
                <a:cubicBezTo>
                  <a:pt x="15" y="98"/>
                  <a:pt x="15" y="98"/>
                  <a:pt x="15" y="98"/>
                </a:cubicBezTo>
                <a:cubicBezTo>
                  <a:pt x="53" y="98"/>
                  <a:pt x="53" y="98"/>
                  <a:pt x="53" y="98"/>
                </a:cubicBezTo>
                <a:cubicBezTo>
                  <a:pt x="54" y="104"/>
                  <a:pt x="57" y="110"/>
                  <a:pt x="62" y="115"/>
                </a:cubicBezTo>
                <a:cubicBezTo>
                  <a:pt x="69" y="121"/>
                  <a:pt x="77" y="125"/>
                  <a:pt x="86" y="125"/>
                </a:cubicBezTo>
                <a:cubicBezTo>
                  <a:pt x="93" y="125"/>
                  <a:pt x="99" y="123"/>
                  <a:pt x="105" y="119"/>
                </a:cubicBezTo>
                <a:cubicBezTo>
                  <a:pt x="124" y="138"/>
                  <a:pt x="124" y="138"/>
                  <a:pt x="124" y="138"/>
                </a:cubicBezTo>
                <a:cubicBezTo>
                  <a:pt x="134" y="128"/>
                  <a:pt x="134" y="128"/>
                  <a:pt x="134" y="128"/>
                </a:cubicBezTo>
                <a:cubicBezTo>
                  <a:pt x="115" y="109"/>
                  <a:pt x="115" y="109"/>
                  <a:pt x="115" y="109"/>
                </a:cubicBezTo>
                <a:cubicBezTo>
                  <a:pt x="117" y="105"/>
                  <a:pt x="119" y="102"/>
                  <a:pt x="120" y="98"/>
                </a:cubicBezTo>
                <a:cubicBezTo>
                  <a:pt x="332" y="98"/>
                  <a:pt x="332" y="98"/>
                  <a:pt x="332" y="98"/>
                </a:cubicBezTo>
                <a:cubicBezTo>
                  <a:pt x="332" y="166"/>
                  <a:pt x="332" y="166"/>
                  <a:pt x="332" y="166"/>
                </a:cubicBezTo>
                <a:lnTo>
                  <a:pt x="285" y="166"/>
                </a:lnTo>
                <a:close/>
                <a:moveTo>
                  <a:pt x="100" y="104"/>
                </a:moveTo>
                <a:cubicBezTo>
                  <a:pt x="92" y="112"/>
                  <a:pt x="80" y="112"/>
                  <a:pt x="72" y="104"/>
                </a:cubicBezTo>
                <a:cubicBezTo>
                  <a:pt x="69" y="101"/>
                  <a:pt x="67" y="96"/>
                  <a:pt x="67" y="90"/>
                </a:cubicBezTo>
                <a:cubicBezTo>
                  <a:pt x="67" y="85"/>
                  <a:pt x="69" y="80"/>
                  <a:pt x="72" y="77"/>
                </a:cubicBezTo>
                <a:cubicBezTo>
                  <a:pt x="76" y="73"/>
                  <a:pt x="81" y="71"/>
                  <a:pt x="86" y="71"/>
                </a:cubicBezTo>
                <a:cubicBezTo>
                  <a:pt x="91" y="71"/>
                  <a:pt x="96" y="73"/>
                  <a:pt x="100" y="77"/>
                </a:cubicBezTo>
                <a:cubicBezTo>
                  <a:pt x="104" y="80"/>
                  <a:pt x="106" y="85"/>
                  <a:pt x="106" y="90"/>
                </a:cubicBezTo>
                <a:cubicBezTo>
                  <a:pt x="106" y="96"/>
                  <a:pt x="104" y="101"/>
                  <a:pt x="100" y="104"/>
                </a:cubicBezTo>
                <a:close/>
                <a:moveTo>
                  <a:pt x="332" y="15"/>
                </a:moveTo>
                <a:cubicBezTo>
                  <a:pt x="332" y="83"/>
                  <a:pt x="332" y="83"/>
                  <a:pt x="332" y="83"/>
                </a:cubicBezTo>
                <a:cubicBezTo>
                  <a:pt x="120" y="83"/>
                  <a:pt x="120" y="83"/>
                  <a:pt x="120" y="83"/>
                </a:cubicBezTo>
                <a:cubicBezTo>
                  <a:pt x="118" y="77"/>
                  <a:pt x="115" y="71"/>
                  <a:pt x="110" y="66"/>
                </a:cubicBezTo>
                <a:cubicBezTo>
                  <a:pt x="97" y="53"/>
                  <a:pt x="75" y="53"/>
                  <a:pt x="62" y="66"/>
                </a:cubicBezTo>
                <a:cubicBezTo>
                  <a:pt x="57" y="71"/>
                  <a:pt x="54" y="77"/>
                  <a:pt x="53" y="83"/>
                </a:cubicBezTo>
                <a:cubicBezTo>
                  <a:pt x="15" y="83"/>
                  <a:pt x="15" y="83"/>
                  <a:pt x="15" y="83"/>
                </a:cubicBezTo>
                <a:cubicBezTo>
                  <a:pt x="15" y="15"/>
                  <a:pt x="15" y="15"/>
                  <a:pt x="15" y="15"/>
                </a:cubicBezTo>
                <a:lnTo>
                  <a:pt x="332" y="15"/>
                </a:lnTo>
                <a:close/>
                <a:moveTo>
                  <a:pt x="15" y="332"/>
                </a:moveTo>
                <a:cubicBezTo>
                  <a:pt x="15" y="263"/>
                  <a:pt x="15" y="263"/>
                  <a:pt x="15" y="263"/>
                </a:cubicBezTo>
                <a:cubicBezTo>
                  <a:pt x="142" y="263"/>
                  <a:pt x="142" y="263"/>
                  <a:pt x="142" y="263"/>
                </a:cubicBezTo>
                <a:cubicBezTo>
                  <a:pt x="143" y="270"/>
                  <a:pt x="146" y="275"/>
                  <a:pt x="151" y="280"/>
                </a:cubicBezTo>
                <a:cubicBezTo>
                  <a:pt x="157" y="286"/>
                  <a:pt x="166" y="290"/>
                  <a:pt x="175" y="290"/>
                </a:cubicBezTo>
                <a:cubicBezTo>
                  <a:pt x="182" y="290"/>
                  <a:pt x="188" y="288"/>
                  <a:pt x="193" y="285"/>
                </a:cubicBezTo>
                <a:cubicBezTo>
                  <a:pt x="213" y="304"/>
                  <a:pt x="213" y="304"/>
                  <a:pt x="213" y="304"/>
                </a:cubicBezTo>
                <a:cubicBezTo>
                  <a:pt x="223" y="293"/>
                  <a:pt x="223" y="293"/>
                  <a:pt x="223" y="293"/>
                </a:cubicBezTo>
                <a:cubicBezTo>
                  <a:pt x="204" y="274"/>
                  <a:pt x="204" y="274"/>
                  <a:pt x="204" y="274"/>
                </a:cubicBezTo>
                <a:cubicBezTo>
                  <a:pt x="206" y="271"/>
                  <a:pt x="208" y="267"/>
                  <a:pt x="208" y="263"/>
                </a:cubicBezTo>
                <a:cubicBezTo>
                  <a:pt x="332" y="263"/>
                  <a:pt x="332" y="263"/>
                  <a:pt x="332" y="263"/>
                </a:cubicBezTo>
                <a:cubicBezTo>
                  <a:pt x="332" y="332"/>
                  <a:pt x="332" y="332"/>
                  <a:pt x="332" y="332"/>
                </a:cubicBezTo>
                <a:lnTo>
                  <a:pt x="15" y="332"/>
                </a:lnTo>
                <a:close/>
              </a:path>
            </a:pathLst>
          </a:custGeom>
          <a:solidFill>
            <a:srgbClr val="FFFFFF"/>
          </a:solidFill>
          <a:ln>
            <a:noFill/>
          </a:ln>
        </p:spPr>
        <p:txBody>
          <a:bodyPr spcFirstLastPara="1" wrap="square" lIns="68575" tIns="34275" rIns="68575" bIns="3427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350" b="0" i="0" u="none" strike="noStrike" kern="0" cap="none" spc="0" normalizeH="0" baseline="0" noProof="0">
              <a:ln>
                <a:noFill/>
              </a:ln>
              <a:solidFill>
                <a:srgbClr val="000000"/>
              </a:solidFill>
              <a:effectLst/>
              <a:uLnTx/>
              <a:uFillTx/>
              <a:latin typeface="+mj-lt"/>
              <a:cs typeface="Arial"/>
              <a:sym typeface="Arial"/>
            </a:endParaRPr>
          </a:p>
        </p:txBody>
      </p:sp>
      <p:sp>
        <p:nvSpPr>
          <p:cNvPr id="35" name="Google Shape;5748;p552">
            <a:extLst>
              <a:ext uri="{FF2B5EF4-FFF2-40B4-BE49-F238E27FC236}">
                <a16:creationId xmlns:a16="http://schemas.microsoft.com/office/drawing/2014/main" id="{99DB8251-01F9-CA19-BB22-F390BA071513}"/>
              </a:ext>
            </a:extLst>
          </p:cNvPr>
          <p:cNvSpPr/>
          <p:nvPr/>
        </p:nvSpPr>
        <p:spPr>
          <a:xfrm>
            <a:off x="4375555" y="1358852"/>
            <a:ext cx="455905" cy="457200"/>
          </a:xfrm>
          <a:custGeom>
            <a:avLst/>
            <a:gdLst/>
            <a:ahLst/>
            <a:cxnLst/>
            <a:rect l="l" t="t" r="r" b="b"/>
            <a:pathLst>
              <a:path w="704" h="706" extrusionOk="0">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rgbClr val="FFFFFF"/>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0" i="0" u="none" strike="noStrike" kern="0" cap="none" spc="0" normalizeH="0" baseline="0" noProof="0">
              <a:ln>
                <a:noFill/>
              </a:ln>
              <a:solidFill>
                <a:srgbClr val="D04A02"/>
              </a:solidFill>
              <a:effectLst/>
              <a:uLnTx/>
              <a:uFillTx/>
              <a:latin typeface="+mj-lt"/>
              <a:cs typeface="Arial"/>
              <a:sym typeface="Arial"/>
            </a:endParaRPr>
          </a:p>
        </p:txBody>
      </p:sp>
      <p:grpSp>
        <p:nvGrpSpPr>
          <p:cNvPr id="36" name="Google Shape;5749;p552">
            <a:extLst>
              <a:ext uri="{FF2B5EF4-FFF2-40B4-BE49-F238E27FC236}">
                <a16:creationId xmlns:a16="http://schemas.microsoft.com/office/drawing/2014/main" id="{BC0FEE12-8E1D-EE96-C940-A202BCF2427E}"/>
              </a:ext>
            </a:extLst>
          </p:cNvPr>
          <p:cNvGrpSpPr/>
          <p:nvPr/>
        </p:nvGrpSpPr>
        <p:grpSpPr>
          <a:xfrm>
            <a:off x="6561953" y="1358864"/>
            <a:ext cx="457200" cy="457200"/>
            <a:chOff x="10412004" y="3159871"/>
            <a:chExt cx="457200" cy="457200"/>
          </a:xfrm>
        </p:grpSpPr>
        <p:sp>
          <p:nvSpPr>
            <p:cNvPr id="37" name="Google Shape;5750;p552">
              <a:extLst>
                <a:ext uri="{FF2B5EF4-FFF2-40B4-BE49-F238E27FC236}">
                  <a16:creationId xmlns:a16="http://schemas.microsoft.com/office/drawing/2014/main" id="{8944144B-8B5B-2BF8-5FDD-93311186E67A}"/>
                </a:ext>
              </a:extLst>
            </p:cNvPr>
            <p:cNvSpPr/>
            <p:nvPr/>
          </p:nvSpPr>
          <p:spPr>
            <a:xfrm>
              <a:off x="10826595" y="3377866"/>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38" name="Google Shape;5751;p552">
              <a:extLst>
                <a:ext uri="{FF2B5EF4-FFF2-40B4-BE49-F238E27FC236}">
                  <a16:creationId xmlns:a16="http://schemas.microsoft.com/office/drawing/2014/main" id="{86B6602D-43E7-DF6F-F023-8B852FC9EDCB}"/>
                </a:ext>
              </a:extLst>
            </p:cNvPr>
            <p:cNvSpPr/>
            <p:nvPr/>
          </p:nvSpPr>
          <p:spPr>
            <a:xfrm>
              <a:off x="10787543" y="3377866"/>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39" name="Google Shape;5752;p552">
              <a:extLst>
                <a:ext uri="{FF2B5EF4-FFF2-40B4-BE49-F238E27FC236}">
                  <a16:creationId xmlns:a16="http://schemas.microsoft.com/office/drawing/2014/main" id="{E81F5B8B-06C7-983E-0551-F1B60D51BBC3}"/>
                </a:ext>
              </a:extLst>
            </p:cNvPr>
            <p:cNvSpPr/>
            <p:nvPr/>
          </p:nvSpPr>
          <p:spPr>
            <a:xfrm>
              <a:off x="10436070" y="3377866"/>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40" name="Google Shape;5753;p552">
              <a:extLst>
                <a:ext uri="{FF2B5EF4-FFF2-40B4-BE49-F238E27FC236}">
                  <a16:creationId xmlns:a16="http://schemas.microsoft.com/office/drawing/2014/main" id="{FBFD0C40-92BD-CDF2-0DDE-3BD49A19F557}"/>
                </a:ext>
              </a:extLst>
            </p:cNvPr>
            <p:cNvSpPr/>
            <p:nvPr/>
          </p:nvSpPr>
          <p:spPr>
            <a:xfrm>
              <a:off x="10826595" y="3486832"/>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41" name="Google Shape;5754;p552">
              <a:extLst>
                <a:ext uri="{FF2B5EF4-FFF2-40B4-BE49-F238E27FC236}">
                  <a16:creationId xmlns:a16="http://schemas.microsoft.com/office/drawing/2014/main" id="{25A2720D-6CE3-C554-3C95-7B3356CC6004}"/>
                </a:ext>
              </a:extLst>
            </p:cNvPr>
            <p:cNvSpPr/>
            <p:nvPr/>
          </p:nvSpPr>
          <p:spPr>
            <a:xfrm>
              <a:off x="10787543" y="3486832"/>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42" name="Google Shape;5755;p552">
              <a:extLst>
                <a:ext uri="{FF2B5EF4-FFF2-40B4-BE49-F238E27FC236}">
                  <a16:creationId xmlns:a16="http://schemas.microsoft.com/office/drawing/2014/main" id="{C66392A7-1354-F145-7838-1D0378D5AD28}"/>
                </a:ext>
              </a:extLst>
            </p:cNvPr>
            <p:cNvSpPr/>
            <p:nvPr/>
          </p:nvSpPr>
          <p:spPr>
            <a:xfrm>
              <a:off x="10436070" y="3486832"/>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43" name="Google Shape;5756;p552">
              <a:extLst>
                <a:ext uri="{FF2B5EF4-FFF2-40B4-BE49-F238E27FC236}">
                  <a16:creationId xmlns:a16="http://schemas.microsoft.com/office/drawing/2014/main" id="{F678DED8-6925-9D3D-71BB-F1CC5D27FDCA}"/>
                </a:ext>
              </a:extLst>
            </p:cNvPr>
            <p:cNvSpPr/>
            <p:nvPr/>
          </p:nvSpPr>
          <p:spPr>
            <a:xfrm>
              <a:off x="10412004" y="3159871"/>
              <a:ext cx="457200" cy="457200"/>
            </a:xfrm>
            <a:custGeom>
              <a:avLst/>
              <a:gdLst/>
              <a:ahLst/>
              <a:cxnLst/>
              <a:rect l="l" t="t" r="r" b="b"/>
              <a:pathLst>
                <a:path w="457200" h="457200" extrusionOk="0">
                  <a:moveTo>
                    <a:pt x="0" y="0"/>
                  </a:moveTo>
                  <a:lnTo>
                    <a:pt x="0" y="457200"/>
                  </a:lnTo>
                  <a:lnTo>
                    <a:pt x="457200" y="457200"/>
                  </a:lnTo>
                  <a:lnTo>
                    <a:pt x="457200" y="0"/>
                  </a:lnTo>
                  <a:close/>
                  <a:moveTo>
                    <a:pt x="437674" y="437674"/>
                  </a:moveTo>
                  <a:lnTo>
                    <a:pt x="357156" y="437674"/>
                  </a:lnTo>
                  <a:lnTo>
                    <a:pt x="357156" y="398812"/>
                  </a:lnTo>
                  <a:lnTo>
                    <a:pt x="375476" y="417132"/>
                  </a:lnTo>
                  <a:lnTo>
                    <a:pt x="389287" y="403320"/>
                  </a:lnTo>
                  <a:lnTo>
                    <a:pt x="348012" y="362045"/>
                  </a:lnTo>
                  <a:lnTo>
                    <a:pt x="305499" y="404336"/>
                  </a:lnTo>
                  <a:lnTo>
                    <a:pt x="319310" y="418148"/>
                  </a:lnTo>
                  <a:lnTo>
                    <a:pt x="337630" y="399828"/>
                  </a:lnTo>
                  <a:lnTo>
                    <a:pt x="337630" y="437674"/>
                  </a:lnTo>
                  <a:lnTo>
                    <a:pt x="240221" y="437674"/>
                  </a:lnTo>
                  <a:lnTo>
                    <a:pt x="240221" y="173419"/>
                  </a:lnTo>
                  <a:lnTo>
                    <a:pt x="257175" y="190500"/>
                  </a:lnTo>
                  <a:lnTo>
                    <a:pt x="270986" y="176689"/>
                  </a:lnTo>
                  <a:lnTo>
                    <a:pt x="229711" y="135414"/>
                  </a:lnTo>
                  <a:lnTo>
                    <a:pt x="187325" y="177800"/>
                  </a:lnTo>
                  <a:lnTo>
                    <a:pt x="201136" y="191611"/>
                  </a:lnTo>
                  <a:lnTo>
                    <a:pt x="220758" y="171990"/>
                  </a:lnTo>
                  <a:lnTo>
                    <a:pt x="220758" y="437832"/>
                  </a:lnTo>
                  <a:lnTo>
                    <a:pt x="120650" y="437832"/>
                  </a:lnTo>
                  <a:lnTo>
                    <a:pt x="120650" y="293878"/>
                  </a:lnTo>
                  <a:lnTo>
                    <a:pt x="139002" y="312198"/>
                  </a:lnTo>
                  <a:lnTo>
                    <a:pt x="152813" y="298450"/>
                  </a:lnTo>
                  <a:lnTo>
                    <a:pt x="111538" y="257175"/>
                  </a:lnTo>
                  <a:lnTo>
                    <a:pt x="69025" y="299434"/>
                  </a:lnTo>
                  <a:lnTo>
                    <a:pt x="82836" y="313246"/>
                  </a:lnTo>
                  <a:lnTo>
                    <a:pt x="101156" y="294894"/>
                  </a:lnTo>
                  <a:lnTo>
                    <a:pt x="101156" y="437769"/>
                  </a:lnTo>
                  <a:lnTo>
                    <a:pt x="19526" y="437769"/>
                  </a:lnTo>
                  <a:lnTo>
                    <a:pt x="19526" y="128556"/>
                  </a:lnTo>
                  <a:lnTo>
                    <a:pt x="437674" y="128556"/>
                  </a:lnTo>
                  <a:close/>
                  <a:moveTo>
                    <a:pt x="437674" y="109030"/>
                  </a:moveTo>
                  <a:lnTo>
                    <a:pt x="19526" y="109030"/>
                  </a:lnTo>
                  <a:lnTo>
                    <a:pt x="19526" y="19526"/>
                  </a:lnTo>
                  <a:lnTo>
                    <a:pt x="437674"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44" name="Google Shape;5757;p552">
              <a:extLst>
                <a:ext uri="{FF2B5EF4-FFF2-40B4-BE49-F238E27FC236}">
                  <a16:creationId xmlns:a16="http://schemas.microsoft.com/office/drawing/2014/main" id="{57087C26-449F-470E-C38E-96DDC8913DDD}"/>
                </a:ext>
              </a:extLst>
            </p:cNvPr>
            <p:cNvSpPr/>
            <p:nvPr/>
          </p:nvSpPr>
          <p:spPr>
            <a:xfrm>
              <a:off x="10748490" y="3377866"/>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45" name="Google Shape;5758;p552">
              <a:extLst>
                <a:ext uri="{FF2B5EF4-FFF2-40B4-BE49-F238E27FC236}">
                  <a16:creationId xmlns:a16="http://schemas.microsoft.com/office/drawing/2014/main" id="{707E3210-9B28-5C8C-10D5-6BBCBA068D60}"/>
                </a:ext>
              </a:extLst>
            </p:cNvPr>
            <p:cNvSpPr/>
            <p:nvPr/>
          </p:nvSpPr>
          <p:spPr>
            <a:xfrm>
              <a:off x="10709438" y="3377866"/>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46" name="Google Shape;5759;p552">
              <a:extLst>
                <a:ext uri="{FF2B5EF4-FFF2-40B4-BE49-F238E27FC236}">
                  <a16:creationId xmlns:a16="http://schemas.microsoft.com/office/drawing/2014/main" id="{8FD6E78E-847D-6654-F53E-5740CB386CBC}"/>
                </a:ext>
              </a:extLst>
            </p:cNvPr>
            <p:cNvSpPr/>
            <p:nvPr/>
          </p:nvSpPr>
          <p:spPr>
            <a:xfrm>
              <a:off x="10670385" y="3377866"/>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47" name="Google Shape;5760;p552">
              <a:extLst>
                <a:ext uri="{FF2B5EF4-FFF2-40B4-BE49-F238E27FC236}">
                  <a16:creationId xmlns:a16="http://schemas.microsoft.com/office/drawing/2014/main" id="{FA8DFC08-5F95-69D4-DD60-7019BF134937}"/>
                </a:ext>
              </a:extLst>
            </p:cNvPr>
            <p:cNvSpPr/>
            <p:nvPr/>
          </p:nvSpPr>
          <p:spPr>
            <a:xfrm>
              <a:off x="10592280" y="3377866"/>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48" name="Google Shape;5761;p552">
              <a:extLst>
                <a:ext uri="{FF2B5EF4-FFF2-40B4-BE49-F238E27FC236}">
                  <a16:creationId xmlns:a16="http://schemas.microsoft.com/office/drawing/2014/main" id="{2C3AE999-86D3-A9AA-6CE8-AD0AD8DA77C4}"/>
                </a:ext>
              </a:extLst>
            </p:cNvPr>
            <p:cNvSpPr/>
            <p:nvPr/>
          </p:nvSpPr>
          <p:spPr>
            <a:xfrm>
              <a:off x="10553228" y="3377866"/>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49" name="Google Shape;5762;p552">
              <a:extLst>
                <a:ext uri="{FF2B5EF4-FFF2-40B4-BE49-F238E27FC236}">
                  <a16:creationId xmlns:a16="http://schemas.microsoft.com/office/drawing/2014/main" id="{4BC45947-AAE7-1F68-7273-B45FC82AF045}"/>
                </a:ext>
              </a:extLst>
            </p:cNvPr>
            <p:cNvSpPr/>
            <p:nvPr/>
          </p:nvSpPr>
          <p:spPr>
            <a:xfrm>
              <a:off x="10514175" y="3377866"/>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50" name="Google Shape;5763;p552">
              <a:extLst>
                <a:ext uri="{FF2B5EF4-FFF2-40B4-BE49-F238E27FC236}">
                  <a16:creationId xmlns:a16="http://schemas.microsoft.com/office/drawing/2014/main" id="{A177B7D7-C6D4-C795-33B0-4440688F3DF8}"/>
                </a:ext>
              </a:extLst>
            </p:cNvPr>
            <p:cNvSpPr/>
            <p:nvPr/>
          </p:nvSpPr>
          <p:spPr>
            <a:xfrm>
              <a:off x="10475123" y="3377866"/>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51" name="Google Shape;5764;p552">
              <a:extLst>
                <a:ext uri="{FF2B5EF4-FFF2-40B4-BE49-F238E27FC236}">
                  <a16:creationId xmlns:a16="http://schemas.microsoft.com/office/drawing/2014/main" id="{E0A41E8B-9805-3BDE-F130-326B8A9C37A7}"/>
                </a:ext>
              </a:extLst>
            </p:cNvPr>
            <p:cNvSpPr/>
            <p:nvPr/>
          </p:nvSpPr>
          <p:spPr>
            <a:xfrm>
              <a:off x="10748490" y="3486832"/>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52" name="Google Shape;5765;p552">
              <a:extLst>
                <a:ext uri="{FF2B5EF4-FFF2-40B4-BE49-F238E27FC236}">
                  <a16:creationId xmlns:a16="http://schemas.microsoft.com/office/drawing/2014/main" id="{B94DA3AD-B29F-95A7-35D9-873400A20EEB}"/>
                </a:ext>
              </a:extLst>
            </p:cNvPr>
            <p:cNvSpPr/>
            <p:nvPr/>
          </p:nvSpPr>
          <p:spPr>
            <a:xfrm>
              <a:off x="10709438" y="3486832"/>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53" name="Google Shape;5766;p552">
              <a:extLst>
                <a:ext uri="{FF2B5EF4-FFF2-40B4-BE49-F238E27FC236}">
                  <a16:creationId xmlns:a16="http://schemas.microsoft.com/office/drawing/2014/main" id="{041499E3-C899-DB91-38A3-03EC1D37D264}"/>
                </a:ext>
              </a:extLst>
            </p:cNvPr>
            <p:cNvSpPr/>
            <p:nvPr/>
          </p:nvSpPr>
          <p:spPr>
            <a:xfrm>
              <a:off x="10670385" y="3486832"/>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54" name="Google Shape;5767;p552">
              <a:extLst>
                <a:ext uri="{FF2B5EF4-FFF2-40B4-BE49-F238E27FC236}">
                  <a16:creationId xmlns:a16="http://schemas.microsoft.com/office/drawing/2014/main" id="{AB18BA6A-B66E-0403-4F2F-4F3D136E1582}"/>
                </a:ext>
              </a:extLst>
            </p:cNvPr>
            <p:cNvSpPr/>
            <p:nvPr/>
          </p:nvSpPr>
          <p:spPr>
            <a:xfrm>
              <a:off x="10592280" y="3486832"/>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55" name="Google Shape;5768;p552">
              <a:extLst>
                <a:ext uri="{FF2B5EF4-FFF2-40B4-BE49-F238E27FC236}">
                  <a16:creationId xmlns:a16="http://schemas.microsoft.com/office/drawing/2014/main" id="{E4C6A24B-0D6A-9B91-E85D-E141040EC251}"/>
                </a:ext>
              </a:extLst>
            </p:cNvPr>
            <p:cNvSpPr/>
            <p:nvPr/>
          </p:nvSpPr>
          <p:spPr>
            <a:xfrm>
              <a:off x="10553228" y="3486832"/>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56" name="Google Shape;5769;p552">
              <a:extLst>
                <a:ext uri="{FF2B5EF4-FFF2-40B4-BE49-F238E27FC236}">
                  <a16:creationId xmlns:a16="http://schemas.microsoft.com/office/drawing/2014/main" id="{367143E7-3C6B-5A9F-1C8A-D43EDF6B7DAE}"/>
                </a:ext>
              </a:extLst>
            </p:cNvPr>
            <p:cNvSpPr/>
            <p:nvPr/>
          </p:nvSpPr>
          <p:spPr>
            <a:xfrm>
              <a:off x="10475123" y="3486832"/>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grpSp>
      <p:grpSp>
        <p:nvGrpSpPr>
          <p:cNvPr id="57" name="Google Shape;5770;p552">
            <a:extLst>
              <a:ext uri="{FF2B5EF4-FFF2-40B4-BE49-F238E27FC236}">
                <a16:creationId xmlns:a16="http://schemas.microsoft.com/office/drawing/2014/main" id="{3131CD37-E0AA-3D78-74EB-29DA65CB47A5}"/>
              </a:ext>
            </a:extLst>
          </p:cNvPr>
          <p:cNvGrpSpPr/>
          <p:nvPr/>
        </p:nvGrpSpPr>
        <p:grpSpPr>
          <a:xfrm>
            <a:off x="10946215" y="1358852"/>
            <a:ext cx="457200" cy="457200"/>
            <a:chOff x="10412004" y="3159871"/>
            <a:chExt cx="457200" cy="457200"/>
          </a:xfrm>
        </p:grpSpPr>
        <p:sp>
          <p:nvSpPr>
            <p:cNvPr id="58" name="Google Shape;5771;p552">
              <a:extLst>
                <a:ext uri="{FF2B5EF4-FFF2-40B4-BE49-F238E27FC236}">
                  <a16:creationId xmlns:a16="http://schemas.microsoft.com/office/drawing/2014/main" id="{34215FB6-B9D8-E871-B980-3CB34D95E202}"/>
                </a:ext>
              </a:extLst>
            </p:cNvPr>
            <p:cNvSpPr/>
            <p:nvPr/>
          </p:nvSpPr>
          <p:spPr>
            <a:xfrm>
              <a:off x="10826595" y="3377866"/>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59" name="Google Shape;5772;p552">
              <a:extLst>
                <a:ext uri="{FF2B5EF4-FFF2-40B4-BE49-F238E27FC236}">
                  <a16:creationId xmlns:a16="http://schemas.microsoft.com/office/drawing/2014/main" id="{798250FF-E07A-2401-3AC8-2B93E0D9F34C}"/>
                </a:ext>
              </a:extLst>
            </p:cNvPr>
            <p:cNvSpPr/>
            <p:nvPr/>
          </p:nvSpPr>
          <p:spPr>
            <a:xfrm>
              <a:off x="10787543" y="3377866"/>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60" name="Google Shape;5773;p552">
              <a:extLst>
                <a:ext uri="{FF2B5EF4-FFF2-40B4-BE49-F238E27FC236}">
                  <a16:creationId xmlns:a16="http://schemas.microsoft.com/office/drawing/2014/main" id="{239A3011-D805-FCD0-8D36-A42DC0D9C404}"/>
                </a:ext>
              </a:extLst>
            </p:cNvPr>
            <p:cNvSpPr/>
            <p:nvPr/>
          </p:nvSpPr>
          <p:spPr>
            <a:xfrm>
              <a:off x="10436070" y="3377866"/>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61" name="Google Shape;5774;p552">
              <a:extLst>
                <a:ext uri="{FF2B5EF4-FFF2-40B4-BE49-F238E27FC236}">
                  <a16:creationId xmlns:a16="http://schemas.microsoft.com/office/drawing/2014/main" id="{88B24133-2A6D-18B1-306D-67F13BDE1843}"/>
                </a:ext>
              </a:extLst>
            </p:cNvPr>
            <p:cNvSpPr/>
            <p:nvPr/>
          </p:nvSpPr>
          <p:spPr>
            <a:xfrm>
              <a:off x="10826595" y="3486832"/>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62" name="Google Shape;5775;p552">
              <a:extLst>
                <a:ext uri="{FF2B5EF4-FFF2-40B4-BE49-F238E27FC236}">
                  <a16:creationId xmlns:a16="http://schemas.microsoft.com/office/drawing/2014/main" id="{DA6E16DC-20FB-5F94-C18C-A88C59374DB7}"/>
                </a:ext>
              </a:extLst>
            </p:cNvPr>
            <p:cNvSpPr/>
            <p:nvPr/>
          </p:nvSpPr>
          <p:spPr>
            <a:xfrm>
              <a:off x="10787543" y="3486832"/>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63" name="Google Shape;5776;p552">
              <a:extLst>
                <a:ext uri="{FF2B5EF4-FFF2-40B4-BE49-F238E27FC236}">
                  <a16:creationId xmlns:a16="http://schemas.microsoft.com/office/drawing/2014/main" id="{5BAABA7F-F501-6D10-E34D-08E44D1BDFEB}"/>
                </a:ext>
              </a:extLst>
            </p:cNvPr>
            <p:cNvSpPr/>
            <p:nvPr/>
          </p:nvSpPr>
          <p:spPr>
            <a:xfrm>
              <a:off x="10436070" y="3486832"/>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64" name="Google Shape;5777;p552">
              <a:extLst>
                <a:ext uri="{FF2B5EF4-FFF2-40B4-BE49-F238E27FC236}">
                  <a16:creationId xmlns:a16="http://schemas.microsoft.com/office/drawing/2014/main" id="{7A395FF4-0E7D-F193-B2C0-61C9586740F6}"/>
                </a:ext>
              </a:extLst>
            </p:cNvPr>
            <p:cNvSpPr/>
            <p:nvPr/>
          </p:nvSpPr>
          <p:spPr>
            <a:xfrm>
              <a:off x="10412004" y="3159871"/>
              <a:ext cx="457200" cy="457200"/>
            </a:xfrm>
            <a:custGeom>
              <a:avLst/>
              <a:gdLst/>
              <a:ahLst/>
              <a:cxnLst/>
              <a:rect l="l" t="t" r="r" b="b"/>
              <a:pathLst>
                <a:path w="457200" h="457200" extrusionOk="0">
                  <a:moveTo>
                    <a:pt x="0" y="0"/>
                  </a:moveTo>
                  <a:lnTo>
                    <a:pt x="0" y="457200"/>
                  </a:lnTo>
                  <a:lnTo>
                    <a:pt x="457200" y="457200"/>
                  </a:lnTo>
                  <a:lnTo>
                    <a:pt x="457200" y="0"/>
                  </a:lnTo>
                  <a:close/>
                  <a:moveTo>
                    <a:pt x="437674" y="437674"/>
                  </a:moveTo>
                  <a:lnTo>
                    <a:pt x="357156" y="437674"/>
                  </a:lnTo>
                  <a:lnTo>
                    <a:pt x="357156" y="398812"/>
                  </a:lnTo>
                  <a:lnTo>
                    <a:pt x="375476" y="417132"/>
                  </a:lnTo>
                  <a:lnTo>
                    <a:pt x="389287" y="403320"/>
                  </a:lnTo>
                  <a:lnTo>
                    <a:pt x="348012" y="362045"/>
                  </a:lnTo>
                  <a:lnTo>
                    <a:pt x="305499" y="404336"/>
                  </a:lnTo>
                  <a:lnTo>
                    <a:pt x="319310" y="418148"/>
                  </a:lnTo>
                  <a:lnTo>
                    <a:pt x="337630" y="399828"/>
                  </a:lnTo>
                  <a:lnTo>
                    <a:pt x="337630" y="437674"/>
                  </a:lnTo>
                  <a:lnTo>
                    <a:pt x="240221" y="437674"/>
                  </a:lnTo>
                  <a:lnTo>
                    <a:pt x="240221" y="173419"/>
                  </a:lnTo>
                  <a:lnTo>
                    <a:pt x="257175" y="190500"/>
                  </a:lnTo>
                  <a:lnTo>
                    <a:pt x="270986" y="176689"/>
                  </a:lnTo>
                  <a:lnTo>
                    <a:pt x="229711" y="135414"/>
                  </a:lnTo>
                  <a:lnTo>
                    <a:pt x="187325" y="177800"/>
                  </a:lnTo>
                  <a:lnTo>
                    <a:pt x="201136" y="191611"/>
                  </a:lnTo>
                  <a:lnTo>
                    <a:pt x="220758" y="171990"/>
                  </a:lnTo>
                  <a:lnTo>
                    <a:pt x="220758" y="437832"/>
                  </a:lnTo>
                  <a:lnTo>
                    <a:pt x="120650" y="437832"/>
                  </a:lnTo>
                  <a:lnTo>
                    <a:pt x="120650" y="293878"/>
                  </a:lnTo>
                  <a:lnTo>
                    <a:pt x="139002" y="312198"/>
                  </a:lnTo>
                  <a:lnTo>
                    <a:pt x="152813" y="298450"/>
                  </a:lnTo>
                  <a:lnTo>
                    <a:pt x="111538" y="257175"/>
                  </a:lnTo>
                  <a:lnTo>
                    <a:pt x="69025" y="299434"/>
                  </a:lnTo>
                  <a:lnTo>
                    <a:pt x="82836" y="313246"/>
                  </a:lnTo>
                  <a:lnTo>
                    <a:pt x="101156" y="294894"/>
                  </a:lnTo>
                  <a:lnTo>
                    <a:pt x="101156" y="437769"/>
                  </a:lnTo>
                  <a:lnTo>
                    <a:pt x="19526" y="437769"/>
                  </a:lnTo>
                  <a:lnTo>
                    <a:pt x="19526" y="128556"/>
                  </a:lnTo>
                  <a:lnTo>
                    <a:pt x="437674" y="128556"/>
                  </a:lnTo>
                  <a:close/>
                  <a:moveTo>
                    <a:pt x="437674" y="109030"/>
                  </a:moveTo>
                  <a:lnTo>
                    <a:pt x="19526" y="109030"/>
                  </a:lnTo>
                  <a:lnTo>
                    <a:pt x="19526" y="19526"/>
                  </a:lnTo>
                  <a:lnTo>
                    <a:pt x="437674"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65" name="Google Shape;5778;p552">
              <a:extLst>
                <a:ext uri="{FF2B5EF4-FFF2-40B4-BE49-F238E27FC236}">
                  <a16:creationId xmlns:a16="http://schemas.microsoft.com/office/drawing/2014/main" id="{939691A0-7521-F178-1F28-A127936A6022}"/>
                </a:ext>
              </a:extLst>
            </p:cNvPr>
            <p:cNvSpPr/>
            <p:nvPr/>
          </p:nvSpPr>
          <p:spPr>
            <a:xfrm>
              <a:off x="10748490" y="3377866"/>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66" name="Google Shape;5779;p552">
              <a:extLst>
                <a:ext uri="{FF2B5EF4-FFF2-40B4-BE49-F238E27FC236}">
                  <a16:creationId xmlns:a16="http://schemas.microsoft.com/office/drawing/2014/main" id="{56656A00-F76A-CFAB-CBF3-643F8ADD90E6}"/>
                </a:ext>
              </a:extLst>
            </p:cNvPr>
            <p:cNvSpPr/>
            <p:nvPr/>
          </p:nvSpPr>
          <p:spPr>
            <a:xfrm>
              <a:off x="10709438" y="3377866"/>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67" name="Google Shape;5780;p552">
              <a:extLst>
                <a:ext uri="{FF2B5EF4-FFF2-40B4-BE49-F238E27FC236}">
                  <a16:creationId xmlns:a16="http://schemas.microsoft.com/office/drawing/2014/main" id="{C0CA4F0F-029F-C714-E64A-059CA41D4C3F}"/>
                </a:ext>
              </a:extLst>
            </p:cNvPr>
            <p:cNvSpPr/>
            <p:nvPr/>
          </p:nvSpPr>
          <p:spPr>
            <a:xfrm>
              <a:off x="10670385" y="3377866"/>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68" name="Google Shape;5781;p552">
              <a:extLst>
                <a:ext uri="{FF2B5EF4-FFF2-40B4-BE49-F238E27FC236}">
                  <a16:creationId xmlns:a16="http://schemas.microsoft.com/office/drawing/2014/main" id="{46E650B5-04CC-9361-C9D8-3F1BEE1CA7CF}"/>
                </a:ext>
              </a:extLst>
            </p:cNvPr>
            <p:cNvSpPr/>
            <p:nvPr/>
          </p:nvSpPr>
          <p:spPr>
            <a:xfrm>
              <a:off x="10592280" y="3377866"/>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69" name="Google Shape;5782;p552">
              <a:extLst>
                <a:ext uri="{FF2B5EF4-FFF2-40B4-BE49-F238E27FC236}">
                  <a16:creationId xmlns:a16="http://schemas.microsoft.com/office/drawing/2014/main" id="{FE7E3FEC-EBE9-CD6A-2DB6-F8A4F02D97ED}"/>
                </a:ext>
              </a:extLst>
            </p:cNvPr>
            <p:cNvSpPr/>
            <p:nvPr/>
          </p:nvSpPr>
          <p:spPr>
            <a:xfrm>
              <a:off x="10553228" y="3377866"/>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70" name="Google Shape;5783;p552">
              <a:extLst>
                <a:ext uri="{FF2B5EF4-FFF2-40B4-BE49-F238E27FC236}">
                  <a16:creationId xmlns:a16="http://schemas.microsoft.com/office/drawing/2014/main" id="{D7E0E714-2048-2859-3E54-130FEA386F3F}"/>
                </a:ext>
              </a:extLst>
            </p:cNvPr>
            <p:cNvSpPr/>
            <p:nvPr/>
          </p:nvSpPr>
          <p:spPr>
            <a:xfrm>
              <a:off x="10514175" y="3377866"/>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71" name="Google Shape;5784;p552">
              <a:extLst>
                <a:ext uri="{FF2B5EF4-FFF2-40B4-BE49-F238E27FC236}">
                  <a16:creationId xmlns:a16="http://schemas.microsoft.com/office/drawing/2014/main" id="{6D51EA26-6905-9B5F-03B1-6C34BA789D8F}"/>
                </a:ext>
              </a:extLst>
            </p:cNvPr>
            <p:cNvSpPr/>
            <p:nvPr/>
          </p:nvSpPr>
          <p:spPr>
            <a:xfrm>
              <a:off x="10475123" y="3377866"/>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72" name="Google Shape;5785;p552">
              <a:extLst>
                <a:ext uri="{FF2B5EF4-FFF2-40B4-BE49-F238E27FC236}">
                  <a16:creationId xmlns:a16="http://schemas.microsoft.com/office/drawing/2014/main" id="{E474F75B-1A84-FC16-2ADC-4D789FAA57CA}"/>
                </a:ext>
              </a:extLst>
            </p:cNvPr>
            <p:cNvSpPr/>
            <p:nvPr/>
          </p:nvSpPr>
          <p:spPr>
            <a:xfrm>
              <a:off x="10748490" y="3486832"/>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73" name="Google Shape;5786;p552">
              <a:extLst>
                <a:ext uri="{FF2B5EF4-FFF2-40B4-BE49-F238E27FC236}">
                  <a16:creationId xmlns:a16="http://schemas.microsoft.com/office/drawing/2014/main" id="{C094F71D-F88D-1098-2F33-E4B296A87509}"/>
                </a:ext>
              </a:extLst>
            </p:cNvPr>
            <p:cNvSpPr/>
            <p:nvPr/>
          </p:nvSpPr>
          <p:spPr>
            <a:xfrm>
              <a:off x="10709438" y="3486832"/>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74" name="Google Shape;5787;p552">
              <a:extLst>
                <a:ext uri="{FF2B5EF4-FFF2-40B4-BE49-F238E27FC236}">
                  <a16:creationId xmlns:a16="http://schemas.microsoft.com/office/drawing/2014/main" id="{547AEE69-A842-120D-EC0E-06693A9B8FC4}"/>
                </a:ext>
              </a:extLst>
            </p:cNvPr>
            <p:cNvSpPr/>
            <p:nvPr/>
          </p:nvSpPr>
          <p:spPr>
            <a:xfrm>
              <a:off x="10670385" y="3486832"/>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75" name="Google Shape;5788;p552">
              <a:extLst>
                <a:ext uri="{FF2B5EF4-FFF2-40B4-BE49-F238E27FC236}">
                  <a16:creationId xmlns:a16="http://schemas.microsoft.com/office/drawing/2014/main" id="{BE3D0EA7-9AAA-83F5-481F-59BA1D852B0A}"/>
                </a:ext>
              </a:extLst>
            </p:cNvPr>
            <p:cNvSpPr/>
            <p:nvPr/>
          </p:nvSpPr>
          <p:spPr>
            <a:xfrm>
              <a:off x="10592280" y="3486832"/>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76" name="Google Shape;5789;p552">
              <a:extLst>
                <a:ext uri="{FF2B5EF4-FFF2-40B4-BE49-F238E27FC236}">
                  <a16:creationId xmlns:a16="http://schemas.microsoft.com/office/drawing/2014/main" id="{DF3D91AE-3EF9-30D0-56B5-239F0C0AE962}"/>
                </a:ext>
              </a:extLst>
            </p:cNvPr>
            <p:cNvSpPr/>
            <p:nvPr/>
          </p:nvSpPr>
          <p:spPr>
            <a:xfrm>
              <a:off x="10553228" y="3486832"/>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sp>
          <p:nvSpPr>
            <p:cNvPr id="77" name="Google Shape;5790;p552">
              <a:extLst>
                <a:ext uri="{FF2B5EF4-FFF2-40B4-BE49-F238E27FC236}">
                  <a16:creationId xmlns:a16="http://schemas.microsoft.com/office/drawing/2014/main" id="{23580D70-C013-C418-2804-B8E544C70694}"/>
                </a:ext>
              </a:extLst>
            </p:cNvPr>
            <p:cNvSpPr/>
            <p:nvPr/>
          </p:nvSpPr>
          <p:spPr>
            <a:xfrm>
              <a:off x="10475123" y="3486832"/>
              <a:ext cx="19526" cy="19526"/>
            </a:xfrm>
            <a:custGeom>
              <a:avLst/>
              <a:gdLst/>
              <a:ahLst/>
              <a:cxnLst/>
              <a:rect l="l" t="t" r="r" b="b"/>
              <a:pathLst>
                <a:path w="19526" h="19526" extrusionOk="0">
                  <a:moveTo>
                    <a:pt x="0" y="0"/>
                  </a:moveTo>
                  <a:lnTo>
                    <a:pt x="19526" y="0"/>
                  </a:lnTo>
                  <a:lnTo>
                    <a:pt x="19526" y="19526"/>
                  </a:lnTo>
                  <a:lnTo>
                    <a:pt x="0" y="19526"/>
                  </a:lnTo>
                  <a:close/>
                </a:path>
              </a:pathLst>
            </a:cu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nb-NO" sz="1800" b="1" i="0" u="none" strike="noStrike" kern="0" cap="none" spc="0" normalizeH="0" baseline="0" noProof="0">
                <a:ln>
                  <a:noFill/>
                </a:ln>
                <a:solidFill>
                  <a:srgbClr val="D04A02"/>
                </a:solidFill>
                <a:effectLst/>
                <a:uLnTx/>
                <a:uFillTx/>
                <a:latin typeface="+mj-lt"/>
                <a:cs typeface="Arial"/>
                <a:sym typeface="Arial"/>
              </a:endParaRPr>
            </a:p>
          </p:txBody>
        </p:sp>
      </p:grpSp>
      <p:sp>
        <p:nvSpPr>
          <p:cNvPr id="78" name="Google Shape;3620;p90">
            <a:extLst>
              <a:ext uri="{FF2B5EF4-FFF2-40B4-BE49-F238E27FC236}">
                <a16:creationId xmlns:a16="http://schemas.microsoft.com/office/drawing/2014/main" id="{64BB6F8F-6357-5EB7-5A35-486F27CF4BFB}"/>
              </a:ext>
            </a:extLst>
          </p:cNvPr>
          <p:cNvSpPr/>
          <p:nvPr/>
        </p:nvSpPr>
        <p:spPr>
          <a:xfrm>
            <a:off x="2978169" y="3495611"/>
            <a:ext cx="1858800" cy="2056973"/>
          </a:xfrm>
          <a:prstGeom prst="rect">
            <a:avLst/>
          </a:prstGeom>
          <a:noFill/>
          <a:ln>
            <a:noFill/>
          </a:ln>
        </p:spPr>
        <p:txBody>
          <a:bodyPr spcFirstLastPara="1" wrap="square" lIns="0" tIns="0" rIns="0" bIns="0" anchor="t" anchorCtr="0">
            <a:noAutofit/>
          </a:bodyPr>
          <a:lstStyle/>
          <a:p>
            <a:pPr>
              <a:buClr>
                <a:srgbClr val="000000"/>
              </a:buClr>
              <a:buFont typeface="Arial"/>
              <a:buNone/>
              <a:defRPr/>
            </a:pPr>
            <a:r>
              <a:rPr lang="nb-NO" sz="1000" b="1" kern="0">
                <a:latin typeface="+mj-lt"/>
                <a:cs typeface="Arial"/>
                <a:sym typeface="Arial"/>
              </a:rPr>
              <a:t>Datasentrert utvikling</a:t>
            </a:r>
          </a:p>
          <a:p>
            <a:pPr>
              <a:spcBef>
                <a:spcPts val="171"/>
              </a:spcBef>
              <a:buClr>
                <a:srgbClr val="000000"/>
              </a:buClr>
              <a:buFont typeface="Arial"/>
              <a:buNone/>
              <a:defRPr/>
            </a:pPr>
            <a:r>
              <a:rPr lang="nb-NO" sz="1000" kern="0">
                <a:latin typeface="+mj-lt"/>
                <a:cs typeface="Arial"/>
                <a:sym typeface="Arial"/>
              </a:rPr>
              <a:t>Verdien på dataene i VIGO vil alltid bestå, men applikasjonene blir utdaterte.</a:t>
            </a:r>
          </a:p>
          <a:p>
            <a:pPr>
              <a:spcBef>
                <a:spcPts val="171"/>
              </a:spcBef>
              <a:buClr>
                <a:srgbClr val="000000"/>
              </a:buClr>
              <a:buFont typeface="Arial"/>
              <a:buNone/>
              <a:defRPr/>
            </a:pPr>
            <a:endParaRPr lang="nb-NO" sz="1000" kern="0">
              <a:latin typeface="+mj-lt"/>
              <a:cs typeface="Arial"/>
              <a:sym typeface="Arial"/>
            </a:endParaRPr>
          </a:p>
          <a:p>
            <a:pPr>
              <a:spcBef>
                <a:spcPts val="171"/>
              </a:spcBef>
              <a:buClr>
                <a:srgbClr val="000000"/>
              </a:buClr>
              <a:buFont typeface="Arial"/>
              <a:buNone/>
              <a:defRPr/>
            </a:pPr>
            <a:r>
              <a:rPr lang="nb-NO" sz="1000" kern="0">
                <a:latin typeface="+mj-lt"/>
                <a:cs typeface="Arial"/>
                <a:sym typeface="Arial"/>
              </a:rPr>
              <a:t>Tjenestene i VIGO skal utvikles og moderniseres rundt dataene i systemet. </a:t>
            </a:r>
          </a:p>
          <a:p>
            <a:pPr>
              <a:spcBef>
                <a:spcPts val="171"/>
              </a:spcBef>
              <a:buClr>
                <a:srgbClr val="000000"/>
              </a:buClr>
              <a:buFont typeface="Arial"/>
              <a:buNone/>
              <a:defRPr/>
            </a:pPr>
            <a:endParaRPr lang="nb-NO" sz="1000" kern="0">
              <a:latin typeface="+mj-lt"/>
              <a:cs typeface="Arial"/>
              <a:sym typeface="Arial"/>
            </a:endParaRPr>
          </a:p>
          <a:p>
            <a:pPr>
              <a:spcBef>
                <a:spcPts val="171"/>
              </a:spcBef>
              <a:buClr>
                <a:srgbClr val="000000"/>
              </a:buClr>
              <a:buFont typeface="Arial"/>
              <a:buNone/>
              <a:defRPr/>
            </a:pPr>
            <a:r>
              <a:rPr lang="nb-NO" sz="1000" kern="0">
                <a:latin typeface="+mj-lt"/>
                <a:cs typeface="Arial"/>
                <a:sym typeface="Arial"/>
              </a:rPr>
              <a:t>Skape tjenester som er løst sammenkoblet og har et veldefinert ansvar. </a:t>
            </a:r>
          </a:p>
          <a:p>
            <a:pPr>
              <a:spcBef>
                <a:spcPts val="171"/>
              </a:spcBef>
              <a:buClr>
                <a:srgbClr val="000000"/>
              </a:buClr>
              <a:buFont typeface="Arial"/>
              <a:buNone/>
              <a:defRPr/>
            </a:pPr>
            <a:r>
              <a:rPr lang="nb-NO" sz="1000" kern="0">
                <a:latin typeface="+mj-lt"/>
                <a:cs typeface="Arial"/>
                <a:sym typeface="Arial"/>
              </a:rPr>
              <a:t> </a:t>
            </a:r>
          </a:p>
        </p:txBody>
      </p:sp>
      <p:pic>
        <p:nvPicPr>
          <p:cNvPr id="79" name="Picture 78">
            <a:extLst>
              <a:ext uri="{FF2B5EF4-FFF2-40B4-BE49-F238E27FC236}">
                <a16:creationId xmlns:a16="http://schemas.microsoft.com/office/drawing/2014/main" id="{8B3B0BCE-7E16-D7A9-C803-6FF3488C62F8}"/>
              </a:ext>
            </a:extLst>
          </p:cNvPr>
          <p:cNvPicPr>
            <a:picLocks noChangeAspect="1"/>
          </p:cNvPicPr>
          <p:nvPr/>
        </p:nvPicPr>
        <p:blipFill>
          <a:blip r:embed="rId3"/>
          <a:stretch>
            <a:fillRect/>
          </a:stretch>
        </p:blipFill>
        <p:spPr>
          <a:xfrm>
            <a:off x="4274059" y="1261210"/>
            <a:ext cx="646103" cy="646103"/>
          </a:xfrm>
          <a:prstGeom prst="rect">
            <a:avLst/>
          </a:prstGeom>
        </p:spPr>
      </p:pic>
      <p:sp>
        <p:nvSpPr>
          <p:cNvPr id="80" name="Google Shape;3620;p90">
            <a:extLst>
              <a:ext uri="{FF2B5EF4-FFF2-40B4-BE49-F238E27FC236}">
                <a16:creationId xmlns:a16="http://schemas.microsoft.com/office/drawing/2014/main" id="{AF3D53B3-F39B-70C1-1E9E-32F0ED57DC77}"/>
              </a:ext>
            </a:extLst>
          </p:cNvPr>
          <p:cNvSpPr/>
          <p:nvPr/>
        </p:nvSpPr>
        <p:spPr>
          <a:xfrm>
            <a:off x="782194" y="3495612"/>
            <a:ext cx="1864766" cy="2056973"/>
          </a:xfrm>
          <a:prstGeom prst="rect">
            <a:avLst/>
          </a:prstGeom>
          <a:noFill/>
          <a:ln>
            <a:noFill/>
          </a:ln>
        </p:spPr>
        <p:txBody>
          <a:bodyPr spcFirstLastPara="1" wrap="square" lIns="0" tIns="0" rIns="0" bIns="0" anchor="t" anchorCtr="0">
            <a:noAutofit/>
          </a:bodyPr>
          <a:lstStyle/>
          <a:p>
            <a:pPr>
              <a:buClr>
                <a:srgbClr val="000000"/>
              </a:buClr>
              <a:buFont typeface="Arial"/>
              <a:buNone/>
              <a:defRPr/>
            </a:pPr>
            <a:r>
              <a:rPr lang="nb-NO" sz="1000" b="1" kern="0">
                <a:latin typeface="+mj-lt"/>
                <a:cs typeface="Arial"/>
                <a:sym typeface="Arial"/>
              </a:rPr>
              <a:t>Brukerinvolvering </a:t>
            </a:r>
          </a:p>
          <a:p>
            <a:pPr>
              <a:spcBef>
                <a:spcPts val="171"/>
              </a:spcBef>
              <a:buClr>
                <a:srgbClr val="000000"/>
              </a:buClr>
              <a:buFont typeface="Arial"/>
              <a:buNone/>
              <a:defRPr/>
            </a:pPr>
            <a:r>
              <a:rPr lang="nb-NO" sz="1000" kern="0">
                <a:latin typeface="+mj-lt"/>
                <a:cs typeface="Arial"/>
                <a:sym typeface="Arial"/>
              </a:rPr>
              <a:t>Brukerbehovene skal alltid stå i sentrum av utviklingen. Fokus på riktig bruk av smidig metodikk er ønskelig for å hente ut alle gevinstene fra metodikken.</a:t>
            </a:r>
          </a:p>
          <a:p>
            <a:pPr>
              <a:spcBef>
                <a:spcPts val="171"/>
              </a:spcBef>
              <a:buClr>
                <a:srgbClr val="000000"/>
              </a:buClr>
              <a:buFont typeface="Arial"/>
              <a:buNone/>
              <a:defRPr/>
            </a:pPr>
            <a:endParaRPr lang="nb-NO" sz="1000" kern="0">
              <a:latin typeface="+mj-lt"/>
              <a:cs typeface="Arial"/>
              <a:sym typeface="Arial"/>
            </a:endParaRPr>
          </a:p>
          <a:p>
            <a:pPr>
              <a:spcBef>
                <a:spcPts val="171"/>
              </a:spcBef>
              <a:buClr>
                <a:srgbClr val="000000"/>
              </a:buClr>
              <a:buFont typeface="Arial"/>
              <a:buNone/>
              <a:defRPr/>
            </a:pPr>
            <a:r>
              <a:rPr lang="nb-NO" sz="1000" kern="0">
                <a:latin typeface="+mj-lt"/>
                <a:cs typeface="Arial"/>
                <a:sym typeface="Arial"/>
              </a:rPr>
              <a:t>Arbeidsprosessene skal standardiseres og systemet tilrettelegges for felles oppgaveløsning. Skreddersøm for enkeltgrupper skal unngås så langt det lar seg gjøre. </a:t>
            </a:r>
          </a:p>
        </p:txBody>
      </p:sp>
      <p:sp>
        <p:nvSpPr>
          <p:cNvPr id="81" name="Google Shape;3620;p90">
            <a:extLst>
              <a:ext uri="{FF2B5EF4-FFF2-40B4-BE49-F238E27FC236}">
                <a16:creationId xmlns:a16="http://schemas.microsoft.com/office/drawing/2014/main" id="{9AFC4DF3-00C5-0287-AD0C-40CF5915F7D4}"/>
              </a:ext>
            </a:extLst>
          </p:cNvPr>
          <p:cNvSpPr/>
          <p:nvPr/>
        </p:nvSpPr>
        <p:spPr>
          <a:xfrm>
            <a:off x="5165314" y="3495610"/>
            <a:ext cx="1858800" cy="2056973"/>
          </a:xfrm>
          <a:prstGeom prst="rect">
            <a:avLst/>
          </a:prstGeom>
          <a:noFill/>
          <a:ln>
            <a:noFill/>
          </a:ln>
        </p:spPr>
        <p:txBody>
          <a:bodyPr spcFirstLastPara="1" wrap="square" lIns="0" tIns="0" rIns="0" bIns="0" anchor="t" anchorCtr="0">
            <a:noAutofit/>
          </a:bodyPr>
          <a:lstStyle/>
          <a:p>
            <a:pPr>
              <a:buClr>
                <a:srgbClr val="000000"/>
              </a:buClr>
              <a:buFont typeface="Arial"/>
              <a:buNone/>
              <a:defRPr/>
            </a:pPr>
            <a:r>
              <a:rPr lang="nb-NO" sz="1000" b="1" kern="0">
                <a:latin typeface="+mj-lt"/>
                <a:cs typeface="Arial"/>
                <a:sym typeface="Arial"/>
              </a:rPr>
              <a:t>Standardisert Datadeling </a:t>
            </a:r>
          </a:p>
          <a:p>
            <a:pPr>
              <a:buClr>
                <a:srgbClr val="000000"/>
              </a:buClr>
              <a:buFont typeface="Arial"/>
              <a:buNone/>
              <a:defRPr/>
            </a:pPr>
            <a:r>
              <a:rPr lang="nb-NO" sz="1000" kern="0">
                <a:latin typeface="+mj-lt"/>
                <a:cs typeface="Arial"/>
                <a:sym typeface="Arial"/>
              </a:rPr>
              <a:t>Datadelingen med eksterne aktører skal standardiseres og forenkles for å sikre enklere deling av data for aktører som ønsker tilgang. </a:t>
            </a:r>
          </a:p>
        </p:txBody>
      </p:sp>
      <p:sp>
        <p:nvSpPr>
          <p:cNvPr id="82" name="Google Shape;3620;p90">
            <a:extLst>
              <a:ext uri="{FF2B5EF4-FFF2-40B4-BE49-F238E27FC236}">
                <a16:creationId xmlns:a16="http://schemas.microsoft.com/office/drawing/2014/main" id="{C6CC13E1-59AB-9971-B42C-BDEDA34FA4FE}"/>
              </a:ext>
            </a:extLst>
          </p:cNvPr>
          <p:cNvSpPr/>
          <p:nvPr/>
        </p:nvSpPr>
        <p:spPr>
          <a:xfrm>
            <a:off x="9589621" y="3495612"/>
            <a:ext cx="1864766" cy="2056973"/>
          </a:xfrm>
          <a:prstGeom prst="rect">
            <a:avLst/>
          </a:prstGeom>
          <a:noFill/>
          <a:ln>
            <a:noFill/>
          </a:ln>
        </p:spPr>
        <p:txBody>
          <a:bodyPr spcFirstLastPara="1" wrap="square" lIns="0" tIns="0" rIns="0" bIns="0" anchor="t" anchorCtr="0">
            <a:noAutofit/>
          </a:bodyPr>
          <a:lstStyle/>
          <a:p>
            <a:pPr>
              <a:buClr>
                <a:srgbClr val="000000"/>
              </a:buClr>
              <a:buFont typeface="Arial"/>
              <a:buNone/>
              <a:defRPr/>
            </a:pPr>
            <a:r>
              <a:rPr lang="nb-NO" sz="1000" b="1" kern="0">
                <a:latin typeface="+mj-lt"/>
                <a:cs typeface="Arial"/>
                <a:sym typeface="Arial"/>
              </a:rPr>
              <a:t>Systemeierskap og leverandør- fleksibilitet </a:t>
            </a:r>
            <a:endParaRPr lang="nb-NO" sz="1000" kern="0">
              <a:latin typeface="+mj-lt"/>
              <a:cs typeface="Arial"/>
              <a:sym typeface="Arial"/>
            </a:endParaRPr>
          </a:p>
          <a:p>
            <a:pPr>
              <a:spcBef>
                <a:spcPts val="171"/>
              </a:spcBef>
              <a:buClr>
                <a:srgbClr val="000000"/>
              </a:buClr>
              <a:buFont typeface="Arial"/>
              <a:buNone/>
              <a:defRPr/>
            </a:pPr>
            <a:r>
              <a:rPr lang="nb-NO" sz="1000" kern="0">
                <a:latin typeface="+mj-lt"/>
                <a:cs typeface="Arial"/>
                <a:sym typeface="Arial"/>
              </a:rPr>
              <a:t>Novari IKS skal til enhver tid ha kontrollen over arkitekturen, koden og brukerbehovene i systemet. </a:t>
            </a:r>
          </a:p>
          <a:p>
            <a:pPr>
              <a:spcBef>
                <a:spcPts val="171"/>
              </a:spcBef>
              <a:buClr>
                <a:srgbClr val="000000"/>
              </a:buClr>
              <a:buFont typeface="Arial"/>
              <a:buNone/>
              <a:defRPr/>
            </a:pPr>
            <a:endParaRPr lang="nb-NO" sz="1000" kern="0">
              <a:latin typeface="+mj-lt"/>
              <a:cs typeface="Arial"/>
              <a:sym typeface="Arial"/>
            </a:endParaRPr>
          </a:p>
          <a:p>
            <a:pPr>
              <a:spcBef>
                <a:spcPts val="171"/>
              </a:spcBef>
              <a:buClr>
                <a:srgbClr val="000000"/>
              </a:buClr>
              <a:buFont typeface="Arial"/>
              <a:buNone/>
              <a:defRPr/>
            </a:pPr>
            <a:r>
              <a:rPr lang="nb-NO" sz="1000" kern="0">
                <a:latin typeface="+mj-lt"/>
                <a:cs typeface="Arial"/>
                <a:sym typeface="Arial"/>
              </a:rPr>
              <a:t>Dette for å redusere  avhengigheten til enkeltleverandører. Systemet skal utvikles i tett samarbeid med leverandøren hvor Novari IKS styrer utviklingen. </a:t>
            </a:r>
          </a:p>
        </p:txBody>
      </p:sp>
      <p:sp>
        <p:nvSpPr>
          <p:cNvPr id="83" name="Google Shape;3620;p90">
            <a:extLst>
              <a:ext uri="{FF2B5EF4-FFF2-40B4-BE49-F238E27FC236}">
                <a16:creationId xmlns:a16="http://schemas.microsoft.com/office/drawing/2014/main" id="{BCF84D49-A4CC-613E-A3AC-1F604B96C508}"/>
              </a:ext>
            </a:extLst>
          </p:cNvPr>
          <p:cNvSpPr/>
          <p:nvPr/>
        </p:nvSpPr>
        <p:spPr>
          <a:xfrm>
            <a:off x="7362324" y="3495610"/>
            <a:ext cx="1954296" cy="2056973"/>
          </a:xfrm>
          <a:prstGeom prst="rect">
            <a:avLst/>
          </a:prstGeom>
          <a:noFill/>
          <a:ln>
            <a:noFill/>
          </a:ln>
        </p:spPr>
        <p:txBody>
          <a:bodyPr spcFirstLastPara="1" wrap="square" lIns="0" tIns="0" rIns="0" bIns="0" anchor="t" anchorCtr="0">
            <a:noAutofit/>
          </a:bodyPr>
          <a:lstStyle/>
          <a:p>
            <a:pPr>
              <a:buClr>
                <a:srgbClr val="000000"/>
              </a:buClr>
              <a:buFont typeface="Arial"/>
              <a:buNone/>
              <a:defRPr/>
            </a:pPr>
            <a:r>
              <a:rPr lang="nb-NO" sz="1000" b="1" kern="0">
                <a:latin typeface="+mj-lt"/>
                <a:cs typeface="Arial"/>
                <a:sym typeface="Arial"/>
              </a:rPr>
              <a:t>Automatisering</a:t>
            </a:r>
            <a:endParaRPr lang="nb-NO" sz="1000" kern="0">
              <a:latin typeface="+mj-lt"/>
              <a:cs typeface="Arial"/>
              <a:sym typeface="Arial"/>
            </a:endParaRPr>
          </a:p>
          <a:p>
            <a:pPr>
              <a:spcBef>
                <a:spcPts val="171"/>
              </a:spcBef>
              <a:buClr>
                <a:srgbClr val="000000"/>
              </a:buClr>
              <a:buFont typeface="Arial"/>
              <a:buNone/>
              <a:defRPr/>
            </a:pPr>
            <a:r>
              <a:rPr lang="nb-NO" sz="1000" kern="0">
                <a:latin typeface="+mj-lt"/>
                <a:cs typeface="Arial"/>
                <a:sym typeface="Arial"/>
              </a:rPr>
              <a:t>Manuelle prosesser og arbeidsoppgaver skal om mulig automatiseres. </a:t>
            </a:r>
          </a:p>
          <a:p>
            <a:pPr>
              <a:spcBef>
                <a:spcPts val="171"/>
              </a:spcBef>
              <a:buClr>
                <a:srgbClr val="000000"/>
              </a:buClr>
              <a:buFont typeface="Arial"/>
              <a:buNone/>
              <a:defRPr/>
            </a:pPr>
            <a:endParaRPr lang="nb-NO" sz="1000" kern="0">
              <a:latin typeface="+mj-lt"/>
              <a:cs typeface="Arial"/>
              <a:sym typeface="Arial"/>
            </a:endParaRPr>
          </a:p>
          <a:p>
            <a:pPr>
              <a:spcBef>
                <a:spcPts val="171"/>
              </a:spcBef>
              <a:buClr>
                <a:srgbClr val="000000"/>
              </a:buClr>
              <a:buFont typeface="Arial"/>
              <a:buNone/>
              <a:defRPr/>
            </a:pPr>
            <a:r>
              <a:rPr lang="nb-NO" sz="1000" kern="0">
                <a:latin typeface="+mj-lt"/>
                <a:cs typeface="Arial"/>
                <a:sym typeface="Arial"/>
              </a:rPr>
              <a:t>For å frigjøre verdifull tid for ansatte i fylkeskommunene til å benytte mer tid på det viktige samfunnsoppdraget de utfører ved hjelp av VIGO systemet.</a:t>
            </a:r>
          </a:p>
        </p:txBody>
      </p:sp>
      <p:pic>
        <p:nvPicPr>
          <p:cNvPr id="84" name="Picture 83">
            <a:extLst>
              <a:ext uri="{FF2B5EF4-FFF2-40B4-BE49-F238E27FC236}">
                <a16:creationId xmlns:a16="http://schemas.microsoft.com/office/drawing/2014/main" id="{41023DE8-E9A9-6743-448D-BC2404BED9F4}"/>
              </a:ext>
            </a:extLst>
          </p:cNvPr>
          <p:cNvPicPr>
            <a:picLocks noChangeAspect="1"/>
          </p:cNvPicPr>
          <p:nvPr/>
        </p:nvPicPr>
        <p:blipFill>
          <a:blip r:embed="rId4"/>
          <a:stretch>
            <a:fillRect/>
          </a:stretch>
        </p:blipFill>
        <p:spPr>
          <a:xfrm>
            <a:off x="2150132" y="1325219"/>
            <a:ext cx="542307" cy="542307"/>
          </a:xfrm>
          <a:prstGeom prst="rect">
            <a:avLst/>
          </a:prstGeom>
        </p:spPr>
      </p:pic>
      <p:pic>
        <p:nvPicPr>
          <p:cNvPr id="85" name="Picture 84">
            <a:extLst>
              <a:ext uri="{FF2B5EF4-FFF2-40B4-BE49-F238E27FC236}">
                <a16:creationId xmlns:a16="http://schemas.microsoft.com/office/drawing/2014/main" id="{BA75435C-E3C7-27AA-B6E3-90CCFE4B9549}"/>
              </a:ext>
            </a:extLst>
          </p:cNvPr>
          <p:cNvPicPr>
            <a:picLocks noChangeAspect="1"/>
          </p:cNvPicPr>
          <p:nvPr/>
        </p:nvPicPr>
        <p:blipFill>
          <a:blip r:embed="rId5"/>
          <a:stretch>
            <a:fillRect/>
          </a:stretch>
        </p:blipFill>
        <p:spPr>
          <a:xfrm>
            <a:off x="8780026" y="1281911"/>
            <a:ext cx="536594" cy="536594"/>
          </a:xfrm>
          <a:prstGeom prst="rect">
            <a:avLst/>
          </a:prstGeom>
        </p:spPr>
      </p:pic>
      <p:pic>
        <p:nvPicPr>
          <p:cNvPr id="86" name="Picture 85">
            <a:extLst>
              <a:ext uri="{FF2B5EF4-FFF2-40B4-BE49-F238E27FC236}">
                <a16:creationId xmlns:a16="http://schemas.microsoft.com/office/drawing/2014/main" id="{6E6678D2-5F3C-0876-2EE3-419DB4DB13A9}"/>
              </a:ext>
            </a:extLst>
          </p:cNvPr>
          <p:cNvPicPr>
            <a:picLocks noChangeAspect="1"/>
          </p:cNvPicPr>
          <p:nvPr/>
        </p:nvPicPr>
        <p:blipFill>
          <a:blip r:embed="rId6"/>
          <a:stretch>
            <a:fillRect/>
          </a:stretch>
        </p:blipFill>
        <p:spPr>
          <a:xfrm>
            <a:off x="6551261" y="1335174"/>
            <a:ext cx="457200" cy="457200"/>
          </a:xfrm>
          <a:prstGeom prst="rect">
            <a:avLst/>
          </a:prstGeom>
        </p:spPr>
      </p:pic>
      <p:pic>
        <p:nvPicPr>
          <p:cNvPr id="87" name="Picture 86">
            <a:extLst>
              <a:ext uri="{FF2B5EF4-FFF2-40B4-BE49-F238E27FC236}">
                <a16:creationId xmlns:a16="http://schemas.microsoft.com/office/drawing/2014/main" id="{3B0A6C82-7923-B6C8-3647-D340670DA36E}"/>
              </a:ext>
            </a:extLst>
          </p:cNvPr>
          <p:cNvPicPr>
            <a:picLocks noChangeAspect="1"/>
          </p:cNvPicPr>
          <p:nvPr/>
        </p:nvPicPr>
        <p:blipFill>
          <a:blip r:embed="rId7"/>
          <a:stretch>
            <a:fillRect/>
          </a:stretch>
        </p:blipFill>
        <p:spPr>
          <a:xfrm>
            <a:off x="10945170" y="1268154"/>
            <a:ext cx="509217" cy="509217"/>
          </a:xfrm>
          <a:prstGeom prst="rect">
            <a:avLst/>
          </a:prstGeom>
        </p:spPr>
      </p:pic>
    </p:spTree>
    <p:extLst>
      <p:ext uri="{BB962C8B-B14F-4D97-AF65-F5344CB8AC3E}">
        <p14:creationId xmlns:p14="http://schemas.microsoft.com/office/powerpoint/2010/main" val="958248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2" name="think-cell data - do not delete" hidden="1">
            <a:extLst>
              <a:ext uri="{FF2B5EF4-FFF2-40B4-BE49-F238E27FC236}">
                <a16:creationId xmlns:a16="http://schemas.microsoft.com/office/drawing/2014/main" id="{0656A8F2-61E1-A8EB-8EE1-A87B3FAAA0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352" name="think-cell data - do not delete" hidden="1">
                        <a:extLst>
                          <a:ext uri="{FF2B5EF4-FFF2-40B4-BE49-F238E27FC236}">
                            <a16:creationId xmlns:a16="http://schemas.microsoft.com/office/drawing/2014/main" id="{0656A8F2-61E1-A8EB-8EE1-A87B3FAAA0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Google Shape;6186;p562">
            <a:extLst>
              <a:ext uri="{FF2B5EF4-FFF2-40B4-BE49-F238E27FC236}">
                <a16:creationId xmlns:a16="http://schemas.microsoft.com/office/drawing/2014/main" id="{312B86BA-601D-55E7-4E69-D8958557BC12}"/>
              </a:ext>
            </a:extLst>
          </p:cNvPr>
          <p:cNvSpPr txBox="1"/>
          <p:nvPr/>
        </p:nvSpPr>
        <p:spPr>
          <a:xfrm>
            <a:off x="-1923141" y="5142826"/>
            <a:ext cx="1611900" cy="1251600"/>
          </a:xfrm>
          <a:prstGeom prst="rect">
            <a:avLst/>
          </a:pr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FFFFFF"/>
              </a:solidFill>
              <a:latin typeface="Georgia"/>
              <a:ea typeface="Georgia"/>
              <a:cs typeface="Georgia"/>
              <a:sym typeface="Georgia"/>
            </a:endParaRPr>
          </a:p>
        </p:txBody>
      </p:sp>
      <p:sp>
        <p:nvSpPr>
          <p:cNvPr id="4" name="Google Shape;9932;p638">
            <a:extLst>
              <a:ext uri="{FF2B5EF4-FFF2-40B4-BE49-F238E27FC236}">
                <a16:creationId xmlns:a16="http://schemas.microsoft.com/office/drawing/2014/main" id="{99B9D014-02FA-B72F-20F0-6009E66D1F33}"/>
              </a:ext>
            </a:extLst>
          </p:cNvPr>
          <p:cNvSpPr txBox="1"/>
          <p:nvPr/>
        </p:nvSpPr>
        <p:spPr>
          <a:xfrm>
            <a:off x="87088" y="1412543"/>
            <a:ext cx="2696408" cy="4250415"/>
          </a:xfrm>
          <a:prstGeom prst="rect">
            <a:avLst/>
          </a:prstGeom>
          <a:solidFill>
            <a:schemeClr val="accent1"/>
          </a:solidFill>
          <a:ln>
            <a:noFill/>
          </a:ln>
        </p:spPr>
        <p:txBody>
          <a:bodyPr spcFirstLastPara="1" wrap="square" lIns="121900" tIns="121900" rIns="121900" bIns="121900" anchor="t" anchorCtr="0">
            <a:noAutofit/>
          </a:bodyPr>
          <a:lstStyle/>
          <a:p>
            <a:pPr marL="0" marR="0" lvl="0" indent="0" defTabSz="914400" eaLnBrk="1" fontAlgn="auto" latinLnBrk="0" hangingPunct="1">
              <a:lnSpc>
                <a:spcPct val="100000"/>
              </a:lnSpc>
              <a:spcBef>
                <a:spcPts val="0"/>
              </a:spcBef>
              <a:spcAft>
                <a:spcPts val="0"/>
              </a:spcAft>
              <a:buClr>
                <a:srgbClr val="000000"/>
              </a:buClr>
              <a:buSzPts val="1900"/>
              <a:buFont typeface="Arial"/>
              <a:buNone/>
              <a:tabLst/>
              <a:defRPr/>
            </a:pPr>
            <a:endParaRPr kumimoji="0" lang="nb-NO" sz="19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 name="Google Shape;9938;p638">
            <a:extLst>
              <a:ext uri="{FF2B5EF4-FFF2-40B4-BE49-F238E27FC236}">
                <a16:creationId xmlns:a16="http://schemas.microsoft.com/office/drawing/2014/main" id="{402F1B16-E6DD-86DC-063A-D9B0F3FE0ACC}"/>
              </a:ext>
            </a:extLst>
          </p:cNvPr>
          <p:cNvSpPr txBox="1"/>
          <p:nvPr/>
        </p:nvSpPr>
        <p:spPr>
          <a:xfrm>
            <a:off x="2783495" y="1412543"/>
            <a:ext cx="4668887" cy="4250415"/>
          </a:xfrm>
          <a:prstGeom prst="rect">
            <a:avLst/>
          </a:prstGeom>
          <a:solidFill>
            <a:schemeClr val="bg2"/>
          </a:solidFill>
          <a:ln>
            <a:noFill/>
          </a:ln>
        </p:spPr>
        <p:txBody>
          <a:bodyPr spcFirstLastPara="1" wrap="square" lIns="121900" tIns="121900" rIns="121900" bIns="121900" anchor="t" anchorCtr="0">
            <a:noAutofit/>
          </a:bodyPr>
          <a:lstStyle/>
          <a:p>
            <a:pPr>
              <a:buClr>
                <a:srgbClr val="000000"/>
              </a:buClr>
              <a:buSzPts val="1900"/>
              <a:buFont typeface="Arial"/>
              <a:buNone/>
            </a:pPr>
            <a:endParaRPr lang="nb-NO" sz="1900" kern="0">
              <a:solidFill>
                <a:srgbClr val="000000"/>
              </a:solidFill>
              <a:latin typeface="Arial"/>
              <a:ea typeface="Arial"/>
              <a:cs typeface="Arial"/>
              <a:sym typeface="Arial"/>
            </a:endParaRPr>
          </a:p>
        </p:txBody>
      </p:sp>
      <p:sp>
        <p:nvSpPr>
          <p:cNvPr id="6" name="TextBox 5">
            <a:extLst>
              <a:ext uri="{FF2B5EF4-FFF2-40B4-BE49-F238E27FC236}">
                <a16:creationId xmlns:a16="http://schemas.microsoft.com/office/drawing/2014/main" id="{65FAA1E8-8157-05A6-B276-CC2CAB33C6E6}"/>
              </a:ext>
            </a:extLst>
          </p:cNvPr>
          <p:cNvSpPr txBox="1"/>
          <p:nvPr/>
        </p:nvSpPr>
        <p:spPr>
          <a:xfrm>
            <a:off x="403245" y="1905506"/>
            <a:ext cx="1856233" cy="2800767"/>
          </a:xfrm>
          <a:prstGeom prst="rect">
            <a:avLst/>
          </a:prstGeom>
          <a:noFill/>
        </p:spPr>
        <p:txBody>
          <a:bodyPr wrap="square" rtlCol="0">
            <a:spAutoFit/>
          </a:bodyPr>
          <a:lstStyle/>
          <a:p>
            <a:pPr>
              <a:buClr>
                <a:srgbClr val="000000"/>
              </a:buClr>
              <a:buFont typeface="Arial"/>
              <a:buNone/>
            </a:pPr>
            <a:r>
              <a:rPr lang="nb-NO" sz="1600" i="1" kern="0">
                <a:solidFill>
                  <a:schemeClr val="bg1"/>
                </a:solidFill>
                <a:ea typeface="Calibri" panose="020F0502020204030204" pitchFamily="34" charset="0"/>
                <a:cs typeface="Calibri" panose="020F0502020204030204" pitchFamily="34" charset="0"/>
                <a:sym typeface="Arial"/>
              </a:rPr>
              <a:t>Bygge en og en komponent på ny arkitektur. Ta i bruk komponentene etter hvert som de er ferdig utviklet samtidig som de er koblet mot dataene i sentralbasen </a:t>
            </a:r>
          </a:p>
          <a:p>
            <a:pPr>
              <a:buClr>
                <a:srgbClr val="000000"/>
              </a:buClr>
              <a:buFont typeface="Arial"/>
              <a:buNone/>
            </a:pPr>
            <a:endParaRPr lang="nb-NO" sz="2000" i="1" kern="0">
              <a:solidFill>
                <a:srgbClr val="FFFFFF"/>
              </a:solidFill>
              <a:ea typeface="Calibri" panose="020F0502020204030204" pitchFamily="34" charset="0"/>
              <a:cs typeface="Calibri" panose="020F0502020204030204" pitchFamily="34" charset="0"/>
              <a:sym typeface="Arial"/>
            </a:endParaRPr>
          </a:p>
          <a:p>
            <a:pPr>
              <a:buClr>
                <a:srgbClr val="000000"/>
              </a:buClr>
              <a:buFont typeface="Arial"/>
              <a:buNone/>
            </a:pPr>
            <a:endParaRPr lang="nb-NO" sz="1200" kern="0">
              <a:solidFill>
                <a:srgbClr val="000000"/>
              </a:solidFill>
              <a:latin typeface="Arial"/>
              <a:cs typeface="Arial"/>
              <a:sym typeface="Arial"/>
            </a:endParaRPr>
          </a:p>
        </p:txBody>
      </p:sp>
      <p:grpSp>
        <p:nvGrpSpPr>
          <p:cNvPr id="8" name="Google Shape;21306;p90">
            <a:extLst>
              <a:ext uri="{FF2B5EF4-FFF2-40B4-BE49-F238E27FC236}">
                <a16:creationId xmlns:a16="http://schemas.microsoft.com/office/drawing/2014/main" id="{B7419602-52CA-51FE-7F0B-207D1DD682A3}"/>
              </a:ext>
            </a:extLst>
          </p:cNvPr>
          <p:cNvGrpSpPr/>
          <p:nvPr/>
        </p:nvGrpSpPr>
        <p:grpSpPr>
          <a:xfrm>
            <a:off x="6055574" y="3249505"/>
            <a:ext cx="1354544" cy="1472072"/>
            <a:chOff x="1399750" y="238125"/>
            <a:chExt cx="4820500" cy="5238750"/>
          </a:xfrm>
        </p:grpSpPr>
        <p:sp>
          <p:nvSpPr>
            <p:cNvPr id="9" name="Google Shape;21307;p90">
              <a:extLst>
                <a:ext uri="{FF2B5EF4-FFF2-40B4-BE49-F238E27FC236}">
                  <a16:creationId xmlns:a16="http://schemas.microsoft.com/office/drawing/2014/main" id="{AFBD75C8-E49D-0739-2F42-5E67B190720D}"/>
                </a:ext>
              </a:extLst>
            </p:cNvPr>
            <p:cNvSpPr/>
            <p:nvPr/>
          </p:nvSpPr>
          <p:spPr>
            <a:xfrm>
              <a:off x="3443125" y="3851725"/>
              <a:ext cx="219800" cy="334975"/>
            </a:xfrm>
            <a:custGeom>
              <a:avLst/>
              <a:gdLst/>
              <a:ahLst/>
              <a:cxnLst/>
              <a:rect l="l" t="t" r="r" b="b"/>
              <a:pathLst>
                <a:path w="8792" h="13399" extrusionOk="0">
                  <a:moveTo>
                    <a:pt x="4396" y="0"/>
                  </a:moveTo>
                  <a:lnTo>
                    <a:pt x="4183" y="1560"/>
                  </a:lnTo>
                  <a:lnTo>
                    <a:pt x="3900" y="2907"/>
                  </a:lnTo>
                  <a:lnTo>
                    <a:pt x="3616" y="4041"/>
                  </a:lnTo>
                  <a:lnTo>
                    <a:pt x="3404" y="4466"/>
                  </a:lnTo>
                  <a:lnTo>
                    <a:pt x="3191" y="4892"/>
                  </a:lnTo>
                  <a:lnTo>
                    <a:pt x="2978" y="5246"/>
                  </a:lnTo>
                  <a:lnTo>
                    <a:pt x="2695" y="5530"/>
                  </a:lnTo>
                  <a:lnTo>
                    <a:pt x="2340" y="5813"/>
                  </a:lnTo>
                  <a:lnTo>
                    <a:pt x="1986" y="6026"/>
                  </a:lnTo>
                  <a:lnTo>
                    <a:pt x="1560" y="6238"/>
                  </a:lnTo>
                  <a:lnTo>
                    <a:pt x="1135" y="6451"/>
                  </a:lnTo>
                  <a:lnTo>
                    <a:pt x="1" y="6664"/>
                  </a:lnTo>
                  <a:lnTo>
                    <a:pt x="993" y="7089"/>
                  </a:lnTo>
                  <a:lnTo>
                    <a:pt x="1773" y="7444"/>
                  </a:lnTo>
                  <a:lnTo>
                    <a:pt x="2411" y="7940"/>
                  </a:lnTo>
                  <a:lnTo>
                    <a:pt x="2695" y="8223"/>
                  </a:lnTo>
                  <a:lnTo>
                    <a:pt x="2907" y="8507"/>
                  </a:lnTo>
                  <a:lnTo>
                    <a:pt x="3191" y="8861"/>
                  </a:lnTo>
                  <a:lnTo>
                    <a:pt x="3333" y="9287"/>
                  </a:lnTo>
                  <a:lnTo>
                    <a:pt x="3687" y="10350"/>
                  </a:lnTo>
                  <a:lnTo>
                    <a:pt x="3971" y="11697"/>
                  </a:lnTo>
                  <a:lnTo>
                    <a:pt x="4254" y="13398"/>
                  </a:lnTo>
                  <a:lnTo>
                    <a:pt x="4467" y="11697"/>
                  </a:lnTo>
                  <a:lnTo>
                    <a:pt x="4750" y="10350"/>
                  </a:lnTo>
                  <a:lnTo>
                    <a:pt x="4963" y="9783"/>
                  </a:lnTo>
                  <a:lnTo>
                    <a:pt x="5176" y="9358"/>
                  </a:lnTo>
                  <a:lnTo>
                    <a:pt x="5388" y="8932"/>
                  </a:lnTo>
                  <a:lnTo>
                    <a:pt x="5601" y="8578"/>
                  </a:lnTo>
                  <a:lnTo>
                    <a:pt x="5885" y="8223"/>
                  </a:lnTo>
                  <a:lnTo>
                    <a:pt x="6168" y="7940"/>
                  </a:lnTo>
                  <a:lnTo>
                    <a:pt x="6877" y="7444"/>
                  </a:lnTo>
                  <a:lnTo>
                    <a:pt x="7799" y="7018"/>
                  </a:lnTo>
                  <a:lnTo>
                    <a:pt x="8791" y="6593"/>
                  </a:lnTo>
                  <a:lnTo>
                    <a:pt x="8153" y="6451"/>
                  </a:lnTo>
                  <a:lnTo>
                    <a:pt x="7657" y="6309"/>
                  </a:lnTo>
                  <a:lnTo>
                    <a:pt x="7161" y="6168"/>
                  </a:lnTo>
                  <a:lnTo>
                    <a:pt x="6735" y="5955"/>
                  </a:lnTo>
                  <a:lnTo>
                    <a:pt x="6381" y="5742"/>
                  </a:lnTo>
                  <a:lnTo>
                    <a:pt x="6026" y="5459"/>
                  </a:lnTo>
                  <a:lnTo>
                    <a:pt x="5743" y="5104"/>
                  </a:lnTo>
                  <a:lnTo>
                    <a:pt x="5459" y="4750"/>
                  </a:lnTo>
                  <a:lnTo>
                    <a:pt x="5247" y="4324"/>
                  </a:lnTo>
                  <a:lnTo>
                    <a:pt x="5105" y="3899"/>
                  </a:lnTo>
                  <a:lnTo>
                    <a:pt x="4821" y="2836"/>
                  </a:lnTo>
                  <a:lnTo>
                    <a:pt x="4609" y="1489"/>
                  </a:lnTo>
                  <a:lnTo>
                    <a:pt x="4396"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0" name="Google Shape;21308;p90">
              <a:extLst>
                <a:ext uri="{FF2B5EF4-FFF2-40B4-BE49-F238E27FC236}">
                  <a16:creationId xmlns:a16="http://schemas.microsoft.com/office/drawing/2014/main" id="{C0A57083-CF5C-9081-C00E-F1B4485C9AA1}"/>
                </a:ext>
              </a:extLst>
            </p:cNvPr>
            <p:cNvSpPr/>
            <p:nvPr/>
          </p:nvSpPr>
          <p:spPr>
            <a:xfrm>
              <a:off x="5323475" y="4220350"/>
              <a:ext cx="436000" cy="1256525"/>
            </a:xfrm>
            <a:custGeom>
              <a:avLst/>
              <a:gdLst/>
              <a:ahLst/>
              <a:cxnLst/>
              <a:rect l="l" t="t" r="r" b="b"/>
              <a:pathLst>
                <a:path w="17440" h="50261" extrusionOk="0">
                  <a:moveTo>
                    <a:pt x="16164" y="0"/>
                  </a:moveTo>
                  <a:lnTo>
                    <a:pt x="15951" y="71"/>
                  </a:lnTo>
                  <a:lnTo>
                    <a:pt x="15809" y="213"/>
                  </a:lnTo>
                  <a:lnTo>
                    <a:pt x="15667" y="426"/>
                  </a:lnTo>
                  <a:lnTo>
                    <a:pt x="1" y="50261"/>
                  </a:lnTo>
                  <a:lnTo>
                    <a:pt x="1844" y="50261"/>
                  </a:lnTo>
                  <a:lnTo>
                    <a:pt x="17369" y="993"/>
                  </a:lnTo>
                  <a:lnTo>
                    <a:pt x="17440" y="780"/>
                  </a:lnTo>
                  <a:lnTo>
                    <a:pt x="17369" y="567"/>
                  </a:lnTo>
                  <a:lnTo>
                    <a:pt x="17227" y="355"/>
                  </a:lnTo>
                  <a:lnTo>
                    <a:pt x="17014" y="284"/>
                  </a:lnTo>
                  <a:lnTo>
                    <a:pt x="16376" y="71"/>
                  </a:lnTo>
                  <a:lnTo>
                    <a:pt x="16164" y="0"/>
                  </a:lnTo>
                  <a:close/>
                </a:path>
              </a:pathLst>
            </a:custGeom>
            <a:solidFill>
              <a:srgbClr val="2D2D2D"/>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1" name="Google Shape;21309;p90">
              <a:extLst>
                <a:ext uri="{FF2B5EF4-FFF2-40B4-BE49-F238E27FC236}">
                  <a16:creationId xmlns:a16="http://schemas.microsoft.com/office/drawing/2014/main" id="{064342BF-78DA-4A80-AB35-4C66F516E292}"/>
                </a:ext>
              </a:extLst>
            </p:cNvPr>
            <p:cNvSpPr/>
            <p:nvPr/>
          </p:nvSpPr>
          <p:spPr>
            <a:xfrm>
              <a:off x="5323475" y="4220350"/>
              <a:ext cx="436000" cy="1256525"/>
            </a:xfrm>
            <a:custGeom>
              <a:avLst/>
              <a:gdLst/>
              <a:ahLst/>
              <a:cxnLst/>
              <a:rect l="l" t="t" r="r" b="b"/>
              <a:pathLst>
                <a:path w="17440" h="50261" fill="none" extrusionOk="0">
                  <a:moveTo>
                    <a:pt x="1844" y="50261"/>
                  </a:moveTo>
                  <a:lnTo>
                    <a:pt x="17369" y="993"/>
                  </a:lnTo>
                  <a:lnTo>
                    <a:pt x="17369" y="993"/>
                  </a:lnTo>
                  <a:lnTo>
                    <a:pt x="17440" y="780"/>
                  </a:lnTo>
                  <a:lnTo>
                    <a:pt x="17369" y="567"/>
                  </a:lnTo>
                  <a:lnTo>
                    <a:pt x="17227" y="355"/>
                  </a:lnTo>
                  <a:lnTo>
                    <a:pt x="17014" y="284"/>
                  </a:lnTo>
                  <a:lnTo>
                    <a:pt x="16376" y="71"/>
                  </a:lnTo>
                  <a:lnTo>
                    <a:pt x="16376" y="71"/>
                  </a:lnTo>
                  <a:lnTo>
                    <a:pt x="16164" y="0"/>
                  </a:lnTo>
                  <a:lnTo>
                    <a:pt x="15951" y="71"/>
                  </a:lnTo>
                  <a:lnTo>
                    <a:pt x="15809" y="213"/>
                  </a:lnTo>
                  <a:lnTo>
                    <a:pt x="15667" y="426"/>
                  </a:lnTo>
                  <a:lnTo>
                    <a:pt x="1" y="50261"/>
                  </a:lnTo>
                  <a:lnTo>
                    <a:pt x="1844" y="5026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2" name="Google Shape;21310;p90">
              <a:extLst>
                <a:ext uri="{FF2B5EF4-FFF2-40B4-BE49-F238E27FC236}">
                  <a16:creationId xmlns:a16="http://schemas.microsoft.com/office/drawing/2014/main" id="{1D48A502-5934-063D-30F2-5B4F38D626F0}"/>
                </a:ext>
              </a:extLst>
            </p:cNvPr>
            <p:cNvSpPr/>
            <p:nvPr/>
          </p:nvSpPr>
          <p:spPr>
            <a:xfrm>
              <a:off x="5663750" y="4445425"/>
              <a:ext cx="338525" cy="40775"/>
            </a:xfrm>
            <a:custGeom>
              <a:avLst/>
              <a:gdLst/>
              <a:ahLst/>
              <a:cxnLst/>
              <a:rect l="l" t="t" r="r" b="b"/>
              <a:pathLst>
                <a:path w="13541" h="1631" extrusionOk="0">
                  <a:moveTo>
                    <a:pt x="497" y="0"/>
                  </a:moveTo>
                  <a:lnTo>
                    <a:pt x="284" y="71"/>
                  </a:lnTo>
                  <a:lnTo>
                    <a:pt x="142" y="213"/>
                  </a:lnTo>
                  <a:lnTo>
                    <a:pt x="72" y="426"/>
                  </a:lnTo>
                  <a:lnTo>
                    <a:pt x="1" y="709"/>
                  </a:lnTo>
                  <a:lnTo>
                    <a:pt x="1" y="922"/>
                  </a:lnTo>
                  <a:lnTo>
                    <a:pt x="72" y="1205"/>
                  </a:lnTo>
                  <a:lnTo>
                    <a:pt x="213" y="1489"/>
                  </a:lnTo>
                  <a:lnTo>
                    <a:pt x="213" y="1560"/>
                  </a:lnTo>
                  <a:lnTo>
                    <a:pt x="284" y="1560"/>
                  </a:lnTo>
                  <a:lnTo>
                    <a:pt x="355" y="1631"/>
                  </a:lnTo>
                  <a:lnTo>
                    <a:pt x="13115" y="1631"/>
                  </a:lnTo>
                  <a:lnTo>
                    <a:pt x="13257" y="1489"/>
                  </a:lnTo>
                  <a:lnTo>
                    <a:pt x="13399" y="1347"/>
                  </a:lnTo>
                  <a:lnTo>
                    <a:pt x="13399" y="1276"/>
                  </a:lnTo>
                  <a:lnTo>
                    <a:pt x="13470" y="1134"/>
                  </a:lnTo>
                  <a:lnTo>
                    <a:pt x="13541" y="922"/>
                  </a:lnTo>
                  <a:lnTo>
                    <a:pt x="13541" y="780"/>
                  </a:lnTo>
                  <a:lnTo>
                    <a:pt x="13470" y="496"/>
                  </a:lnTo>
                  <a:lnTo>
                    <a:pt x="13399" y="213"/>
                  </a:lnTo>
                  <a:lnTo>
                    <a:pt x="13257" y="71"/>
                  </a:lnTo>
                  <a:lnTo>
                    <a:pt x="13044" y="0"/>
                  </a:lnTo>
                  <a:close/>
                </a:path>
              </a:pathLst>
            </a:custGeom>
            <a:solidFill>
              <a:srgbClr val="46464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3" name="Google Shape;21311;p90">
              <a:extLst>
                <a:ext uri="{FF2B5EF4-FFF2-40B4-BE49-F238E27FC236}">
                  <a16:creationId xmlns:a16="http://schemas.microsoft.com/office/drawing/2014/main" id="{7B828125-27E3-7AB8-CE71-B415AF8156DB}"/>
                </a:ext>
              </a:extLst>
            </p:cNvPr>
            <p:cNvSpPr/>
            <p:nvPr/>
          </p:nvSpPr>
          <p:spPr>
            <a:xfrm>
              <a:off x="5663750" y="4445425"/>
              <a:ext cx="338525" cy="40775"/>
            </a:xfrm>
            <a:custGeom>
              <a:avLst/>
              <a:gdLst/>
              <a:ahLst/>
              <a:cxnLst/>
              <a:rect l="l" t="t" r="r" b="b"/>
              <a:pathLst>
                <a:path w="13541" h="1631" fill="none" extrusionOk="0">
                  <a:moveTo>
                    <a:pt x="1" y="709"/>
                  </a:moveTo>
                  <a:lnTo>
                    <a:pt x="1" y="922"/>
                  </a:lnTo>
                  <a:lnTo>
                    <a:pt x="1" y="922"/>
                  </a:lnTo>
                  <a:lnTo>
                    <a:pt x="72" y="1205"/>
                  </a:lnTo>
                  <a:lnTo>
                    <a:pt x="213" y="1489"/>
                  </a:lnTo>
                  <a:lnTo>
                    <a:pt x="213" y="1560"/>
                  </a:lnTo>
                  <a:lnTo>
                    <a:pt x="284" y="1560"/>
                  </a:lnTo>
                  <a:lnTo>
                    <a:pt x="284" y="1560"/>
                  </a:lnTo>
                  <a:lnTo>
                    <a:pt x="355" y="1631"/>
                  </a:lnTo>
                  <a:lnTo>
                    <a:pt x="497" y="1631"/>
                  </a:lnTo>
                  <a:lnTo>
                    <a:pt x="13044" y="1631"/>
                  </a:lnTo>
                  <a:lnTo>
                    <a:pt x="13115" y="1631"/>
                  </a:lnTo>
                  <a:lnTo>
                    <a:pt x="13115" y="1631"/>
                  </a:lnTo>
                  <a:lnTo>
                    <a:pt x="13257" y="1489"/>
                  </a:lnTo>
                  <a:lnTo>
                    <a:pt x="13399" y="1347"/>
                  </a:lnTo>
                  <a:lnTo>
                    <a:pt x="13399" y="1276"/>
                  </a:lnTo>
                  <a:lnTo>
                    <a:pt x="13399" y="1276"/>
                  </a:lnTo>
                  <a:lnTo>
                    <a:pt x="13470" y="1134"/>
                  </a:lnTo>
                  <a:lnTo>
                    <a:pt x="13541" y="922"/>
                  </a:lnTo>
                  <a:lnTo>
                    <a:pt x="13541" y="780"/>
                  </a:lnTo>
                  <a:lnTo>
                    <a:pt x="13541" y="780"/>
                  </a:lnTo>
                  <a:lnTo>
                    <a:pt x="13470" y="496"/>
                  </a:lnTo>
                  <a:lnTo>
                    <a:pt x="13399" y="213"/>
                  </a:lnTo>
                  <a:lnTo>
                    <a:pt x="13257" y="71"/>
                  </a:lnTo>
                  <a:lnTo>
                    <a:pt x="13044" y="0"/>
                  </a:lnTo>
                  <a:lnTo>
                    <a:pt x="497" y="0"/>
                  </a:lnTo>
                  <a:lnTo>
                    <a:pt x="497" y="0"/>
                  </a:lnTo>
                  <a:lnTo>
                    <a:pt x="284" y="71"/>
                  </a:lnTo>
                  <a:lnTo>
                    <a:pt x="142" y="213"/>
                  </a:lnTo>
                  <a:lnTo>
                    <a:pt x="72" y="426"/>
                  </a:lnTo>
                  <a:lnTo>
                    <a:pt x="1" y="709"/>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4" name="Google Shape;21312;p90">
              <a:extLst>
                <a:ext uri="{FF2B5EF4-FFF2-40B4-BE49-F238E27FC236}">
                  <a16:creationId xmlns:a16="http://schemas.microsoft.com/office/drawing/2014/main" id="{182475E3-AF06-D753-18CA-7D2D17AA315D}"/>
                </a:ext>
              </a:extLst>
            </p:cNvPr>
            <p:cNvSpPr/>
            <p:nvPr/>
          </p:nvSpPr>
          <p:spPr>
            <a:xfrm>
              <a:off x="5587550" y="4691750"/>
              <a:ext cx="338525" cy="40800"/>
            </a:xfrm>
            <a:custGeom>
              <a:avLst/>
              <a:gdLst/>
              <a:ahLst/>
              <a:cxnLst/>
              <a:rect l="l" t="t" r="r" b="b"/>
              <a:pathLst>
                <a:path w="13541" h="1632" extrusionOk="0">
                  <a:moveTo>
                    <a:pt x="497" y="1"/>
                  </a:moveTo>
                  <a:lnTo>
                    <a:pt x="284" y="72"/>
                  </a:lnTo>
                  <a:lnTo>
                    <a:pt x="142" y="214"/>
                  </a:lnTo>
                  <a:lnTo>
                    <a:pt x="71" y="426"/>
                  </a:lnTo>
                  <a:lnTo>
                    <a:pt x="0" y="710"/>
                  </a:lnTo>
                  <a:lnTo>
                    <a:pt x="0" y="852"/>
                  </a:lnTo>
                  <a:lnTo>
                    <a:pt x="71" y="1206"/>
                  </a:lnTo>
                  <a:lnTo>
                    <a:pt x="213" y="1490"/>
                  </a:lnTo>
                  <a:lnTo>
                    <a:pt x="213" y="1560"/>
                  </a:lnTo>
                  <a:lnTo>
                    <a:pt x="284" y="1560"/>
                  </a:lnTo>
                  <a:lnTo>
                    <a:pt x="355" y="1631"/>
                  </a:lnTo>
                  <a:lnTo>
                    <a:pt x="13115" y="1631"/>
                  </a:lnTo>
                  <a:lnTo>
                    <a:pt x="13257" y="1490"/>
                  </a:lnTo>
                  <a:lnTo>
                    <a:pt x="13399" y="1348"/>
                  </a:lnTo>
                  <a:lnTo>
                    <a:pt x="13399" y="1277"/>
                  </a:lnTo>
                  <a:lnTo>
                    <a:pt x="13469" y="1064"/>
                  </a:lnTo>
                  <a:lnTo>
                    <a:pt x="13540" y="922"/>
                  </a:lnTo>
                  <a:lnTo>
                    <a:pt x="13540" y="710"/>
                  </a:lnTo>
                  <a:lnTo>
                    <a:pt x="13469" y="426"/>
                  </a:lnTo>
                  <a:lnTo>
                    <a:pt x="13399" y="214"/>
                  </a:lnTo>
                  <a:lnTo>
                    <a:pt x="13257" y="72"/>
                  </a:lnTo>
                  <a:lnTo>
                    <a:pt x="13044" y="1"/>
                  </a:lnTo>
                  <a:close/>
                </a:path>
              </a:pathLst>
            </a:custGeom>
            <a:solidFill>
              <a:srgbClr val="46464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5" name="Google Shape;21313;p90">
              <a:extLst>
                <a:ext uri="{FF2B5EF4-FFF2-40B4-BE49-F238E27FC236}">
                  <a16:creationId xmlns:a16="http://schemas.microsoft.com/office/drawing/2014/main" id="{51F42746-589B-0365-0952-882E758E9BB5}"/>
                </a:ext>
              </a:extLst>
            </p:cNvPr>
            <p:cNvSpPr/>
            <p:nvPr/>
          </p:nvSpPr>
          <p:spPr>
            <a:xfrm>
              <a:off x="5587550" y="4691750"/>
              <a:ext cx="338525" cy="40800"/>
            </a:xfrm>
            <a:custGeom>
              <a:avLst/>
              <a:gdLst/>
              <a:ahLst/>
              <a:cxnLst/>
              <a:rect l="l" t="t" r="r" b="b"/>
              <a:pathLst>
                <a:path w="13541" h="1632" fill="none" extrusionOk="0">
                  <a:moveTo>
                    <a:pt x="0" y="710"/>
                  </a:moveTo>
                  <a:lnTo>
                    <a:pt x="0" y="852"/>
                  </a:lnTo>
                  <a:lnTo>
                    <a:pt x="0" y="852"/>
                  </a:lnTo>
                  <a:lnTo>
                    <a:pt x="71" y="1206"/>
                  </a:lnTo>
                  <a:lnTo>
                    <a:pt x="213" y="1490"/>
                  </a:lnTo>
                  <a:lnTo>
                    <a:pt x="213" y="1560"/>
                  </a:lnTo>
                  <a:lnTo>
                    <a:pt x="284" y="1560"/>
                  </a:lnTo>
                  <a:lnTo>
                    <a:pt x="284" y="1560"/>
                  </a:lnTo>
                  <a:lnTo>
                    <a:pt x="355" y="1631"/>
                  </a:lnTo>
                  <a:lnTo>
                    <a:pt x="497" y="1631"/>
                  </a:lnTo>
                  <a:lnTo>
                    <a:pt x="13044" y="1631"/>
                  </a:lnTo>
                  <a:lnTo>
                    <a:pt x="13115" y="1631"/>
                  </a:lnTo>
                  <a:lnTo>
                    <a:pt x="13115" y="1631"/>
                  </a:lnTo>
                  <a:lnTo>
                    <a:pt x="13257" y="1490"/>
                  </a:lnTo>
                  <a:lnTo>
                    <a:pt x="13399" y="1348"/>
                  </a:lnTo>
                  <a:lnTo>
                    <a:pt x="13399" y="1277"/>
                  </a:lnTo>
                  <a:lnTo>
                    <a:pt x="13399" y="1277"/>
                  </a:lnTo>
                  <a:lnTo>
                    <a:pt x="13469" y="1064"/>
                  </a:lnTo>
                  <a:lnTo>
                    <a:pt x="13540" y="922"/>
                  </a:lnTo>
                  <a:lnTo>
                    <a:pt x="13540" y="710"/>
                  </a:lnTo>
                  <a:lnTo>
                    <a:pt x="13540" y="710"/>
                  </a:lnTo>
                  <a:lnTo>
                    <a:pt x="13469" y="426"/>
                  </a:lnTo>
                  <a:lnTo>
                    <a:pt x="13399" y="214"/>
                  </a:lnTo>
                  <a:lnTo>
                    <a:pt x="13257" y="72"/>
                  </a:lnTo>
                  <a:lnTo>
                    <a:pt x="13044" y="1"/>
                  </a:lnTo>
                  <a:lnTo>
                    <a:pt x="497" y="1"/>
                  </a:lnTo>
                  <a:lnTo>
                    <a:pt x="497" y="1"/>
                  </a:lnTo>
                  <a:lnTo>
                    <a:pt x="284" y="72"/>
                  </a:lnTo>
                  <a:lnTo>
                    <a:pt x="142" y="214"/>
                  </a:lnTo>
                  <a:lnTo>
                    <a:pt x="71" y="426"/>
                  </a:lnTo>
                  <a:lnTo>
                    <a:pt x="0" y="71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6" name="Google Shape;21314;p90">
              <a:extLst>
                <a:ext uri="{FF2B5EF4-FFF2-40B4-BE49-F238E27FC236}">
                  <a16:creationId xmlns:a16="http://schemas.microsoft.com/office/drawing/2014/main" id="{11523F1C-750F-4885-ACD7-8DF293C28B4C}"/>
                </a:ext>
              </a:extLst>
            </p:cNvPr>
            <p:cNvSpPr/>
            <p:nvPr/>
          </p:nvSpPr>
          <p:spPr>
            <a:xfrm>
              <a:off x="5513125" y="4931000"/>
              <a:ext cx="336750" cy="40800"/>
            </a:xfrm>
            <a:custGeom>
              <a:avLst/>
              <a:gdLst/>
              <a:ahLst/>
              <a:cxnLst/>
              <a:rect l="l" t="t" r="r" b="b"/>
              <a:pathLst>
                <a:path w="13470" h="1632" extrusionOk="0">
                  <a:moveTo>
                    <a:pt x="425" y="1"/>
                  </a:moveTo>
                  <a:lnTo>
                    <a:pt x="213" y="72"/>
                  </a:lnTo>
                  <a:lnTo>
                    <a:pt x="71" y="214"/>
                  </a:lnTo>
                  <a:lnTo>
                    <a:pt x="0" y="497"/>
                  </a:lnTo>
                  <a:lnTo>
                    <a:pt x="0" y="781"/>
                  </a:lnTo>
                  <a:lnTo>
                    <a:pt x="0" y="923"/>
                  </a:lnTo>
                  <a:lnTo>
                    <a:pt x="0" y="1277"/>
                  </a:lnTo>
                  <a:lnTo>
                    <a:pt x="142" y="1490"/>
                  </a:lnTo>
                  <a:lnTo>
                    <a:pt x="213" y="1561"/>
                  </a:lnTo>
                  <a:lnTo>
                    <a:pt x="354" y="1631"/>
                  </a:lnTo>
                  <a:lnTo>
                    <a:pt x="13115" y="1631"/>
                  </a:lnTo>
                  <a:lnTo>
                    <a:pt x="13256" y="1561"/>
                  </a:lnTo>
                  <a:lnTo>
                    <a:pt x="13398" y="1348"/>
                  </a:lnTo>
                  <a:lnTo>
                    <a:pt x="13398" y="1277"/>
                  </a:lnTo>
                  <a:lnTo>
                    <a:pt x="13469" y="1135"/>
                  </a:lnTo>
                  <a:lnTo>
                    <a:pt x="13469" y="923"/>
                  </a:lnTo>
                  <a:lnTo>
                    <a:pt x="13469" y="781"/>
                  </a:lnTo>
                  <a:lnTo>
                    <a:pt x="13469" y="497"/>
                  </a:lnTo>
                  <a:lnTo>
                    <a:pt x="13398" y="214"/>
                  </a:lnTo>
                  <a:lnTo>
                    <a:pt x="13256" y="72"/>
                  </a:lnTo>
                  <a:lnTo>
                    <a:pt x="13044" y="1"/>
                  </a:lnTo>
                  <a:close/>
                </a:path>
              </a:pathLst>
            </a:custGeom>
            <a:solidFill>
              <a:srgbClr val="46464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7" name="Google Shape;21315;p90">
              <a:extLst>
                <a:ext uri="{FF2B5EF4-FFF2-40B4-BE49-F238E27FC236}">
                  <a16:creationId xmlns:a16="http://schemas.microsoft.com/office/drawing/2014/main" id="{0CD03195-6058-A1BA-B509-0107E9DE7D54}"/>
                </a:ext>
              </a:extLst>
            </p:cNvPr>
            <p:cNvSpPr/>
            <p:nvPr/>
          </p:nvSpPr>
          <p:spPr>
            <a:xfrm>
              <a:off x="5513125" y="4931000"/>
              <a:ext cx="336750" cy="40800"/>
            </a:xfrm>
            <a:custGeom>
              <a:avLst/>
              <a:gdLst/>
              <a:ahLst/>
              <a:cxnLst/>
              <a:rect l="l" t="t" r="r" b="b"/>
              <a:pathLst>
                <a:path w="13470" h="1632" fill="none" extrusionOk="0">
                  <a:moveTo>
                    <a:pt x="0" y="781"/>
                  </a:moveTo>
                  <a:lnTo>
                    <a:pt x="0" y="923"/>
                  </a:lnTo>
                  <a:lnTo>
                    <a:pt x="0" y="923"/>
                  </a:lnTo>
                  <a:lnTo>
                    <a:pt x="0" y="1277"/>
                  </a:lnTo>
                  <a:lnTo>
                    <a:pt x="142" y="1490"/>
                  </a:lnTo>
                  <a:lnTo>
                    <a:pt x="213" y="1561"/>
                  </a:lnTo>
                  <a:lnTo>
                    <a:pt x="213" y="1561"/>
                  </a:lnTo>
                  <a:lnTo>
                    <a:pt x="213" y="1561"/>
                  </a:lnTo>
                  <a:lnTo>
                    <a:pt x="354" y="1631"/>
                  </a:lnTo>
                  <a:lnTo>
                    <a:pt x="425" y="1631"/>
                  </a:lnTo>
                  <a:lnTo>
                    <a:pt x="13044" y="1631"/>
                  </a:lnTo>
                  <a:lnTo>
                    <a:pt x="13115" y="1631"/>
                  </a:lnTo>
                  <a:lnTo>
                    <a:pt x="13115" y="1631"/>
                  </a:lnTo>
                  <a:lnTo>
                    <a:pt x="13256" y="1561"/>
                  </a:lnTo>
                  <a:lnTo>
                    <a:pt x="13398" y="1348"/>
                  </a:lnTo>
                  <a:lnTo>
                    <a:pt x="13398" y="1277"/>
                  </a:lnTo>
                  <a:lnTo>
                    <a:pt x="13398" y="1277"/>
                  </a:lnTo>
                  <a:lnTo>
                    <a:pt x="13469" y="1135"/>
                  </a:lnTo>
                  <a:lnTo>
                    <a:pt x="13469" y="923"/>
                  </a:lnTo>
                  <a:lnTo>
                    <a:pt x="13469" y="781"/>
                  </a:lnTo>
                  <a:lnTo>
                    <a:pt x="13469" y="781"/>
                  </a:lnTo>
                  <a:lnTo>
                    <a:pt x="13469" y="497"/>
                  </a:lnTo>
                  <a:lnTo>
                    <a:pt x="13398" y="214"/>
                  </a:lnTo>
                  <a:lnTo>
                    <a:pt x="13256" y="72"/>
                  </a:lnTo>
                  <a:lnTo>
                    <a:pt x="13044" y="1"/>
                  </a:lnTo>
                  <a:lnTo>
                    <a:pt x="425" y="1"/>
                  </a:lnTo>
                  <a:lnTo>
                    <a:pt x="425" y="1"/>
                  </a:lnTo>
                  <a:lnTo>
                    <a:pt x="213" y="72"/>
                  </a:lnTo>
                  <a:lnTo>
                    <a:pt x="71" y="214"/>
                  </a:lnTo>
                  <a:lnTo>
                    <a:pt x="0" y="497"/>
                  </a:lnTo>
                  <a:lnTo>
                    <a:pt x="0" y="78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8" name="Google Shape;21316;p90">
              <a:extLst>
                <a:ext uri="{FF2B5EF4-FFF2-40B4-BE49-F238E27FC236}">
                  <a16:creationId xmlns:a16="http://schemas.microsoft.com/office/drawing/2014/main" id="{40BFCA22-6542-378F-F40D-EA2ABDFF2DA5}"/>
                </a:ext>
              </a:extLst>
            </p:cNvPr>
            <p:cNvSpPr/>
            <p:nvPr/>
          </p:nvSpPr>
          <p:spPr>
            <a:xfrm>
              <a:off x="5429825" y="5196850"/>
              <a:ext cx="338525" cy="40775"/>
            </a:xfrm>
            <a:custGeom>
              <a:avLst/>
              <a:gdLst/>
              <a:ahLst/>
              <a:cxnLst/>
              <a:rect l="l" t="t" r="r" b="b"/>
              <a:pathLst>
                <a:path w="13541" h="1631" extrusionOk="0">
                  <a:moveTo>
                    <a:pt x="496" y="0"/>
                  </a:moveTo>
                  <a:lnTo>
                    <a:pt x="284" y="71"/>
                  </a:lnTo>
                  <a:lnTo>
                    <a:pt x="142" y="213"/>
                  </a:lnTo>
                  <a:lnTo>
                    <a:pt x="71" y="497"/>
                  </a:lnTo>
                  <a:lnTo>
                    <a:pt x="0" y="780"/>
                  </a:lnTo>
                  <a:lnTo>
                    <a:pt x="0" y="922"/>
                  </a:lnTo>
                  <a:lnTo>
                    <a:pt x="71" y="1276"/>
                  </a:lnTo>
                  <a:lnTo>
                    <a:pt x="213" y="1489"/>
                  </a:lnTo>
                  <a:lnTo>
                    <a:pt x="213" y="1560"/>
                  </a:lnTo>
                  <a:lnTo>
                    <a:pt x="284" y="1560"/>
                  </a:lnTo>
                  <a:lnTo>
                    <a:pt x="355" y="1631"/>
                  </a:lnTo>
                  <a:lnTo>
                    <a:pt x="13115" y="1631"/>
                  </a:lnTo>
                  <a:lnTo>
                    <a:pt x="13257" y="1560"/>
                  </a:lnTo>
                  <a:lnTo>
                    <a:pt x="13398" y="1347"/>
                  </a:lnTo>
                  <a:lnTo>
                    <a:pt x="13398" y="1276"/>
                  </a:lnTo>
                  <a:lnTo>
                    <a:pt x="13469" y="1135"/>
                  </a:lnTo>
                  <a:lnTo>
                    <a:pt x="13540" y="922"/>
                  </a:lnTo>
                  <a:lnTo>
                    <a:pt x="13540" y="780"/>
                  </a:lnTo>
                  <a:lnTo>
                    <a:pt x="13469" y="497"/>
                  </a:lnTo>
                  <a:lnTo>
                    <a:pt x="13398" y="213"/>
                  </a:lnTo>
                  <a:lnTo>
                    <a:pt x="13257" y="71"/>
                  </a:lnTo>
                  <a:lnTo>
                    <a:pt x="13044" y="0"/>
                  </a:lnTo>
                  <a:close/>
                </a:path>
              </a:pathLst>
            </a:custGeom>
            <a:solidFill>
              <a:srgbClr val="46464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9" name="Google Shape;21317;p90">
              <a:extLst>
                <a:ext uri="{FF2B5EF4-FFF2-40B4-BE49-F238E27FC236}">
                  <a16:creationId xmlns:a16="http://schemas.microsoft.com/office/drawing/2014/main" id="{9DBF6E67-9421-77DE-C96A-F8A46A93F186}"/>
                </a:ext>
              </a:extLst>
            </p:cNvPr>
            <p:cNvSpPr/>
            <p:nvPr/>
          </p:nvSpPr>
          <p:spPr>
            <a:xfrm>
              <a:off x="5429825" y="5196850"/>
              <a:ext cx="338525" cy="40775"/>
            </a:xfrm>
            <a:custGeom>
              <a:avLst/>
              <a:gdLst/>
              <a:ahLst/>
              <a:cxnLst/>
              <a:rect l="l" t="t" r="r" b="b"/>
              <a:pathLst>
                <a:path w="13541" h="1631" fill="none" extrusionOk="0">
                  <a:moveTo>
                    <a:pt x="0" y="780"/>
                  </a:moveTo>
                  <a:lnTo>
                    <a:pt x="0" y="922"/>
                  </a:lnTo>
                  <a:lnTo>
                    <a:pt x="0" y="922"/>
                  </a:lnTo>
                  <a:lnTo>
                    <a:pt x="71" y="1276"/>
                  </a:lnTo>
                  <a:lnTo>
                    <a:pt x="213" y="1489"/>
                  </a:lnTo>
                  <a:lnTo>
                    <a:pt x="213" y="1560"/>
                  </a:lnTo>
                  <a:lnTo>
                    <a:pt x="284" y="1560"/>
                  </a:lnTo>
                  <a:lnTo>
                    <a:pt x="284" y="1560"/>
                  </a:lnTo>
                  <a:lnTo>
                    <a:pt x="355" y="1631"/>
                  </a:lnTo>
                  <a:lnTo>
                    <a:pt x="496" y="1631"/>
                  </a:lnTo>
                  <a:lnTo>
                    <a:pt x="13044" y="1631"/>
                  </a:lnTo>
                  <a:lnTo>
                    <a:pt x="13115" y="1631"/>
                  </a:lnTo>
                  <a:lnTo>
                    <a:pt x="13115" y="1631"/>
                  </a:lnTo>
                  <a:lnTo>
                    <a:pt x="13257" y="1560"/>
                  </a:lnTo>
                  <a:lnTo>
                    <a:pt x="13398" y="1347"/>
                  </a:lnTo>
                  <a:lnTo>
                    <a:pt x="13398" y="1276"/>
                  </a:lnTo>
                  <a:lnTo>
                    <a:pt x="13398" y="1276"/>
                  </a:lnTo>
                  <a:lnTo>
                    <a:pt x="13469" y="1135"/>
                  </a:lnTo>
                  <a:lnTo>
                    <a:pt x="13540" y="922"/>
                  </a:lnTo>
                  <a:lnTo>
                    <a:pt x="13540" y="780"/>
                  </a:lnTo>
                  <a:lnTo>
                    <a:pt x="13540" y="780"/>
                  </a:lnTo>
                  <a:lnTo>
                    <a:pt x="13469" y="497"/>
                  </a:lnTo>
                  <a:lnTo>
                    <a:pt x="13398" y="213"/>
                  </a:lnTo>
                  <a:lnTo>
                    <a:pt x="13257" y="71"/>
                  </a:lnTo>
                  <a:lnTo>
                    <a:pt x="13044" y="0"/>
                  </a:lnTo>
                  <a:lnTo>
                    <a:pt x="496" y="0"/>
                  </a:lnTo>
                  <a:lnTo>
                    <a:pt x="496" y="0"/>
                  </a:lnTo>
                  <a:lnTo>
                    <a:pt x="284" y="71"/>
                  </a:lnTo>
                  <a:lnTo>
                    <a:pt x="142" y="213"/>
                  </a:lnTo>
                  <a:lnTo>
                    <a:pt x="71" y="497"/>
                  </a:lnTo>
                  <a:lnTo>
                    <a:pt x="0" y="78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0" name="Google Shape;21318;p90">
              <a:extLst>
                <a:ext uri="{FF2B5EF4-FFF2-40B4-BE49-F238E27FC236}">
                  <a16:creationId xmlns:a16="http://schemas.microsoft.com/office/drawing/2014/main" id="{173D2FBB-EEA1-8CCB-D167-356A3EBCD109}"/>
                </a:ext>
              </a:extLst>
            </p:cNvPr>
            <p:cNvSpPr/>
            <p:nvPr/>
          </p:nvSpPr>
          <p:spPr>
            <a:xfrm>
              <a:off x="5665525" y="4216800"/>
              <a:ext cx="412950" cy="1260075"/>
            </a:xfrm>
            <a:custGeom>
              <a:avLst/>
              <a:gdLst/>
              <a:ahLst/>
              <a:cxnLst/>
              <a:rect l="l" t="t" r="r" b="b"/>
              <a:pathLst>
                <a:path w="16518" h="50403" extrusionOk="0">
                  <a:moveTo>
                    <a:pt x="15242" y="0"/>
                  </a:moveTo>
                  <a:lnTo>
                    <a:pt x="15100" y="71"/>
                  </a:lnTo>
                  <a:lnTo>
                    <a:pt x="14887" y="213"/>
                  </a:lnTo>
                  <a:lnTo>
                    <a:pt x="14816" y="426"/>
                  </a:lnTo>
                  <a:lnTo>
                    <a:pt x="1" y="50403"/>
                  </a:lnTo>
                  <a:lnTo>
                    <a:pt x="1844" y="50403"/>
                  </a:lnTo>
                  <a:lnTo>
                    <a:pt x="16518" y="993"/>
                  </a:lnTo>
                  <a:lnTo>
                    <a:pt x="16518" y="780"/>
                  </a:lnTo>
                  <a:lnTo>
                    <a:pt x="16447" y="568"/>
                  </a:lnTo>
                  <a:lnTo>
                    <a:pt x="16305" y="355"/>
                  </a:lnTo>
                  <a:lnTo>
                    <a:pt x="16163" y="284"/>
                  </a:lnTo>
                  <a:lnTo>
                    <a:pt x="15525" y="71"/>
                  </a:lnTo>
                  <a:lnTo>
                    <a:pt x="15242" y="0"/>
                  </a:lnTo>
                  <a:close/>
                </a:path>
              </a:pathLst>
            </a:custGeom>
            <a:solidFill>
              <a:srgbClr val="2D2D2D"/>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1" name="Google Shape;21319;p90">
              <a:extLst>
                <a:ext uri="{FF2B5EF4-FFF2-40B4-BE49-F238E27FC236}">
                  <a16:creationId xmlns:a16="http://schemas.microsoft.com/office/drawing/2014/main" id="{2C765128-608A-0344-8166-3C3F54146256}"/>
                </a:ext>
              </a:extLst>
            </p:cNvPr>
            <p:cNvSpPr/>
            <p:nvPr/>
          </p:nvSpPr>
          <p:spPr>
            <a:xfrm>
              <a:off x="5665525" y="4216800"/>
              <a:ext cx="412950" cy="1260075"/>
            </a:xfrm>
            <a:custGeom>
              <a:avLst/>
              <a:gdLst/>
              <a:ahLst/>
              <a:cxnLst/>
              <a:rect l="l" t="t" r="r" b="b"/>
              <a:pathLst>
                <a:path w="16518" h="50403" fill="none" extrusionOk="0">
                  <a:moveTo>
                    <a:pt x="1844" y="50403"/>
                  </a:moveTo>
                  <a:lnTo>
                    <a:pt x="16518" y="993"/>
                  </a:lnTo>
                  <a:lnTo>
                    <a:pt x="16518" y="993"/>
                  </a:lnTo>
                  <a:lnTo>
                    <a:pt x="16518" y="780"/>
                  </a:lnTo>
                  <a:lnTo>
                    <a:pt x="16447" y="568"/>
                  </a:lnTo>
                  <a:lnTo>
                    <a:pt x="16305" y="355"/>
                  </a:lnTo>
                  <a:lnTo>
                    <a:pt x="16163" y="284"/>
                  </a:lnTo>
                  <a:lnTo>
                    <a:pt x="15525" y="71"/>
                  </a:lnTo>
                  <a:lnTo>
                    <a:pt x="15525" y="71"/>
                  </a:lnTo>
                  <a:lnTo>
                    <a:pt x="15242" y="0"/>
                  </a:lnTo>
                  <a:lnTo>
                    <a:pt x="15100" y="71"/>
                  </a:lnTo>
                  <a:lnTo>
                    <a:pt x="14887" y="213"/>
                  </a:lnTo>
                  <a:lnTo>
                    <a:pt x="14816" y="426"/>
                  </a:lnTo>
                  <a:lnTo>
                    <a:pt x="1" y="50403"/>
                  </a:lnTo>
                  <a:lnTo>
                    <a:pt x="1844" y="50403"/>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2" name="Google Shape;21320;p90">
              <a:extLst>
                <a:ext uri="{FF2B5EF4-FFF2-40B4-BE49-F238E27FC236}">
                  <a16:creationId xmlns:a16="http://schemas.microsoft.com/office/drawing/2014/main" id="{985CEC82-417E-78B5-C4B7-018B3FEE7EE4}"/>
                </a:ext>
              </a:extLst>
            </p:cNvPr>
            <p:cNvSpPr/>
            <p:nvPr/>
          </p:nvSpPr>
          <p:spPr>
            <a:xfrm>
              <a:off x="5667300" y="4482625"/>
              <a:ext cx="1800" cy="1800"/>
            </a:xfrm>
            <a:custGeom>
              <a:avLst/>
              <a:gdLst/>
              <a:ahLst/>
              <a:cxnLst/>
              <a:rect l="l" t="t" r="r" b="b"/>
              <a:pathLst>
                <a:path w="72" h="72" extrusionOk="0">
                  <a:moveTo>
                    <a:pt x="0" y="1"/>
                  </a:moveTo>
                  <a:lnTo>
                    <a:pt x="71" y="72"/>
                  </a:lnTo>
                  <a:lnTo>
                    <a:pt x="71" y="1"/>
                  </a:lnTo>
                  <a:close/>
                </a:path>
              </a:pathLst>
            </a:custGeom>
            <a:solidFill>
              <a:srgbClr val="2B2B32"/>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3" name="Google Shape;21321;p90">
              <a:extLst>
                <a:ext uri="{FF2B5EF4-FFF2-40B4-BE49-F238E27FC236}">
                  <a16:creationId xmlns:a16="http://schemas.microsoft.com/office/drawing/2014/main" id="{1A0DC0ED-3F9C-1374-6071-C108D17214DE}"/>
                </a:ext>
              </a:extLst>
            </p:cNvPr>
            <p:cNvSpPr/>
            <p:nvPr/>
          </p:nvSpPr>
          <p:spPr>
            <a:xfrm>
              <a:off x="5667300" y="4482625"/>
              <a:ext cx="1800" cy="1800"/>
            </a:xfrm>
            <a:custGeom>
              <a:avLst/>
              <a:gdLst/>
              <a:ahLst/>
              <a:cxnLst/>
              <a:rect l="l" t="t" r="r" b="b"/>
              <a:pathLst>
                <a:path w="72" h="72" fill="none" extrusionOk="0">
                  <a:moveTo>
                    <a:pt x="71" y="1"/>
                  </a:moveTo>
                  <a:lnTo>
                    <a:pt x="0" y="1"/>
                  </a:lnTo>
                  <a:lnTo>
                    <a:pt x="71" y="72"/>
                  </a:lnTo>
                  <a:lnTo>
                    <a:pt x="71" y="1"/>
                  </a:lnTo>
                  <a:lnTo>
                    <a:pt x="71"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4" name="Google Shape;21322;p90">
              <a:extLst>
                <a:ext uri="{FF2B5EF4-FFF2-40B4-BE49-F238E27FC236}">
                  <a16:creationId xmlns:a16="http://schemas.microsoft.com/office/drawing/2014/main" id="{FAA00FFA-AA35-689B-00BD-A5009156C938}"/>
                </a:ext>
              </a:extLst>
            </p:cNvPr>
            <p:cNvSpPr/>
            <p:nvPr/>
          </p:nvSpPr>
          <p:spPr>
            <a:xfrm>
              <a:off x="5669075" y="4468450"/>
              <a:ext cx="294200" cy="17750"/>
            </a:xfrm>
            <a:custGeom>
              <a:avLst/>
              <a:gdLst/>
              <a:ahLst/>
              <a:cxnLst/>
              <a:rect l="l" t="t" r="r" b="b"/>
              <a:pathLst>
                <a:path w="11768" h="710" extrusionOk="0">
                  <a:moveTo>
                    <a:pt x="5813" y="72"/>
                  </a:moveTo>
                  <a:lnTo>
                    <a:pt x="3899" y="143"/>
                  </a:lnTo>
                  <a:lnTo>
                    <a:pt x="2198" y="284"/>
                  </a:lnTo>
                  <a:lnTo>
                    <a:pt x="851" y="426"/>
                  </a:lnTo>
                  <a:lnTo>
                    <a:pt x="0" y="568"/>
                  </a:lnTo>
                  <a:lnTo>
                    <a:pt x="0" y="639"/>
                  </a:lnTo>
                  <a:lnTo>
                    <a:pt x="284" y="710"/>
                  </a:lnTo>
                  <a:lnTo>
                    <a:pt x="6026" y="710"/>
                  </a:lnTo>
                  <a:lnTo>
                    <a:pt x="5813" y="72"/>
                  </a:lnTo>
                  <a:close/>
                  <a:moveTo>
                    <a:pt x="7656" y="1"/>
                  </a:moveTo>
                  <a:lnTo>
                    <a:pt x="7869" y="710"/>
                  </a:lnTo>
                  <a:lnTo>
                    <a:pt x="11555" y="710"/>
                  </a:lnTo>
                  <a:lnTo>
                    <a:pt x="11768" y="143"/>
                  </a:lnTo>
                  <a:lnTo>
                    <a:pt x="9996" y="72"/>
                  </a:lnTo>
                  <a:lnTo>
                    <a:pt x="8011" y="1"/>
                  </a:lnTo>
                  <a:close/>
                </a:path>
              </a:pathLst>
            </a:custGeom>
            <a:solidFill>
              <a:srgbClr val="3C3C4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5" name="Google Shape;21323;p90">
              <a:extLst>
                <a:ext uri="{FF2B5EF4-FFF2-40B4-BE49-F238E27FC236}">
                  <a16:creationId xmlns:a16="http://schemas.microsoft.com/office/drawing/2014/main" id="{28C6274C-BF07-823C-C94E-890027AB185F}"/>
                </a:ext>
              </a:extLst>
            </p:cNvPr>
            <p:cNvSpPr/>
            <p:nvPr/>
          </p:nvSpPr>
          <p:spPr>
            <a:xfrm>
              <a:off x="5669075" y="4470225"/>
              <a:ext cx="150650" cy="15975"/>
            </a:xfrm>
            <a:custGeom>
              <a:avLst/>
              <a:gdLst/>
              <a:ahLst/>
              <a:cxnLst/>
              <a:rect l="l" t="t" r="r" b="b"/>
              <a:pathLst>
                <a:path w="6026" h="639" fill="none" extrusionOk="0">
                  <a:moveTo>
                    <a:pt x="5813" y="1"/>
                  </a:moveTo>
                  <a:lnTo>
                    <a:pt x="5813" y="1"/>
                  </a:lnTo>
                  <a:lnTo>
                    <a:pt x="3899" y="72"/>
                  </a:lnTo>
                  <a:lnTo>
                    <a:pt x="2198" y="213"/>
                  </a:lnTo>
                  <a:lnTo>
                    <a:pt x="851" y="355"/>
                  </a:lnTo>
                  <a:lnTo>
                    <a:pt x="0" y="497"/>
                  </a:lnTo>
                  <a:lnTo>
                    <a:pt x="0" y="497"/>
                  </a:lnTo>
                  <a:lnTo>
                    <a:pt x="0" y="497"/>
                  </a:lnTo>
                  <a:lnTo>
                    <a:pt x="0" y="568"/>
                  </a:lnTo>
                  <a:lnTo>
                    <a:pt x="0" y="568"/>
                  </a:lnTo>
                  <a:lnTo>
                    <a:pt x="284" y="639"/>
                  </a:lnTo>
                  <a:lnTo>
                    <a:pt x="6026" y="639"/>
                  </a:lnTo>
                  <a:lnTo>
                    <a:pt x="5813"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6" name="Google Shape;21324;p90">
              <a:extLst>
                <a:ext uri="{FF2B5EF4-FFF2-40B4-BE49-F238E27FC236}">
                  <a16:creationId xmlns:a16="http://schemas.microsoft.com/office/drawing/2014/main" id="{3619D4C5-286B-01D7-19FE-30C5A3BCE1A4}"/>
                </a:ext>
              </a:extLst>
            </p:cNvPr>
            <p:cNvSpPr/>
            <p:nvPr/>
          </p:nvSpPr>
          <p:spPr>
            <a:xfrm>
              <a:off x="5860475" y="4468450"/>
              <a:ext cx="102800" cy="17750"/>
            </a:xfrm>
            <a:custGeom>
              <a:avLst/>
              <a:gdLst/>
              <a:ahLst/>
              <a:cxnLst/>
              <a:rect l="l" t="t" r="r" b="b"/>
              <a:pathLst>
                <a:path w="4112" h="710" fill="none" extrusionOk="0">
                  <a:moveTo>
                    <a:pt x="355" y="1"/>
                  </a:moveTo>
                  <a:lnTo>
                    <a:pt x="355" y="1"/>
                  </a:lnTo>
                  <a:lnTo>
                    <a:pt x="0" y="1"/>
                  </a:lnTo>
                  <a:lnTo>
                    <a:pt x="213" y="710"/>
                  </a:lnTo>
                  <a:lnTo>
                    <a:pt x="3899" y="710"/>
                  </a:lnTo>
                  <a:lnTo>
                    <a:pt x="4112" y="143"/>
                  </a:lnTo>
                  <a:lnTo>
                    <a:pt x="4112" y="143"/>
                  </a:lnTo>
                  <a:lnTo>
                    <a:pt x="2340" y="72"/>
                  </a:lnTo>
                  <a:lnTo>
                    <a:pt x="355"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7" name="Google Shape;21325;p90">
              <a:extLst>
                <a:ext uri="{FF2B5EF4-FFF2-40B4-BE49-F238E27FC236}">
                  <a16:creationId xmlns:a16="http://schemas.microsoft.com/office/drawing/2014/main" id="{1B7F8F75-5112-E6C3-4D57-A7CA182DCC0C}"/>
                </a:ext>
              </a:extLst>
            </p:cNvPr>
            <p:cNvSpPr/>
            <p:nvPr/>
          </p:nvSpPr>
          <p:spPr>
            <a:xfrm>
              <a:off x="5957950" y="4472000"/>
              <a:ext cx="40775" cy="14200"/>
            </a:xfrm>
            <a:custGeom>
              <a:avLst/>
              <a:gdLst/>
              <a:ahLst/>
              <a:cxnLst/>
              <a:rect l="l" t="t" r="r" b="b"/>
              <a:pathLst>
                <a:path w="1631" h="568" extrusionOk="0">
                  <a:moveTo>
                    <a:pt x="213" y="1"/>
                  </a:moveTo>
                  <a:lnTo>
                    <a:pt x="0" y="568"/>
                  </a:lnTo>
                  <a:lnTo>
                    <a:pt x="1347" y="568"/>
                  </a:lnTo>
                  <a:lnTo>
                    <a:pt x="1489" y="426"/>
                  </a:lnTo>
                  <a:lnTo>
                    <a:pt x="1631" y="284"/>
                  </a:lnTo>
                  <a:lnTo>
                    <a:pt x="1631" y="213"/>
                  </a:lnTo>
                  <a:lnTo>
                    <a:pt x="213" y="1"/>
                  </a:lnTo>
                  <a:close/>
                </a:path>
              </a:pathLst>
            </a:custGeom>
            <a:solidFill>
              <a:srgbClr val="2E2E2E"/>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8" name="Google Shape;21326;p90">
              <a:extLst>
                <a:ext uri="{FF2B5EF4-FFF2-40B4-BE49-F238E27FC236}">
                  <a16:creationId xmlns:a16="http://schemas.microsoft.com/office/drawing/2014/main" id="{C40EAEAE-9CE4-157D-1189-F735EEDDAC28}"/>
                </a:ext>
              </a:extLst>
            </p:cNvPr>
            <p:cNvSpPr/>
            <p:nvPr/>
          </p:nvSpPr>
          <p:spPr>
            <a:xfrm>
              <a:off x="5957950" y="4472000"/>
              <a:ext cx="40775" cy="14200"/>
            </a:xfrm>
            <a:custGeom>
              <a:avLst/>
              <a:gdLst/>
              <a:ahLst/>
              <a:cxnLst/>
              <a:rect l="l" t="t" r="r" b="b"/>
              <a:pathLst>
                <a:path w="1631" h="568" fill="none" extrusionOk="0">
                  <a:moveTo>
                    <a:pt x="213" y="1"/>
                  </a:moveTo>
                  <a:lnTo>
                    <a:pt x="213" y="1"/>
                  </a:lnTo>
                  <a:lnTo>
                    <a:pt x="0" y="568"/>
                  </a:lnTo>
                  <a:lnTo>
                    <a:pt x="1276" y="568"/>
                  </a:lnTo>
                  <a:lnTo>
                    <a:pt x="1347" y="568"/>
                  </a:lnTo>
                  <a:lnTo>
                    <a:pt x="1347" y="568"/>
                  </a:lnTo>
                  <a:lnTo>
                    <a:pt x="1489" y="426"/>
                  </a:lnTo>
                  <a:lnTo>
                    <a:pt x="1631" y="284"/>
                  </a:lnTo>
                  <a:lnTo>
                    <a:pt x="1631" y="213"/>
                  </a:lnTo>
                  <a:lnTo>
                    <a:pt x="1631" y="213"/>
                  </a:lnTo>
                  <a:lnTo>
                    <a:pt x="213"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9" name="Google Shape;21327;p90">
              <a:extLst>
                <a:ext uri="{FF2B5EF4-FFF2-40B4-BE49-F238E27FC236}">
                  <a16:creationId xmlns:a16="http://schemas.microsoft.com/office/drawing/2014/main" id="{7B1816DD-8D2C-C5DD-739F-94D48F691D79}"/>
                </a:ext>
              </a:extLst>
            </p:cNvPr>
            <p:cNvSpPr/>
            <p:nvPr/>
          </p:nvSpPr>
          <p:spPr>
            <a:xfrm>
              <a:off x="5592875" y="4728975"/>
              <a:ext cx="25" cy="1800"/>
            </a:xfrm>
            <a:custGeom>
              <a:avLst/>
              <a:gdLst/>
              <a:ahLst/>
              <a:cxnLst/>
              <a:rect l="l" t="t" r="r" b="b"/>
              <a:pathLst>
                <a:path w="1" h="72" extrusionOk="0">
                  <a:moveTo>
                    <a:pt x="0" y="1"/>
                  </a:moveTo>
                  <a:lnTo>
                    <a:pt x="0" y="1"/>
                  </a:lnTo>
                  <a:lnTo>
                    <a:pt x="0" y="71"/>
                  </a:lnTo>
                  <a:lnTo>
                    <a:pt x="0" y="1"/>
                  </a:lnTo>
                  <a:lnTo>
                    <a:pt x="0" y="1"/>
                  </a:lnTo>
                  <a:close/>
                </a:path>
              </a:pathLst>
            </a:custGeom>
            <a:solidFill>
              <a:srgbClr val="2B2B32"/>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0" name="Google Shape;21328;p90">
              <a:extLst>
                <a:ext uri="{FF2B5EF4-FFF2-40B4-BE49-F238E27FC236}">
                  <a16:creationId xmlns:a16="http://schemas.microsoft.com/office/drawing/2014/main" id="{74E2DE5E-B68A-9524-105B-24867321353A}"/>
                </a:ext>
              </a:extLst>
            </p:cNvPr>
            <p:cNvSpPr/>
            <p:nvPr/>
          </p:nvSpPr>
          <p:spPr>
            <a:xfrm>
              <a:off x="5592875" y="4728975"/>
              <a:ext cx="25" cy="1800"/>
            </a:xfrm>
            <a:custGeom>
              <a:avLst/>
              <a:gdLst/>
              <a:ahLst/>
              <a:cxnLst/>
              <a:rect l="l" t="t" r="r" b="b"/>
              <a:pathLst>
                <a:path w="1" h="72" fill="none" extrusionOk="0">
                  <a:moveTo>
                    <a:pt x="0" y="1"/>
                  </a:moveTo>
                  <a:lnTo>
                    <a:pt x="0" y="1"/>
                  </a:lnTo>
                  <a:lnTo>
                    <a:pt x="0" y="71"/>
                  </a:lnTo>
                  <a:lnTo>
                    <a:pt x="0" y="1"/>
                  </a:lnTo>
                  <a:lnTo>
                    <a:pt x="0"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1" name="Google Shape;21329;p90">
              <a:extLst>
                <a:ext uri="{FF2B5EF4-FFF2-40B4-BE49-F238E27FC236}">
                  <a16:creationId xmlns:a16="http://schemas.microsoft.com/office/drawing/2014/main" id="{C133B6CF-73EF-D498-6E09-B2BB0DB50B54}"/>
                </a:ext>
              </a:extLst>
            </p:cNvPr>
            <p:cNvSpPr/>
            <p:nvPr/>
          </p:nvSpPr>
          <p:spPr>
            <a:xfrm>
              <a:off x="5592875" y="4714800"/>
              <a:ext cx="295975" cy="17750"/>
            </a:xfrm>
            <a:custGeom>
              <a:avLst/>
              <a:gdLst/>
              <a:ahLst/>
              <a:cxnLst/>
              <a:rect l="l" t="t" r="r" b="b"/>
              <a:pathLst>
                <a:path w="11839" h="710" extrusionOk="0">
                  <a:moveTo>
                    <a:pt x="8011" y="0"/>
                  </a:moveTo>
                  <a:lnTo>
                    <a:pt x="5459" y="71"/>
                  </a:lnTo>
                  <a:lnTo>
                    <a:pt x="3119" y="213"/>
                  </a:lnTo>
                  <a:lnTo>
                    <a:pt x="1205" y="355"/>
                  </a:lnTo>
                  <a:lnTo>
                    <a:pt x="0" y="568"/>
                  </a:lnTo>
                  <a:lnTo>
                    <a:pt x="0" y="638"/>
                  </a:lnTo>
                  <a:lnTo>
                    <a:pt x="284" y="709"/>
                  </a:lnTo>
                  <a:lnTo>
                    <a:pt x="11697" y="709"/>
                  </a:lnTo>
                  <a:lnTo>
                    <a:pt x="11839" y="355"/>
                  </a:lnTo>
                  <a:lnTo>
                    <a:pt x="11768" y="142"/>
                  </a:lnTo>
                  <a:lnTo>
                    <a:pt x="9996" y="71"/>
                  </a:lnTo>
                  <a:lnTo>
                    <a:pt x="8011" y="0"/>
                  </a:lnTo>
                  <a:close/>
                </a:path>
              </a:pathLst>
            </a:custGeom>
            <a:solidFill>
              <a:srgbClr val="3C3C4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2" name="Google Shape;21330;p90">
              <a:extLst>
                <a:ext uri="{FF2B5EF4-FFF2-40B4-BE49-F238E27FC236}">
                  <a16:creationId xmlns:a16="http://schemas.microsoft.com/office/drawing/2014/main" id="{8316B4CE-7D1B-FD99-1677-9090ABFD841A}"/>
                </a:ext>
              </a:extLst>
            </p:cNvPr>
            <p:cNvSpPr/>
            <p:nvPr/>
          </p:nvSpPr>
          <p:spPr>
            <a:xfrm>
              <a:off x="5592875" y="4714800"/>
              <a:ext cx="295975" cy="17750"/>
            </a:xfrm>
            <a:custGeom>
              <a:avLst/>
              <a:gdLst/>
              <a:ahLst/>
              <a:cxnLst/>
              <a:rect l="l" t="t" r="r" b="b"/>
              <a:pathLst>
                <a:path w="11839" h="710" fill="none" extrusionOk="0">
                  <a:moveTo>
                    <a:pt x="8011" y="0"/>
                  </a:moveTo>
                  <a:lnTo>
                    <a:pt x="8011" y="0"/>
                  </a:lnTo>
                  <a:lnTo>
                    <a:pt x="5459" y="71"/>
                  </a:lnTo>
                  <a:lnTo>
                    <a:pt x="3119" y="213"/>
                  </a:lnTo>
                  <a:lnTo>
                    <a:pt x="1205" y="355"/>
                  </a:lnTo>
                  <a:lnTo>
                    <a:pt x="0" y="568"/>
                  </a:lnTo>
                  <a:lnTo>
                    <a:pt x="0" y="568"/>
                  </a:lnTo>
                  <a:lnTo>
                    <a:pt x="0" y="568"/>
                  </a:lnTo>
                  <a:lnTo>
                    <a:pt x="0" y="638"/>
                  </a:lnTo>
                  <a:lnTo>
                    <a:pt x="0" y="638"/>
                  </a:lnTo>
                  <a:lnTo>
                    <a:pt x="284" y="709"/>
                  </a:lnTo>
                  <a:lnTo>
                    <a:pt x="11697" y="709"/>
                  </a:lnTo>
                  <a:lnTo>
                    <a:pt x="11839" y="355"/>
                  </a:lnTo>
                  <a:lnTo>
                    <a:pt x="11768" y="142"/>
                  </a:lnTo>
                  <a:lnTo>
                    <a:pt x="11768" y="142"/>
                  </a:lnTo>
                  <a:lnTo>
                    <a:pt x="9996" y="71"/>
                  </a:lnTo>
                  <a:lnTo>
                    <a:pt x="8011"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3" name="Google Shape;21331;p90">
              <a:extLst>
                <a:ext uri="{FF2B5EF4-FFF2-40B4-BE49-F238E27FC236}">
                  <a16:creationId xmlns:a16="http://schemas.microsoft.com/office/drawing/2014/main" id="{36931369-C099-6A22-5363-E67D7E39EB4A}"/>
                </a:ext>
              </a:extLst>
            </p:cNvPr>
            <p:cNvSpPr/>
            <p:nvPr/>
          </p:nvSpPr>
          <p:spPr>
            <a:xfrm>
              <a:off x="5885275" y="4723650"/>
              <a:ext cx="5350" cy="8900"/>
            </a:xfrm>
            <a:custGeom>
              <a:avLst/>
              <a:gdLst/>
              <a:ahLst/>
              <a:cxnLst/>
              <a:rect l="l" t="t" r="r" b="b"/>
              <a:pathLst>
                <a:path w="214" h="356" extrusionOk="0">
                  <a:moveTo>
                    <a:pt x="143" y="1"/>
                  </a:moveTo>
                  <a:lnTo>
                    <a:pt x="1" y="355"/>
                  </a:lnTo>
                  <a:lnTo>
                    <a:pt x="214" y="355"/>
                  </a:lnTo>
                  <a:lnTo>
                    <a:pt x="143" y="1"/>
                  </a:lnTo>
                  <a:close/>
                </a:path>
              </a:pathLst>
            </a:custGeom>
            <a:solidFill>
              <a:srgbClr val="2E2E2E"/>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4" name="Google Shape;21332;p90">
              <a:extLst>
                <a:ext uri="{FF2B5EF4-FFF2-40B4-BE49-F238E27FC236}">
                  <a16:creationId xmlns:a16="http://schemas.microsoft.com/office/drawing/2014/main" id="{C10E443C-6D1D-86D6-18BF-0EF6E27DC60C}"/>
                </a:ext>
              </a:extLst>
            </p:cNvPr>
            <p:cNvSpPr/>
            <p:nvPr/>
          </p:nvSpPr>
          <p:spPr>
            <a:xfrm>
              <a:off x="5885275" y="4723650"/>
              <a:ext cx="5350" cy="8900"/>
            </a:xfrm>
            <a:custGeom>
              <a:avLst/>
              <a:gdLst/>
              <a:ahLst/>
              <a:cxnLst/>
              <a:rect l="l" t="t" r="r" b="b"/>
              <a:pathLst>
                <a:path w="214" h="356" fill="none" extrusionOk="0">
                  <a:moveTo>
                    <a:pt x="143" y="1"/>
                  </a:moveTo>
                  <a:lnTo>
                    <a:pt x="1" y="355"/>
                  </a:lnTo>
                  <a:lnTo>
                    <a:pt x="214" y="355"/>
                  </a:lnTo>
                  <a:lnTo>
                    <a:pt x="143"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5" name="Google Shape;21333;p90">
              <a:extLst>
                <a:ext uri="{FF2B5EF4-FFF2-40B4-BE49-F238E27FC236}">
                  <a16:creationId xmlns:a16="http://schemas.microsoft.com/office/drawing/2014/main" id="{809108D2-EC93-0409-69EF-3598D83F1496}"/>
                </a:ext>
              </a:extLst>
            </p:cNvPr>
            <p:cNvSpPr/>
            <p:nvPr/>
          </p:nvSpPr>
          <p:spPr>
            <a:xfrm>
              <a:off x="5516650" y="4968225"/>
              <a:ext cx="1800" cy="1800"/>
            </a:xfrm>
            <a:custGeom>
              <a:avLst/>
              <a:gdLst/>
              <a:ahLst/>
              <a:cxnLst/>
              <a:rect l="l" t="t" r="r" b="b"/>
              <a:pathLst>
                <a:path w="72" h="72" extrusionOk="0">
                  <a:moveTo>
                    <a:pt x="1" y="1"/>
                  </a:moveTo>
                  <a:lnTo>
                    <a:pt x="1" y="72"/>
                  </a:lnTo>
                  <a:lnTo>
                    <a:pt x="72" y="72"/>
                  </a:lnTo>
                  <a:lnTo>
                    <a:pt x="1" y="1"/>
                  </a:lnTo>
                  <a:close/>
                </a:path>
              </a:pathLst>
            </a:custGeom>
            <a:solidFill>
              <a:srgbClr val="2B2B32"/>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6" name="Google Shape;21334;p90">
              <a:extLst>
                <a:ext uri="{FF2B5EF4-FFF2-40B4-BE49-F238E27FC236}">
                  <a16:creationId xmlns:a16="http://schemas.microsoft.com/office/drawing/2014/main" id="{AA00B349-22DD-B89E-9723-0621A8D31AAE}"/>
                </a:ext>
              </a:extLst>
            </p:cNvPr>
            <p:cNvSpPr/>
            <p:nvPr/>
          </p:nvSpPr>
          <p:spPr>
            <a:xfrm>
              <a:off x="5516650" y="4968225"/>
              <a:ext cx="1800" cy="1800"/>
            </a:xfrm>
            <a:custGeom>
              <a:avLst/>
              <a:gdLst/>
              <a:ahLst/>
              <a:cxnLst/>
              <a:rect l="l" t="t" r="r" b="b"/>
              <a:pathLst>
                <a:path w="72" h="72" fill="none" extrusionOk="0">
                  <a:moveTo>
                    <a:pt x="1" y="1"/>
                  </a:moveTo>
                  <a:lnTo>
                    <a:pt x="1" y="72"/>
                  </a:lnTo>
                  <a:lnTo>
                    <a:pt x="72" y="72"/>
                  </a:lnTo>
                  <a:lnTo>
                    <a:pt x="1" y="1"/>
                  </a:lnTo>
                  <a:lnTo>
                    <a:pt x="1"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7" name="Google Shape;21335;p90">
              <a:extLst>
                <a:ext uri="{FF2B5EF4-FFF2-40B4-BE49-F238E27FC236}">
                  <a16:creationId xmlns:a16="http://schemas.microsoft.com/office/drawing/2014/main" id="{5CA69B02-7115-E460-96C2-48DB7BB196D9}"/>
                </a:ext>
              </a:extLst>
            </p:cNvPr>
            <p:cNvSpPr/>
            <p:nvPr/>
          </p:nvSpPr>
          <p:spPr>
            <a:xfrm>
              <a:off x="5516650" y="4954050"/>
              <a:ext cx="301325" cy="17750"/>
            </a:xfrm>
            <a:custGeom>
              <a:avLst/>
              <a:gdLst/>
              <a:ahLst/>
              <a:cxnLst/>
              <a:rect l="l" t="t" r="r" b="b"/>
              <a:pathLst>
                <a:path w="12053" h="710" extrusionOk="0">
                  <a:moveTo>
                    <a:pt x="8082" y="1"/>
                  </a:moveTo>
                  <a:lnTo>
                    <a:pt x="5530" y="71"/>
                  </a:lnTo>
                  <a:lnTo>
                    <a:pt x="3120" y="213"/>
                  </a:lnTo>
                  <a:lnTo>
                    <a:pt x="1206" y="426"/>
                  </a:lnTo>
                  <a:lnTo>
                    <a:pt x="1" y="568"/>
                  </a:lnTo>
                  <a:lnTo>
                    <a:pt x="72" y="639"/>
                  </a:lnTo>
                  <a:lnTo>
                    <a:pt x="284" y="709"/>
                  </a:lnTo>
                  <a:lnTo>
                    <a:pt x="11910" y="709"/>
                  </a:lnTo>
                  <a:lnTo>
                    <a:pt x="12052" y="213"/>
                  </a:lnTo>
                  <a:lnTo>
                    <a:pt x="10209" y="71"/>
                  </a:lnTo>
                  <a:lnTo>
                    <a:pt x="8082" y="1"/>
                  </a:lnTo>
                  <a:close/>
                </a:path>
              </a:pathLst>
            </a:custGeom>
            <a:solidFill>
              <a:srgbClr val="3C3C4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8" name="Google Shape;21336;p90">
              <a:extLst>
                <a:ext uri="{FF2B5EF4-FFF2-40B4-BE49-F238E27FC236}">
                  <a16:creationId xmlns:a16="http://schemas.microsoft.com/office/drawing/2014/main" id="{F5623A85-E15F-E83D-7040-3FBA1CCEA25F}"/>
                </a:ext>
              </a:extLst>
            </p:cNvPr>
            <p:cNvSpPr/>
            <p:nvPr/>
          </p:nvSpPr>
          <p:spPr>
            <a:xfrm>
              <a:off x="5516650" y="4954050"/>
              <a:ext cx="301325" cy="17750"/>
            </a:xfrm>
            <a:custGeom>
              <a:avLst/>
              <a:gdLst/>
              <a:ahLst/>
              <a:cxnLst/>
              <a:rect l="l" t="t" r="r" b="b"/>
              <a:pathLst>
                <a:path w="12053" h="710" fill="none" extrusionOk="0">
                  <a:moveTo>
                    <a:pt x="8082" y="1"/>
                  </a:moveTo>
                  <a:lnTo>
                    <a:pt x="8082" y="1"/>
                  </a:lnTo>
                  <a:lnTo>
                    <a:pt x="5530" y="71"/>
                  </a:lnTo>
                  <a:lnTo>
                    <a:pt x="3120" y="213"/>
                  </a:lnTo>
                  <a:lnTo>
                    <a:pt x="1206" y="426"/>
                  </a:lnTo>
                  <a:lnTo>
                    <a:pt x="1" y="568"/>
                  </a:lnTo>
                  <a:lnTo>
                    <a:pt x="1" y="568"/>
                  </a:lnTo>
                  <a:lnTo>
                    <a:pt x="1" y="568"/>
                  </a:lnTo>
                  <a:lnTo>
                    <a:pt x="72" y="639"/>
                  </a:lnTo>
                  <a:lnTo>
                    <a:pt x="72" y="639"/>
                  </a:lnTo>
                  <a:lnTo>
                    <a:pt x="284" y="709"/>
                  </a:lnTo>
                  <a:lnTo>
                    <a:pt x="11910" y="709"/>
                  </a:lnTo>
                  <a:lnTo>
                    <a:pt x="12052" y="213"/>
                  </a:lnTo>
                  <a:lnTo>
                    <a:pt x="12052" y="213"/>
                  </a:lnTo>
                  <a:lnTo>
                    <a:pt x="10209" y="71"/>
                  </a:lnTo>
                  <a:lnTo>
                    <a:pt x="8082"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9" name="Google Shape;21337;p90">
              <a:extLst>
                <a:ext uri="{FF2B5EF4-FFF2-40B4-BE49-F238E27FC236}">
                  <a16:creationId xmlns:a16="http://schemas.microsoft.com/office/drawing/2014/main" id="{4D24648E-89BC-E7EA-2A64-959960A6E927}"/>
                </a:ext>
              </a:extLst>
            </p:cNvPr>
            <p:cNvSpPr/>
            <p:nvPr/>
          </p:nvSpPr>
          <p:spPr>
            <a:xfrm>
              <a:off x="5814400" y="4959375"/>
              <a:ext cx="33700" cy="12425"/>
            </a:xfrm>
            <a:custGeom>
              <a:avLst/>
              <a:gdLst/>
              <a:ahLst/>
              <a:cxnLst/>
              <a:rect l="l" t="t" r="r" b="b"/>
              <a:pathLst>
                <a:path w="1348" h="497" extrusionOk="0">
                  <a:moveTo>
                    <a:pt x="142" y="0"/>
                  </a:moveTo>
                  <a:lnTo>
                    <a:pt x="0" y="496"/>
                  </a:lnTo>
                  <a:lnTo>
                    <a:pt x="1064" y="496"/>
                  </a:lnTo>
                  <a:lnTo>
                    <a:pt x="1205" y="426"/>
                  </a:lnTo>
                  <a:lnTo>
                    <a:pt x="1347" y="213"/>
                  </a:lnTo>
                  <a:lnTo>
                    <a:pt x="1347" y="142"/>
                  </a:lnTo>
                  <a:lnTo>
                    <a:pt x="142" y="0"/>
                  </a:lnTo>
                  <a:close/>
                </a:path>
              </a:pathLst>
            </a:custGeom>
            <a:solidFill>
              <a:srgbClr val="2E2E2E"/>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0" name="Google Shape;21338;p90">
              <a:extLst>
                <a:ext uri="{FF2B5EF4-FFF2-40B4-BE49-F238E27FC236}">
                  <a16:creationId xmlns:a16="http://schemas.microsoft.com/office/drawing/2014/main" id="{494D961D-53E8-459D-9414-74C72D3457E4}"/>
                </a:ext>
              </a:extLst>
            </p:cNvPr>
            <p:cNvSpPr/>
            <p:nvPr/>
          </p:nvSpPr>
          <p:spPr>
            <a:xfrm>
              <a:off x="5814400" y="4959375"/>
              <a:ext cx="33700" cy="12425"/>
            </a:xfrm>
            <a:custGeom>
              <a:avLst/>
              <a:gdLst/>
              <a:ahLst/>
              <a:cxnLst/>
              <a:rect l="l" t="t" r="r" b="b"/>
              <a:pathLst>
                <a:path w="1348" h="497" fill="none" extrusionOk="0">
                  <a:moveTo>
                    <a:pt x="142" y="0"/>
                  </a:moveTo>
                  <a:lnTo>
                    <a:pt x="142" y="0"/>
                  </a:lnTo>
                  <a:lnTo>
                    <a:pt x="0" y="496"/>
                  </a:lnTo>
                  <a:lnTo>
                    <a:pt x="993" y="496"/>
                  </a:lnTo>
                  <a:lnTo>
                    <a:pt x="1064" y="496"/>
                  </a:lnTo>
                  <a:lnTo>
                    <a:pt x="1064" y="496"/>
                  </a:lnTo>
                  <a:lnTo>
                    <a:pt x="1205" y="426"/>
                  </a:lnTo>
                  <a:lnTo>
                    <a:pt x="1347" y="213"/>
                  </a:lnTo>
                  <a:lnTo>
                    <a:pt x="1347" y="142"/>
                  </a:lnTo>
                  <a:lnTo>
                    <a:pt x="1347" y="142"/>
                  </a:lnTo>
                  <a:lnTo>
                    <a:pt x="142"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1" name="Google Shape;21339;p90">
              <a:extLst>
                <a:ext uri="{FF2B5EF4-FFF2-40B4-BE49-F238E27FC236}">
                  <a16:creationId xmlns:a16="http://schemas.microsoft.com/office/drawing/2014/main" id="{8BA35656-11C6-7A82-C509-67BBD8BC2B21}"/>
                </a:ext>
              </a:extLst>
            </p:cNvPr>
            <p:cNvSpPr/>
            <p:nvPr/>
          </p:nvSpPr>
          <p:spPr>
            <a:xfrm>
              <a:off x="5433350" y="5234075"/>
              <a:ext cx="1800" cy="1775"/>
            </a:xfrm>
            <a:custGeom>
              <a:avLst/>
              <a:gdLst/>
              <a:ahLst/>
              <a:cxnLst/>
              <a:rect l="l" t="t" r="r" b="b"/>
              <a:pathLst>
                <a:path w="72" h="71" extrusionOk="0">
                  <a:moveTo>
                    <a:pt x="72" y="0"/>
                  </a:moveTo>
                  <a:lnTo>
                    <a:pt x="1" y="71"/>
                  </a:lnTo>
                  <a:lnTo>
                    <a:pt x="72" y="71"/>
                  </a:lnTo>
                  <a:lnTo>
                    <a:pt x="72" y="0"/>
                  </a:lnTo>
                  <a:close/>
                </a:path>
              </a:pathLst>
            </a:custGeom>
            <a:solidFill>
              <a:srgbClr val="2B2B32"/>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2" name="Google Shape;21340;p90">
              <a:extLst>
                <a:ext uri="{FF2B5EF4-FFF2-40B4-BE49-F238E27FC236}">
                  <a16:creationId xmlns:a16="http://schemas.microsoft.com/office/drawing/2014/main" id="{6B610150-3474-50F4-BA29-CE630613EECF}"/>
                </a:ext>
              </a:extLst>
            </p:cNvPr>
            <p:cNvSpPr/>
            <p:nvPr/>
          </p:nvSpPr>
          <p:spPr>
            <a:xfrm>
              <a:off x="5433350" y="5234075"/>
              <a:ext cx="1800" cy="1775"/>
            </a:xfrm>
            <a:custGeom>
              <a:avLst/>
              <a:gdLst/>
              <a:ahLst/>
              <a:cxnLst/>
              <a:rect l="l" t="t" r="r" b="b"/>
              <a:pathLst>
                <a:path w="72" h="71" fill="none" extrusionOk="0">
                  <a:moveTo>
                    <a:pt x="72" y="0"/>
                  </a:moveTo>
                  <a:lnTo>
                    <a:pt x="1" y="71"/>
                  </a:lnTo>
                  <a:lnTo>
                    <a:pt x="72" y="71"/>
                  </a:lnTo>
                  <a:lnTo>
                    <a:pt x="72" y="0"/>
                  </a:lnTo>
                  <a:lnTo>
                    <a:pt x="72"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3" name="Google Shape;21341;p90">
              <a:extLst>
                <a:ext uri="{FF2B5EF4-FFF2-40B4-BE49-F238E27FC236}">
                  <a16:creationId xmlns:a16="http://schemas.microsoft.com/office/drawing/2014/main" id="{CCFA994C-2060-03F5-26D7-89E8987CEF4F}"/>
                </a:ext>
              </a:extLst>
            </p:cNvPr>
            <p:cNvSpPr/>
            <p:nvPr/>
          </p:nvSpPr>
          <p:spPr>
            <a:xfrm>
              <a:off x="5435125" y="5221650"/>
              <a:ext cx="304850" cy="15975"/>
            </a:xfrm>
            <a:custGeom>
              <a:avLst/>
              <a:gdLst/>
              <a:ahLst/>
              <a:cxnLst/>
              <a:rect l="l" t="t" r="r" b="b"/>
              <a:pathLst>
                <a:path w="12194" h="639" extrusionOk="0">
                  <a:moveTo>
                    <a:pt x="5459" y="1"/>
                  </a:moveTo>
                  <a:lnTo>
                    <a:pt x="3049" y="143"/>
                  </a:lnTo>
                  <a:lnTo>
                    <a:pt x="1135" y="355"/>
                  </a:lnTo>
                  <a:lnTo>
                    <a:pt x="1" y="497"/>
                  </a:lnTo>
                  <a:lnTo>
                    <a:pt x="1" y="568"/>
                  </a:lnTo>
                  <a:lnTo>
                    <a:pt x="284" y="639"/>
                  </a:lnTo>
                  <a:lnTo>
                    <a:pt x="12052" y="639"/>
                  </a:lnTo>
                  <a:lnTo>
                    <a:pt x="12194" y="143"/>
                  </a:lnTo>
                  <a:lnTo>
                    <a:pt x="10209" y="1"/>
                  </a:lnTo>
                  <a:close/>
                </a:path>
              </a:pathLst>
            </a:custGeom>
            <a:solidFill>
              <a:srgbClr val="3C3C4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4" name="Google Shape;21342;p90">
              <a:extLst>
                <a:ext uri="{FF2B5EF4-FFF2-40B4-BE49-F238E27FC236}">
                  <a16:creationId xmlns:a16="http://schemas.microsoft.com/office/drawing/2014/main" id="{06F6C90E-4FC7-8548-172F-A16958185075}"/>
                </a:ext>
              </a:extLst>
            </p:cNvPr>
            <p:cNvSpPr/>
            <p:nvPr/>
          </p:nvSpPr>
          <p:spPr>
            <a:xfrm>
              <a:off x="5435125" y="5221650"/>
              <a:ext cx="304850" cy="15975"/>
            </a:xfrm>
            <a:custGeom>
              <a:avLst/>
              <a:gdLst/>
              <a:ahLst/>
              <a:cxnLst/>
              <a:rect l="l" t="t" r="r" b="b"/>
              <a:pathLst>
                <a:path w="12194" h="639" fill="none" extrusionOk="0">
                  <a:moveTo>
                    <a:pt x="8011" y="1"/>
                  </a:moveTo>
                  <a:lnTo>
                    <a:pt x="8011" y="1"/>
                  </a:lnTo>
                  <a:lnTo>
                    <a:pt x="5459" y="1"/>
                  </a:lnTo>
                  <a:lnTo>
                    <a:pt x="3049" y="143"/>
                  </a:lnTo>
                  <a:lnTo>
                    <a:pt x="1135" y="355"/>
                  </a:lnTo>
                  <a:lnTo>
                    <a:pt x="1" y="497"/>
                  </a:lnTo>
                  <a:lnTo>
                    <a:pt x="1" y="497"/>
                  </a:lnTo>
                  <a:lnTo>
                    <a:pt x="1" y="497"/>
                  </a:lnTo>
                  <a:lnTo>
                    <a:pt x="1" y="568"/>
                  </a:lnTo>
                  <a:lnTo>
                    <a:pt x="1" y="568"/>
                  </a:lnTo>
                  <a:lnTo>
                    <a:pt x="284" y="639"/>
                  </a:lnTo>
                  <a:lnTo>
                    <a:pt x="12052" y="639"/>
                  </a:lnTo>
                  <a:lnTo>
                    <a:pt x="12194" y="143"/>
                  </a:lnTo>
                  <a:lnTo>
                    <a:pt x="12194" y="143"/>
                  </a:lnTo>
                  <a:lnTo>
                    <a:pt x="10209" y="1"/>
                  </a:lnTo>
                  <a:lnTo>
                    <a:pt x="8011"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5" name="Google Shape;21343;p90">
              <a:extLst>
                <a:ext uri="{FF2B5EF4-FFF2-40B4-BE49-F238E27FC236}">
                  <a16:creationId xmlns:a16="http://schemas.microsoft.com/office/drawing/2014/main" id="{A200DFDF-BF4B-1554-32F9-5A8BAE22D18A}"/>
                </a:ext>
              </a:extLst>
            </p:cNvPr>
            <p:cNvSpPr/>
            <p:nvPr/>
          </p:nvSpPr>
          <p:spPr>
            <a:xfrm>
              <a:off x="5736425" y="5225200"/>
              <a:ext cx="28375" cy="12425"/>
            </a:xfrm>
            <a:custGeom>
              <a:avLst/>
              <a:gdLst/>
              <a:ahLst/>
              <a:cxnLst/>
              <a:rect l="l" t="t" r="r" b="b"/>
              <a:pathLst>
                <a:path w="1135" h="497" extrusionOk="0">
                  <a:moveTo>
                    <a:pt x="142" y="1"/>
                  </a:moveTo>
                  <a:lnTo>
                    <a:pt x="0" y="497"/>
                  </a:lnTo>
                  <a:lnTo>
                    <a:pt x="851" y="497"/>
                  </a:lnTo>
                  <a:lnTo>
                    <a:pt x="993" y="426"/>
                  </a:lnTo>
                  <a:lnTo>
                    <a:pt x="1134" y="213"/>
                  </a:lnTo>
                  <a:lnTo>
                    <a:pt x="1134" y="142"/>
                  </a:lnTo>
                  <a:lnTo>
                    <a:pt x="142" y="1"/>
                  </a:lnTo>
                  <a:close/>
                </a:path>
              </a:pathLst>
            </a:custGeom>
            <a:solidFill>
              <a:srgbClr val="2E2E2E"/>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6" name="Google Shape;21344;p90">
              <a:extLst>
                <a:ext uri="{FF2B5EF4-FFF2-40B4-BE49-F238E27FC236}">
                  <a16:creationId xmlns:a16="http://schemas.microsoft.com/office/drawing/2014/main" id="{D50F3A78-3A63-6302-E8A6-018B73329D28}"/>
                </a:ext>
              </a:extLst>
            </p:cNvPr>
            <p:cNvSpPr/>
            <p:nvPr/>
          </p:nvSpPr>
          <p:spPr>
            <a:xfrm>
              <a:off x="5736425" y="5225200"/>
              <a:ext cx="28375" cy="12425"/>
            </a:xfrm>
            <a:custGeom>
              <a:avLst/>
              <a:gdLst/>
              <a:ahLst/>
              <a:cxnLst/>
              <a:rect l="l" t="t" r="r" b="b"/>
              <a:pathLst>
                <a:path w="1135" h="497" fill="none" extrusionOk="0">
                  <a:moveTo>
                    <a:pt x="142" y="1"/>
                  </a:moveTo>
                  <a:lnTo>
                    <a:pt x="142" y="1"/>
                  </a:lnTo>
                  <a:lnTo>
                    <a:pt x="0" y="497"/>
                  </a:lnTo>
                  <a:lnTo>
                    <a:pt x="780" y="497"/>
                  </a:lnTo>
                  <a:lnTo>
                    <a:pt x="851" y="497"/>
                  </a:lnTo>
                  <a:lnTo>
                    <a:pt x="851" y="497"/>
                  </a:lnTo>
                  <a:lnTo>
                    <a:pt x="993" y="426"/>
                  </a:lnTo>
                  <a:lnTo>
                    <a:pt x="1134" y="213"/>
                  </a:lnTo>
                  <a:lnTo>
                    <a:pt x="1134" y="142"/>
                  </a:lnTo>
                  <a:lnTo>
                    <a:pt x="1134" y="142"/>
                  </a:lnTo>
                  <a:lnTo>
                    <a:pt x="142"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7" name="Google Shape;21345;p90">
              <a:extLst>
                <a:ext uri="{FF2B5EF4-FFF2-40B4-BE49-F238E27FC236}">
                  <a16:creationId xmlns:a16="http://schemas.microsoft.com/office/drawing/2014/main" id="{ADCAC710-B9A4-57BC-4010-5E8B0E846BCC}"/>
                </a:ext>
              </a:extLst>
            </p:cNvPr>
            <p:cNvSpPr/>
            <p:nvPr/>
          </p:nvSpPr>
          <p:spPr>
            <a:xfrm>
              <a:off x="6058975" y="4191975"/>
              <a:ext cx="47875" cy="175500"/>
            </a:xfrm>
            <a:custGeom>
              <a:avLst/>
              <a:gdLst/>
              <a:ahLst/>
              <a:cxnLst/>
              <a:rect l="l" t="t" r="r" b="b"/>
              <a:pathLst>
                <a:path w="1915" h="7020" extrusionOk="0">
                  <a:moveTo>
                    <a:pt x="993" y="1"/>
                  </a:moveTo>
                  <a:lnTo>
                    <a:pt x="425" y="214"/>
                  </a:lnTo>
                  <a:lnTo>
                    <a:pt x="213" y="355"/>
                  </a:lnTo>
                  <a:lnTo>
                    <a:pt x="71" y="497"/>
                  </a:lnTo>
                  <a:lnTo>
                    <a:pt x="0" y="781"/>
                  </a:lnTo>
                  <a:lnTo>
                    <a:pt x="71" y="993"/>
                  </a:lnTo>
                  <a:lnTo>
                    <a:pt x="1914" y="7019"/>
                  </a:lnTo>
                  <a:lnTo>
                    <a:pt x="1914" y="852"/>
                  </a:lnTo>
                  <a:lnTo>
                    <a:pt x="1772" y="426"/>
                  </a:lnTo>
                  <a:lnTo>
                    <a:pt x="1631" y="214"/>
                  </a:lnTo>
                  <a:lnTo>
                    <a:pt x="1489" y="72"/>
                  </a:lnTo>
                  <a:lnTo>
                    <a:pt x="1276" y="1"/>
                  </a:lnTo>
                  <a:close/>
                </a:path>
              </a:pathLst>
            </a:custGeom>
            <a:solidFill>
              <a:srgbClr val="46464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8" name="Google Shape;21346;p90">
              <a:extLst>
                <a:ext uri="{FF2B5EF4-FFF2-40B4-BE49-F238E27FC236}">
                  <a16:creationId xmlns:a16="http://schemas.microsoft.com/office/drawing/2014/main" id="{E783186E-FD22-9D23-8EED-5767B3401A37}"/>
                </a:ext>
              </a:extLst>
            </p:cNvPr>
            <p:cNvSpPr/>
            <p:nvPr/>
          </p:nvSpPr>
          <p:spPr>
            <a:xfrm>
              <a:off x="6058975" y="4191975"/>
              <a:ext cx="47875" cy="175500"/>
            </a:xfrm>
            <a:custGeom>
              <a:avLst/>
              <a:gdLst/>
              <a:ahLst/>
              <a:cxnLst/>
              <a:rect l="l" t="t" r="r" b="b"/>
              <a:pathLst>
                <a:path w="1915" h="7020" fill="none" extrusionOk="0">
                  <a:moveTo>
                    <a:pt x="1914" y="852"/>
                  </a:moveTo>
                  <a:lnTo>
                    <a:pt x="1772" y="426"/>
                  </a:lnTo>
                  <a:lnTo>
                    <a:pt x="1772" y="426"/>
                  </a:lnTo>
                  <a:lnTo>
                    <a:pt x="1631" y="214"/>
                  </a:lnTo>
                  <a:lnTo>
                    <a:pt x="1489" y="72"/>
                  </a:lnTo>
                  <a:lnTo>
                    <a:pt x="1276" y="1"/>
                  </a:lnTo>
                  <a:lnTo>
                    <a:pt x="993" y="1"/>
                  </a:lnTo>
                  <a:lnTo>
                    <a:pt x="425" y="214"/>
                  </a:lnTo>
                  <a:lnTo>
                    <a:pt x="425" y="214"/>
                  </a:lnTo>
                  <a:lnTo>
                    <a:pt x="213" y="355"/>
                  </a:lnTo>
                  <a:lnTo>
                    <a:pt x="71" y="497"/>
                  </a:lnTo>
                  <a:lnTo>
                    <a:pt x="0" y="781"/>
                  </a:lnTo>
                  <a:lnTo>
                    <a:pt x="71" y="993"/>
                  </a:lnTo>
                  <a:lnTo>
                    <a:pt x="1914" y="7019"/>
                  </a:lnTo>
                  <a:lnTo>
                    <a:pt x="1914" y="852"/>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49" name="Google Shape;21347;p90">
              <a:extLst>
                <a:ext uri="{FF2B5EF4-FFF2-40B4-BE49-F238E27FC236}">
                  <a16:creationId xmlns:a16="http://schemas.microsoft.com/office/drawing/2014/main" id="{1343D442-04A6-C779-6739-37EB438E6A1D}"/>
                </a:ext>
              </a:extLst>
            </p:cNvPr>
            <p:cNvSpPr/>
            <p:nvPr/>
          </p:nvSpPr>
          <p:spPr>
            <a:xfrm>
              <a:off x="5816175" y="4422375"/>
              <a:ext cx="290675" cy="40800"/>
            </a:xfrm>
            <a:custGeom>
              <a:avLst/>
              <a:gdLst/>
              <a:ahLst/>
              <a:cxnLst/>
              <a:rect l="l" t="t" r="r" b="b"/>
              <a:pathLst>
                <a:path w="11627" h="1632" extrusionOk="0">
                  <a:moveTo>
                    <a:pt x="496" y="1"/>
                  </a:moveTo>
                  <a:lnTo>
                    <a:pt x="213" y="72"/>
                  </a:lnTo>
                  <a:lnTo>
                    <a:pt x="142" y="213"/>
                  </a:lnTo>
                  <a:lnTo>
                    <a:pt x="71" y="497"/>
                  </a:lnTo>
                  <a:lnTo>
                    <a:pt x="0" y="780"/>
                  </a:lnTo>
                  <a:lnTo>
                    <a:pt x="0" y="922"/>
                  </a:lnTo>
                  <a:lnTo>
                    <a:pt x="71" y="1135"/>
                  </a:lnTo>
                  <a:lnTo>
                    <a:pt x="142" y="1348"/>
                  </a:lnTo>
                  <a:lnTo>
                    <a:pt x="284" y="1560"/>
                  </a:lnTo>
                  <a:lnTo>
                    <a:pt x="425" y="1631"/>
                  </a:lnTo>
                  <a:lnTo>
                    <a:pt x="11626" y="1631"/>
                  </a:lnTo>
                  <a:lnTo>
                    <a:pt x="11626" y="1"/>
                  </a:lnTo>
                  <a:close/>
                </a:path>
              </a:pathLst>
            </a:custGeom>
            <a:solidFill>
              <a:srgbClr val="46464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50" name="Google Shape;21348;p90">
              <a:extLst>
                <a:ext uri="{FF2B5EF4-FFF2-40B4-BE49-F238E27FC236}">
                  <a16:creationId xmlns:a16="http://schemas.microsoft.com/office/drawing/2014/main" id="{039CE137-060E-DD46-65B9-6DF8CF501701}"/>
                </a:ext>
              </a:extLst>
            </p:cNvPr>
            <p:cNvSpPr/>
            <p:nvPr/>
          </p:nvSpPr>
          <p:spPr>
            <a:xfrm>
              <a:off x="5816175" y="4422375"/>
              <a:ext cx="290675" cy="40800"/>
            </a:xfrm>
            <a:custGeom>
              <a:avLst/>
              <a:gdLst/>
              <a:ahLst/>
              <a:cxnLst/>
              <a:rect l="l" t="t" r="r" b="b"/>
              <a:pathLst>
                <a:path w="11627" h="1632" fill="none" extrusionOk="0">
                  <a:moveTo>
                    <a:pt x="11626" y="1"/>
                  </a:moveTo>
                  <a:lnTo>
                    <a:pt x="496" y="1"/>
                  </a:lnTo>
                  <a:lnTo>
                    <a:pt x="496" y="1"/>
                  </a:lnTo>
                  <a:lnTo>
                    <a:pt x="213" y="72"/>
                  </a:lnTo>
                  <a:lnTo>
                    <a:pt x="142" y="213"/>
                  </a:lnTo>
                  <a:lnTo>
                    <a:pt x="71" y="497"/>
                  </a:lnTo>
                  <a:lnTo>
                    <a:pt x="0" y="780"/>
                  </a:lnTo>
                  <a:lnTo>
                    <a:pt x="0" y="922"/>
                  </a:lnTo>
                  <a:lnTo>
                    <a:pt x="0" y="922"/>
                  </a:lnTo>
                  <a:lnTo>
                    <a:pt x="71" y="1135"/>
                  </a:lnTo>
                  <a:lnTo>
                    <a:pt x="142" y="1348"/>
                  </a:lnTo>
                  <a:lnTo>
                    <a:pt x="142" y="1348"/>
                  </a:lnTo>
                  <a:lnTo>
                    <a:pt x="142" y="1348"/>
                  </a:lnTo>
                  <a:lnTo>
                    <a:pt x="284" y="1560"/>
                  </a:lnTo>
                  <a:lnTo>
                    <a:pt x="425" y="1631"/>
                  </a:lnTo>
                  <a:lnTo>
                    <a:pt x="496" y="1631"/>
                  </a:lnTo>
                  <a:lnTo>
                    <a:pt x="11626" y="1631"/>
                  </a:lnTo>
                  <a:lnTo>
                    <a:pt x="11626"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51" name="Google Shape;21349;p90">
              <a:extLst>
                <a:ext uri="{FF2B5EF4-FFF2-40B4-BE49-F238E27FC236}">
                  <a16:creationId xmlns:a16="http://schemas.microsoft.com/office/drawing/2014/main" id="{1CC3486D-43B2-BDBF-4B38-0B3E6C08220D}"/>
                </a:ext>
              </a:extLst>
            </p:cNvPr>
            <p:cNvSpPr/>
            <p:nvPr/>
          </p:nvSpPr>
          <p:spPr>
            <a:xfrm>
              <a:off x="5855150" y="4447200"/>
              <a:ext cx="251700" cy="15975"/>
            </a:xfrm>
            <a:custGeom>
              <a:avLst/>
              <a:gdLst/>
              <a:ahLst/>
              <a:cxnLst/>
              <a:rect l="l" t="t" r="r" b="b"/>
              <a:pathLst>
                <a:path w="10068" h="639" extrusionOk="0">
                  <a:moveTo>
                    <a:pt x="1773" y="0"/>
                  </a:moveTo>
                  <a:lnTo>
                    <a:pt x="1" y="142"/>
                  </a:lnTo>
                  <a:lnTo>
                    <a:pt x="143" y="638"/>
                  </a:lnTo>
                  <a:lnTo>
                    <a:pt x="10067" y="638"/>
                  </a:lnTo>
                  <a:lnTo>
                    <a:pt x="10067" y="284"/>
                  </a:lnTo>
                  <a:lnTo>
                    <a:pt x="7161" y="71"/>
                  </a:lnTo>
                  <a:lnTo>
                    <a:pt x="5459" y="0"/>
                  </a:lnTo>
                  <a:close/>
                </a:path>
              </a:pathLst>
            </a:custGeom>
            <a:solidFill>
              <a:srgbClr val="3D3D4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52" name="Google Shape;21350;p90">
              <a:extLst>
                <a:ext uri="{FF2B5EF4-FFF2-40B4-BE49-F238E27FC236}">
                  <a16:creationId xmlns:a16="http://schemas.microsoft.com/office/drawing/2014/main" id="{870534CE-87C6-7D26-BD2E-A58D1E4C7E04}"/>
                </a:ext>
              </a:extLst>
            </p:cNvPr>
            <p:cNvSpPr/>
            <p:nvPr/>
          </p:nvSpPr>
          <p:spPr>
            <a:xfrm>
              <a:off x="5855150" y="4447200"/>
              <a:ext cx="251700" cy="15975"/>
            </a:xfrm>
            <a:custGeom>
              <a:avLst/>
              <a:gdLst/>
              <a:ahLst/>
              <a:cxnLst/>
              <a:rect l="l" t="t" r="r" b="b"/>
              <a:pathLst>
                <a:path w="10068" h="639" fill="none" extrusionOk="0">
                  <a:moveTo>
                    <a:pt x="3758" y="0"/>
                  </a:moveTo>
                  <a:lnTo>
                    <a:pt x="3758" y="0"/>
                  </a:lnTo>
                  <a:lnTo>
                    <a:pt x="1773" y="0"/>
                  </a:lnTo>
                  <a:lnTo>
                    <a:pt x="1" y="142"/>
                  </a:lnTo>
                  <a:lnTo>
                    <a:pt x="143" y="638"/>
                  </a:lnTo>
                  <a:lnTo>
                    <a:pt x="10067" y="638"/>
                  </a:lnTo>
                  <a:lnTo>
                    <a:pt x="10067" y="284"/>
                  </a:lnTo>
                  <a:lnTo>
                    <a:pt x="10067" y="284"/>
                  </a:lnTo>
                  <a:lnTo>
                    <a:pt x="7161" y="71"/>
                  </a:lnTo>
                  <a:lnTo>
                    <a:pt x="5459" y="0"/>
                  </a:lnTo>
                  <a:lnTo>
                    <a:pt x="3758"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53" name="Google Shape;21351;p90">
              <a:extLst>
                <a:ext uri="{FF2B5EF4-FFF2-40B4-BE49-F238E27FC236}">
                  <a16:creationId xmlns:a16="http://schemas.microsoft.com/office/drawing/2014/main" id="{536950C7-8000-41F9-50B6-FBAE87B12D04}"/>
                </a:ext>
              </a:extLst>
            </p:cNvPr>
            <p:cNvSpPr/>
            <p:nvPr/>
          </p:nvSpPr>
          <p:spPr>
            <a:xfrm>
              <a:off x="5892375" y="4675800"/>
              <a:ext cx="214475" cy="40800"/>
            </a:xfrm>
            <a:custGeom>
              <a:avLst/>
              <a:gdLst/>
              <a:ahLst/>
              <a:cxnLst/>
              <a:rect l="l" t="t" r="r" b="b"/>
              <a:pathLst>
                <a:path w="8579" h="1632" extrusionOk="0">
                  <a:moveTo>
                    <a:pt x="213" y="1"/>
                  </a:moveTo>
                  <a:lnTo>
                    <a:pt x="71" y="214"/>
                  </a:lnTo>
                  <a:lnTo>
                    <a:pt x="0" y="426"/>
                  </a:lnTo>
                  <a:lnTo>
                    <a:pt x="0" y="710"/>
                  </a:lnTo>
                  <a:lnTo>
                    <a:pt x="0" y="852"/>
                  </a:lnTo>
                  <a:lnTo>
                    <a:pt x="71" y="1064"/>
                  </a:lnTo>
                  <a:lnTo>
                    <a:pt x="142" y="1277"/>
                  </a:lnTo>
                  <a:lnTo>
                    <a:pt x="142" y="1348"/>
                  </a:lnTo>
                  <a:lnTo>
                    <a:pt x="284" y="1490"/>
                  </a:lnTo>
                  <a:lnTo>
                    <a:pt x="426" y="1631"/>
                  </a:lnTo>
                  <a:lnTo>
                    <a:pt x="8578" y="1631"/>
                  </a:lnTo>
                  <a:lnTo>
                    <a:pt x="8578" y="1"/>
                  </a:lnTo>
                  <a:close/>
                </a:path>
              </a:pathLst>
            </a:custGeom>
            <a:solidFill>
              <a:srgbClr val="46464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54" name="Google Shape;21352;p90">
              <a:extLst>
                <a:ext uri="{FF2B5EF4-FFF2-40B4-BE49-F238E27FC236}">
                  <a16:creationId xmlns:a16="http://schemas.microsoft.com/office/drawing/2014/main" id="{59DC1C7E-30D6-0C89-0139-4F9C0F06BF3C}"/>
                </a:ext>
              </a:extLst>
            </p:cNvPr>
            <p:cNvSpPr/>
            <p:nvPr/>
          </p:nvSpPr>
          <p:spPr>
            <a:xfrm>
              <a:off x="5892375" y="4675800"/>
              <a:ext cx="214475" cy="40800"/>
            </a:xfrm>
            <a:custGeom>
              <a:avLst/>
              <a:gdLst/>
              <a:ahLst/>
              <a:cxnLst/>
              <a:rect l="l" t="t" r="r" b="b"/>
              <a:pathLst>
                <a:path w="8579" h="1632" fill="none" extrusionOk="0">
                  <a:moveTo>
                    <a:pt x="8578" y="1"/>
                  </a:moveTo>
                  <a:lnTo>
                    <a:pt x="426" y="1"/>
                  </a:lnTo>
                  <a:lnTo>
                    <a:pt x="426" y="1"/>
                  </a:lnTo>
                  <a:lnTo>
                    <a:pt x="213" y="1"/>
                  </a:lnTo>
                  <a:lnTo>
                    <a:pt x="71" y="214"/>
                  </a:lnTo>
                  <a:lnTo>
                    <a:pt x="0" y="426"/>
                  </a:lnTo>
                  <a:lnTo>
                    <a:pt x="0" y="710"/>
                  </a:lnTo>
                  <a:lnTo>
                    <a:pt x="0" y="852"/>
                  </a:lnTo>
                  <a:lnTo>
                    <a:pt x="0" y="852"/>
                  </a:lnTo>
                  <a:lnTo>
                    <a:pt x="71" y="1064"/>
                  </a:lnTo>
                  <a:lnTo>
                    <a:pt x="142" y="1277"/>
                  </a:lnTo>
                  <a:lnTo>
                    <a:pt x="142" y="1348"/>
                  </a:lnTo>
                  <a:lnTo>
                    <a:pt x="142" y="1348"/>
                  </a:lnTo>
                  <a:lnTo>
                    <a:pt x="284" y="1490"/>
                  </a:lnTo>
                  <a:lnTo>
                    <a:pt x="426" y="1631"/>
                  </a:lnTo>
                  <a:lnTo>
                    <a:pt x="426" y="1631"/>
                  </a:lnTo>
                  <a:lnTo>
                    <a:pt x="8578" y="1631"/>
                  </a:lnTo>
                  <a:lnTo>
                    <a:pt x="8578"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55" name="Google Shape;21353;p90">
              <a:extLst>
                <a:ext uri="{FF2B5EF4-FFF2-40B4-BE49-F238E27FC236}">
                  <a16:creationId xmlns:a16="http://schemas.microsoft.com/office/drawing/2014/main" id="{4D41F860-9E14-C14B-1CF8-CA3ED3803A5C}"/>
                </a:ext>
              </a:extLst>
            </p:cNvPr>
            <p:cNvSpPr/>
            <p:nvPr/>
          </p:nvSpPr>
          <p:spPr>
            <a:xfrm>
              <a:off x="5927825" y="4698850"/>
              <a:ext cx="179025" cy="17750"/>
            </a:xfrm>
            <a:custGeom>
              <a:avLst/>
              <a:gdLst/>
              <a:ahLst/>
              <a:cxnLst/>
              <a:rect l="l" t="t" r="r" b="b"/>
              <a:pathLst>
                <a:path w="7161" h="710" extrusionOk="0">
                  <a:moveTo>
                    <a:pt x="3899" y="0"/>
                  </a:moveTo>
                  <a:lnTo>
                    <a:pt x="1843" y="71"/>
                  </a:lnTo>
                  <a:lnTo>
                    <a:pt x="0" y="142"/>
                  </a:lnTo>
                  <a:lnTo>
                    <a:pt x="213" y="709"/>
                  </a:lnTo>
                  <a:lnTo>
                    <a:pt x="7160" y="709"/>
                  </a:lnTo>
                  <a:lnTo>
                    <a:pt x="7160" y="71"/>
                  </a:lnTo>
                  <a:lnTo>
                    <a:pt x="3899" y="0"/>
                  </a:lnTo>
                  <a:close/>
                </a:path>
              </a:pathLst>
            </a:custGeom>
            <a:solidFill>
              <a:srgbClr val="3D3D4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56" name="Google Shape;21354;p90">
              <a:extLst>
                <a:ext uri="{FF2B5EF4-FFF2-40B4-BE49-F238E27FC236}">
                  <a16:creationId xmlns:a16="http://schemas.microsoft.com/office/drawing/2014/main" id="{1CD52617-C353-AFFA-F83A-6D30AA823D52}"/>
                </a:ext>
              </a:extLst>
            </p:cNvPr>
            <p:cNvSpPr/>
            <p:nvPr/>
          </p:nvSpPr>
          <p:spPr>
            <a:xfrm>
              <a:off x="5927825" y="4698850"/>
              <a:ext cx="179025" cy="17750"/>
            </a:xfrm>
            <a:custGeom>
              <a:avLst/>
              <a:gdLst/>
              <a:ahLst/>
              <a:cxnLst/>
              <a:rect l="l" t="t" r="r" b="b"/>
              <a:pathLst>
                <a:path w="7161" h="710" fill="none" extrusionOk="0">
                  <a:moveTo>
                    <a:pt x="3899" y="0"/>
                  </a:moveTo>
                  <a:lnTo>
                    <a:pt x="3899" y="0"/>
                  </a:lnTo>
                  <a:lnTo>
                    <a:pt x="1843" y="71"/>
                  </a:lnTo>
                  <a:lnTo>
                    <a:pt x="0" y="142"/>
                  </a:lnTo>
                  <a:lnTo>
                    <a:pt x="213" y="709"/>
                  </a:lnTo>
                  <a:lnTo>
                    <a:pt x="7160" y="709"/>
                  </a:lnTo>
                  <a:lnTo>
                    <a:pt x="7160" y="71"/>
                  </a:lnTo>
                  <a:lnTo>
                    <a:pt x="7160" y="71"/>
                  </a:lnTo>
                  <a:lnTo>
                    <a:pt x="3899"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57" name="Google Shape;21355;p90">
              <a:extLst>
                <a:ext uri="{FF2B5EF4-FFF2-40B4-BE49-F238E27FC236}">
                  <a16:creationId xmlns:a16="http://schemas.microsoft.com/office/drawing/2014/main" id="{64C44946-A5E4-A378-5BE1-F56053B55029}"/>
                </a:ext>
              </a:extLst>
            </p:cNvPr>
            <p:cNvSpPr/>
            <p:nvPr/>
          </p:nvSpPr>
          <p:spPr>
            <a:xfrm>
              <a:off x="5968575" y="4920375"/>
              <a:ext cx="138275" cy="42550"/>
            </a:xfrm>
            <a:custGeom>
              <a:avLst/>
              <a:gdLst/>
              <a:ahLst/>
              <a:cxnLst/>
              <a:rect l="l" t="t" r="r" b="b"/>
              <a:pathLst>
                <a:path w="5531" h="1702" extrusionOk="0">
                  <a:moveTo>
                    <a:pt x="426" y="1"/>
                  </a:moveTo>
                  <a:lnTo>
                    <a:pt x="213" y="72"/>
                  </a:lnTo>
                  <a:lnTo>
                    <a:pt x="72" y="284"/>
                  </a:lnTo>
                  <a:lnTo>
                    <a:pt x="1" y="497"/>
                  </a:lnTo>
                  <a:lnTo>
                    <a:pt x="1" y="780"/>
                  </a:lnTo>
                  <a:lnTo>
                    <a:pt x="1" y="922"/>
                  </a:lnTo>
                  <a:lnTo>
                    <a:pt x="1" y="1135"/>
                  </a:lnTo>
                  <a:lnTo>
                    <a:pt x="72" y="1348"/>
                  </a:lnTo>
                  <a:lnTo>
                    <a:pt x="72" y="1418"/>
                  </a:lnTo>
                  <a:lnTo>
                    <a:pt x="213" y="1560"/>
                  </a:lnTo>
                  <a:lnTo>
                    <a:pt x="355" y="1702"/>
                  </a:lnTo>
                  <a:lnTo>
                    <a:pt x="5530" y="1702"/>
                  </a:lnTo>
                  <a:lnTo>
                    <a:pt x="5530" y="1"/>
                  </a:lnTo>
                  <a:close/>
                </a:path>
              </a:pathLst>
            </a:custGeom>
            <a:solidFill>
              <a:srgbClr val="46464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58" name="Google Shape;21356;p90">
              <a:extLst>
                <a:ext uri="{FF2B5EF4-FFF2-40B4-BE49-F238E27FC236}">
                  <a16:creationId xmlns:a16="http://schemas.microsoft.com/office/drawing/2014/main" id="{E0C415AD-6E7E-2E63-B7B1-743853A255EB}"/>
                </a:ext>
              </a:extLst>
            </p:cNvPr>
            <p:cNvSpPr/>
            <p:nvPr/>
          </p:nvSpPr>
          <p:spPr>
            <a:xfrm>
              <a:off x="5968575" y="4920375"/>
              <a:ext cx="138275" cy="42550"/>
            </a:xfrm>
            <a:custGeom>
              <a:avLst/>
              <a:gdLst/>
              <a:ahLst/>
              <a:cxnLst/>
              <a:rect l="l" t="t" r="r" b="b"/>
              <a:pathLst>
                <a:path w="5531" h="1702" fill="none" extrusionOk="0">
                  <a:moveTo>
                    <a:pt x="5530" y="1"/>
                  </a:moveTo>
                  <a:lnTo>
                    <a:pt x="426" y="1"/>
                  </a:lnTo>
                  <a:lnTo>
                    <a:pt x="426" y="1"/>
                  </a:lnTo>
                  <a:lnTo>
                    <a:pt x="213" y="72"/>
                  </a:lnTo>
                  <a:lnTo>
                    <a:pt x="72" y="284"/>
                  </a:lnTo>
                  <a:lnTo>
                    <a:pt x="1" y="497"/>
                  </a:lnTo>
                  <a:lnTo>
                    <a:pt x="1" y="780"/>
                  </a:lnTo>
                  <a:lnTo>
                    <a:pt x="1" y="922"/>
                  </a:lnTo>
                  <a:lnTo>
                    <a:pt x="1" y="922"/>
                  </a:lnTo>
                  <a:lnTo>
                    <a:pt x="1" y="1135"/>
                  </a:lnTo>
                  <a:lnTo>
                    <a:pt x="72" y="1348"/>
                  </a:lnTo>
                  <a:lnTo>
                    <a:pt x="72" y="1418"/>
                  </a:lnTo>
                  <a:lnTo>
                    <a:pt x="72" y="1418"/>
                  </a:lnTo>
                  <a:lnTo>
                    <a:pt x="213" y="1560"/>
                  </a:lnTo>
                  <a:lnTo>
                    <a:pt x="355" y="1702"/>
                  </a:lnTo>
                  <a:lnTo>
                    <a:pt x="426" y="1702"/>
                  </a:lnTo>
                  <a:lnTo>
                    <a:pt x="5530" y="1702"/>
                  </a:lnTo>
                  <a:lnTo>
                    <a:pt x="5530"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59" name="Google Shape;21357;p90">
              <a:extLst>
                <a:ext uri="{FF2B5EF4-FFF2-40B4-BE49-F238E27FC236}">
                  <a16:creationId xmlns:a16="http://schemas.microsoft.com/office/drawing/2014/main" id="{44852F27-00A6-B2EA-6211-08503017B04D}"/>
                </a:ext>
              </a:extLst>
            </p:cNvPr>
            <p:cNvSpPr/>
            <p:nvPr/>
          </p:nvSpPr>
          <p:spPr>
            <a:xfrm>
              <a:off x="6000475" y="4945200"/>
              <a:ext cx="106375" cy="17725"/>
            </a:xfrm>
            <a:custGeom>
              <a:avLst/>
              <a:gdLst/>
              <a:ahLst/>
              <a:cxnLst/>
              <a:rect l="l" t="t" r="r" b="b"/>
              <a:pathLst>
                <a:path w="4255" h="709" extrusionOk="0">
                  <a:moveTo>
                    <a:pt x="3971" y="0"/>
                  </a:moveTo>
                  <a:lnTo>
                    <a:pt x="1844" y="71"/>
                  </a:lnTo>
                  <a:lnTo>
                    <a:pt x="1" y="213"/>
                  </a:lnTo>
                  <a:lnTo>
                    <a:pt x="142" y="709"/>
                  </a:lnTo>
                  <a:lnTo>
                    <a:pt x="4254" y="709"/>
                  </a:lnTo>
                  <a:lnTo>
                    <a:pt x="4254" y="0"/>
                  </a:lnTo>
                  <a:close/>
                </a:path>
              </a:pathLst>
            </a:custGeom>
            <a:solidFill>
              <a:srgbClr val="3D3D4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60" name="Google Shape;21358;p90">
              <a:extLst>
                <a:ext uri="{FF2B5EF4-FFF2-40B4-BE49-F238E27FC236}">
                  <a16:creationId xmlns:a16="http://schemas.microsoft.com/office/drawing/2014/main" id="{E634520B-1A68-2F4D-6C52-7EE2A03445AF}"/>
                </a:ext>
              </a:extLst>
            </p:cNvPr>
            <p:cNvSpPr/>
            <p:nvPr/>
          </p:nvSpPr>
          <p:spPr>
            <a:xfrm>
              <a:off x="6000475" y="4945200"/>
              <a:ext cx="106375" cy="17725"/>
            </a:xfrm>
            <a:custGeom>
              <a:avLst/>
              <a:gdLst/>
              <a:ahLst/>
              <a:cxnLst/>
              <a:rect l="l" t="t" r="r" b="b"/>
              <a:pathLst>
                <a:path w="4255" h="709" fill="none" extrusionOk="0">
                  <a:moveTo>
                    <a:pt x="3971" y="0"/>
                  </a:moveTo>
                  <a:lnTo>
                    <a:pt x="3971" y="0"/>
                  </a:lnTo>
                  <a:lnTo>
                    <a:pt x="1844" y="71"/>
                  </a:lnTo>
                  <a:lnTo>
                    <a:pt x="1" y="213"/>
                  </a:lnTo>
                  <a:lnTo>
                    <a:pt x="142" y="709"/>
                  </a:lnTo>
                  <a:lnTo>
                    <a:pt x="4254" y="709"/>
                  </a:lnTo>
                  <a:lnTo>
                    <a:pt x="4254" y="0"/>
                  </a:lnTo>
                  <a:lnTo>
                    <a:pt x="4254" y="0"/>
                  </a:lnTo>
                  <a:lnTo>
                    <a:pt x="3971"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61" name="Google Shape;21359;p90">
              <a:extLst>
                <a:ext uri="{FF2B5EF4-FFF2-40B4-BE49-F238E27FC236}">
                  <a16:creationId xmlns:a16="http://schemas.microsoft.com/office/drawing/2014/main" id="{5E990A0B-4361-EC19-876B-C6DBF8BE9368}"/>
                </a:ext>
              </a:extLst>
            </p:cNvPr>
            <p:cNvSpPr/>
            <p:nvPr/>
          </p:nvSpPr>
          <p:spPr>
            <a:xfrm>
              <a:off x="6050100" y="5193300"/>
              <a:ext cx="56750" cy="42550"/>
            </a:xfrm>
            <a:custGeom>
              <a:avLst/>
              <a:gdLst/>
              <a:ahLst/>
              <a:cxnLst/>
              <a:rect l="l" t="t" r="r" b="b"/>
              <a:pathLst>
                <a:path w="2270" h="1702" extrusionOk="0">
                  <a:moveTo>
                    <a:pt x="497" y="1"/>
                  </a:moveTo>
                  <a:lnTo>
                    <a:pt x="284" y="72"/>
                  </a:lnTo>
                  <a:lnTo>
                    <a:pt x="142" y="284"/>
                  </a:lnTo>
                  <a:lnTo>
                    <a:pt x="71" y="497"/>
                  </a:lnTo>
                  <a:lnTo>
                    <a:pt x="1" y="780"/>
                  </a:lnTo>
                  <a:lnTo>
                    <a:pt x="1" y="922"/>
                  </a:lnTo>
                  <a:lnTo>
                    <a:pt x="71" y="1135"/>
                  </a:lnTo>
                  <a:lnTo>
                    <a:pt x="142" y="1348"/>
                  </a:lnTo>
                  <a:lnTo>
                    <a:pt x="142" y="1418"/>
                  </a:lnTo>
                  <a:lnTo>
                    <a:pt x="284" y="1560"/>
                  </a:lnTo>
                  <a:lnTo>
                    <a:pt x="426" y="1702"/>
                  </a:lnTo>
                  <a:lnTo>
                    <a:pt x="2269" y="1702"/>
                  </a:lnTo>
                  <a:lnTo>
                    <a:pt x="2269" y="1"/>
                  </a:lnTo>
                  <a:close/>
                </a:path>
              </a:pathLst>
            </a:custGeom>
            <a:solidFill>
              <a:srgbClr val="46464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62" name="Google Shape;21360;p90">
              <a:extLst>
                <a:ext uri="{FF2B5EF4-FFF2-40B4-BE49-F238E27FC236}">
                  <a16:creationId xmlns:a16="http://schemas.microsoft.com/office/drawing/2014/main" id="{167EAD82-4A04-275F-CAD3-095E981D7E76}"/>
                </a:ext>
              </a:extLst>
            </p:cNvPr>
            <p:cNvSpPr/>
            <p:nvPr/>
          </p:nvSpPr>
          <p:spPr>
            <a:xfrm>
              <a:off x="6050100" y="5193300"/>
              <a:ext cx="56750" cy="42550"/>
            </a:xfrm>
            <a:custGeom>
              <a:avLst/>
              <a:gdLst/>
              <a:ahLst/>
              <a:cxnLst/>
              <a:rect l="l" t="t" r="r" b="b"/>
              <a:pathLst>
                <a:path w="2270" h="1702" fill="none" extrusionOk="0">
                  <a:moveTo>
                    <a:pt x="2269" y="1"/>
                  </a:moveTo>
                  <a:lnTo>
                    <a:pt x="497" y="1"/>
                  </a:lnTo>
                  <a:lnTo>
                    <a:pt x="497" y="1"/>
                  </a:lnTo>
                  <a:lnTo>
                    <a:pt x="284" y="72"/>
                  </a:lnTo>
                  <a:lnTo>
                    <a:pt x="142" y="284"/>
                  </a:lnTo>
                  <a:lnTo>
                    <a:pt x="71" y="497"/>
                  </a:lnTo>
                  <a:lnTo>
                    <a:pt x="1" y="780"/>
                  </a:lnTo>
                  <a:lnTo>
                    <a:pt x="1" y="922"/>
                  </a:lnTo>
                  <a:lnTo>
                    <a:pt x="1" y="922"/>
                  </a:lnTo>
                  <a:lnTo>
                    <a:pt x="71" y="1135"/>
                  </a:lnTo>
                  <a:lnTo>
                    <a:pt x="142" y="1348"/>
                  </a:lnTo>
                  <a:lnTo>
                    <a:pt x="142" y="1418"/>
                  </a:lnTo>
                  <a:lnTo>
                    <a:pt x="142" y="1418"/>
                  </a:lnTo>
                  <a:lnTo>
                    <a:pt x="284" y="1560"/>
                  </a:lnTo>
                  <a:lnTo>
                    <a:pt x="426" y="1702"/>
                  </a:lnTo>
                  <a:lnTo>
                    <a:pt x="497" y="1702"/>
                  </a:lnTo>
                  <a:lnTo>
                    <a:pt x="2269" y="1702"/>
                  </a:lnTo>
                  <a:lnTo>
                    <a:pt x="2269"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63" name="Google Shape;21361;p90">
              <a:extLst>
                <a:ext uri="{FF2B5EF4-FFF2-40B4-BE49-F238E27FC236}">
                  <a16:creationId xmlns:a16="http://schemas.microsoft.com/office/drawing/2014/main" id="{A914C45F-E605-5A13-467B-CC269FDB4C9B}"/>
                </a:ext>
              </a:extLst>
            </p:cNvPr>
            <p:cNvSpPr/>
            <p:nvPr/>
          </p:nvSpPr>
          <p:spPr>
            <a:xfrm>
              <a:off x="6078450" y="5219875"/>
              <a:ext cx="28400" cy="15975"/>
            </a:xfrm>
            <a:custGeom>
              <a:avLst/>
              <a:gdLst/>
              <a:ahLst/>
              <a:cxnLst/>
              <a:rect l="l" t="t" r="r" b="b"/>
              <a:pathLst>
                <a:path w="1136" h="639" extrusionOk="0">
                  <a:moveTo>
                    <a:pt x="1135" y="1"/>
                  </a:moveTo>
                  <a:lnTo>
                    <a:pt x="1" y="143"/>
                  </a:lnTo>
                  <a:lnTo>
                    <a:pt x="143" y="639"/>
                  </a:lnTo>
                  <a:lnTo>
                    <a:pt x="1135" y="639"/>
                  </a:lnTo>
                  <a:lnTo>
                    <a:pt x="1135" y="1"/>
                  </a:lnTo>
                  <a:close/>
                </a:path>
              </a:pathLst>
            </a:custGeom>
            <a:solidFill>
              <a:srgbClr val="3D3D4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64" name="Google Shape;21362;p90">
              <a:extLst>
                <a:ext uri="{FF2B5EF4-FFF2-40B4-BE49-F238E27FC236}">
                  <a16:creationId xmlns:a16="http://schemas.microsoft.com/office/drawing/2014/main" id="{3382AFC0-12F3-DB4B-26B3-6A57586432C0}"/>
                </a:ext>
              </a:extLst>
            </p:cNvPr>
            <p:cNvSpPr/>
            <p:nvPr/>
          </p:nvSpPr>
          <p:spPr>
            <a:xfrm>
              <a:off x="6078450" y="5219875"/>
              <a:ext cx="28400" cy="15975"/>
            </a:xfrm>
            <a:custGeom>
              <a:avLst/>
              <a:gdLst/>
              <a:ahLst/>
              <a:cxnLst/>
              <a:rect l="l" t="t" r="r" b="b"/>
              <a:pathLst>
                <a:path w="1136" h="639" fill="none" extrusionOk="0">
                  <a:moveTo>
                    <a:pt x="1135" y="1"/>
                  </a:moveTo>
                  <a:lnTo>
                    <a:pt x="1135" y="1"/>
                  </a:lnTo>
                  <a:lnTo>
                    <a:pt x="1" y="143"/>
                  </a:lnTo>
                  <a:lnTo>
                    <a:pt x="143" y="639"/>
                  </a:lnTo>
                  <a:lnTo>
                    <a:pt x="1135" y="639"/>
                  </a:lnTo>
                  <a:lnTo>
                    <a:pt x="1135"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65" name="Google Shape;21363;p90">
              <a:extLst>
                <a:ext uri="{FF2B5EF4-FFF2-40B4-BE49-F238E27FC236}">
                  <a16:creationId xmlns:a16="http://schemas.microsoft.com/office/drawing/2014/main" id="{5FAD4F24-60D4-89AE-F7BE-4AF58DD87231}"/>
                </a:ext>
              </a:extLst>
            </p:cNvPr>
            <p:cNvSpPr/>
            <p:nvPr/>
          </p:nvSpPr>
          <p:spPr>
            <a:xfrm>
              <a:off x="5739950" y="4188450"/>
              <a:ext cx="366900" cy="1288425"/>
            </a:xfrm>
            <a:custGeom>
              <a:avLst/>
              <a:gdLst/>
              <a:ahLst/>
              <a:cxnLst/>
              <a:rect l="l" t="t" r="r" b="b"/>
              <a:pathLst>
                <a:path w="14676" h="51537" extrusionOk="0">
                  <a:moveTo>
                    <a:pt x="993" y="0"/>
                  </a:moveTo>
                  <a:lnTo>
                    <a:pt x="355" y="213"/>
                  </a:lnTo>
                  <a:lnTo>
                    <a:pt x="214" y="355"/>
                  </a:lnTo>
                  <a:lnTo>
                    <a:pt x="72" y="496"/>
                  </a:lnTo>
                  <a:lnTo>
                    <a:pt x="1" y="709"/>
                  </a:lnTo>
                  <a:lnTo>
                    <a:pt x="1" y="993"/>
                  </a:lnTo>
                  <a:lnTo>
                    <a:pt x="14604" y="51537"/>
                  </a:lnTo>
                  <a:lnTo>
                    <a:pt x="14675" y="51537"/>
                  </a:lnTo>
                  <a:lnTo>
                    <a:pt x="14675" y="45157"/>
                  </a:lnTo>
                  <a:lnTo>
                    <a:pt x="1702" y="426"/>
                  </a:lnTo>
                  <a:lnTo>
                    <a:pt x="1631" y="213"/>
                  </a:lnTo>
                  <a:lnTo>
                    <a:pt x="1419" y="71"/>
                  </a:lnTo>
                  <a:lnTo>
                    <a:pt x="1206" y="0"/>
                  </a:lnTo>
                  <a:close/>
                </a:path>
              </a:pathLst>
            </a:custGeom>
            <a:solidFill>
              <a:srgbClr val="46464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66" name="Google Shape;21364;p90">
              <a:extLst>
                <a:ext uri="{FF2B5EF4-FFF2-40B4-BE49-F238E27FC236}">
                  <a16:creationId xmlns:a16="http://schemas.microsoft.com/office/drawing/2014/main" id="{B9474BF5-2652-E92F-9DAB-7254DBEFBB81}"/>
                </a:ext>
              </a:extLst>
            </p:cNvPr>
            <p:cNvSpPr/>
            <p:nvPr/>
          </p:nvSpPr>
          <p:spPr>
            <a:xfrm>
              <a:off x="5739950" y="4188450"/>
              <a:ext cx="366900" cy="1288425"/>
            </a:xfrm>
            <a:custGeom>
              <a:avLst/>
              <a:gdLst/>
              <a:ahLst/>
              <a:cxnLst/>
              <a:rect l="l" t="t" r="r" b="b"/>
              <a:pathLst>
                <a:path w="14676" h="51537" fill="none" extrusionOk="0">
                  <a:moveTo>
                    <a:pt x="14675" y="45157"/>
                  </a:moveTo>
                  <a:lnTo>
                    <a:pt x="1702" y="426"/>
                  </a:lnTo>
                  <a:lnTo>
                    <a:pt x="1702" y="426"/>
                  </a:lnTo>
                  <a:lnTo>
                    <a:pt x="1631" y="213"/>
                  </a:lnTo>
                  <a:lnTo>
                    <a:pt x="1419" y="71"/>
                  </a:lnTo>
                  <a:lnTo>
                    <a:pt x="1206" y="0"/>
                  </a:lnTo>
                  <a:lnTo>
                    <a:pt x="993" y="0"/>
                  </a:lnTo>
                  <a:lnTo>
                    <a:pt x="355" y="213"/>
                  </a:lnTo>
                  <a:lnTo>
                    <a:pt x="355" y="213"/>
                  </a:lnTo>
                  <a:lnTo>
                    <a:pt x="214" y="355"/>
                  </a:lnTo>
                  <a:lnTo>
                    <a:pt x="72" y="496"/>
                  </a:lnTo>
                  <a:lnTo>
                    <a:pt x="1" y="709"/>
                  </a:lnTo>
                  <a:lnTo>
                    <a:pt x="1" y="993"/>
                  </a:lnTo>
                  <a:lnTo>
                    <a:pt x="14604" y="51537"/>
                  </a:lnTo>
                  <a:lnTo>
                    <a:pt x="14675" y="51537"/>
                  </a:lnTo>
                  <a:lnTo>
                    <a:pt x="14675" y="45157"/>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67" name="Google Shape;21365;p90">
              <a:extLst>
                <a:ext uri="{FF2B5EF4-FFF2-40B4-BE49-F238E27FC236}">
                  <a16:creationId xmlns:a16="http://schemas.microsoft.com/office/drawing/2014/main" id="{262AC4DD-2DF7-FAEF-34C1-641478BFBCE2}"/>
                </a:ext>
              </a:extLst>
            </p:cNvPr>
            <p:cNvSpPr/>
            <p:nvPr/>
          </p:nvSpPr>
          <p:spPr>
            <a:xfrm>
              <a:off x="5654900" y="4184900"/>
              <a:ext cx="451950" cy="65600"/>
            </a:xfrm>
            <a:custGeom>
              <a:avLst/>
              <a:gdLst/>
              <a:ahLst/>
              <a:cxnLst/>
              <a:rect l="l" t="t" r="r" b="b"/>
              <a:pathLst>
                <a:path w="18078" h="2624" extrusionOk="0">
                  <a:moveTo>
                    <a:pt x="496" y="0"/>
                  </a:moveTo>
                  <a:lnTo>
                    <a:pt x="355" y="71"/>
                  </a:lnTo>
                  <a:lnTo>
                    <a:pt x="142" y="284"/>
                  </a:lnTo>
                  <a:lnTo>
                    <a:pt x="71" y="638"/>
                  </a:lnTo>
                  <a:lnTo>
                    <a:pt x="0" y="1064"/>
                  </a:lnTo>
                  <a:lnTo>
                    <a:pt x="0" y="1206"/>
                  </a:lnTo>
                  <a:lnTo>
                    <a:pt x="0" y="1418"/>
                  </a:lnTo>
                  <a:lnTo>
                    <a:pt x="0" y="1773"/>
                  </a:lnTo>
                  <a:lnTo>
                    <a:pt x="142" y="2127"/>
                  </a:lnTo>
                  <a:lnTo>
                    <a:pt x="213" y="2198"/>
                  </a:lnTo>
                  <a:lnTo>
                    <a:pt x="426" y="2482"/>
                  </a:lnTo>
                  <a:lnTo>
                    <a:pt x="426" y="2552"/>
                  </a:lnTo>
                  <a:lnTo>
                    <a:pt x="496" y="2623"/>
                  </a:lnTo>
                  <a:lnTo>
                    <a:pt x="18077" y="2623"/>
                  </a:lnTo>
                  <a:lnTo>
                    <a:pt x="18077" y="0"/>
                  </a:lnTo>
                  <a:close/>
                </a:path>
              </a:pathLst>
            </a:custGeom>
            <a:solidFill>
              <a:srgbClr val="46464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68" name="Google Shape;21366;p90">
              <a:extLst>
                <a:ext uri="{FF2B5EF4-FFF2-40B4-BE49-F238E27FC236}">
                  <a16:creationId xmlns:a16="http://schemas.microsoft.com/office/drawing/2014/main" id="{5A27C19C-9956-10D6-C22D-F3009BF0B857}"/>
                </a:ext>
              </a:extLst>
            </p:cNvPr>
            <p:cNvSpPr/>
            <p:nvPr/>
          </p:nvSpPr>
          <p:spPr>
            <a:xfrm>
              <a:off x="5654900" y="4184900"/>
              <a:ext cx="451950" cy="65600"/>
            </a:xfrm>
            <a:custGeom>
              <a:avLst/>
              <a:gdLst/>
              <a:ahLst/>
              <a:cxnLst/>
              <a:rect l="l" t="t" r="r" b="b"/>
              <a:pathLst>
                <a:path w="18078" h="2624" fill="none" extrusionOk="0">
                  <a:moveTo>
                    <a:pt x="18077" y="0"/>
                  </a:moveTo>
                  <a:lnTo>
                    <a:pt x="638" y="0"/>
                  </a:lnTo>
                  <a:lnTo>
                    <a:pt x="638" y="0"/>
                  </a:lnTo>
                  <a:lnTo>
                    <a:pt x="496" y="0"/>
                  </a:lnTo>
                  <a:lnTo>
                    <a:pt x="355" y="71"/>
                  </a:lnTo>
                  <a:lnTo>
                    <a:pt x="142" y="284"/>
                  </a:lnTo>
                  <a:lnTo>
                    <a:pt x="71" y="638"/>
                  </a:lnTo>
                  <a:lnTo>
                    <a:pt x="0" y="1064"/>
                  </a:lnTo>
                  <a:lnTo>
                    <a:pt x="0" y="1064"/>
                  </a:lnTo>
                  <a:lnTo>
                    <a:pt x="0" y="1206"/>
                  </a:lnTo>
                  <a:lnTo>
                    <a:pt x="0" y="1418"/>
                  </a:lnTo>
                  <a:lnTo>
                    <a:pt x="0" y="1418"/>
                  </a:lnTo>
                  <a:lnTo>
                    <a:pt x="0" y="1773"/>
                  </a:lnTo>
                  <a:lnTo>
                    <a:pt x="142" y="2127"/>
                  </a:lnTo>
                  <a:lnTo>
                    <a:pt x="213" y="2198"/>
                  </a:lnTo>
                  <a:lnTo>
                    <a:pt x="213" y="2198"/>
                  </a:lnTo>
                  <a:lnTo>
                    <a:pt x="426" y="2482"/>
                  </a:lnTo>
                  <a:lnTo>
                    <a:pt x="426" y="2552"/>
                  </a:lnTo>
                  <a:lnTo>
                    <a:pt x="496" y="2623"/>
                  </a:lnTo>
                  <a:lnTo>
                    <a:pt x="567" y="2623"/>
                  </a:lnTo>
                  <a:lnTo>
                    <a:pt x="638" y="2623"/>
                  </a:lnTo>
                  <a:lnTo>
                    <a:pt x="638" y="2623"/>
                  </a:lnTo>
                  <a:lnTo>
                    <a:pt x="18077" y="2623"/>
                  </a:lnTo>
                  <a:lnTo>
                    <a:pt x="18077"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69" name="Google Shape;21367;p90">
              <a:extLst>
                <a:ext uri="{FF2B5EF4-FFF2-40B4-BE49-F238E27FC236}">
                  <a16:creationId xmlns:a16="http://schemas.microsoft.com/office/drawing/2014/main" id="{02011160-E955-5637-5B96-52A4B3FF48F6}"/>
                </a:ext>
              </a:extLst>
            </p:cNvPr>
            <p:cNvSpPr/>
            <p:nvPr/>
          </p:nvSpPr>
          <p:spPr>
            <a:xfrm>
              <a:off x="5798450" y="4250475"/>
              <a:ext cx="230400" cy="25"/>
            </a:xfrm>
            <a:custGeom>
              <a:avLst/>
              <a:gdLst/>
              <a:ahLst/>
              <a:cxnLst/>
              <a:rect l="l" t="t" r="r" b="b"/>
              <a:pathLst>
                <a:path w="9216" h="1" extrusionOk="0">
                  <a:moveTo>
                    <a:pt x="9216" y="0"/>
                  </a:moveTo>
                  <a:lnTo>
                    <a:pt x="0" y="0"/>
                  </a:lnTo>
                  <a:lnTo>
                    <a:pt x="0" y="0"/>
                  </a:lnTo>
                  <a:lnTo>
                    <a:pt x="9216" y="0"/>
                  </a:lnTo>
                  <a:lnTo>
                    <a:pt x="9216" y="0"/>
                  </a:lnTo>
                  <a:close/>
                </a:path>
              </a:pathLst>
            </a:custGeom>
            <a:solidFill>
              <a:srgbClr val="B1ADB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70" name="Google Shape;21368;p90">
              <a:extLst>
                <a:ext uri="{FF2B5EF4-FFF2-40B4-BE49-F238E27FC236}">
                  <a16:creationId xmlns:a16="http://schemas.microsoft.com/office/drawing/2014/main" id="{EBD1543B-3147-2250-C2CB-2EA6FC4B9C2B}"/>
                </a:ext>
              </a:extLst>
            </p:cNvPr>
            <p:cNvSpPr/>
            <p:nvPr/>
          </p:nvSpPr>
          <p:spPr>
            <a:xfrm>
              <a:off x="5798450" y="4250475"/>
              <a:ext cx="230400" cy="25"/>
            </a:xfrm>
            <a:custGeom>
              <a:avLst/>
              <a:gdLst/>
              <a:ahLst/>
              <a:cxnLst/>
              <a:rect l="l" t="t" r="r" b="b"/>
              <a:pathLst>
                <a:path w="9216" h="1" fill="none" extrusionOk="0">
                  <a:moveTo>
                    <a:pt x="9216" y="0"/>
                  </a:moveTo>
                  <a:lnTo>
                    <a:pt x="0" y="0"/>
                  </a:lnTo>
                  <a:lnTo>
                    <a:pt x="0" y="0"/>
                  </a:lnTo>
                  <a:lnTo>
                    <a:pt x="9216" y="0"/>
                  </a:lnTo>
                  <a:lnTo>
                    <a:pt x="9216"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71" name="Google Shape;21369;p90">
              <a:extLst>
                <a:ext uri="{FF2B5EF4-FFF2-40B4-BE49-F238E27FC236}">
                  <a16:creationId xmlns:a16="http://schemas.microsoft.com/office/drawing/2014/main" id="{DC3C7357-4698-845D-D403-1E0BD4DDA4A5}"/>
                </a:ext>
              </a:extLst>
            </p:cNvPr>
            <p:cNvSpPr/>
            <p:nvPr/>
          </p:nvSpPr>
          <p:spPr>
            <a:xfrm>
              <a:off x="6028825" y="4250475"/>
              <a:ext cx="40800" cy="25"/>
            </a:xfrm>
            <a:custGeom>
              <a:avLst/>
              <a:gdLst/>
              <a:ahLst/>
              <a:cxnLst/>
              <a:rect l="l" t="t" r="r" b="b"/>
              <a:pathLst>
                <a:path w="1632" h="1" extrusionOk="0">
                  <a:moveTo>
                    <a:pt x="1631" y="0"/>
                  </a:moveTo>
                  <a:lnTo>
                    <a:pt x="1" y="0"/>
                  </a:lnTo>
                  <a:lnTo>
                    <a:pt x="1" y="0"/>
                  </a:lnTo>
                  <a:lnTo>
                    <a:pt x="1631" y="0"/>
                  </a:lnTo>
                  <a:lnTo>
                    <a:pt x="1631" y="0"/>
                  </a:lnTo>
                  <a:close/>
                </a:path>
              </a:pathLst>
            </a:custGeom>
            <a:solidFill>
              <a:srgbClr val="2B2B3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72" name="Google Shape;21370;p90">
              <a:extLst>
                <a:ext uri="{FF2B5EF4-FFF2-40B4-BE49-F238E27FC236}">
                  <a16:creationId xmlns:a16="http://schemas.microsoft.com/office/drawing/2014/main" id="{DDBC5F69-7DB1-D45A-8D67-CD14F5FB70F4}"/>
                </a:ext>
              </a:extLst>
            </p:cNvPr>
            <p:cNvSpPr/>
            <p:nvPr/>
          </p:nvSpPr>
          <p:spPr>
            <a:xfrm>
              <a:off x="6028825" y="4250475"/>
              <a:ext cx="40800" cy="25"/>
            </a:xfrm>
            <a:custGeom>
              <a:avLst/>
              <a:gdLst/>
              <a:ahLst/>
              <a:cxnLst/>
              <a:rect l="l" t="t" r="r" b="b"/>
              <a:pathLst>
                <a:path w="1632" h="1" fill="none" extrusionOk="0">
                  <a:moveTo>
                    <a:pt x="1631" y="0"/>
                  </a:moveTo>
                  <a:lnTo>
                    <a:pt x="1" y="0"/>
                  </a:lnTo>
                  <a:lnTo>
                    <a:pt x="1" y="0"/>
                  </a:lnTo>
                  <a:lnTo>
                    <a:pt x="1631" y="0"/>
                  </a:lnTo>
                  <a:lnTo>
                    <a:pt x="1631"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73" name="Google Shape;21371;p90">
              <a:extLst>
                <a:ext uri="{FF2B5EF4-FFF2-40B4-BE49-F238E27FC236}">
                  <a16:creationId xmlns:a16="http://schemas.microsoft.com/office/drawing/2014/main" id="{74CED90B-3314-75DC-B4E3-75D96DF78CF5}"/>
                </a:ext>
              </a:extLst>
            </p:cNvPr>
            <p:cNvSpPr/>
            <p:nvPr/>
          </p:nvSpPr>
          <p:spPr>
            <a:xfrm>
              <a:off x="6069600" y="4250475"/>
              <a:ext cx="37250" cy="25"/>
            </a:xfrm>
            <a:custGeom>
              <a:avLst/>
              <a:gdLst/>
              <a:ahLst/>
              <a:cxnLst/>
              <a:rect l="l" t="t" r="r" b="b"/>
              <a:pathLst>
                <a:path w="1490" h="1" extrusionOk="0">
                  <a:moveTo>
                    <a:pt x="1489" y="0"/>
                  </a:moveTo>
                  <a:lnTo>
                    <a:pt x="0" y="0"/>
                  </a:lnTo>
                  <a:lnTo>
                    <a:pt x="0" y="0"/>
                  </a:lnTo>
                  <a:lnTo>
                    <a:pt x="1489" y="0"/>
                  </a:lnTo>
                  <a:lnTo>
                    <a:pt x="1489" y="0"/>
                  </a:lnTo>
                  <a:close/>
                </a:path>
              </a:pathLst>
            </a:custGeom>
            <a:solidFill>
              <a:srgbClr val="3D3D4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74" name="Google Shape;21372;p90">
              <a:extLst>
                <a:ext uri="{FF2B5EF4-FFF2-40B4-BE49-F238E27FC236}">
                  <a16:creationId xmlns:a16="http://schemas.microsoft.com/office/drawing/2014/main" id="{0B0D9BDC-B590-5AFE-AEF2-931DB7B509EE}"/>
                </a:ext>
              </a:extLst>
            </p:cNvPr>
            <p:cNvSpPr/>
            <p:nvPr/>
          </p:nvSpPr>
          <p:spPr>
            <a:xfrm>
              <a:off x="6069600" y="4250475"/>
              <a:ext cx="37250" cy="25"/>
            </a:xfrm>
            <a:custGeom>
              <a:avLst/>
              <a:gdLst/>
              <a:ahLst/>
              <a:cxnLst/>
              <a:rect l="l" t="t" r="r" b="b"/>
              <a:pathLst>
                <a:path w="1490" h="1" fill="none" extrusionOk="0">
                  <a:moveTo>
                    <a:pt x="1489" y="0"/>
                  </a:moveTo>
                  <a:lnTo>
                    <a:pt x="0" y="0"/>
                  </a:lnTo>
                  <a:lnTo>
                    <a:pt x="0" y="0"/>
                  </a:lnTo>
                  <a:lnTo>
                    <a:pt x="1489" y="0"/>
                  </a:lnTo>
                  <a:lnTo>
                    <a:pt x="1489"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75" name="Google Shape;21373;p90">
              <a:extLst>
                <a:ext uri="{FF2B5EF4-FFF2-40B4-BE49-F238E27FC236}">
                  <a16:creationId xmlns:a16="http://schemas.microsoft.com/office/drawing/2014/main" id="{FAEF76B1-5ED7-BFCE-B007-71D67F3ACBF9}"/>
                </a:ext>
              </a:extLst>
            </p:cNvPr>
            <p:cNvSpPr/>
            <p:nvPr/>
          </p:nvSpPr>
          <p:spPr>
            <a:xfrm>
              <a:off x="5669075" y="4250475"/>
              <a:ext cx="40775" cy="25"/>
            </a:xfrm>
            <a:custGeom>
              <a:avLst/>
              <a:gdLst/>
              <a:ahLst/>
              <a:cxnLst/>
              <a:rect l="l" t="t" r="r" b="b"/>
              <a:pathLst>
                <a:path w="1631" h="1" extrusionOk="0">
                  <a:moveTo>
                    <a:pt x="0" y="0"/>
                  </a:moveTo>
                  <a:lnTo>
                    <a:pt x="0" y="0"/>
                  </a:lnTo>
                  <a:lnTo>
                    <a:pt x="71" y="0"/>
                  </a:lnTo>
                  <a:lnTo>
                    <a:pt x="1631" y="0"/>
                  </a:lnTo>
                  <a:lnTo>
                    <a:pt x="1631" y="0"/>
                  </a:lnTo>
                  <a:lnTo>
                    <a:pt x="71" y="0"/>
                  </a:lnTo>
                  <a:lnTo>
                    <a:pt x="71" y="0"/>
                  </a:lnTo>
                  <a:lnTo>
                    <a:pt x="0" y="0"/>
                  </a:lnTo>
                  <a:close/>
                </a:path>
              </a:pathLst>
            </a:custGeom>
            <a:solidFill>
              <a:srgbClr val="B1ADB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76" name="Google Shape;21374;p90">
              <a:extLst>
                <a:ext uri="{FF2B5EF4-FFF2-40B4-BE49-F238E27FC236}">
                  <a16:creationId xmlns:a16="http://schemas.microsoft.com/office/drawing/2014/main" id="{FD88991D-1730-8531-D07D-9866AA8CEF46}"/>
                </a:ext>
              </a:extLst>
            </p:cNvPr>
            <p:cNvSpPr/>
            <p:nvPr/>
          </p:nvSpPr>
          <p:spPr>
            <a:xfrm>
              <a:off x="5669075" y="4250475"/>
              <a:ext cx="40775" cy="25"/>
            </a:xfrm>
            <a:custGeom>
              <a:avLst/>
              <a:gdLst/>
              <a:ahLst/>
              <a:cxnLst/>
              <a:rect l="l" t="t" r="r" b="b"/>
              <a:pathLst>
                <a:path w="1631" h="1" fill="none" extrusionOk="0">
                  <a:moveTo>
                    <a:pt x="0" y="0"/>
                  </a:moveTo>
                  <a:lnTo>
                    <a:pt x="0" y="0"/>
                  </a:lnTo>
                  <a:lnTo>
                    <a:pt x="71" y="0"/>
                  </a:lnTo>
                  <a:lnTo>
                    <a:pt x="1631" y="0"/>
                  </a:lnTo>
                  <a:lnTo>
                    <a:pt x="1631" y="0"/>
                  </a:lnTo>
                  <a:lnTo>
                    <a:pt x="71" y="0"/>
                  </a:lnTo>
                  <a:lnTo>
                    <a:pt x="71" y="0"/>
                  </a:lnTo>
                  <a:lnTo>
                    <a:pt x="0"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77" name="Google Shape;21375;p90">
              <a:extLst>
                <a:ext uri="{FF2B5EF4-FFF2-40B4-BE49-F238E27FC236}">
                  <a16:creationId xmlns:a16="http://schemas.microsoft.com/office/drawing/2014/main" id="{E680ACD6-CF8B-1F1D-E0E3-093941061CF9}"/>
                </a:ext>
              </a:extLst>
            </p:cNvPr>
            <p:cNvSpPr/>
            <p:nvPr/>
          </p:nvSpPr>
          <p:spPr>
            <a:xfrm>
              <a:off x="5709825" y="4250475"/>
              <a:ext cx="40800" cy="25"/>
            </a:xfrm>
            <a:custGeom>
              <a:avLst/>
              <a:gdLst/>
              <a:ahLst/>
              <a:cxnLst/>
              <a:rect l="l" t="t" r="r" b="b"/>
              <a:pathLst>
                <a:path w="1632" h="1" extrusionOk="0">
                  <a:moveTo>
                    <a:pt x="1631" y="0"/>
                  </a:moveTo>
                  <a:lnTo>
                    <a:pt x="1" y="0"/>
                  </a:lnTo>
                  <a:lnTo>
                    <a:pt x="1" y="0"/>
                  </a:lnTo>
                  <a:lnTo>
                    <a:pt x="1631" y="0"/>
                  </a:lnTo>
                  <a:lnTo>
                    <a:pt x="1631" y="0"/>
                  </a:lnTo>
                  <a:close/>
                </a:path>
              </a:pathLst>
            </a:custGeom>
            <a:solidFill>
              <a:srgbClr val="2B2B3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78" name="Google Shape;21376;p90">
              <a:extLst>
                <a:ext uri="{FF2B5EF4-FFF2-40B4-BE49-F238E27FC236}">
                  <a16:creationId xmlns:a16="http://schemas.microsoft.com/office/drawing/2014/main" id="{E144FD4D-5CE4-CAB0-0B1B-9C5405F797DF}"/>
                </a:ext>
              </a:extLst>
            </p:cNvPr>
            <p:cNvSpPr/>
            <p:nvPr/>
          </p:nvSpPr>
          <p:spPr>
            <a:xfrm>
              <a:off x="5709825" y="4250475"/>
              <a:ext cx="40800" cy="25"/>
            </a:xfrm>
            <a:custGeom>
              <a:avLst/>
              <a:gdLst/>
              <a:ahLst/>
              <a:cxnLst/>
              <a:rect l="l" t="t" r="r" b="b"/>
              <a:pathLst>
                <a:path w="1632" h="1" fill="none" extrusionOk="0">
                  <a:moveTo>
                    <a:pt x="1631" y="0"/>
                  </a:moveTo>
                  <a:lnTo>
                    <a:pt x="1" y="0"/>
                  </a:lnTo>
                  <a:lnTo>
                    <a:pt x="1" y="0"/>
                  </a:lnTo>
                  <a:lnTo>
                    <a:pt x="1631" y="0"/>
                  </a:lnTo>
                  <a:lnTo>
                    <a:pt x="1631"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79" name="Google Shape;21377;p90">
              <a:extLst>
                <a:ext uri="{FF2B5EF4-FFF2-40B4-BE49-F238E27FC236}">
                  <a16:creationId xmlns:a16="http://schemas.microsoft.com/office/drawing/2014/main" id="{F80404A5-4B32-87CA-E4D2-8A0AF6177BD1}"/>
                </a:ext>
              </a:extLst>
            </p:cNvPr>
            <p:cNvSpPr/>
            <p:nvPr/>
          </p:nvSpPr>
          <p:spPr>
            <a:xfrm>
              <a:off x="5750600" y="4250475"/>
              <a:ext cx="47875" cy="25"/>
            </a:xfrm>
            <a:custGeom>
              <a:avLst/>
              <a:gdLst/>
              <a:ahLst/>
              <a:cxnLst/>
              <a:rect l="l" t="t" r="r" b="b"/>
              <a:pathLst>
                <a:path w="1915" h="1" extrusionOk="0">
                  <a:moveTo>
                    <a:pt x="1914" y="0"/>
                  </a:moveTo>
                  <a:lnTo>
                    <a:pt x="0" y="0"/>
                  </a:lnTo>
                  <a:lnTo>
                    <a:pt x="0" y="0"/>
                  </a:lnTo>
                  <a:lnTo>
                    <a:pt x="1914" y="0"/>
                  </a:lnTo>
                  <a:lnTo>
                    <a:pt x="1914" y="0"/>
                  </a:lnTo>
                  <a:close/>
                </a:path>
              </a:pathLst>
            </a:custGeom>
            <a:solidFill>
              <a:srgbClr val="3D3D4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80" name="Google Shape;21378;p90">
              <a:extLst>
                <a:ext uri="{FF2B5EF4-FFF2-40B4-BE49-F238E27FC236}">
                  <a16:creationId xmlns:a16="http://schemas.microsoft.com/office/drawing/2014/main" id="{005A1499-2703-A5E1-4C88-968423D0D62B}"/>
                </a:ext>
              </a:extLst>
            </p:cNvPr>
            <p:cNvSpPr/>
            <p:nvPr/>
          </p:nvSpPr>
          <p:spPr>
            <a:xfrm>
              <a:off x="5750600" y="4250475"/>
              <a:ext cx="47875" cy="25"/>
            </a:xfrm>
            <a:custGeom>
              <a:avLst/>
              <a:gdLst/>
              <a:ahLst/>
              <a:cxnLst/>
              <a:rect l="l" t="t" r="r" b="b"/>
              <a:pathLst>
                <a:path w="1915" h="1" fill="none" extrusionOk="0">
                  <a:moveTo>
                    <a:pt x="1914" y="0"/>
                  </a:moveTo>
                  <a:lnTo>
                    <a:pt x="0" y="0"/>
                  </a:lnTo>
                  <a:lnTo>
                    <a:pt x="0" y="0"/>
                  </a:lnTo>
                  <a:lnTo>
                    <a:pt x="1914" y="0"/>
                  </a:lnTo>
                  <a:lnTo>
                    <a:pt x="1914"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81" name="Google Shape;21379;p90">
              <a:extLst>
                <a:ext uri="{FF2B5EF4-FFF2-40B4-BE49-F238E27FC236}">
                  <a16:creationId xmlns:a16="http://schemas.microsoft.com/office/drawing/2014/main" id="{83B2A092-EB3C-2DC4-D821-13FE3F69DA0A}"/>
                </a:ext>
              </a:extLst>
            </p:cNvPr>
            <p:cNvSpPr/>
            <p:nvPr/>
          </p:nvSpPr>
          <p:spPr>
            <a:xfrm>
              <a:off x="5665525" y="4246925"/>
              <a:ext cx="3575" cy="3575"/>
            </a:xfrm>
            <a:custGeom>
              <a:avLst/>
              <a:gdLst/>
              <a:ahLst/>
              <a:cxnLst/>
              <a:rect l="l" t="t" r="r" b="b"/>
              <a:pathLst>
                <a:path w="143" h="143" extrusionOk="0">
                  <a:moveTo>
                    <a:pt x="1" y="1"/>
                  </a:moveTo>
                  <a:lnTo>
                    <a:pt x="1" y="71"/>
                  </a:lnTo>
                  <a:lnTo>
                    <a:pt x="71" y="142"/>
                  </a:lnTo>
                  <a:lnTo>
                    <a:pt x="142" y="142"/>
                  </a:lnTo>
                  <a:lnTo>
                    <a:pt x="1" y="1"/>
                  </a:lnTo>
                  <a:close/>
                </a:path>
              </a:pathLst>
            </a:custGeom>
            <a:solidFill>
              <a:srgbClr val="B1ADB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82" name="Google Shape;21380;p90">
              <a:extLst>
                <a:ext uri="{FF2B5EF4-FFF2-40B4-BE49-F238E27FC236}">
                  <a16:creationId xmlns:a16="http://schemas.microsoft.com/office/drawing/2014/main" id="{F19E4258-BFE3-C399-505B-51AD0CC64218}"/>
                </a:ext>
              </a:extLst>
            </p:cNvPr>
            <p:cNvSpPr/>
            <p:nvPr/>
          </p:nvSpPr>
          <p:spPr>
            <a:xfrm>
              <a:off x="5665525" y="4246925"/>
              <a:ext cx="3575" cy="3575"/>
            </a:xfrm>
            <a:custGeom>
              <a:avLst/>
              <a:gdLst/>
              <a:ahLst/>
              <a:cxnLst/>
              <a:rect l="l" t="t" r="r" b="b"/>
              <a:pathLst>
                <a:path w="143" h="143" fill="none" extrusionOk="0">
                  <a:moveTo>
                    <a:pt x="1" y="1"/>
                  </a:moveTo>
                  <a:lnTo>
                    <a:pt x="1" y="1"/>
                  </a:lnTo>
                  <a:lnTo>
                    <a:pt x="142" y="142"/>
                  </a:lnTo>
                  <a:lnTo>
                    <a:pt x="71" y="142"/>
                  </a:lnTo>
                  <a:lnTo>
                    <a:pt x="1" y="71"/>
                  </a:lnTo>
                  <a:lnTo>
                    <a:pt x="1"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83" name="Google Shape;21381;p90">
              <a:extLst>
                <a:ext uri="{FF2B5EF4-FFF2-40B4-BE49-F238E27FC236}">
                  <a16:creationId xmlns:a16="http://schemas.microsoft.com/office/drawing/2014/main" id="{9CCC8B06-BFC4-369D-F291-9F752DE04CA6}"/>
                </a:ext>
              </a:extLst>
            </p:cNvPr>
            <p:cNvSpPr/>
            <p:nvPr/>
          </p:nvSpPr>
          <p:spPr>
            <a:xfrm>
              <a:off x="5661975" y="4241600"/>
              <a:ext cx="25" cy="1800"/>
            </a:xfrm>
            <a:custGeom>
              <a:avLst/>
              <a:gdLst/>
              <a:ahLst/>
              <a:cxnLst/>
              <a:rect l="l" t="t" r="r" b="b"/>
              <a:pathLst>
                <a:path w="1" h="72" fill="none" extrusionOk="0">
                  <a:moveTo>
                    <a:pt x="1" y="1"/>
                  </a:moveTo>
                  <a:lnTo>
                    <a:pt x="1" y="1"/>
                  </a:lnTo>
                  <a:lnTo>
                    <a:pt x="1" y="72"/>
                  </a:lnTo>
                  <a:lnTo>
                    <a:pt x="1" y="72"/>
                  </a:lnTo>
                  <a:lnTo>
                    <a:pt x="1"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84" name="Google Shape;21382;p90">
              <a:extLst>
                <a:ext uri="{FF2B5EF4-FFF2-40B4-BE49-F238E27FC236}">
                  <a16:creationId xmlns:a16="http://schemas.microsoft.com/office/drawing/2014/main" id="{9370C9E6-6B3E-70F5-E8F5-423AE3757414}"/>
                </a:ext>
              </a:extLst>
            </p:cNvPr>
            <p:cNvSpPr/>
            <p:nvPr/>
          </p:nvSpPr>
          <p:spPr>
            <a:xfrm>
              <a:off x="5658425" y="4238075"/>
              <a:ext cx="25" cy="25"/>
            </a:xfrm>
            <a:custGeom>
              <a:avLst/>
              <a:gdLst/>
              <a:ahLst/>
              <a:cxnLst/>
              <a:rect l="l" t="t" r="r" b="b"/>
              <a:pathLst>
                <a:path w="1" h="1" fill="none" extrusionOk="0">
                  <a:moveTo>
                    <a:pt x="1" y="0"/>
                  </a:moveTo>
                  <a:lnTo>
                    <a:pt x="1" y="0"/>
                  </a:lnTo>
                  <a:lnTo>
                    <a:pt x="1" y="0"/>
                  </a:lnTo>
                  <a:lnTo>
                    <a:pt x="1" y="0"/>
                  </a:lnTo>
                  <a:lnTo>
                    <a:pt x="1"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85" name="Google Shape;21383;p90">
              <a:extLst>
                <a:ext uri="{FF2B5EF4-FFF2-40B4-BE49-F238E27FC236}">
                  <a16:creationId xmlns:a16="http://schemas.microsoft.com/office/drawing/2014/main" id="{399ADFBB-C07C-9590-C997-D69D6D39C54C}"/>
                </a:ext>
              </a:extLst>
            </p:cNvPr>
            <p:cNvSpPr/>
            <p:nvPr/>
          </p:nvSpPr>
          <p:spPr>
            <a:xfrm>
              <a:off x="5658425" y="4222125"/>
              <a:ext cx="448425" cy="28375"/>
            </a:xfrm>
            <a:custGeom>
              <a:avLst/>
              <a:gdLst/>
              <a:ahLst/>
              <a:cxnLst/>
              <a:rect l="l" t="t" r="r" b="b"/>
              <a:pathLst>
                <a:path w="17937" h="1135" extrusionOk="0">
                  <a:moveTo>
                    <a:pt x="7799" y="0"/>
                  </a:moveTo>
                  <a:lnTo>
                    <a:pt x="5601" y="71"/>
                  </a:lnTo>
                  <a:lnTo>
                    <a:pt x="3475" y="142"/>
                  </a:lnTo>
                  <a:lnTo>
                    <a:pt x="1631" y="355"/>
                  </a:lnTo>
                  <a:lnTo>
                    <a:pt x="1" y="638"/>
                  </a:lnTo>
                  <a:lnTo>
                    <a:pt x="72" y="638"/>
                  </a:lnTo>
                  <a:lnTo>
                    <a:pt x="143" y="780"/>
                  </a:lnTo>
                  <a:lnTo>
                    <a:pt x="143" y="851"/>
                  </a:lnTo>
                  <a:lnTo>
                    <a:pt x="285" y="993"/>
                  </a:lnTo>
                  <a:lnTo>
                    <a:pt x="285" y="1063"/>
                  </a:lnTo>
                  <a:lnTo>
                    <a:pt x="355" y="1134"/>
                  </a:lnTo>
                  <a:lnTo>
                    <a:pt x="17936" y="1134"/>
                  </a:lnTo>
                  <a:lnTo>
                    <a:pt x="17936" y="567"/>
                  </a:lnTo>
                  <a:lnTo>
                    <a:pt x="15809" y="355"/>
                  </a:lnTo>
                  <a:lnTo>
                    <a:pt x="13328" y="213"/>
                  </a:lnTo>
                  <a:lnTo>
                    <a:pt x="10634" y="71"/>
                  </a:lnTo>
                  <a:lnTo>
                    <a:pt x="7799" y="0"/>
                  </a:lnTo>
                  <a:close/>
                </a:path>
              </a:pathLst>
            </a:custGeom>
            <a:solidFill>
              <a:srgbClr val="3D3D4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86" name="Google Shape;21384;p90">
              <a:extLst>
                <a:ext uri="{FF2B5EF4-FFF2-40B4-BE49-F238E27FC236}">
                  <a16:creationId xmlns:a16="http://schemas.microsoft.com/office/drawing/2014/main" id="{18062DCE-A3A8-D5A6-7446-DBFDAABD671F}"/>
                </a:ext>
              </a:extLst>
            </p:cNvPr>
            <p:cNvSpPr/>
            <p:nvPr/>
          </p:nvSpPr>
          <p:spPr>
            <a:xfrm>
              <a:off x="5658425" y="4222125"/>
              <a:ext cx="448425" cy="28375"/>
            </a:xfrm>
            <a:custGeom>
              <a:avLst/>
              <a:gdLst/>
              <a:ahLst/>
              <a:cxnLst/>
              <a:rect l="l" t="t" r="r" b="b"/>
              <a:pathLst>
                <a:path w="17937" h="1135" fill="none" extrusionOk="0">
                  <a:moveTo>
                    <a:pt x="7799" y="0"/>
                  </a:moveTo>
                  <a:lnTo>
                    <a:pt x="7799" y="0"/>
                  </a:lnTo>
                  <a:lnTo>
                    <a:pt x="5601" y="71"/>
                  </a:lnTo>
                  <a:lnTo>
                    <a:pt x="3475" y="142"/>
                  </a:lnTo>
                  <a:lnTo>
                    <a:pt x="1631" y="355"/>
                  </a:lnTo>
                  <a:lnTo>
                    <a:pt x="1" y="638"/>
                  </a:lnTo>
                  <a:lnTo>
                    <a:pt x="1" y="638"/>
                  </a:lnTo>
                  <a:lnTo>
                    <a:pt x="72" y="638"/>
                  </a:lnTo>
                  <a:lnTo>
                    <a:pt x="72" y="638"/>
                  </a:lnTo>
                  <a:lnTo>
                    <a:pt x="143" y="780"/>
                  </a:lnTo>
                  <a:lnTo>
                    <a:pt x="143" y="780"/>
                  </a:lnTo>
                  <a:lnTo>
                    <a:pt x="143" y="851"/>
                  </a:lnTo>
                  <a:lnTo>
                    <a:pt x="143" y="851"/>
                  </a:lnTo>
                  <a:lnTo>
                    <a:pt x="285" y="993"/>
                  </a:lnTo>
                  <a:lnTo>
                    <a:pt x="285" y="1063"/>
                  </a:lnTo>
                  <a:lnTo>
                    <a:pt x="355" y="1134"/>
                  </a:lnTo>
                  <a:lnTo>
                    <a:pt x="426" y="1134"/>
                  </a:lnTo>
                  <a:lnTo>
                    <a:pt x="426" y="1134"/>
                  </a:lnTo>
                  <a:lnTo>
                    <a:pt x="426" y="1134"/>
                  </a:lnTo>
                  <a:lnTo>
                    <a:pt x="426" y="1134"/>
                  </a:lnTo>
                  <a:lnTo>
                    <a:pt x="426" y="1134"/>
                  </a:lnTo>
                  <a:lnTo>
                    <a:pt x="497" y="1134"/>
                  </a:lnTo>
                  <a:lnTo>
                    <a:pt x="497" y="1134"/>
                  </a:lnTo>
                  <a:lnTo>
                    <a:pt x="2057" y="1134"/>
                  </a:lnTo>
                  <a:lnTo>
                    <a:pt x="3687" y="1134"/>
                  </a:lnTo>
                  <a:lnTo>
                    <a:pt x="5601" y="1134"/>
                  </a:lnTo>
                  <a:lnTo>
                    <a:pt x="14817" y="1134"/>
                  </a:lnTo>
                  <a:lnTo>
                    <a:pt x="16447" y="1134"/>
                  </a:lnTo>
                  <a:lnTo>
                    <a:pt x="17936" y="1134"/>
                  </a:lnTo>
                  <a:lnTo>
                    <a:pt x="17936" y="567"/>
                  </a:lnTo>
                  <a:lnTo>
                    <a:pt x="17936" y="567"/>
                  </a:lnTo>
                  <a:lnTo>
                    <a:pt x="15809" y="355"/>
                  </a:lnTo>
                  <a:lnTo>
                    <a:pt x="13328" y="213"/>
                  </a:lnTo>
                  <a:lnTo>
                    <a:pt x="10634" y="71"/>
                  </a:lnTo>
                  <a:lnTo>
                    <a:pt x="7799"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87" name="Google Shape;21385;p90">
              <a:extLst>
                <a:ext uri="{FF2B5EF4-FFF2-40B4-BE49-F238E27FC236}">
                  <a16:creationId xmlns:a16="http://schemas.microsoft.com/office/drawing/2014/main" id="{09601D54-E590-A0DC-A7E9-CF37378F75A9}"/>
                </a:ext>
              </a:extLst>
            </p:cNvPr>
            <p:cNvSpPr/>
            <p:nvPr/>
          </p:nvSpPr>
          <p:spPr>
            <a:xfrm>
              <a:off x="5654900" y="4184900"/>
              <a:ext cx="164825" cy="26600"/>
            </a:xfrm>
            <a:custGeom>
              <a:avLst/>
              <a:gdLst/>
              <a:ahLst/>
              <a:cxnLst/>
              <a:rect l="l" t="t" r="r" b="b"/>
              <a:pathLst>
                <a:path w="6593" h="1064" extrusionOk="0">
                  <a:moveTo>
                    <a:pt x="426" y="0"/>
                  </a:moveTo>
                  <a:lnTo>
                    <a:pt x="355" y="71"/>
                  </a:lnTo>
                  <a:lnTo>
                    <a:pt x="142" y="355"/>
                  </a:lnTo>
                  <a:lnTo>
                    <a:pt x="0" y="638"/>
                  </a:lnTo>
                  <a:lnTo>
                    <a:pt x="0" y="1064"/>
                  </a:lnTo>
                  <a:lnTo>
                    <a:pt x="2198" y="851"/>
                  </a:lnTo>
                  <a:lnTo>
                    <a:pt x="4254" y="568"/>
                  </a:lnTo>
                  <a:lnTo>
                    <a:pt x="5742" y="284"/>
                  </a:lnTo>
                  <a:lnTo>
                    <a:pt x="6238" y="142"/>
                  </a:lnTo>
                  <a:lnTo>
                    <a:pt x="6593" y="0"/>
                  </a:lnTo>
                  <a:close/>
                </a:path>
              </a:pathLst>
            </a:custGeom>
            <a:solidFill>
              <a:srgbClr val="3E3F4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88" name="Google Shape;21386;p90">
              <a:extLst>
                <a:ext uri="{FF2B5EF4-FFF2-40B4-BE49-F238E27FC236}">
                  <a16:creationId xmlns:a16="http://schemas.microsoft.com/office/drawing/2014/main" id="{45C2432B-CF4B-BA19-85F1-D78DF6A01ADC}"/>
                </a:ext>
              </a:extLst>
            </p:cNvPr>
            <p:cNvSpPr/>
            <p:nvPr/>
          </p:nvSpPr>
          <p:spPr>
            <a:xfrm>
              <a:off x="5654900" y="4184900"/>
              <a:ext cx="164825" cy="26600"/>
            </a:xfrm>
            <a:custGeom>
              <a:avLst/>
              <a:gdLst/>
              <a:ahLst/>
              <a:cxnLst/>
              <a:rect l="l" t="t" r="r" b="b"/>
              <a:pathLst>
                <a:path w="6593" h="1064" fill="none" extrusionOk="0">
                  <a:moveTo>
                    <a:pt x="6593" y="0"/>
                  </a:moveTo>
                  <a:lnTo>
                    <a:pt x="638" y="0"/>
                  </a:lnTo>
                  <a:lnTo>
                    <a:pt x="638" y="0"/>
                  </a:lnTo>
                  <a:lnTo>
                    <a:pt x="638" y="0"/>
                  </a:lnTo>
                  <a:lnTo>
                    <a:pt x="638" y="0"/>
                  </a:lnTo>
                  <a:lnTo>
                    <a:pt x="426" y="0"/>
                  </a:lnTo>
                  <a:lnTo>
                    <a:pt x="355" y="71"/>
                  </a:lnTo>
                  <a:lnTo>
                    <a:pt x="142" y="355"/>
                  </a:lnTo>
                  <a:lnTo>
                    <a:pt x="0" y="638"/>
                  </a:lnTo>
                  <a:lnTo>
                    <a:pt x="0" y="1064"/>
                  </a:lnTo>
                  <a:lnTo>
                    <a:pt x="0" y="1064"/>
                  </a:lnTo>
                  <a:lnTo>
                    <a:pt x="2198" y="851"/>
                  </a:lnTo>
                  <a:lnTo>
                    <a:pt x="4254" y="568"/>
                  </a:lnTo>
                  <a:lnTo>
                    <a:pt x="5742" y="284"/>
                  </a:lnTo>
                  <a:lnTo>
                    <a:pt x="6238" y="142"/>
                  </a:lnTo>
                  <a:lnTo>
                    <a:pt x="6593"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89" name="Google Shape;21387;p90">
              <a:extLst>
                <a:ext uri="{FF2B5EF4-FFF2-40B4-BE49-F238E27FC236}">
                  <a16:creationId xmlns:a16="http://schemas.microsoft.com/office/drawing/2014/main" id="{884532AC-70FA-7A16-9418-6BAC19D25872}"/>
                </a:ext>
              </a:extLst>
            </p:cNvPr>
            <p:cNvSpPr/>
            <p:nvPr/>
          </p:nvSpPr>
          <p:spPr>
            <a:xfrm>
              <a:off x="5704525" y="4032475"/>
              <a:ext cx="67350" cy="125875"/>
            </a:xfrm>
            <a:custGeom>
              <a:avLst/>
              <a:gdLst/>
              <a:ahLst/>
              <a:cxnLst/>
              <a:rect l="l" t="t" r="r" b="b"/>
              <a:pathLst>
                <a:path w="2694" h="5035" extrusionOk="0">
                  <a:moveTo>
                    <a:pt x="2694" y="1"/>
                  </a:moveTo>
                  <a:lnTo>
                    <a:pt x="0" y="143"/>
                  </a:lnTo>
                  <a:lnTo>
                    <a:pt x="0" y="1490"/>
                  </a:lnTo>
                  <a:lnTo>
                    <a:pt x="0" y="2695"/>
                  </a:lnTo>
                  <a:lnTo>
                    <a:pt x="71" y="3687"/>
                  </a:lnTo>
                  <a:lnTo>
                    <a:pt x="851" y="5034"/>
                  </a:lnTo>
                  <a:lnTo>
                    <a:pt x="2623" y="3758"/>
                  </a:lnTo>
                  <a:lnTo>
                    <a:pt x="2694" y="1"/>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90" name="Google Shape;21388;p90">
              <a:extLst>
                <a:ext uri="{FF2B5EF4-FFF2-40B4-BE49-F238E27FC236}">
                  <a16:creationId xmlns:a16="http://schemas.microsoft.com/office/drawing/2014/main" id="{857BABBD-5D69-F270-F093-18EE58B06ABC}"/>
                </a:ext>
              </a:extLst>
            </p:cNvPr>
            <p:cNvSpPr/>
            <p:nvPr/>
          </p:nvSpPr>
          <p:spPr>
            <a:xfrm>
              <a:off x="5584000" y="4114000"/>
              <a:ext cx="196750" cy="83325"/>
            </a:xfrm>
            <a:custGeom>
              <a:avLst/>
              <a:gdLst/>
              <a:ahLst/>
              <a:cxnLst/>
              <a:rect l="l" t="t" r="r" b="b"/>
              <a:pathLst>
                <a:path w="7870" h="3333" extrusionOk="0">
                  <a:moveTo>
                    <a:pt x="4538" y="1"/>
                  </a:moveTo>
                  <a:lnTo>
                    <a:pt x="4467" y="143"/>
                  </a:lnTo>
                  <a:lnTo>
                    <a:pt x="4467" y="639"/>
                  </a:lnTo>
                  <a:lnTo>
                    <a:pt x="4396" y="781"/>
                  </a:lnTo>
                  <a:lnTo>
                    <a:pt x="4254" y="922"/>
                  </a:lnTo>
                  <a:lnTo>
                    <a:pt x="3758" y="1206"/>
                  </a:lnTo>
                  <a:lnTo>
                    <a:pt x="3191" y="1419"/>
                  </a:lnTo>
                  <a:lnTo>
                    <a:pt x="2482" y="1560"/>
                  </a:lnTo>
                  <a:lnTo>
                    <a:pt x="1064" y="1844"/>
                  </a:lnTo>
                  <a:lnTo>
                    <a:pt x="213" y="1915"/>
                  </a:lnTo>
                  <a:lnTo>
                    <a:pt x="142" y="1986"/>
                  </a:lnTo>
                  <a:lnTo>
                    <a:pt x="1" y="2198"/>
                  </a:lnTo>
                  <a:lnTo>
                    <a:pt x="1" y="2411"/>
                  </a:lnTo>
                  <a:lnTo>
                    <a:pt x="1" y="2695"/>
                  </a:lnTo>
                  <a:lnTo>
                    <a:pt x="71" y="2978"/>
                  </a:lnTo>
                  <a:lnTo>
                    <a:pt x="213" y="3191"/>
                  </a:lnTo>
                  <a:lnTo>
                    <a:pt x="497" y="3333"/>
                  </a:lnTo>
                  <a:lnTo>
                    <a:pt x="993" y="3333"/>
                  </a:lnTo>
                  <a:lnTo>
                    <a:pt x="7231" y="2978"/>
                  </a:lnTo>
                  <a:lnTo>
                    <a:pt x="7444" y="2907"/>
                  </a:lnTo>
                  <a:lnTo>
                    <a:pt x="7586" y="2836"/>
                  </a:lnTo>
                  <a:lnTo>
                    <a:pt x="7728" y="2695"/>
                  </a:lnTo>
                  <a:lnTo>
                    <a:pt x="7798" y="2482"/>
                  </a:lnTo>
                  <a:lnTo>
                    <a:pt x="7869" y="1702"/>
                  </a:lnTo>
                  <a:lnTo>
                    <a:pt x="7798" y="922"/>
                  </a:lnTo>
                  <a:lnTo>
                    <a:pt x="7657" y="355"/>
                  </a:lnTo>
                  <a:lnTo>
                    <a:pt x="7586" y="143"/>
                  </a:lnTo>
                  <a:lnTo>
                    <a:pt x="7444" y="72"/>
                  </a:lnTo>
                  <a:lnTo>
                    <a:pt x="5530" y="72"/>
                  </a:lnTo>
                  <a:lnTo>
                    <a:pt x="4679" y="1"/>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91" name="Google Shape;21389;p90">
              <a:extLst>
                <a:ext uri="{FF2B5EF4-FFF2-40B4-BE49-F238E27FC236}">
                  <a16:creationId xmlns:a16="http://schemas.microsoft.com/office/drawing/2014/main" id="{CBF9671C-DFC4-CE9D-61CF-9504CC99CEA7}"/>
                </a:ext>
              </a:extLst>
            </p:cNvPr>
            <p:cNvSpPr/>
            <p:nvPr/>
          </p:nvSpPr>
          <p:spPr>
            <a:xfrm>
              <a:off x="5665525" y="3144600"/>
              <a:ext cx="441325" cy="951700"/>
            </a:xfrm>
            <a:custGeom>
              <a:avLst/>
              <a:gdLst/>
              <a:ahLst/>
              <a:cxnLst/>
              <a:rect l="l" t="t" r="r" b="b"/>
              <a:pathLst>
                <a:path w="17653" h="38068" extrusionOk="0">
                  <a:moveTo>
                    <a:pt x="6948" y="0"/>
                  </a:moveTo>
                  <a:lnTo>
                    <a:pt x="3970" y="71"/>
                  </a:lnTo>
                  <a:lnTo>
                    <a:pt x="2694" y="142"/>
                  </a:lnTo>
                  <a:lnTo>
                    <a:pt x="922" y="71"/>
                  </a:lnTo>
                  <a:lnTo>
                    <a:pt x="709" y="2198"/>
                  </a:lnTo>
                  <a:lnTo>
                    <a:pt x="497" y="5104"/>
                  </a:lnTo>
                  <a:lnTo>
                    <a:pt x="284" y="8436"/>
                  </a:lnTo>
                  <a:lnTo>
                    <a:pt x="213" y="11981"/>
                  </a:lnTo>
                  <a:lnTo>
                    <a:pt x="1" y="18431"/>
                  </a:lnTo>
                  <a:lnTo>
                    <a:pt x="1" y="20842"/>
                  </a:lnTo>
                  <a:lnTo>
                    <a:pt x="1" y="22260"/>
                  </a:lnTo>
                  <a:lnTo>
                    <a:pt x="497" y="30624"/>
                  </a:lnTo>
                  <a:lnTo>
                    <a:pt x="851" y="37713"/>
                  </a:lnTo>
                  <a:lnTo>
                    <a:pt x="851" y="37855"/>
                  </a:lnTo>
                  <a:lnTo>
                    <a:pt x="993" y="37926"/>
                  </a:lnTo>
                  <a:lnTo>
                    <a:pt x="1489" y="37997"/>
                  </a:lnTo>
                  <a:lnTo>
                    <a:pt x="2127" y="38068"/>
                  </a:lnTo>
                  <a:lnTo>
                    <a:pt x="2836" y="38068"/>
                  </a:lnTo>
                  <a:lnTo>
                    <a:pt x="3545" y="37997"/>
                  </a:lnTo>
                  <a:lnTo>
                    <a:pt x="4183" y="37926"/>
                  </a:lnTo>
                  <a:lnTo>
                    <a:pt x="4608" y="37713"/>
                  </a:lnTo>
                  <a:lnTo>
                    <a:pt x="4750" y="37643"/>
                  </a:lnTo>
                  <a:lnTo>
                    <a:pt x="4821" y="37572"/>
                  </a:lnTo>
                  <a:lnTo>
                    <a:pt x="4679" y="35445"/>
                  </a:lnTo>
                  <a:lnTo>
                    <a:pt x="4396" y="31192"/>
                  </a:lnTo>
                  <a:lnTo>
                    <a:pt x="4254" y="28781"/>
                  </a:lnTo>
                  <a:lnTo>
                    <a:pt x="4183" y="26371"/>
                  </a:lnTo>
                  <a:lnTo>
                    <a:pt x="4183" y="24315"/>
                  </a:lnTo>
                  <a:lnTo>
                    <a:pt x="4254" y="23465"/>
                  </a:lnTo>
                  <a:lnTo>
                    <a:pt x="4396" y="22756"/>
                  </a:lnTo>
                  <a:lnTo>
                    <a:pt x="7019" y="9783"/>
                  </a:lnTo>
                  <a:lnTo>
                    <a:pt x="8153" y="12760"/>
                  </a:lnTo>
                  <a:lnTo>
                    <a:pt x="9358" y="15879"/>
                  </a:lnTo>
                  <a:lnTo>
                    <a:pt x="10067" y="17439"/>
                  </a:lnTo>
                  <a:lnTo>
                    <a:pt x="10776" y="18999"/>
                  </a:lnTo>
                  <a:lnTo>
                    <a:pt x="11556" y="20558"/>
                  </a:lnTo>
                  <a:lnTo>
                    <a:pt x="12406" y="21976"/>
                  </a:lnTo>
                  <a:lnTo>
                    <a:pt x="12902" y="22685"/>
                  </a:lnTo>
                  <a:lnTo>
                    <a:pt x="13470" y="23394"/>
                  </a:lnTo>
                  <a:lnTo>
                    <a:pt x="14816" y="24670"/>
                  </a:lnTo>
                  <a:lnTo>
                    <a:pt x="16163" y="25946"/>
                  </a:lnTo>
                  <a:lnTo>
                    <a:pt x="17652" y="27080"/>
                  </a:lnTo>
                  <a:lnTo>
                    <a:pt x="17652" y="21905"/>
                  </a:lnTo>
                  <a:lnTo>
                    <a:pt x="17014" y="21267"/>
                  </a:lnTo>
                  <a:lnTo>
                    <a:pt x="16447" y="20700"/>
                  </a:lnTo>
                  <a:lnTo>
                    <a:pt x="16092" y="20204"/>
                  </a:lnTo>
                  <a:lnTo>
                    <a:pt x="15809" y="19707"/>
                  </a:lnTo>
                  <a:lnTo>
                    <a:pt x="15596" y="18857"/>
                  </a:lnTo>
                  <a:lnTo>
                    <a:pt x="15313" y="17652"/>
                  </a:lnTo>
                  <a:lnTo>
                    <a:pt x="14675" y="14320"/>
                  </a:lnTo>
                  <a:lnTo>
                    <a:pt x="13895" y="10208"/>
                  </a:lnTo>
                  <a:lnTo>
                    <a:pt x="12973" y="5955"/>
                  </a:lnTo>
                  <a:lnTo>
                    <a:pt x="12335" y="3474"/>
                  </a:lnTo>
                  <a:lnTo>
                    <a:pt x="11697" y="1205"/>
                  </a:lnTo>
                  <a:lnTo>
                    <a:pt x="11697" y="1134"/>
                  </a:lnTo>
                  <a:lnTo>
                    <a:pt x="11414" y="284"/>
                  </a:lnTo>
                  <a:lnTo>
                    <a:pt x="11272" y="213"/>
                  </a:lnTo>
                  <a:lnTo>
                    <a:pt x="10988" y="71"/>
                  </a:lnTo>
                  <a:lnTo>
                    <a:pt x="9925" y="0"/>
                  </a:lnTo>
                  <a:close/>
                </a:path>
              </a:pathLst>
            </a:custGeom>
            <a:solidFill>
              <a:srgbClr val="46464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92" name="Google Shape;21390;p90">
              <a:extLst>
                <a:ext uri="{FF2B5EF4-FFF2-40B4-BE49-F238E27FC236}">
                  <a16:creationId xmlns:a16="http://schemas.microsoft.com/office/drawing/2014/main" id="{44376736-1745-4AA5-8B4F-F4FB81169CE1}"/>
                </a:ext>
              </a:extLst>
            </p:cNvPr>
            <p:cNvSpPr/>
            <p:nvPr/>
          </p:nvSpPr>
          <p:spPr>
            <a:xfrm>
              <a:off x="5665525" y="3144600"/>
              <a:ext cx="441325" cy="951700"/>
            </a:xfrm>
            <a:custGeom>
              <a:avLst/>
              <a:gdLst/>
              <a:ahLst/>
              <a:cxnLst/>
              <a:rect l="l" t="t" r="r" b="b"/>
              <a:pathLst>
                <a:path w="17653" h="38068" fill="none" extrusionOk="0">
                  <a:moveTo>
                    <a:pt x="17652" y="21905"/>
                  </a:moveTo>
                  <a:lnTo>
                    <a:pt x="17652" y="21905"/>
                  </a:lnTo>
                  <a:lnTo>
                    <a:pt x="17014" y="21267"/>
                  </a:lnTo>
                  <a:lnTo>
                    <a:pt x="16447" y="20700"/>
                  </a:lnTo>
                  <a:lnTo>
                    <a:pt x="16092" y="20204"/>
                  </a:lnTo>
                  <a:lnTo>
                    <a:pt x="15809" y="19707"/>
                  </a:lnTo>
                  <a:lnTo>
                    <a:pt x="15809" y="19707"/>
                  </a:lnTo>
                  <a:lnTo>
                    <a:pt x="15596" y="18857"/>
                  </a:lnTo>
                  <a:lnTo>
                    <a:pt x="15313" y="17652"/>
                  </a:lnTo>
                  <a:lnTo>
                    <a:pt x="14675" y="14320"/>
                  </a:lnTo>
                  <a:lnTo>
                    <a:pt x="13895" y="10208"/>
                  </a:lnTo>
                  <a:lnTo>
                    <a:pt x="12973" y="5955"/>
                  </a:lnTo>
                  <a:lnTo>
                    <a:pt x="12973" y="5955"/>
                  </a:lnTo>
                  <a:lnTo>
                    <a:pt x="12335" y="3474"/>
                  </a:lnTo>
                  <a:lnTo>
                    <a:pt x="11697" y="1205"/>
                  </a:lnTo>
                  <a:lnTo>
                    <a:pt x="11697" y="1134"/>
                  </a:lnTo>
                  <a:lnTo>
                    <a:pt x="11697" y="1134"/>
                  </a:lnTo>
                  <a:lnTo>
                    <a:pt x="11414" y="284"/>
                  </a:lnTo>
                  <a:lnTo>
                    <a:pt x="11414" y="284"/>
                  </a:lnTo>
                  <a:lnTo>
                    <a:pt x="11272" y="213"/>
                  </a:lnTo>
                  <a:lnTo>
                    <a:pt x="10988" y="71"/>
                  </a:lnTo>
                  <a:lnTo>
                    <a:pt x="9925" y="0"/>
                  </a:lnTo>
                  <a:lnTo>
                    <a:pt x="8578" y="0"/>
                  </a:lnTo>
                  <a:lnTo>
                    <a:pt x="6948" y="0"/>
                  </a:lnTo>
                  <a:lnTo>
                    <a:pt x="3970" y="71"/>
                  </a:lnTo>
                  <a:lnTo>
                    <a:pt x="2694" y="142"/>
                  </a:lnTo>
                  <a:lnTo>
                    <a:pt x="922" y="71"/>
                  </a:lnTo>
                  <a:lnTo>
                    <a:pt x="922" y="71"/>
                  </a:lnTo>
                  <a:lnTo>
                    <a:pt x="709" y="2198"/>
                  </a:lnTo>
                  <a:lnTo>
                    <a:pt x="497" y="5104"/>
                  </a:lnTo>
                  <a:lnTo>
                    <a:pt x="284" y="8436"/>
                  </a:lnTo>
                  <a:lnTo>
                    <a:pt x="213" y="11981"/>
                  </a:lnTo>
                  <a:lnTo>
                    <a:pt x="1" y="18431"/>
                  </a:lnTo>
                  <a:lnTo>
                    <a:pt x="1" y="20842"/>
                  </a:lnTo>
                  <a:lnTo>
                    <a:pt x="1" y="22260"/>
                  </a:lnTo>
                  <a:lnTo>
                    <a:pt x="1" y="22260"/>
                  </a:lnTo>
                  <a:lnTo>
                    <a:pt x="497" y="30624"/>
                  </a:lnTo>
                  <a:lnTo>
                    <a:pt x="851" y="37713"/>
                  </a:lnTo>
                  <a:lnTo>
                    <a:pt x="851" y="37713"/>
                  </a:lnTo>
                  <a:lnTo>
                    <a:pt x="851" y="37855"/>
                  </a:lnTo>
                  <a:lnTo>
                    <a:pt x="993" y="37926"/>
                  </a:lnTo>
                  <a:lnTo>
                    <a:pt x="1489" y="37997"/>
                  </a:lnTo>
                  <a:lnTo>
                    <a:pt x="2127" y="38068"/>
                  </a:lnTo>
                  <a:lnTo>
                    <a:pt x="2836" y="38068"/>
                  </a:lnTo>
                  <a:lnTo>
                    <a:pt x="3545" y="37997"/>
                  </a:lnTo>
                  <a:lnTo>
                    <a:pt x="4183" y="37926"/>
                  </a:lnTo>
                  <a:lnTo>
                    <a:pt x="4608" y="37713"/>
                  </a:lnTo>
                  <a:lnTo>
                    <a:pt x="4750" y="37643"/>
                  </a:lnTo>
                  <a:lnTo>
                    <a:pt x="4821" y="37572"/>
                  </a:lnTo>
                  <a:lnTo>
                    <a:pt x="4821" y="37572"/>
                  </a:lnTo>
                  <a:lnTo>
                    <a:pt x="4679" y="35445"/>
                  </a:lnTo>
                  <a:lnTo>
                    <a:pt x="4396" y="31192"/>
                  </a:lnTo>
                  <a:lnTo>
                    <a:pt x="4254" y="28781"/>
                  </a:lnTo>
                  <a:lnTo>
                    <a:pt x="4183" y="26371"/>
                  </a:lnTo>
                  <a:lnTo>
                    <a:pt x="4183" y="24315"/>
                  </a:lnTo>
                  <a:lnTo>
                    <a:pt x="4254" y="23465"/>
                  </a:lnTo>
                  <a:lnTo>
                    <a:pt x="4396" y="22756"/>
                  </a:lnTo>
                  <a:lnTo>
                    <a:pt x="4396" y="22756"/>
                  </a:lnTo>
                  <a:lnTo>
                    <a:pt x="7019" y="9783"/>
                  </a:lnTo>
                  <a:lnTo>
                    <a:pt x="7019" y="9783"/>
                  </a:lnTo>
                  <a:lnTo>
                    <a:pt x="8153" y="12760"/>
                  </a:lnTo>
                  <a:lnTo>
                    <a:pt x="9358" y="15879"/>
                  </a:lnTo>
                  <a:lnTo>
                    <a:pt x="10067" y="17439"/>
                  </a:lnTo>
                  <a:lnTo>
                    <a:pt x="10776" y="18999"/>
                  </a:lnTo>
                  <a:lnTo>
                    <a:pt x="11556" y="20558"/>
                  </a:lnTo>
                  <a:lnTo>
                    <a:pt x="12406" y="21976"/>
                  </a:lnTo>
                  <a:lnTo>
                    <a:pt x="12406" y="21976"/>
                  </a:lnTo>
                  <a:lnTo>
                    <a:pt x="12902" y="22685"/>
                  </a:lnTo>
                  <a:lnTo>
                    <a:pt x="13470" y="23394"/>
                  </a:lnTo>
                  <a:lnTo>
                    <a:pt x="14816" y="24670"/>
                  </a:lnTo>
                  <a:lnTo>
                    <a:pt x="16163" y="25946"/>
                  </a:lnTo>
                  <a:lnTo>
                    <a:pt x="17652" y="27080"/>
                  </a:lnTo>
                  <a:lnTo>
                    <a:pt x="17652" y="21905"/>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93" name="Google Shape;21391;p90">
              <a:extLst>
                <a:ext uri="{FF2B5EF4-FFF2-40B4-BE49-F238E27FC236}">
                  <a16:creationId xmlns:a16="http://schemas.microsoft.com/office/drawing/2014/main" id="{D468B420-CE56-922E-8A8F-92C59D58B2FF}"/>
                </a:ext>
              </a:extLst>
            </p:cNvPr>
            <p:cNvSpPr/>
            <p:nvPr/>
          </p:nvSpPr>
          <p:spPr>
            <a:xfrm>
              <a:off x="5839200" y="3389150"/>
              <a:ext cx="1800" cy="25"/>
            </a:xfrm>
            <a:custGeom>
              <a:avLst/>
              <a:gdLst/>
              <a:ahLst/>
              <a:cxnLst/>
              <a:rect l="l" t="t" r="r" b="b"/>
              <a:pathLst>
                <a:path w="72" h="1" extrusionOk="0">
                  <a:moveTo>
                    <a:pt x="72" y="1"/>
                  </a:moveTo>
                  <a:lnTo>
                    <a:pt x="72" y="1"/>
                  </a:lnTo>
                  <a:lnTo>
                    <a:pt x="1" y="1"/>
                  </a:lnTo>
                  <a:lnTo>
                    <a:pt x="1" y="1"/>
                  </a:lnTo>
                  <a:lnTo>
                    <a:pt x="72" y="1"/>
                  </a:lnTo>
                  <a:lnTo>
                    <a:pt x="72" y="1"/>
                  </a:lnTo>
                  <a:lnTo>
                    <a:pt x="72" y="1"/>
                  </a:lnTo>
                  <a:close/>
                </a:path>
              </a:pathLst>
            </a:custGeom>
            <a:solidFill>
              <a:srgbClr val="706C6C"/>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94" name="Google Shape;21392;p90">
              <a:extLst>
                <a:ext uri="{FF2B5EF4-FFF2-40B4-BE49-F238E27FC236}">
                  <a16:creationId xmlns:a16="http://schemas.microsoft.com/office/drawing/2014/main" id="{42FD7069-960D-C0FF-1B40-63C70864EC8E}"/>
                </a:ext>
              </a:extLst>
            </p:cNvPr>
            <p:cNvSpPr/>
            <p:nvPr/>
          </p:nvSpPr>
          <p:spPr>
            <a:xfrm>
              <a:off x="5839200" y="3389150"/>
              <a:ext cx="1800" cy="25"/>
            </a:xfrm>
            <a:custGeom>
              <a:avLst/>
              <a:gdLst/>
              <a:ahLst/>
              <a:cxnLst/>
              <a:rect l="l" t="t" r="r" b="b"/>
              <a:pathLst>
                <a:path w="72" h="1" fill="none" extrusionOk="0">
                  <a:moveTo>
                    <a:pt x="72" y="1"/>
                  </a:moveTo>
                  <a:lnTo>
                    <a:pt x="72" y="1"/>
                  </a:lnTo>
                  <a:lnTo>
                    <a:pt x="1" y="1"/>
                  </a:lnTo>
                  <a:lnTo>
                    <a:pt x="1" y="1"/>
                  </a:lnTo>
                  <a:lnTo>
                    <a:pt x="72" y="1"/>
                  </a:lnTo>
                  <a:lnTo>
                    <a:pt x="72" y="1"/>
                  </a:lnTo>
                  <a:lnTo>
                    <a:pt x="72"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95" name="Google Shape;21393;p90">
              <a:extLst>
                <a:ext uri="{FF2B5EF4-FFF2-40B4-BE49-F238E27FC236}">
                  <a16:creationId xmlns:a16="http://schemas.microsoft.com/office/drawing/2014/main" id="{B88753F1-1A1F-3989-4EB2-9616F92AEAD1}"/>
                </a:ext>
              </a:extLst>
            </p:cNvPr>
            <p:cNvSpPr/>
            <p:nvPr/>
          </p:nvSpPr>
          <p:spPr>
            <a:xfrm>
              <a:off x="5816175" y="3327125"/>
              <a:ext cx="24825" cy="141800"/>
            </a:xfrm>
            <a:custGeom>
              <a:avLst/>
              <a:gdLst/>
              <a:ahLst/>
              <a:cxnLst/>
              <a:rect l="l" t="t" r="r" b="b"/>
              <a:pathLst>
                <a:path w="993" h="5672" extrusionOk="0">
                  <a:moveTo>
                    <a:pt x="71" y="1"/>
                  </a:moveTo>
                  <a:lnTo>
                    <a:pt x="0" y="2057"/>
                  </a:lnTo>
                  <a:lnTo>
                    <a:pt x="71" y="3900"/>
                  </a:lnTo>
                  <a:lnTo>
                    <a:pt x="213" y="5672"/>
                  </a:lnTo>
                  <a:lnTo>
                    <a:pt x="922" y="2482"/>
                  </a:lnTo>
                  <a:lnTo>
                    <a:pt x="993" y="2482"/>
                  </a:lnTo>
                  <a:lnTo>
                    <a:pt x="355" y="781"/>
                  </a:lnTo>
                  <a:lnTo>
                    <a:pt x="71" y="1"/>
                  </a:lnTo>
                  <a:close/>
                </a:path>
              </a:pathLst>
            </a:custGeom>
            <a:solidFill>
              <a:srgbClr val="383838"/>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96" name="Google Shape;21394;p90">
              <a:extLst>
                <a:ext uri="{FF2B5EF4-FFF2-40B4-BE49-F238E27FC236}">
                  <a16:creationId xmlns:a16="http://schemas.microsoft.com/office/drawing/2014/main" id="{F44A8016-0E67-C9E4-C1EC-70D8BA1DEDFF}"/>
                </a:ext>
              </a:extLst>
            </p:cNvPr>
            <p:cNvSpPr/>
            <p:nvPr/>
          </p:nvSpPr>
          <p:spPr>
            <a:xfrm>
              <a:off x="5816175" y="3327125"/>
              <a:ext cx="24825" cy="141800"/>
            </a:xfrm>
            <a:custGeom>
              <a:avLst/>
              <a:gdLst/>
              <a:ahLst/>
              <a:cxnLst/>
              <a:rect l="l" t="t" r="r" b="b"/>
              <a:pathLst>
                <a:path w="993" h="5672" fill="none" extrusionOk="0">
                  <a:moveTo>
                    <a:pt x="71" y="1"/>
                  </a:moveTo>
                  <a:lnTo>
                    <a:pt x="71" y="1"/>
                  </a:lnTo>
                  <a:lnTo>
                    <a:pt x="0" y="2057"/>
                  </a:lnTo>
                  <a:lnTo>
                    <a:pt x="71" y="3900"/>
                  </a:lnTo>
                  <a:lnTo>
                    <a:pt x="213" y="5672"/>
                  </a:lnTo>
                  <a:lnTo>
                    <a:pt x="213" y="5672"/>
                  </a:lnTo>
                  <a:lnTo>
                    <a:pt x="922" y="2482"/>
                  </a:lnTo>
                  <a:lnTo>
                    <a:pt x="922" y="2482"/>
                  </a:lnTo>
                  <a:lnTo>
                    <a:pt x="993" y="2482"/>
                  </a:lnTo>
                  <a:lnTo>
                    <a:pt x="993" y="2482"/>
                  </a:lnTo>
                  <a:lnTo>
                    <a:pt x="993" y="2482"/>
                  </a:lnTo>
                  <a:lnTo>
                    <a:pt x="993" y="2482"/>
                  </a:lnTo>
                  <a:lnTo>
                    <a:pt x="993" y="2482"/>
                  </a:lnTo>
                  <a:lnTo>
                    <a:pt x="993" y="2482"/>
                  </a:lnTo>
                  <a:lnTo>
                    <a:pt x="355" y="781"/>
                  </a:lnTo>
                  <a:lnTo>
                    <a:pt x="71"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97" name="Google Shape;21395;p90">
              <a:extLst>
                <a:ext uri="{FF2B5EF4-FFF2-40B4-BE49-F238E27FC236}">
                  <a16:creationId xmlns:a16="http://schemas.microsoft.com/office/drawing/2014/main" id="{EF20B0B3-850B-7061-8842-1C4603EBF192}"/>
                </a:ext>
              </a:extLst>
            </p:cNvPr>
            <p:cNvSpPr/>
            <p:nvPr/>
          </p:nvSpPr>
          <p:spPr>
            <a:xfrm>
              <a:off x="5839200" y="3210175"/>
              <a:ext cx="150675" cy="83300"/>
            </a:xfrm>
            <a:custGeom>
              <a:avLst/>
              <a:gdLst/>
              <a:ahLst/>
              <a:cxnLst/>
              <a:rect l="l" t="t" r="r" b="b"/>
              <a:pathLst>
                <a:path w="6027" h="3332" extrusionOk="0">
                  <a:moveTo>
                    <a:pt x="1" y="0"/>
                  </a:moveTo>
                  <a:lnTo>
                    <a:pt x="284" y="425"/>
                  </a:lnTo>
                  <a:lnTo>
                    <a:pt x="568" y="780"/>
                  </a:lnTo>
                  <a:lnTo>
                    <a:pt x="922" y="1134"/>
                  </a:lnTo>
                  <a:lnTo>
                    <a:pt x="1277" y="1418"/>
                  </a:lnTo>
                  <a:lnTo>
                    <a:pt x="2057" y="1914"/>
                  </a:lnTo>
                  <a:lnTo>
                    <a:pt x="2907" y="2339"/>
                  </a:lnTo>
                  <a:lnTo>
                    <a:pt x="3758" y="2694"/>
                  </a:lnTo>
                  <a:lnTo>
                    <a:pt x="4538" y="2907"/>
                  </a:lnTo>
                  <a:lnTo>
                    <a:pt x="6026" y="3332"/>
                  </a:lnTo>
                  <a:lnTo>
                    <a:pt x="5459" y="1063"/>
                  </a:lnTo>
                  <a:lnTo>
                    <a:pt x="5034" y="1276"/>
                  </a:lnTo>
                  <a:lnTo>
                    <a:pt x="4750" y="1418"/>
                  </a:lnTo>
                  <a:lnTo>
                    <a:pt x="4112" y="1489"/>
                  </a:lnTo>
                  <a:lnTo>
                    <a:pt x="3545" y="1560"/>
                  </a:lnTo>
                  <a:lnTo>
                    <a:pt x="3049" y="1560"/>
                  </a:lnTo>
                  <a:lnTo>
                    <a:pt x="2624" y="1489"/>
                  </a:lnTo>
                  <a:lnTo>
                    <a:pt x="1773" y="1205"/>
                  </a:lnTo>
                  <a:lnTo>
                    <a:pt x="1064" y="851"/>
                  </a:lnTo>
                  <a:lnTo>
                    <a:pt x="426" y="425"/>
                  </a:lnTo>
                  <a:lnTo>
                    <a:pt x="1" y="0"/>
                  </a:lnTo>
                  <a:close/>
                </a:path>
              </a:pathLst>
            </a:custGeom>
            <a:solidFill>
              <a:srgbClr val="3F3F3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98" name="Google Shape;21396;p90">
              <a:extLst>
                <a:ext uri="{FF2B5EF4-FFF2-40B4-BE49-F238E27FC236}">
                  <a16:creationId xmlns:a16="http://schemas.microsoft.com/office/drawing/2014/main" id="{9B7B5C85-51FC-3617-4B0F-2C691CCEE829}"/>
                </a:ext>
              </a:extLst>
            </p:cNvPr>
            <p:cNvSpPr/>
            <p:nvPr/>
          </p:nvSpPr>
          <p:spPr>
            <a:xfrm>
              <a:off x="5839200" y="3210175"/>
              <a:ext cx="150675" cy="83300"/>
            </a:xfrm>
            <a:custGeom>
              <a:avLst/>
              <a:gdLst/>
              <a:ahLst/>
              <a:cxnLst/>
              <a:rect l="l" t="t" r="r" b="b"/>
              <a:pathLst>
                <a:path w="6027" h="3332" fill="none" extrusionOk="0">
                  <a:moveTo>
                    <a:pt x="1" y="0"/>
                  </a:moveTo>
                  <a:lnTo>
                    <a:pt x="1" y="0"/>
                  </a:lnTo>
                  <a:lnTo>
                    <a:pt x="284" y="425"/>
                  </a:lnTo>
                  <a:lnTo>
                    <a:pt x="568" y="780"/>
                  </a:lnTo>
                  <a:lnTo>
                    <a:pt x="922" y="1134"/>
                  </a:lnTo>
                  <a:lnTo>
                    <a:pt x="1277" y="1418"/>
                  </a:lnTo>
                  <a:lnTo>
                    <a:pt x="2057" y="1914"/>
                  </a:lnTo>
                  <a:lnTo>
                    <a:pt x="2907" y="2339"/>
                  </a:lnTo>
                  <a:lnTo>
                    <a:pt x="3758" y="2694"/>
                  </a:lnTo>
                  <a:lnTo>
                    <a:pt x="4538" y="2907"/>
                  </a:lnTo>
                  <a:lnTo>
                    <a:pt x="6026" y="3332"/>
                  </a:lnTo>
                  <a:lnTo>
                    <a:pt x="6026" y="3332"/>
                  </a:lnTo>
                  <a:lnTo>
                    <a:pt x="5459" y="1063"/>
                  </a:lnTo>
                  <a:lnTo>
                    <a:pt x="5459" y="1063"/>
                  </a:lnTo>
                  <a:lnTo>
                    <a:pt x="5034" y="1276"/>
                  </a:lnTo>
                  <a:lnTo>
                    <a:pt x="5034" y="1276"/>
                  </a:lnTo>
                  <a:lnTo>
                    <a:pt x="4750" y="1418"/>
                  </a:lnTo>
                  <a:lnTo>
                    <a:pt x="4750" y="1418"/>
                  </a:lnTo>
                  <a:lnTo>
                    <a:pt x="4112" y="1489"/>
                  </a:lnTo>
                  <a:lnTo>
                    <a:pt x="3545" y="1560"/>
                  </a:lnTo>
                  <a:lnTo>
                    <a:pt x="3545" y="1560"/>
                  </a:lnTo>
                  <a:lnTo>
                    <a:pt x="3049" y="1560"/>
                  </a:lnTo>
                  <a:lnTo>
                    <a:pt x="2624" y="1489"/>
                  </a:lnTo>
                  <a:lnTo>
                    <a:pt x="1773" y="1205"/>
                  </a:lnTo>
                  <a:lnTo>
                    <a:pt x="1064" y="851"/>
                  </a:lnTo>
                  <a:lnTo>
                    <a:pt x="426" y="425"/>
                  </a:lnTo>
                  <a:lnTo>
                    <a:pt x="426" y="425"/>
                  </a:lnTo>
                  <a:lnTo>
                    <a:pt x="1"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99" name="Google Shape;21397;p90">
              <a:extLst>
                <a:ext uri="{FF2B5EF4-FFF2-40B4-BE49-F238E27FC236}">
                  <a16:creationId xmlns:a16="http://schemas.microsoft.com/office/drawing/2014/main" id="{2E4E47A4-D458-A843-16C4-CD3A2F58EC22}"/>
                </a:ext>
              </a:extLst>
            </p:cNvPr>
            <p:cNvSpPr/>
            <p:nvPr/>
          </p:nvSpPr>
          <p:spPr>
            <a:xfrm>
              <a:off x="5676150" y="2625325"/>
              <a:ext cx="70925" cy="138250"/>
            </a:xfrm>
            <a:custGeom>
              <a:avLst/>
              <a:gdLst/>
              <a:ahLst/>
              <a:cxnLst/>
              <a:rect l="l" t="t" r="r" b="b"/>
              <a:pathLst>
                <a:path w="2837" h="5530" extrusionOk="0">
                  <a:moveTo>
                    <a:pt x="2340" y="0"/>
                  </a:moveTo>
                  <a:lnTo>
                    <a:pt x="922" y="1064"/>
                  </a:lnTo>
                  <a:lnTo>
                    <a:pt x="284" y="1560"/>
                  </a:lnTo>
                  <a:lnTo>
                    <a:pt x="355" y="1844"/>
                  </a:lnTo>
                  <a:lnTo>
                    <a:pt x="355" y="2127"/>
                  </a:lnTo>
                  <a:lnTo>
                    <a:pt x="284" y="2623"/>
                  </a:lnTo>
                  <a:lnTo>
                    <a:pt x="284" y="2907"/>
                  </a:lnTo>
                  <a:lnTo>
                    <a:pt x="355" y="3049"/>
                  </a:lnTo>
                  <a:lnTo>
                    <a:pt x="284" y="3261"/>
                  </a:lnTo>
                  <a:lnTo>
                    <a:pt x="72" y="3687"/>
                  </a:lnTo>
                  <a:lnTo>
                    <a:pt x="1" y="3899"/>
                  </a:lnTo>
                  <a:lnTo>
                    <a:pt x="72" y="4112"/>
                  </a:lnTo>
                  <a:lnTo>
                    <a:pt x="143" y="4325"/>
                  </a:lnTo>
                  <a:lnTo>
                    <a:pt x="355" y="4537"/>
                  </a:lnTo>
                  <a:lnTo>
                    <a:pt x="781" y="4963"/>
                  </a:lnTo>
                  <a:lnTo>
                    <a:pt x="1277" y="5530"/>
                  </a:lnTo>
                  <a:lnTo>
                    <a:pt x="1702" y="5388"/>
                  </a:lnTo>
                  <a:lnTo>
                    <a:pt x="1986" y="5246"/>
                  </a:lnTo>
                  <a:lnTo>
                    <a:pt x="2198" y="5105"/>
                  </a:lnTo>
                  <a:lnTo>
                    <a:pt x="2340" y="4892"/>
                  </a:lnTo>
                  <a:lnTo>
                    <a:pt x="2553" y="4608"/>
                  </a:lnTo>
                  <a:lnTo>
                    <a:pt x="2553" y="4467"/>
                  </a:lnTo>
                  <a:lnTo>
                    <a:pt x="2695" y="4112"/>
                  </a:lnTo>
                  <a:lnTo>
                    <a:pt x="2766" y="3687"/>
                  </a:lnTo>
                  <a:lnTo>
                    <a:pt x="2836" y="2694"/>
                  </a:lnTo>
                  <a:lnTo>
                    <a:pt x="2836" y="1702"/>
                  </a:lnTo>
                  <a:lnTo>
                    <a:pt x="2695" y="922"/>
                  </a:lnTo>
                  <a:lnTo>
                    <a:pt x="2411" y="71"/>
                  </a:lnTo>
                  <a:lnTo>
                    <a:pt x="2340" y="0"/>
                  </a:lnTo>
                  <a:close/>
                </a:path>
              </a:pathLst>
            </a:custGeom>
            <a:solidFill>
              <a:srgbClr val="EFAEA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00" name="Google Shape;21398;p90">
              <a:extLst>
                <a:ext uri="{FF2B5EF4-FFF2-40B4-BE49-F238E27FC236}">
                  <a16:creationId xmlns:a16="http://schemas.microsoft.com/office/drawing/2014/main" id="{85FFEB1C-0434-17F1-4B50-FC17399C4D41}"/>
                </a:ext>
              </a:extLst>
            </p:cNvPr>
            <p:cNvSpPr/>
            <p:nvPr/>
          </p:nvSpPr>
          <p:spPr>
            <a:xfrm>
              <a:off x="5676150" y="2625325"/>
              <a:ext cx="70925" cy="138250"/>
            </a:xfrm>
            <a:custGeom>
              <a:avLst/>
              <a:gdLst/>
              <a:ahLst/>
              <a:cxnLst/>
              <a:rect l="l" t="t" r="r" b="b"/>
              <a:pathLst>
                <a:path w="2837" h="5530" fill="none" extrusionOk="0">
                  <a:moveTo>
                    <a:pt x="1277" y="5530"/>
                  </a:moveTo>
                  <a:lnTo>
                    <a:pt x="1277" y="5530"/>
                  </a:lnTo>
                  <a:lnTo>
                    <a:pt x="1702" y="5388"/>
                  </a:lnTo>
                  <a:lnTo>
                    <a:pt x="1986" y="5246"/>
                  </a:lnTo>
                  <a:lnTo>
                    <a:pt x="2198" y="5105"/>
                  </a:lnTo>
                  <a:lnTo>
                    <a:pt x="2340" y="4892"/>
                  </a:lnTo>
                  <a:lnTo>
                    <a:pt x="2553" y="4608"/>
                  </a:lnTo>
                  <a:lnTo>
                    <a:pt x="2553" y="4467"/>
                  </a:lnTo>
                  <a:lnTo>
                    <a:pt x="2553" y="4467"/>
                  </a:lnTo>
                  <a:lnTo>
                    <a:pt x="2695" y="4112"/>
                  </a:lnTo>
                  <a:lnTo>
                    <a:pt x="2766" y="3687"/>
                  </a:lnTo>
                  <a:lnTo>
                    <a:pt x="2836" y="2694"/>
                  </a:lnTo>
                  <a:lnTo>
                    <a:pt x="2836" y="1702"/>
                  </a:lnTo>
                  <a:lnTo>
                    <a:pt x="2695" y="922"/>
                  </a:lnTo>
                  <a:lnTo>
                    <a:pt x="2695" y="922"/>
                  </a:lnTo>
                  <a:lnTo>
                    <a:pt x="2411" y="71"/>
                  </a:lnTo>
                  <a:lnTo>
                    <a:pt x="2340" y="0"/>
                  </a:lnTo>
                  <a:lnTo>
                    <a:pt x="922" y="1064"/>
                  </a:lnTo>
                  <a:lnTo>
                    <a:pt x="284" y="1560"/>
                  </a:lnTo>
                  <a:lnTo>
                    <a:pt x="284" y="1560"/>
                  </a:lnTo>
                  <a:lnTo>
                    <a:pt x="355" y="1844"/>
                  </a:lnTo>
                  <a:lnTo>
                    <a:pt x="355" y="2127"/>
                  </a:lnTo>
                  <a:lnTo>
                    <a:pt x="284" y="2623"/>
                  </a:lnTo>
                  <a:lnTo>
                    <a:pt x="284" y="2623"/>
                  </a:lnTo>
                  <a:lnTo>
                    <a:pt x="284" y="2907"/>
                  </a:lnTo>
                  <a:lnTo>
                    <a:pt x="355" y="3049"/>
                  </a:lnTo>
                  <a:lnTo>
                    <a:pt x="284" y="3261"/>
                  </a:lnTo>
                  <a:lnTo>
                    <a:pt x="72" y="3687"/>
                  </a:lnTo>
                  <a:lnTo>
                    <a:pt x="72" y="3687"/>
                  </a:lnTo>
                  <a:lnTo>
                    <a:pt x="1" y="3899"/>
                  </a:lnTo>
                  <a:lnTo>
                    <a:pt x="72" y="4112"/>
                  </a:lnTo>
                  <a:lnTo>
                    <a:pt x="143" y="4325"/>
                  </a:lnTo>
                  <a:lnTo>
                    <a:pt x="355" y="4537"/>
                  </a:lnTo>
                  <a:lnTo>
                    <a:pt x="781" y="4963"/>
                  </a:lnTo>
                  <a:lnTo>
                    <a:pt x="1277" y="553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01" name="Google Shape;21399;p90">
              <a:extLst>
                <a:ext uri="{FF2B5EF4-FFF2-40B4-BE49-F238E27FC236}">
                  <a16:creationId xmlns:a16="http://schemas.microsoft.com/office/drawing/2014/main" id="{5D4005E8-7E54-F6D2-74D2-4F22B64735EA}"/>
                </a:ext>
              </a:extLst>
            </p:cNvPr>
            <p:cNvSpPr/>
            <p:nvPr/>
          </p:nvSpPr>
          <p:spPr>
            <a:xfrm>
              <a:off x="5683250" y="2678500"/>
              <a:ext cx="1800" cy="14200"/>
            </a:xfrm>
            <a:custGeom>
              <a:avLst/>
              <a:gdLst/>
              <a:ahLst/>
              <a:cxnLst/>
              <a:rect l="l" t="t" r="r" b="b"/>
              <a:pathLst>
                <a:path w="72" h="568" extrusionOk="0">
                  <a:moveTo>
                    <a:pt x="71" y="0"/>
                  </a:moveTo>
                  <a:lnTo>
                    <a:pt x="0" y="496"/>
                  </a:lnTo>
                  <a:lnTo>
                    <a:pt x="0" y="567"/>
                  </a:lnTo>
                  <a:lnTo>
                    <a:pt x="71" y="142"/>
                  </a:lnTo>
                  <a:lnTo>
                    <a:pt x="71" y="0"/>
                  </a:lnTo>
                  <a:close/>
                </a:path>
              </a:pathLst>
            </a:custGeom>
            <a:solidFill>
              <a:srgbClr val="CBC9C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02" name="Google Shape;21400;p90">
              <a:extLst>
                <a:ext uri="{FF2B5EF4-FFF2-40B4-BE49-F238E27FC236}">
                  <a16:creationId xmlns:a16="http://schemas.microsoft.com/office/drawing/2014/main" id="{3329E208-C24F-6B67-2BCA-A38317C95B3E}"/>
                </a:ext>
              </a:extLst>
            </p:cNvPr>
            <p:cNvSpPr/>
            <p:nvPr/>
          </p:nvSpPr>
          <p:spPr>
            <a:xfrm>
              <a:off x="5683250" y="2664325"/>
              <a:ext cx="1800" cy="28375"/>
            </a:xfrm>
            <a:custGeom>
              <a:avLst/>
              <a:gdLst/>
              <a:ahLst/>
              <a:cxnLst/>
              <a:rect l="l" t="t" r="r" b="b"/>
              <a:pathLst>
                <a:path w="72" h="1135" fill="none" extrusionOk="0">
                  <a:moveTo>
                    <a:pt x="0" y="0"/>
                  </a:moveTo>
                  <a:lnTo>
                    <a:pt x="0" y="0"/>
                  </a:lnTo>
                  <a:lnTo>
                    <a:pt x="71" y="284"/>
                  </a:lnTo>
                  <a:lnTo>
                    <a:pt x="71" y="709"/>
                  </a:lnTo>
                  <a:lnTo>
                    <a:pt x="0" y="1134"/>
                  </a:lnTo>
                  <a:lnTo>
                    <a:pt x="0" y="1134"/>
                  </a:lnTo>
                  <a:lnTo>
                    <a:pt x="0" y="1134"/>
                  </a:lnTo>
                  <a:lnTo>
                    <a:pt x="0" y="1134"/>
                  </a:lnTo>
                  <a:lnTo>
                    <a:pt x="0" y="1063"/>
                  </a:lnTo>
                  <a:lnTo>
                    <a:pt x="0" y="1063"/>
                  </a:lnTo>
                  <a:lnTo>
                    <a:pt x="71" y="567"/>
                  </a:lnTo>
                  <a:lnTo>
                    <a:pt x="71" y="284"/>
                  </a:lnTo>
                  <a:lnTo>
                    <a:pt x="0"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03" name="Google Shape;21401;p90">
              <a:extLst>
                <a:ext uri="{FF2B5EF4-FFF2-40B4-BE49-F238E27FC236}">
                  <a16:creationId xmlns:a16="http://schemas.microsoft.com/office/drawing/2014/main" id="{E2A87F41-F6C7-D474-7ED4-CE6978700CD6}"/>
                </a:ext>
              </a:extLst>
            </p:cNvPr>
            <p:cNvSpPr/>
            <p:nvPr/>
          </p:nvSpPr>
          <p:spPr>
            <a:xfrm>
              <a:off x="5683250" y="2651900"/>
              <a:ext cx="46100" cy="44350"/>
            </a:xfrm>
            <a:custGeom>
              <a:avLst/>
              <a:gdLst/>
              <a:ahLst/>
              <a:cxnLst/>
              <a:rect l="l" t="t" r="r" b="b"/>
              <a:pathLst>
                <a:path w="1844" h="1774" extrusionOk="0">
                  <a:moveTo>
                    <a:pt x="638" y="1"/>
                  </a:moveTo>
                  <a:lnTo>
                    <a:pt x="0" y="497"/>
                  </a:lnTo>
                  <a:lnTo>
                    <a:pt x="71" y="781"/>
                  </a:lnTo>
                  <a:lnTo>
                    <a:pt x="71" y="1064"/>
                  </a:lnTo>
                  <a:lnTo>
                    <a:pt x="0" y="1560"/>
                  </a:lnTo>
                  <a:lnTo>
                    <a:pt x="0" y="1631"/>
                  </a:lnTo>
                  <a:lnTo>
                    <a:pt x="355" y="1702"/>
                  </a:lnTo>
                  <a:lnTo>
                    <a:pt x="638" y="1773"/>
                  </a:lnTo>
                  <a:lnTo>
                    <a:pt x="993" y="1702"/>
                  </a:lnTo>
                  <a:lnTo>
                    <a:pt x="1276" y="1631"/>
                  </a:lnTo>
                  <a:lnTo>
                    <a:pt x="1489" y="1489"/>
                  </a:lnTo>
                  <a:lnTo>
                    <a:pt x="1631" y="1348"/>
                  </a:lnTo>
                  <a:lnTo>
                    <a:pt x="1773" y="1135"/>
                  </a:lnTo>
                  <a:lnTo>
                    <a:pt x="1844" y="993"/>
                  </a:lnTo>
                  <a:lnTo>
                    <a:pt x="1773" y="781"/>
                  </a:lnTo>
                  <a:lnTo>
                    <a:pt x="1702" y="639"/>
                  </a:lnTo>
                  <a:lnTo>
                    <a:pt x="1064" y="284"/>
                  </a:lnTo>
                  <a:lnTo>
                    <a:pt x="638" y="1"/>
                  </a:lnTo>
                  <a:close/>
                </a:path>
              </a:pathLst>
            </a:custGeom>
            <a:solidFill>
              <a:srgbClr val="C59091"/>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04" name="Google Shape;21402;p90">
              <a:extLst>
                <a:ext uri="{FF2B5EF4-FFF2-40B4-BE49-F238E27FC236}">
                  <a16:creationId xmlns:a16="http://schemas.microsoft.com/office/drawing/2014/main" id="{2079800D-8B01-B1AB-D778-91ACEABA5695}"/>
                </a:ext>
              </a:extLst>
            </p:cNvPr>
            <p:cNvSpPr/>
            <p:nvPr/>
          </p:nvSpPr>
          <p:spPr>
            <a:xfrm>
              <a:off x="5683250" y="2651900"/>
              <a:ext cx="46100" cy="44350"/>
            </a:xfrm>
            <a:custGeom>
              <a:avLst/>
              <a:gdLst/>
              <a:ahLst/>
              <a:cxnLst/>
              <a:rect l="l" t="t" r="r" b="b"/>
              <a:pathLst>
                <a:path w="1844" h="1774" fill="none" extrusionOk="0">
                  <a:moveTo>
                    <a:pt x="638" y="1"/>
                  </a:moveTo>
                  <a:lnTo>
                    <a:pt x="638" y="1"/>
                  </a:lnTo>
                  <a:lnTo>
                    <a:pt x="0" y="497"/>
                  </a:lnTo>
                  <a:lnTo>
                    <a:pt x="0" y="497"/>
                  </a:lnTo>
                  <a:lnTo>
                    <a:pt x="0" y="497"/>
                  </a:lnTo>
                  <a:lnTo>
                    <a:pt x="71" y="781"/>
                  </a:lnTo>
                  <a:lnTo>
                    <a:pt x="71" y="1064"/>
                  </a:lnTo>
                  <a:lnTo>
                    <a:pt x="0" y="1560"/>
                  </a:lnTo>
                  <a:lnTo>
                    <a:pt x="0" y="1560"/>
                  </a:lnTo>
                  <a:lnTo>
                    <a:pt x="0" y="1631"/>
                  </a:lnTo>
                  <a:lnTo>
                    <a:pt x="0" y="1631"/>
                  </a:lnTo>
                  <a:lnTo>
                    <a:pt x="355" y="1702"/>
                  </a:lnTo>
                  <a:lnTo>
                    <a:pt x="638" y="1773"/>
                  </a:lnTo>
                  <a:lnTo>
                    <a:pt x="638" y="1773"/>
                  </a:lnTo>
                  <a:lnTo>
                    <a:pt x="993" y="1702"/>
                  </a:lnTo>
                  <a:lnTo>
                    <a:pt x="1276" y="1631"/>
                  </a:lnTo>
                  <a:lnTo>
                    <a:pt x="1489" y="1489"/>
                  </a:lnTo>
                  <a:lnTo>
                    <a:pt x="1631" y="1348"/>
                  </a:lnTo>
                  <a:lnTo>
                    <a:pt x="1773" y="1135"/>
                  </a:lnTo>
                  <a:lnTo>
                    <a:pt x="1844" y="993"/>
                  </a:lnTo>
                  <a:lnTo>
                    <a:pt x="1773" y="781"/>
                  </a:lnTo>
                  <a:lnTo>
                    <a:pt x="1702" y="639"/>
                  </a:lnTo>
                  <a:lnTo>
                    <a:pt x="1702" y="639"/>
                  </a:lnTo>
                  <a:lnTo>
                    <a:pt x="1064" y="284"/>
                  </a:lnTo>
                  <a:lnTo>
                    <a:pt x="638"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05" name="Google Shape;21403;p90">
              <a:extLst>
                <a:ext uri="{FF2B5EF4-FFF2-40B4-BE49-F238E27FC236}">
                  <a16:creationId xmlns:a16="http://schemas.microsoft.com/office/drawing/2014/main" id="{75961C4A-FB83-C2C2-C68E-2A485161A1B3}"/>
                </a:ext>
              </a:extLst>
            </p:cNvPr>
            <p:cNvSpPr/>
            <p:nvPr/>
          </p:nvSpPr>
          <p:spPr>
            <a:xfrm>
              <a:off x="5644250" y="2581025"/>
              <a:ext cx="109900" cy="97500"/>
            </a:xfrm>
            <a:custGeom>
              <a:avLst/>
              <a:gdLst/>
              <a:ahLst/>
              <a:cxnLst/>
              <a:rect l="l" t="t" r="r" b="b"/>
              <a:pathLst>
                <a:path w="4396" h="3900" extrusionOk="0">
                  <a:moveTo>
                    <a:pt x="1348" y="0"/>
                  </a:moveTo>
                  <a:lnTo>
                    <a:pt x="1206" y="213"/>
                  </a:lnTo>
                  <a:lnTo>
                    <a:pt x="993" y="567"/>
                  </a:lnTo>
                  <a:lnTo>
                    <a:pt x="568" y="1134"/>
                  </a:lnTo>
                  <a:lnTo>
                    <a:pt x="355" y="1418"/>
                  </a:lnTo>
                  <a:lnTo>
                    <a:pt x="214" y="1702"/>
                  </a:lnTo>
                  <a:lnTo>
                    <a:pt x="214" y="1843"/>
                  </a:lnTo>
                  <a:lnTo>
                    <a:pt x="284" y="1985"/>
                  </a:lnTo>
                  <a:lnTo>
                    <a:pt x="426" y="2056"/>
                  </a:lnTo>
                  <a:lnTo>
                    <a:pt x="426" y="2269"/>
                  </a:lnTo>
                  <a:lnTo>
                    <a:pt x="214" y="2765"/>
                  </a:lnTo>
                  <a:lnTo>
                    <a:pt x="1" y="3332"/>
                  </a:lnTo>
                  <a:lnTo>
                    <a:pt x="72" y="3545"/>
                  </a:lnTo>
                  <a:lnTo>
                    <a:pt x="143" y="3616"/>
                  </a:lnTo>
                  <a:lnTo>
                    <a:pt x="639" y="3757"/>
                  </a:lnTo>
                  <a:lnTo>
                    <a:pt x="1135" y="3828"/>
                  </a:lnTo>
                  <a:lnTo>
                    <a:pt x="1702" y="3899"/>
                  </a:lnTo>
                  <a:lnTo>
                    <a:pt x="2198" y="3828"/>
                  </a:lnTo>
                  <a:lnTo>
                    <a:pt x="2624" y="3757"/>
                  </a:lnTo>
                  <a:lnTo>
                    <a:pt x="2978" y="3616"/>
                  </a:lnTo>
                  <a:lnTo>
                    <a:pt x="3333" y="3474"/>
                  </a:lnTo>
                  <a:lnTo>
                    <a:pt x="3474" y="3261"/>
                  </a:lnTo>
                  <a:lnTo>
                    <a:pt x="3829" y="2694"/>
                  </a:lnTo>
                  <a:lnTo>
                    <a:pt x="4112" y="1914"/>
                  </a:lnTo>
                  <a:lnTo>
                    <a:pt x="4396" y="993"/>
                  </a:lnTo>
                  <a:lnTo>
                    <a:pt x="1348" y="0"/>
                  </a:lnTo>
                  <a:close/>
                </a:path>
              </a:pathLst>
            </a:custGeom>
            <a:solidFill>
              <a:srgbClr val="EFAEA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06" name="Google Shape;21404;p90">
              <a:extLst>
                <a:ext uri="{FF2B5EF4-FFF2-40B4-BE49-F238E27FC236}">
                  <a16:creationId xmlns:a16="http://schemas.microsoft.com/office/drawing/2014/main" id="{8889AD8B-35DB-A151-86FF-A712372753F2}"/>
                </a:ext>
              </a:extLst>
            </p:cNvPr>
            <p:cNvSpPr/>
            <p:nvPr/>
          </p:nvSpPr>
          <p:spPr>
            <a:xfrm>
              <a:off x="5661975" y="2543800"/>
              <a:ext cx="117000" cy="120550"/>
            </a:xfrm>
            <a:custGeom>
              <a:avLst/>
              <a:gdLst/>
              <a:ahLst/>
              <a:cxnLst/>
              <a:rect l="l" t="t" r="r" b="b"/>
              <a:pathLst>
                <a:path w="4680" h="4822" extrusionOk="0">
                  <a:moveTo>
                    <a:pt x="426" y="1"/>
                  </a:moveTo>
                  <a:lnTo>
                    <a:pt x="284" y="71"/>
                  </a:lnTo>
                  <a:lnTo>
                    <a:pt x="143" y="284"/>
                  </a:lnTo>
                  <a:lnTo>
                    <a:pt x="1" y="568"/>
                  </a:lnTo>
                  <a:lnTo>
                    <a:pt x="1" y="780"/>
                  </a:lnTo>
                  <a:lnTo>
                    <a:pt x="1" y="922"/>
                  </a:lnTo>
                  <a:lnTo>
                    <a:pt x="143" y="1064"/>
                  </a:lnTo>
                  <a:lnTo>
                    <a:pt x="213" y="1206"/>
                  </a:lnTo>
                  <a:lnTo>
                    <a:pt x="568" y="1489"/>
                  </a:lnTo>
                  <a:lnTo>
                    <a:pt x="922" y="1631"/>
                  </a:lnTo>
                  <a:lnTo>
                    <a:pt x="1064" y="1773"/>
                  </a:lnTo>
                  <a:lnTo>
                    <a:pt x="1135" y="1844"/>
                  </a:lnTo>
                  <a:lnTo>
                    <a:pt x="1064" y="2056"/>
                  </a:lnTo>
                  <a:lnTo>
                    <a:pt x="993" y="2198"/>
                  </a:lnTo>
                  <a:lnTo>
                    <a:pt x="993" y="2269"/>
                  </a:lnTo>
                  <a:lnTo>
                    <a:pt x="1064" y="2340"/>
                  </a:lnTo>
                  <a:lnTo>
                    <a:pt x="1206" y="2482"/>
                  </a:lnTo>
                  <a:lnTo>
                    <a:pt x="1348" y="2553"/>
                  </a:lnTo>
                  <a:lnTo>
                    <a:pt x="1702" y="2623"/>
                  </a:lnTo>
                  <a:lnTo>
                    <a:pt x="1986" y="2694"/>
                  </a:lnTo>
                  <a:lnTo>
                    <a:pt x="2127" y="2836"/>
                  </a:lnTo>
                  <a:lnTo>
                    <a:pt x="2127" y="2907"/>
                  </a:lnTo>
                  <a:lnTo>
                    <a:pt x="2057" y="2978"/>
                  </a:lnTo>
                  <a:lnTo>
                    <a:pt x="1773" y="3261"/>
                  </a:lnTo>
                  <a:lnTo>
                    <a:pt x="1631" y="3474"/>
                  </a:lnTo>
                  <a:lnTo>
                    <a:pt x="1560" y="3545"/>
                  </a:lnTo>
                  <a:lnTo>
                    <a:pt x="1560" y="3687"/>
                  </a:lnTo>
                  <a:lnTo>
                    <a:pt x="1631" y="3758"/>
                  </a:lnTo>
                  <a:lnTo>
                    <a:pt x="1915" y="3758"/>
                  </a:lnTo>
                  <a:lnTo>
                    <a:pt x="2198" y="3687"/>
                  </a:lnTo>
                  <a:lnTo>
                    <a:pt x="2695" y="3474"/>
                  </a:lnTo>
                  <a:lnTo>
                    <a:pt x="2836" y="3474"/>
                  </a:lnTo>
                  <a:lnTo>
                    <a:pt x="2978" y="3616"/>
                  </a:lnTo>
                  <a:lnTo>
                    <a:pt x="3049" y="3758"/>
                  </a:lnTo>
                  <a:lnTo>
                    <a:pt x="3049" y="3899"/>
                  </a:lnTo>
                  <a:lnTo>
                    <a:pt x="2907" y="4183"/>
                  </a:lnTo>
                  <a:lnTo>
                    <a:pt x="2765" y="4537"/>
                  </a:lnTo>
                  <a:lnTo>
                    <a:pt x="2695" y="4679"/>
                  </a:lnTo>
                  <a:lnTo>
                    <a:pt x="2765" y="4821"/>
                  </a:lnTo>
                  <a:lnTo>
                    <a:pt x="3191" y="4821"/>
                  </a:lnTo>
                  <a:lnTo>
                    <a:pt x="3545" y="4679"/>
                  </a:lnTo>
                  <a:lnTo>
                    <a:pt x="3900" y="4467"/>
                  </a:lnTo>
                  <a:lnTo>
                    <a:pt x="4254" y="4183"/>
                  </a:lnTo>
                  <a:lnTo>
                    <a:pt x="4538" y="3829"/>
                  </a:lnTo>
                  <a:lnTo>
                    <a:pt x="4609" y="3687"/>
                  </a:lnTo>
                  <a:lnTo>
                    <a:pt x="4679" y="3474"/>
                  </a:lnTo>
                  <a:lnTo>
                    <a:pt x="4679" y="3332"/>
                  </a:lnTo>
                  <a:lnTo>
                    <a:pt x="4609" y="3120"/>
                  </a:lnTo>
                  <a:lnTo>
                    <a:pt x="4467" y="2836"/>
                  </a:lnTo>
                  <a:lnTo>
                    <a:pt x="4467" y="2553"/>
                  </a:lnTo>
                  <a:lnTo>
                    <a:pt x="4609" y="2056"/>
                  </a:lnTo>
                  <a:lnTo>
                    <a:pt x="4679" y="1844"/>
                  </a:lnTo>
                  <a:lnTo>
                    <a:pt x="4679" y="1560"/>
                  </a:lnTo>
                  <a:lnTo>
                    <a:pt x="4609" y="1277"/>
                  </a:lnTo>
                  <a:lnTo>
                    <a:pt x="4467" y="993"/>
                  </a:lnTo>
                  <a:lnTo>
                    <a:pt x="4396" y="851"/>
                  </a:lnTo>
                  <a:lnTo>
                    <a:pt x="4183" y="780"/>
                  </a:lnTo>
                  <a:lnTo>
                    <a:pt x="3900" y="709"/>
                  </a:lnTo>
                  <a:lnTo>
                    <a:pt x="3333" y="709"/>
                  </a:lnTo>
                  <a:lnTo>
                    <a:pt x="3120" y="568"/>
                  </a:lnTo>
                  <a:lnTo>
                    <a:pt x="2978" y="426"/>
                  </a:lnTo>
                  <a:lnTo>
                    <a:pt x="2836" y="213"/>
                  </a:lnTo>
                  <a:lnTo>
                    <a:pt x="2553" y="71"/>
                  </a:lnTo>
                  <a:lnTo>
                    <a:pt x="2340" y="1"/>
                  </a:lnTo>
                  <a:lnTo>
                    <a:pt x="2198" y="71"/>
                  </a:lnTo>
                  <a:lnTo>
                    <a:pt x="1844" y="142"/>
                  </a:lnTo>
                  <a:lnTo>
                    <a:pt x="1631" y="284"/>
                  </a:lnTo>
                  <a:lnTo>
                    <a:pt x="1489" y="355"/>
                  </a:lnTo>
                  <a:lnTo>
                    <a:pt x="1419" y="284"/>
                  </a:lnTo>
                  <a:lnTo>
                    <a:pt x="1064" y="142"/>
                  </a:lnTo>
                  <a:lnTo>
                    <a:pt x="639" y="1"/>
                  </a:lnTo>
                  <a:close/>
                </a:path>
              </a:pathLst>
            </a:custGeom>
            <a:solidFill>
              <a:srgbClr val="6E3622"/>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07" name="Google Shape;21405;p90">
              <a:extLst>
                <a:ext uri="{FF2B5EF4-FFF2-40B4-BE49-F238E27FC236}">
                  <a16:creationId xmlns:a16="http://schemas.microsoft.com/office/drawing/2014/main" id="{0F456BCF-C9F8-3D7B-D27D-02F62AE54572}"/>
                </a:ext>
              </a:extLst>
            </p:cNvPr>
            <p:cNvSpPr/>
            <p:nvPr/>
          </p:nvSpPr>
          <p:spPr>
            <a:xfrm>
              <a:off x="5633625" y="2701525"/>
              <a:ext cx="303075" cy="512200"/>
            </a:xfrm>
            <a:custGeom>
              <a:avLst/>
              <a:gdLst/>
              <a:ahLst/>
              <a:cxnLst/>
              <a:rect l="l" t="t" r="r" b="b"/>
              <a:pathLst>
                <a:path w="12123" h="20488" extrusionOk="0">
                  <a:moveTo>
                    <a:pt x="4537" y="1"/>
                  </a:moveTo>
                  <a:lnTo>
                    <a:pt x="4183" y="213"/>
                  </a:lnTo>
                  <a:lnTo>
                    <a:pt x="3899" y="497"/>
                  </a:lnTo>
                  <a:lnTo>
                    <a:pt x="3616" y="851"/>
                  </a:lnTo>
                  <a:lnTo>
                    <a:pt x="3120" y="1560"/>
                  </a:lnTo>
                  <a:lnTo>
                    <a:pt x="2907" y="1844"/>
                  </a:lnTo>
                  <a:lnTo>
                    <a:pt x="2623" y="1986"/>
                  </a:lnTo>
                  <a:lnTo>
                    <a:pt x="2340" y="1986"/>
                  </a:lnTo>
                  <a:lnTo>
                    <a:pt x="2269" y="1773"/>
                  </a:lnTo>
                  <a:lnTo>
                    <a:pt x="2269" y="1560"/>
                  </a:lnTo>
                  <a:lnTo>
                    <a:pt x="2198" y="1348"/>
                  </a:lnTo>
                  <a:lnTo>
                    <a:pt x="1915" y="993"/>
                  </a:lnTo>
                  <a:lnTo>
                    <a:pt x="1773" y="710"/>
                  </a:lnTo>
                  <a:lnTo>
                    <a:pt x="1631" y="639"/>
                  </a:lnTo>
                  <a:lnTo>
                    <a:pt x="1489" y="780"/>
                  </a:lnTo>
                  <a:lnTo>
                    <a:pt x="1206" y="1348"/>
                  </a:lnTo>
                  <a:lnTo>
                    <a:pt x="851" y="1915"/>
                  </a:lnTo>
                  <a:lnTo>
                    <a:pt x="639" y="2553"/>
                  </a:lnTo>
                  <a:lnTo>
                    <a:pt x="426" y="3191"/>
                  </a:lnTo>
                  <a:lnTo>
                    <a:pt x="284" y="3829"/>
                  </a:lnTo>
                  <a:lnTo>
                    <a:pt x="142" y="4538"/>
                  </a:lnTo>
                  <a:lnTo>
                    <a:pt x="1" y="6026"/>
                  </a:lnTo>
                  <a:lnTo>
                    <a:pt x="71" y="7586"/>
                  </a:lnTo>
                  <a:lnTo>
                    <a:pt x="142" y="9145"/>
                  </a:lnTo>
                  <a:lnTo>
                    <a:pt x="355" y="10705"/>
                  </a:lnTo>
                  <a:lnTo>
                    <a:pt x="639" y="12265"/>
                  </a:lnTo>
                  <a:lnTo>
                    <a:pt x="993" y="13682"/>
                  </a:lnTo>
                  <a:lnTo>
                    <a:pt x="1347" y="15100"/>
                  </a:lnTo>
                  <a:lnTo>
                    <a:pt x="2056" y="17440"/>
                  </a:lnTo>
                  <a:lnTo>
                    <a:pt x="2623" y="18999"/>
                  </a:lnTo>
                  <a:lnTo>
                    <a:pt x="2836" y="19637"/>
                  </a:lnTo>
                  <a:lnTo>
                    <a:pt x="3545" y="19921"/>
                  </a:lnTo>
                  <a:lnTo>
                    <a:pt x="4254" y="20133"/>
                  </a:lnTo>
                  <a:lnTo>
                    <a:pt x="5175" y="20346"/>
                  </a:lnTo>
                  <a:lnTo>
                    <a:pt x="6168" y="20488"/>
                  </a:lnTo>
                  <a:lnTo>
                    <a:pt x="6664" y="20488"/>
                  </a:lnTo>
                  <a:lnTo>
                    <a:pt x="7089" y="20417"/>
                  </a:lnTo>
                  <a:lnTo>
                    <a:pt x="7586" y="20346"/>
                  </a:lnTo>
                  <a:lnTo>
                    <a:pt x="8011" y="20133"/>
                  </a:lnTo>
                  <a:lnTo>
                    <a:pt x="8436" y="19850"/>
                  </a:lnTo>
                  <a:lnTo>
                    <a:pt x="8791" y="19495"/>
                  </a:lnTo>
                  <a:lnTo>
                    <a:pt x="9500" y="18716"/>
                  </a:lnTo>
                  <a:lnTo>
                    <a:pt x="10209" y="18078"/>
                  </a:lnTo>
                  <a:lnTo>
                    <a:pt x="10776" y="17652"/>
                  </a:lnTo>
                  <a:lnTo>
                    <a:pt x="11272" y="17369"/>
                  </a:lnTo>
                  <a:lnTo>
                    <a:pt x="11981" y="16943"/>
                  </a:lnTo>
                  <a:lnTo>
                    <a:pt x="12123" y="16802"/>
                  </a:lnTo>
                  <a:lnTo>
                    <a:pt x="12123" y="16589"/>
                  </a:lnTo>
                  <a:lnTo>
                    <a:pt x="11556" y="14533"/>
                  </a:lnTo>
                  <a:lnTo>
                    <a:pt x="10776" y="12406"/>
                  </a:lnTo>
                  <a:lnTo>
                    <a:pt x="7231" y="2340"/>
                  </a:lnTo>
                  <a:lnTo>
                    <a:pt x="7089" y="2127"/>
                  </a:lnTo>
                  <a:lnTo>
                    <a:pt x="6664" y="1631"/>
                  </a:lnTo>
                  <a:lnTo>
                    <a:pt x="5955" y="851"/>
                  </a:lnTo>
                  <a:lnTo>
                    <a:pt x="4892" y="1"/>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08" name="Google Shape;21406;p90">
              <a:extLst>
                <a:ext uri="{FF2B5EF4-FFF2-40B4-BE49-F238E27FC236}">
                  <a16:creationId xmlns:a16="http://schemas.microsoft.com/office/drawing/2014/main" id="{E084A225-B77E-8268-7B84-D4549DF23877}"/>
                </a:ext>
              </a:extLst>
            </p:cNvPr>
            <p:cNvSpPr/>
            <p:nvPr/>
          </p:nvSpPr>
          <p:spPr>
            <a:xfrm>
              <a:off x="5633625" y="2701525"/>
              <a:ext cx="303075" cy="512200"/>
            </a:xfrm>
            <a:custGeom>
              <a:avLst/>
              <a:gdLst/>
              <a:ahLst/>
              <a:cxnLst/>
              <a:rect l="l" t="t" r="r" b="b"/>
              <a:pathLst>
                <a:path w="12123" h="20488" fill="none" extrusionOk="0">
                  <a:moveTo>
                    <a:pt x="4892" y="1"/>
                  </a:moveTo>
                  <a:lnTo>
                    <a:pt x="4892" y="1"/>
                  </a:lnTo>
                  <a:lnTo>
                    <a:pt x="4679" y="1"/>
                  </a:lnTo>
                  <a:lnTo>
                    <a:pt x="4537" y="1"/>
                  </a:lnTo>
                  <a:lnTo>
                    <a:pt x="4183" y="213"/>
                  </a:lnTo>
                  <a:lnTo>
                    <a:pt x="3899" y="497"/>
                  </a:lnTo>
                  <a:lnTo>
                    <a:pt x="3616" y="851"/>
                  </a:lnTo>
                  <a:lnTo>
                    <a:pt x="3120" y="1560"/>
                  </a:lnTo>
                  <a:lnTo>
                    <a:pt x="2907" y="1844"/>
                  </a:lnTo>
                  <a:lnTo>
                    <a:pt x="2623" y="1986"/>
                  </a:lnTo>
                  <a:lnTo>
                    <a:pt x="2623" y="1986"/>
                  </a:lnTo>
                  <a:lnTo>
                    <a:pt x="2411" y="1986"/>
                  </a:lnTo>
                  <a:lnTo>
                    <a:pt x="2340" y="1986"/>
                  </a:lnTo>
                  <a:lnTo>
                    <a:pt x="2269" y="1773"/>
                  </a:lnTo>
                  <a:lnTo>
                    <a:pt x="2269" y="1560"/>
                  </a:lnTo>
                  <a:lnTo>
                    <a:pt x="2198" y="1348"/>
                  </a:lnTo>
                  <a:lnTo>
                    <a:pt x="2198" y="1348"/>
                  </a:lnTo>
                  <a:lnTo>
                    <a:pt x="1915" y="993"/>
                  </a:lnTo>
                  <a:lnTo>
                    <a:pt x="1773" y="710"/>
                  </a:lnTo>
                  <a:lnTo>
                    <a:pt x="1631" y="639"/>
                  </a:lnTo>
                  <a:lnTo>
                    <a:pt x="1489" y="780"/>
                  </a:lnTo>
                  <a:lnTo>
                    <a:pt x="1489" y="780"/>
                  </a:lnTo>
                  <a:lnTo>
                    <a:pt x="1206" y="1348"/>
                  </a:lnTo>
                  <a:lnTo>
                    <a:pt x="851" y="1915"/>
                  </a:lnTo>
                  <a:lnTo>
                    <a:pt x="639" y="2553"/>
                  </a:lnTo>
                  <a:lnTo>
                    <a:pt x="426" y="3191"/>
                  </a:lnTo>
                  <a:lnTo>
                    <a:pt x="284" y="3829"/>
                  </a:lnTo>
                  <a:lnTo>
                    <a:pt x="142" y="4538"/>
                  </a:lnTo>
                  <a:lnTo>
                    <a:pt x="1" y="6026"/>
                  </a:lnTo>
                  <a:lnTo>
                    <a:pt x="71" y="7586"/>
                  </a:lnTo>
                  <a:lnTo>
                    <a:pt x="142" y="9145"/>
                  </a:lnTo>
                  <a:lnTo>
                    <a:pt x="355" y="10705"/>
                  </a:lnTo>
                  <a:lnTo>
                    <a:pt x="639" y="12265"/>
                  </a:lnTo>
                  <a:lnTo>
                    <a:pt x="993" y="13682"/>
                  </a:lnTo>
                  <a:lnTo>
                    <a:pt x="1347" y="15100"/>
                  </a:lnTo>
                  <a:lnTo>
                    <a:pt x="2056" y="17440"/>
                  </a:lnTo>
                  <a:lnTo>
                    <a:pt x="2623" y="18999"/>
                  </a:lnTo>
                  <a:lnTo>
                    <a:pt x="2836" y="19637"/>
                  </a:lnTo>
                  <a:lnTo>
                    <a:pt x="2836" y="19637"/>
                  </a:lnTo>
                  <a:lnTo>
                    <a:pt x="3545" y="19921"/>
                  </a:lnTo>
                  <a:lnTo>
                    <a:pt x="4254" y="20133"/>
                  </a:lnTo>
                  <a:lnTo>
                    <a:pt x="5175" y="20346"/>
                  </a:lnTo>
                  <a:lnTo>
                    <a:pt x="6168" y="20488"/>
                  </a:lnTo>
                  <a:lnTo>
                    <a:pt x="6664" y="20488"/>
                  </a:lnTo>
                  <a:lnTo>
                    <a:pt x="7089" y="20417"/>
                  </a:lnTo>
                  <a:lnTo>
                    <a:pt x="7586" y="20346"/>
                  </a:lnTo>
                  <a:lnTo>
                    <a:pt x="8011" y="20133"/>
                  </a:lnTo>
                  <a:lnTo>
                    <a:pt x="8436" y="19850"/>
                  </a:lnTo>
                  <a:lnTo>
                    <a:pt x="8791" y="19495"/>
                  </a:lnTo>
                  <a:lnTo>
                    <a:pt x="8791" y="19495"/>
                  </a:lnTo>
                  <a:lnTo>
                    <a:pt x="9500" y="18716"/>
                  </a:lnTo>
                  <a:lnTo>
                    <a:pt x="10209" y="18078"/>
                  </a:lnTo>
                  <a:lnTo>
                    <a:pt x="10776" y="17652"/>
                  </a:lnTo>
                  <a:lnTo>
                    <a:pt x="11272" y="17369"/>
                  </a:lnTo>
                  <a:lnTo>
                    <a:pt x="11981" y="16943"/>
                  </a:lnTo>
                  <a:lnTo>
                    <a:pt x="12123" y="16802"/>
                  </a:lnTo>
                  <a:lnTo>
                    <a:pt x="12123" y="16589"/>
                  </a:lnTo>
                  <a:lnTo>
                    <a:pt x="12123" y="16589"/>
                  </a:lnTo>
                  <a:lnTo>
                    <a:pt x="11556" y="14533"/>
                  </a:lnTo>
                  <a:lnTo>
                    <a:pt x="10776" y="12406"/>
                  </a:lnTo>
                  <a:lnTo>
                    <a:pt x="7231" y="2340"/>
                  </a:lnTo>
                  <a:lnTo>
                    <a:pt x="7231" y="2340"/>
                  </a:lnTo>
                  <a:lnTo>
                    <a:pt x="7089" y="2127"/>
                  </a:lnTo>
                  <a:lnTo>
                    <a:pt x="6664" y="1631"/>
                  </a:lnTo>
                  <a:lnTo>
                    <a:pt x="5955" y="851"/>
                  </a:lnTo>
                  <a:lnTo>
                    <a:pt x="4892"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09" name="Google Shape;21407;p90">
              <a:extLst>
                <a:ext uri="{FF2B5EF4-FFF2-40B4-BE49-F238E27FC236}">
                  <a16:creationId xmlns:a16="http://schemas.microsoft.com/office/drawing/2014/main" id="{A8DA8718-667B-84D9-0BDE-B79B5693B30F}"/>
                </a:ext>
              </a:extLst>
            </p:cNvPr>
            <p:cNvSpPr/>
            <p:nvPr/>
          </p:nvSpPr>
          <p:spPr>
            <a:xfrm>
              <a:off x="5261450" y="2639500"/>
              <a:ext cx="506900" cy="604350"/>
            </a:xfrm>
            <a:custGeom>
              <a:avLst/>
              <a:gdLst/>
              <a:ahLst/>
              <a:cxnLst/>
              <a:rect l="l" t="t" r="r" b="b"/>
              <a:pathLst>
                <a:path w="20276" h="24174" extrusionOk="0">
                  <a:moveTo>
                    <a:pt x="780" y="1"/>
                  </a:moveTo>
                  <a:lnTo>
                    <a:pt x="497" y="284"/>
                  </a:lnTo>
                  <a:lnTo>
                    <a:pt x="355" y="639"/>
                  </a:lnTo>
                  <a:lnTo>
                    <a:pt x="142" y="1135"/>
                  </a:lnTo>
                  <a:lnTo>
                    <a:pt x="72" y="1702"/>
                  </a:lnTo>
                  <a:lnTo>
                    <a:pt x="1" y="2198"/>
                  </a:lnTo>
                  <a:lnTo>
                    <a:pt x="1" y="2694"/>
                  </a:lnTo>
                  <a:lnTo>
                    <a:pt x="72" y="2978"/>
                  </a:lnTo>
                  <a:lnTo>
                    <a:pt x="426" y="3332"/>
                  </a:lnTo>
                  <a:lnTo>
                    <a:pt x="1064" y="3900"/>
                  </a:lnTo>
                  <a:lnTo>
                    <a:pt x="1915" y="4467"/>
                  </a:lnTo>
                  <a:lnTo>
                    <a:pt x="2907" y="5105"/>
                  </a:lnTo>
                  <a:lnTo>
                    <a:pt x="3971" y="5743"/>
                  </a:lnTo>
                  <a:lnTo>
                    <a:pt x="5034" y="6381"/>
                  </a:lnTo>
                  <a:lnTo>
                    <a:pt x="6026" y="6806"/>
                  </a:lnTo>
                  <a:lnTo>
                    <a:pt x="6948" y="7160"/>
                  </a:lnTo>
                  <a:lnTo>
                    <a:pt x="8507" y="7515"/>
                  </a:lnTo>
                  <a:lnTo>
                    <a:pt x="10280" y="7940"/>
                  </a:lnTo>
                  <a:lnTo>
                    <a:pt x="11059" y="8224"/>
                  </a:lnTo>
                  <a:lnTo>
                    <a:pt x="11839" y="8507"/>
                  </a:lnTo>
                  <a:lnTo>
                    <a:pt x="12406" y="8862"/>
                  </a:lnTo>
                  <a:lnTo>
                    <a:pt x="12690" y="9074"/>
                  </a:lnTo>
                  <a:lnTo>
                    <a:pt x="12832" y="9287"/>
                  </a:lnTo>
                  <a:lnTo>
                    <a:pt x="13115" y="9783"/>
                  </a:lnTo>
                  <a:lnTo>
                    <a:pt x="13399" y="10634"/>
                  </a:lnTo>
                  <a:lnTo>
                    <a:pt x="14037" y="12619"/>
                  </a:lnTo>
                  <a:lnTo>
                    <a:pt x="14604" y="14746"/>
                  </a:lnTo>
                  <a:lnTo>
                    <a:pt x="14746" y="15667"/>
                  </a:lnTo>
                  <a:lnTo>
                    <a:pt x="14817" y="16305"/>
                  </a:lnTo>
                  <a:lnTo>
                    <a:pt x="14888" y="16872"/>
                  </a:lnTo>
                  <a:lnTo>
                    <a:pt x="14958" y="17510"/>
                  </a:lnTo>
                  <a:lnTo>
                    <a:pt x="15384" y="19070"/>
                  </a:lnTo>
                  <a:lnTo>
                    <a:pt x="15596" y="19991"/>
                  </a:lnTo>
                  <a:lnTo>
                    <a:pt x="15809" y="21055"/>
                  </a:lnTo>
                  <a:lnTo>
                    <a:pt x="15951" y="22189"/>
                  </a:lnTo>
                  <a:lnTo>
                    <a:pt x="16022" y="23465"/>
                  </a:lnTo>
                  <a:lnTo>
                    <a:pt x="16093" y="23749"/>
                  </a:lnTo>
                  <a:lnTo>
                    <a:pt x="16164" y="23890"/>
                  </a:lnTo>
                  <a:lnTo>
                    <a:pt x="16376" y="24032"/>
                  </a:lnTo>
                  <a:lnTo>
                    <a:pt x="16589" y="24103"/>
                  </a:lnTo>
                  <a:lnTo>
                    <a:pt x="16872" y="24174"/>
                  </a:lnTo>
                  <a:lnTo>
                    <a:pt x="17156" y="24174"/>
                  </a:lnTo>
                  <a:lnTo>
                    <a:pt x="17865" y="24032"/>
                  </a:lnTo>
                  <a:lnTo>
                    <a:pt x="18574" y="23820"/>
                  </a:lnTo>
                  <a:lnTo>
                    <a:pt x="19212" y="23536"/>
                  </a:lnTo>
                  <a:lnTo>
                    <a:pt x="19708" y="23252"/>
                  </a:lnTo>
                  <a:lnTo>
                    <a:pt x="20062" y="22969"/>
                  </a:lnTo>
                  <a:lnTo>
                    <a:pt x="20204" y="22756"/>
                  </a:lnTo>
                  <a:lnTo>
                    <a:pt x="20275" y="22473"/>
                  </a:lnTo>
                  <a:lnTo>
                    <a:pt x="20275" y="22189"/>
                  </a:lnTo>
                  <a:lnTo>
                    <a:pt x="20275" y="21764"/>
                  </a:lnTo>
                  <a:lnTo>
                    <a:pt x="20062" y="20984"/>
                  </a:lnTo>
                  <a:lnTo>
                    <a:pt x="19708" y="19991"/>
                  </a:lnTo>
                  <a:lnTo>
                    <a:pt x="18786" y="17723"/>
                  </a:lnTo>
                  <a:lnTo>
                    <a:pt x="18361" y="16447"/>
                  </a:lnTo>
                  <a:lnTo>
                    <a:pt x="18007" y="15171"/>
                  </a:lnTo>
                  <a:lnTo>
                    <a:pt x="17723" y="13966"/>
                  </a:lnTo>
                  <a:lnTo>
                    <a:pt x="17369" y="12902"/>
                  </a:lnTo>
                  <a:lnTo>
                    <a:pt x="16802" y="10918"/>
                  </a:lnTo>
                  <a:lnTo>
                    <a:pt x="16518" y="9996"/>
                  </a:lnTo>
                  <a:lnTo>
                    <a:pt x="16376" y="9004"/>
                  </a:lnTo>
                  <a:lnTo>
                    <a:pt x="16234" y="8082"/>
                  </a:lnTo>
                  <a:lnTo>
                    <a:pt x="16164" y="7019"/>
                  </a:lnTo>
                  <a:lnTo>
                    <a:pt x="16234" y="5530"/>
                  </a:lnTo>
                  <a:lnTo>
                    <a:pt x="16305" y="4325"/>
                  </a:lnTo>
                  <a:lnTo>
                    <a:pt x="16447" y="3261"/>
                  </a:lnTo>
                  <a:lnTo>
                    <a:pt x="16447" y="3261"/>
                  </a:lnTo>
                  <a:lnTo>
                    <a:pt x="14037" y="3616"/>
                  </a:lnTo>
                  <a:lnTo>
                    <a:pt x="12832" y="3758"/>
                  </a:lnTo>
                  <a:lnTo>
                    <a:pt x="11697" y="3758"/>
                  </a:lnTo>
                  <a:lnTo>
                    <a:pt x="10563" y="3829"/>
                  </a:lnTo>
                  <a:lnTo>
                    <a:pt x="9571" y="3758"/>
                  </a:lnTo>
                  <a:lnTo>
                    <a:pt x="8720" y="3687"/>
                  </a:lnTo>
                  <a:lnTo>
                    <a:pt x="7940" y="3545"/>
                  </a:lnTo>
                  <a:lnTo>
                    <a:pt x="7161" y="3261"/>
                  </a:lnTo>
                  <a:lnTo>
                    <a:pt x="6168" y="2836"/>
                  </a:lnTo>
                  <a:lnTo>
                    <a:pt x="4041" y="1773"/>
                  </a:lnTo>
                  <a:lnTo>
                    <a:pt x="993" y="1"/>
                  </a:lnTo>
                  <a:close/>
                </a:path>
              </a:pathLst>
            </a:custGeom>
            <a:solidFill>
              <a:srgbClr val="DB546A"/>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10" name="Google Shape;21408;p90">
              <a:extLst>
                <a:ext uri="{FF2B5EF4-FFF2-40B4-BE49-F238E27FC236}">
                  <a16:creationId xmlns:a16="http://schemas.microsoft.com/office/drawing/2014/main" id="{3F43A343-D603-1E10-EDBE-7B85D5D816D1}"/>
                </a:ext>
              </a:extLst>
            </p:cNvPr>
            <p:cNvSpPr/>
            <p:nvPr/>
          </p:nvSpPr>
          <p:spPr>
            <a:xfrm>
              <a:off x="5261450" y="2639500"/>
              <a:ext cx="506900" cy="604350"/>
            </a:xfrm>
            <a:custGeom>
              <a:avLst/>
              <a:gdLst/>
              <a:ahLst/>
              <a:cxnLst/>
              <a:rect l="l" t="t" r="r" b="b"/>
              <a:pathLst>
                <a:path w="20276" h="24174" fill="none" extrusionOk="0">
                  <a:moveTo>
                    <a:pt x="16447" y="3261"/>
                  </a:moveTo>
                  <a:lnTo>
                    <a:pt x="16447" y="3261"/>
                  </a:lnTo>
                  <a:lnTo>
                    <a:pt x="14037" y="3616"/>
                  </a:lnTo>
                  <a:lnTo>
                    <a:pt x="12832" y="3758"/>
                  </a:lnTo>
                  <a:lnTo>
                    <a:pt x="11697" y="3758"/>
                  </a:lnTo>
                  <a:lnTo>
                    <a:pt x="10563" y="3829"/>
                  </a:lnTo>
                  <a:lnTo>
                    <a:pt x="9571" y="3758"/>
                  </a:lnTo>
                  <a:lnTo>
                    <a:pt x="8720" y="3687"/>
                  </a:lnTo>
                  <a:lnTo>
                    <a:pt x="7940" y="3545"/>
                  </a:lnTo>
                  <a:lnTo>
                    <a:pt x="7940" y="3545"/>
                  </a:lnTo>
                  <a:lnTo>
                    <a:pt x="7161" y="3261"/>
                  </a:lnTo>
                  <a:lnTo>
                    <a:pt x="6168" y="2836"/>
                  </a:lnTo>
                  <a:lnTo>
                    <a:pt x="4041" y="1773"/>
                  </a:lnTo>
                  <a:lnTo>
                    <a:pt x="993" y="1"/>
                  </a:lnTo>
                  <a:lnTo>
                    <a:pt x="993" y="1"/>
                  </a:lnTo>
                  <a:lnTo>
                    <a:pt x="851" y="1"/>
                  </a:lnTo>
                  <a:lnTo>
                    <a:pt x="780" y="1"/>
                  </a:lnTo>
                  <a:lnTo>
                    <a:pt x="497" y="284"/>
                  </a:lnTo>
                  <a:lnTo>
                    <a:pt x="355" y="639"/>
                  </a:lnTo>
                  <a:lnTo>
                    <a:pt x="142" y="1135"/>
                  </a:lnTo>
                  <a:lnTo>
                    <a:pt x="72" y="1702"/>
                  </a:lnTo>
                  <a:lnTo>
                    <a:pt x="1" y="2198"/>
                  </a:lnTo>
                  <a:lnTo>
                    <a:pt x="1" y="2694"/>
                  </a:lnTo>
                  <a:lnTo>
                    <a:pt x="72" y="2978"/>
                  </a:lnTo>
                  <a:lnTo>
                    <a:pt x="72" y="2978"/>
                  </a:lnTo>
                  <a:lnTo>
                    <a:pt x="426" y="3332"/>
                  </a:lnTo>
                  <a:lnTo>
                    <a:pt x="1064" y="3900"/>
                  </a:lnTo>
                  <a:lnTo>
                    <a:pt x="1915" y="4467"/>
                  </a:lnTo>
                  <a:lnTo>
                    <a:pt x="2907" y="5105"/>
                  </a:lnTo>
                  <a:lnTo>
                    <a:pt x="3971" y="5743"/>
                  </a:lnTo>
                  <a:lnTo>
                    <a:pt x="5034" y="6381"/>
                  </a:lnTo>
                  <a:lnTo>
                    <a:pt x="6026" y="6806"/>
                  </a:lnTo>
                  <a:lnTo>
                    <a:pt x="6948" y="7160"/>
                  </a:lnTo>
                  <a:lnTo>
                    <a:pt x="6948" y="7160"/>
                  </a:lnTo>
                  <a:lnTo>
                    <a:pt x="8507" y="7515"/>
                  </a:lnTo>
                  <a:lnTo>
                    <a:pt x="10280" y="7940"/>
                  </a:lnTo>
                  <a:lnTo>
                    <a:pt x="11059" y="8224"/>
                  </a:lnTo>
                  <a:lnTo>
                    <a:pt x="11839" y="8507"/>
                  </a:lnTo>
                  <a:lnTo>
                    <a:pt x="12406" y="8862"/>
                  </a:lnTo>
                  <a:lnTo>
                    <a:pt x="12690" y="9074"/>
                  </a:lnTo>
                  <a:lnTo>
                    <a:pt x="12832" y="9287"/>
                  </a:lnTo>
                  <a:lnTo>
                    <a:pt x="12832" y="9287"/>
                  </a:lnTo>
                  <a:lnTo>
                    <a:pt x="13115" y="9783"/>
                  </a:lnTo>
                  <a:lnTo>
                    <a:pt x="13399" y="10634"/>
                  </a:lnTo>
                  <a:lnTo>
                    <a:pt x="14037" y="12619"/>
                  </a:lnTo>
                  <a:lnTo>
                    <a:pt x="14604" y="14746"/>
                  </a:lnTo>
                  <a:lnTo>
                    <a:pt x="14746" y="15667"/>
                  </a:lnTo>
                  <a:lnTo>
                    <a:pt x="14817" y="16305"/>
                  </a:lnTo>
                  <a:lnTo>
                    <a:pt x="14817" y="16305"/>
                  </a:lnTo>
                  <a:lnTo>
                    <a:pt x="14888" y="16872"/>
                  </a:lnTo>
                  <a:lnTo>
                    <a:pt x="14958" y="17510"/>
                  </a:lnTo>
                  <a:lnTo>
                    <a:pt x="15384" y="19070"/>
                  </a:lnTo>
                  <a:lnTo>
                    <a:pt x="15596" y="19991"/>
                  </a:lnTo>
                  <a:lnTo>
                    <a:pt x="15809" y="21055"/>
                  </a:lnTo>
                  <a:lnTo>
                    <a:pt x="15951" y="22189"/>
                  </a:lnTo>
                  <a:lnTo>
                    <a:pt x="16022" y="23465"/>
                  </a:lnTo>
                  <a:lnTo>
                    <a:pt x="16022" y="23465"/>
                  </a:lnTo>
                  <a:lnTo>
                    <a:pt x="16093" y="23749"/>
                  </a:lnTo>
                  <a:lnTo>
                    <a:pt x="16164" y="23890"/>
                  </a:lnTo>
                  <a:lnTo>
                    <a:pt x="16376" y="24032"/>
                  </a:lnTo>
                  <a:lnTo>
                    <a:pt x="16589" y="24103"/>
                  </a:lnTo>
                  <a:lnTo>
                    <a:pt x="16872" y="24174"/>
                  </a:lnTo>
                  <a:lnTo>
                    <a:pt x="17156" y="24174"/>
                  </a:lnTo>
                  <a:lnTo>
                    <a:pt x="17865" y="24032"/>
                  </a:lnTo>
                  <a:lnTo>
                    <a:pt x="18574" y="23820"/>
                  </a:lnTo>
                  <a:lnTo>
                    <a:pt x="19212" y="23536"/>
                  </a:lnTo>
                  <a:lnTo>
                    <a:pt x="19708" y="23252"/>
                  </a:lnTo>
                  <a:lnTo>
                    <a:pt x="20062" y="22969"/>
                  </a:lnTo>
                  <a:lnTo>
                    <a:pt x="20062" y="22969"/>
                  </a:lnTo>
                  <a:lnTo>
                    <a:pt x="20204" y="22756"/>
                  </a:lnTo>
                  <a:lnTo>
                    <a:pt x="20275" y="22473"/>
                  </a:lnTo>
                  <a:lnTo>
                    <a:pt x="20275" y="22189"/>
                  </a:lnTo>
                  <a:lnTo>
                    <a:pt x="20275" y="21764"/>
                  </a:lnTo>
                  <a:lnTo>
                    <a:pt x="20062" y="20984"/>
                  </a:lnTo>
                  <a:lnTo>
                    <a:pt x="19708" y="19991"/>
                  </a:lnTo>
                  <a:lnTo>
                    <a:pt x="18786" y="17723"/>
                  </a:lnTo>
                  <a:lnTo>
                    <a:pt x="18361" y="16447"/>
                  </a:lnTo>
                  <a:lnTo>
                    <a:pt x="18007" y="15171"/>
                  </a:lnTo>
                  <a:lnTo>
                    <a:pt x="18007" y="15171"/>
                  </a:lnTo>
                  <a:lnTo>
                    <a:pt x="17723" y="13966"/>
                  </a:lnTo>
                  <a:lnTo>
                    <a:pt x="17369" y="12902"/>
                  </a:lnTo>
                  <a:lnTo>
                    <a:pt x="16802" y="10918"/>
                  </a:lnTo>
                  <a:lnTo>
                    <a:pt x="16518" y="9996"/>
                  </a:lnTo>
                  <a:lnTo>
                    <a:pt x="16376" y="9004"/>
                  </a:lnTo>
                  <a:lnTo>
                    <a:pt x="16234" y="8082"/>
                  </a:lnTo>
                  <a:lnTo>
                    <a:pt x="16164" y="7019"/>
                  </a:lnTo>
                  <a:lnTo>
                    <a:pt x="16164" y="7019"/>
                  </a:lnTo>
                  <a:lnTo>
                    <a:pt x="16234" y="5530"/>
                  </a:lnTo>
                  <a:lnTo>
                    <a:pt x="16305" y="4325"/>
                  </a:lnTo>
                  <a:lnTo>
                    <a:pt x="16447" y="326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11" name="Google Shape;21409;p90">
              <a:extLst>
                <a:ext uri="{FF2B5EF4-FFF2-40B4-BE49-F238E27FC236}">
                  <a16:creationId xmlns:a16="http://schemas.microsoft.com/office/drawing/2014/main" id="{41693DC3-3FAF-4967-8CFD-04679597D532}"/>
                </a:ext>
              </a:extLst>
            </p:cNvPr>
            <p:cNvSpPr/>
            <p:nvPr/>
          </p:nvSpPr>
          <p:spPr>
            <a:xfrm>
              <a:off x="5318175" y="2659000"/>
              <a:ext cx="450175" cy="584850"/>
            </a:xfrm>
            <a:custGeom>
              <a:avLst/>
              <a:gdLst/>
              <a:ahLst/>
              <a:cxnLst/>
              <a:rect l="l" t="t" r="r" b="b"/>
              <a:pathLst>
                <a:path w="18007" h="23394" extrusionOk="0">
                  <a:moveTo>
                    <a:pt x="0" y="0"/>
                  </a:moveTo>
                  <a:lnTo>
                    <a:pt x="851" y="1347"/>
                  </a:lnTo>
                  <a:lnTo>
                    <a:pt x="1631" y="2765"/>
                  </a:lnTo>
                  <a:lnTo>
                    <a:pt x="2340" y="4183"/>
                  </a:lnTo>
                  <a:lnTo>
                    <a:pt x="2978" y="5672"/>
                  </a:lnTo>
                  <a:lnTo>
                    <a:pt x="3899" y="6097"/>
                  </a:lnTo>
                  <a:lnTo>
                    <a:pt x="4679" y="6380"/>
                  </a:lnTo>
                  <a:lnTo>
                    <a:pt x="5671" y="6593"/>
                  </a:lnTo>
                  <a:lnTo>
                    <a:pt x="6806" y="6877"/>
                  </a:lnTo>
                  <a:lnTo>
                    <a:pt x="7940" y="7160"/>
                  </a:lnTo>
                  <a:lnTo>
                    <a:pt x="9074" y="7515"/>
                  </a:lnTo>
                  <a:lnTo>
                    <a:pt x="9854" y="7302"/>
                  </a:lnTo>
                  <a:lnTo>
                    <a:pt x="10917" y="6877"/>
                  </a:lnTo>
                  <a:lnTo>
                    <a:pt x="13895" y="5530"/>
                  </a:lnTo>
                  <a:lnTo>
                    <a:pt x="13965" y="4325"/>
                  </a:lnTo>
                  <a:lnTo>
                    <a:pt x="14107" y="3332"/>
                  </a:lnTo>
                  <a:lnTo>
                    <a:pt x="14178" y="2481"/>
                  </a:lnTo>
                  <a:lnTo>
                    <a:pt x="12689" y="2694"/>
                  </a:lnTo>
                  <a:lnTo>
                    <a:pt x="11201" y="2907"/>
                  </a:lnTo>
                  <a:lnTo>
                    <a:pt x="9783" y="2978"/>
                  </a:lnTo>
                  <a:lnTo>
                    <a:pt x="8436" y="3049"/>
                  </a:lnTo>
                  <a:lnTo>
                    <a:pt x="6876" y="2978"/>
                  </a:lnTo>
                  <a:lnTo>
                    <a:pt x="6238" y="2907"/>
                  </a:lnTo>
                  <a:lnTo>
                    <a:pt x="5671" y="2765"/>
                  </a:lnTo>
                  <a:lnTo>
                    <a:pt x="5104" y="2623"/>
                  </a:lnTo>
                  <a:lnTo>
                    <a:pt x="4466" y="2340"/>
                  </a:lnTo>
                  <a:lnTo>
                    <a:pt x="2978" y="1631"/>
                  </a:lnTo>
                  <a:lnTo>
                    <a:pt x="1418" y="780"/>
                  </a:lnTo>
                  <a:lnTo>
                    <a:pt x="0" y="0"/>
                  </a:lnTo>
                  <a:close/>
                  <a:moveTo>
                    <a:pt x="14533" y="10067"/>
                  </a:moveTo>
                  <a:lnTo>
                    <a:pt x="12973" y="10492"/>
                  </a:lnTo>
                  <a:lnTo>
                    <a:pt x="11484" y="10917"/>
                  </a:lnTo>
                  <a:lnTo>
                    <a:pt x="11910" y="12193"/>
                  </a:lnTo>
                  <a:lnTo>
                    <a:pt x="12193" y="13540"/>
                  </a:lnTo>
                  <a:lnTo>
                    <a:pt x="12477" y="14675"/>
                  </a:lnTo>
                  <a:lnTo>
                    <a:pt x="12548" y="15525"/>
                  </a:lnTo>
                  <a:lnTo>
                    <a:pt x="12619" y="16092"/>
                  </a:lnTo>
                  <a:lnTo>
                    <a:pt x="12689" y="16730"/>
                  </a:lnTo>
                  <a:lnTo>
                    <a:pt x="13115" y="18290"/>
                  </a:lnTo>
                  <a:lnTo>
                    <a:pt x="13327" y="19211"/>
                  </a:lnTo>
                  <a:lnTo>
                    <a:pt x="13540" y="20275"/>
                  </a:lnTo>
                  <a:lnTo>
                    <a:pt x="13682" y="21409"/>
                  </a:lnTo>
                  <a:lnTo>
                    <a:pt x="13753" y="22685"/>
                  </a:lnTo>
                  <a:lnTo>
                    <a:pt x="13824" y="23040"/>
                  </a:lnTo>
                  <a:lnTo>
                    <a:pt x="14036" y="23252"/>
                  </a:lnTo>
                  <a:lnTo>
                    <a:pt x="14320" y="23323"/>
                  </a:lnTo>
                  <a:lnTo>
                    <a:pt x="14674" y="23394"/>
                  </a:lnTo>
                  <a:lnTo>
                    <a:pt x="15100" y="23394"/>
                  </a:lnTo>
                  <a:lnTo>
                    <a:pt x="15596" y="23252"/>
                  </a:lnTo>
                  <a:lnTo>
                    <a:pt x="16517" y="22969"/>
                  </a:lnTo>
                  <a:lnTo>
                    <a:pt x="17297" y="22543"/>
                  </a:lnTo>
                  <a:lnTo>
                    <a:pt x="17581" y="22402"/>
                  </a:lnTo>
                  <a:lnTo>
                    <a:pt x="17793" y="22189"/>
                  </a:lnTo>
                  <a:lnTo>
                    <a:pt x="18006" y="21905"/>
                  </a:lnTo>
                  <a:lnTo>
                    <a:pt x="18006" y="21480"/>
                  </a:lnTo>
                  <a:lnTo>
                    <a:pt x="17935" y="20842"/>
                  </a:lnTo>
                  <a:lnTo>
                    <a:pt x="17793" y="20133"/>
                  </a:lnTo>
                  <a:lnTo>
                    <a:pt x="17155" y="18503"/>
                  </a:lnTo>
                  <a:lnTo>
                    <a:pt x="16376" y="16518"/>
                  </a:lnTo>
                  <a:lnTo>
                    <a:pt x="16021" y="15454"/>
                  </a:lnTo>
                  <a:lnTo>
                    <a:pt x="15738" y="14391"/>
                  </a:lnTo>
                  <a:lnTo>
                    <a:pt x="15454" y="13186"/>
                  </a:lnTo>
                  <a:lnTo>
                    <a:pt x="15100" y="12052"/>
                  </a:lnTo>
                  <a:lnTo>
                    <a:pt x="14533" y="10067"/>
                  </a:lnTo>
                  <a:close/>
                </a:path>
              </a:pathLst>
            </a:custGeom>
            <a:solidFill>
              <a:srgbClr val="C24E65"/>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12" name="Google Shape;21410;p90">
              <a:extLst>
                <a:ext uri="{FF2B5EF4-FFF2-40B4-BE49-F238E27FC236}">
                  <a16:creationId xmlns:a16="http://schemas.microsoft.com/office/drawing/2014/main" id="{FD8838D7-EE12-A854-3C5E-247102CB3F0B}"/>
                </a:ext>
              </a:extLst>
            </p:cNvPr>
            <p:cNvSpPr/>
            <p:nvPr/>
          </p:nvSpPr>
          <p:spPr>
            <a:xfrm>
              <a:off x="5605275" y="2910650"/>
              <a:ext cx="163075" cy="333200"/>
            </a:xfrm>
            <a:custGeom>
              <a:avLst/>
              <a:gdLst/>
              <a:ahLst/>
              <a:cxnLst/>
              <a:rect l="l" t="t" r="r" b="b"/>
              <a:pathLst>
                <a:path w="6523" h="13328" fill="none" extrusionOk="0">
                  <a:moveTo>
                    <a:pt x="3049" y="1"/>
                  </a:moveTo>
                  <a:lnTo>
                    <a:pt x="3049" y="1"/>
                  </a:lnTo>
                  <a:lnTo>
                    <a:pt x="1489" y="426"/>
                  </a:lnTo>
                  <a:lnTo>
                    <a:pt x="0" y="851"/>
                  </a:lnTo>
                  <a:lnTo>
                    <a:pt x="0" y="851"/>
                  </a:lnTo>
                  <a:lnTo>
                    <a:pt x="426" y="2127"/>
                  </a:lnTo>
                  <a:lnTo>
                    <a:pt x="709" y="3474"/>
                  </a:lnTo>
                  <a:lnTo>
                    <a:pt x="993" y="4609"/>
                  </a:lnTo>
                  <a:lnTo>
                    <a:pt x="1064" y="5459"/>
                  </a:lnTo>
                  <a:lnTo>
                    <a:pt x="1064" y="5459"/>
                  </a:lnTo>
                  <a:lnTo>
                    <a:pt x="1135" y="6026"/>
                  </a:lnTo>
                  <a:lnTo>
                    <a:pt x="1205" y="6664"/>
                  </a:lnTo>
                  <a:lnTo>
                    <a:pt x="1631" y="8224"/>
                  </a:lnTo>
                  <a:lnTo>
                    <a:pt x="1843" y="9145"/>
                  </a:lnTo>
                  <a:lnTo>
                    <a:pt x="2056" y="10209"/>
                  </a:lnTo>
                  <a:lnTo>
                    <a:pt x="2198" y="11343"/>
                  </a:lnTo>
                  <a:lnTo>
                    <a:pt x="2269" y="12619"/>
                  </a:lnTo>
                  <a:lnTo>
                    <a:pt x="2269" y="12619"/>
                  </a:lnTo>
                  <a:lnTo>
                    <a:pt x="2340" y="12974"/>
                  </a:lnTo>
                  <a:lnTo>
                    <a:pt x="2552" y="13186"/>
                  </a:lnTo>
                  <a:lnTo>
                    <a:pt x="2836" y="13257"/>
                  </a:lnTo>
                  <a:lnTo>
                    <a:pt x="3190" y="13328"/>
                  </a:lnTo>
                  <a:lnTo>
                    <a:pt x="3190" y="13328"/>
                  </a:lnTo>
                  <a:lnTo>
                    <a:pt x="3616" y="13328"/>
                  </a:lnTo>
                  <a:lnTo>
                    <a:pt x="4112" y="13186"/>
                  </a:lnTo>
                  <a:lnTo>
                    <a:pt x="5033" y="12903"/>
                  </a:lnTo>
                  <a:lnTo>
                    <a:pt x="5813" y="12477"/>
                  </a:lnTo>
                  <a:lnTo>
                    <a:pt x="6097" y="12336"/>
                  </a:lnTo>
                  <a:lnTo>
                    <a:pt x="6309" y="12123"/>
                  </a:lnTo>
                  <a:lnTo>
                    <a:pt x="6309" y="12123"/>
                  </a:lnTo>
                  <a:lnTo>
                    <a:pt x="6522" y="11839"/>
                  </a:lnTo>
                  <a:lnTo>
                    <a:pt x="6522" y="11414"/>
                  </a:lnTo>
                  <a:lnTo>
                    <a:pt x="6522" y="11414"/>
                  </a:lnTo>
                  <a:lnTo>
                    <a:pt x="6451" y="10776"/>
                  </a:lnTo>
                  <a:lnTo>
                    <a:pt x="6309" y="10067"/>
                  </a:lnTo>
                  <a:lnTo>
                    <a:pt x="5671" y="8437"/>
                  </a:lnTo>
                  <a:lnTo>
                    <a:pt x="4892" y="6452"/>
                  </a:lnTo>
                  <a:lnTo>
                    <a:pt x="4537" y="5388"/>
                  </a:lnTo>
                  <a:lnTo>
                    <a:pt x="4254" y="4325"/>
                  </a:lnTo>
                  <a:lnTo>
                    <a:pt x="4254" y="4325"/>
                  </a:lnTo>
                  <a:lnTo>
                    <a:pt x="3970" y="3120"/>
                  </a:lnTo>
                  <a:lnTo>
                    <a:pt x="3616" y="1986"/>
                  </a:lnTo>
                  <a:lnTo>
                    <a:pt x="3049"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13" name="Google Shape;21411;p90">
              <a:extLst>
                <a:ext uri="{FF2B5EF4-FFF2-40B4-BE49-F238E27FC236}">
                  <a16:creationId xmlns:a16="http://schemas.microsoft.com/office/drawing/2014/main" id="{9BAEEDCE-C0CF-F0AF-5500-42E7845F24B0}"/>
                </a:ext>
              </a:extLst>
            </p:cNvPr>
            <p:cNvSpPr/>
            <p:nvPr/>
          </p:nvSpPr>
          <p:spPr>
            <a:xfrm>
              <a:off x="5318175" y="2659000"/>
              <a:ext cx="354475" cy="187875"/>
            </a:xfrm>
            <a:custGeom>
              <a:avLst/>
              <a:gdLst/>
              <a:ahLst/>
              <a:cxnLst/>
              <a:rect l="l" t="t" r="r" b="b"/>
              <a:pathLst>
                <a:path w="14179" h="7515" fill="none" extrusionOk="0">
                  <a:moveTo>
                    <a:pt x="0" y="0"/>
                  </a:moveTo>
                  <a:lnTo>
                    <a:pt x="0" y="0"/>
                  </a:lnTo>
                  <a:lnTo>
                    <a:pt x="851" y="1347"/>
                  </a:lnTo>
                  <a:lnTo>
                    <a:pt x="1631" y="2765"/>
                  </a:lnTo>
                  <a:lnTo>
                    <a:pt x="2340" y="4183"/>
                  </a:lnTo>
                  <a:lnTo>
                    <a:pt x="2978" y="5672"/>
                  </a:lnTo>
                  <a:lnTo>
                    <a:pt x="2978" y="5672"/>
                  </a:lnTo>
                  <a:lnTo>
                    <a:pt x="3899" y="6097"/>
                  </a:lnTo>
                  <a:lnTo>
                    <a:pt x="4679" y="6380"/>
                  </a:lnTo>
                  <a:lnTo>
                    <a:pt x="4679" y="6380"/>
                  </a:lnTo>
                  <a:lnTo>
                    <a:pt x="5671" y="6593"/>
                  </a:lnTo>
                  <a:lnTo>
                    <a:pt x="6806" y="6877"/>
                  </a:lnTo>
                  <a:lnTo>
                    <a:pt x="7940" y="7160"/>
                  </a:lnTo>
                  <a:lnTo>
                    <a:pt x="9074" y="7515"/>
                  </a:lnTo>
                  <a:lnTo>
                    <a:pt x="9074" y="7515"/>
                  </a:lnTo>
                  <a:lnTo>
                    <a:pt x="9854" y="7302"/>
                  </a:lnTo>
                  <a:lnTo>
                    <a:pt x="10917" y="6877"/>
                  </a:lnTo>
                  <a:lnTo>
                    <a:pt x="13895" y="5530"/>
                  </a:lnTo>
                  <a:lnTo>
                    <a:pt x="13895" y="5530"/>
                  </a:lnTo>
                  <a:lnTo>
                    <a:pt x="13965" y="4325"/>
                  </a:lnTo>
                  <a:lnTo>
                    <a:pt x="14107" y="3332"/>
                  </a:lnTo>
                  <a:lnTo>
                    <a:pt x="14178" y="2481"/>
                  </a:lnTo>
                  <a:lnTo>
                    <a:pt x="14178" y="2481"/>
                  </a:lnTo>
                  <a:lnTo>
                    <a:pt x="12689" y="2694"/>
                  </a:lnTo>
                  <a:lnTo>
                    <a:pt x="11201" y="2907"/>
                  </a:lnTo>
                  <a:lnTo>
                    <a:pt x="9783" y="2978"/>
                  </a:lnTo>
                  <a:lnTo>
                    <a:pt x="8436" y="3049"/>
                  </a:lnTo>
                  <a:lnTo>
                    <a:pt x="8436" y="3049"/>
                  </a:lnTo>
                  <a:lnTo>
                    <a:pt x="6876" y="2978"/>
                  </a:lnTo>
                  <a:lnTo>
                    <a:pt x="6238" y="2907"/>
                  </a:lnTo>
                  <a:lnTo>
                    <a:pt x="5671" y="2765"/>
                  </a:lnTo>
                  <a:lnTo>
                    <a:pt x="5671" y="2765"/>
                  </a:lnTo>
                  <a:lnTo>
                    <a:pt x="5104" y="2623"/>
                  </a:lnTo>
                  <a:lnTo>
                    <a:pt x="4466" y="2340"/>
                  </a:lnTo>
                  <a:lnTo>
                    <a:pt x="2978" y="1631"/>
                  </a:lnTo>
                  <a:lnTo>
                    <a:pt x="1418" y="780"/>
                  </a:lnTo>
                  <a:lnTo>
                    <a:pt x="0"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14" name="Google Shape;21412;p90">
              <a:extLst>
                <a:ext uri="{FF2B5EF4-FFF2-40B4-BE49-F238E27FC236}">
                  <a16:creationId xmlns:a16="http://schemas.microsoft.com/office/drawing/2014/main" id="{51C189D0-EFA0-8740-9F6C-BFC709C021ED}"/>
                </a:ext>
              </a:extLst>
            </p:cNvPr>
            <p:cNvSpPr/>
            <p:nvPr/>
          </p:nvSpPr>
          <p:spPr>
            <a:xfrm>
              <a:off x="5729325" y="2701525"/>
              <a:ext cx="283575" cy="547650"/>
            </a:xfrm>
            <a:custGeom>
              <a:avLst/>
              <a:gdLst/>
              <a:ahLst/>
              <a:cxnLst/>
              <a:rect l="l" t="t" r="r" b="b"/>
              <a:pathLst>
                <a:path w="11343" h="21906" extrusionOk="0">
                  <a:moveTo>
                    <a:pt x="1064" y="1"/>
                  </a:moveTo>
                  <a:lnTo>
                    <a:pt x="1064" y="497"/>
                  </a:lnTo>
                  <a:lnTo>
                    <a:pt x="922" y="1206"/>
                  </a:lnTo>
                  <a:lnTo>
                    <a:pt x="568" y="3120"/>
                  </a:lnTo>
                  <a:lnTo>
                    <a:pt x="426" y="3758"/>
                  </a:lnTo>
                  <a:lnTo>
                    <a:pt x="355" y="4183"/>
                  </a:lnTo>
                  <a:lnTo>
                    <a:pt x="284" y="4750"/>
                  </a:lnTo>
                  <a:lnTo>
                    <a:pt x="213" y="5601"/>
                  </a:lnTo>
                  <a:lnTo>
                    <a:pt x="71" y="6593"/>
                  </a:lnTo>
                  <a:lnTo>
                    <a:pt x="1" y="7657"/>
                  </a:lnTo>
                  <a:lnTo>
                    <a:pt x="71" y="8791"/>
                  </a:lnTo>
                  <a:lnTo>
                    <a:pt x="142" y="9996"/>
                  </a:lnTo>
                  <a:lnTo>
                    <a:pt x="213" y="10280"/>
                  </a:lnTo>
                  <a:lnTo>
                    <a:pt x="213" y="10421"/>
                  </a:lnTo>
                  <a:lnTo>
                    <a:pt x="355" y="10989"/>
                  </a:lnTo>
                  <a:lnTo>
                    <a:pt x="426" y="11201"/>
                  </a:lnTo>
                  <a:lnTo>
                    <a:pt x="851" y="12194"/>
                  </a:lnTo>
                  <a:lnTo>
                    <a:pt x="1418" y="13328"/>
                  </a:lnTo>
                  <a:lnTo>
                    <a:pt x="2340" y="14958"/>
                  </a:lnTo>
                  <a:lnTo>
                    <a:pt x="2765" y="15738"/>
                  </a:lnTo>
                  <a:lnTo>
                    <a:pt x="3049" y="16376"/>
                  </a:lnTo>
                  <a:lnTo>
                    <a:pt x="3120" y="16589"/>
                  </a:lnTo>
                  <a:lnTo>
                    <a:pt x="3332" y="17085"/>
                  </a:lnTo>
                  <a:lnTo>
                    <a:pt x="3545" y="17652"/>
                  </a:lnTo>
                  <a:lnTo>
                    <a:pt x="3829" y="18574"/>
                  </a:lnTo>
                  <a:lnTo>
                    <a:pt x="3899" y="19141"/>
                  </a:lnTo>
                  <a:lnTo>
                    <a:pt x="3970" y="19495"/>
                  </a:lnTo>
                  <a:lnTo>
                    <a:pt x="4041" y="19779"/>
                  </a:lnTo>
                  <a:lnTo>
                    <a:pt x="4112" y="20062"/>
                  </a:lnTo>
                  <a:lnTo>
                    <a:pt x="4325" y="20275"/>
                  </a:lnTo>
                  <a:lnTo>
                    <a:pt x="4821" y="20771"/>
                  </a:lnTo>
                  <a:lnTo>
                    <a:pt x="5246" y="21055"/>
                  </a:lnTo>
                  <a:lnTo>
                    <a:pt x="5672" y="21339"/>
                  </a:lnTo>
                  <a:lnTo>
                    <a:pt x="6168" y="21551"/>
                  </a:lnTo>
                  <a:lnTo>
                    <a:pt x="6664" y="21764"/>
                  </a:lnTo>
                  <a:lnTo>
                    <a:pt x="7302" y="21835"/>
                  </a:lnTo>
                  <a:lnTo>
                    <a:pt x="7869" y="21906"/>
                  </a:lnTo>
                  <a:lnTo>
                    <a:pt x="8507" y="21906"/>
                  </a:lnTo>
                  <a:lnTo>
                    <a:pt x="9145" y="21764"/>
                  </a:lnTo>
                  <a:lnTo>
                    <a:pt x="9429" y="21622"/>
                  </a:lnTo>
                  <a:lnTo>
                    <a:pt x="9854" y="21409"/>
                  </a:lnTo>
                  <a:lnTo>
                    <a:pt x="10280" y="21197"/>
                  </a:lnTo>
                  <a:lnTo>
                    <a:pt x="10705" y="20842"/>
                  </a:lnTo>
                  <a:lnTo>
                    <a:pt x="11130" y="20488"/>
                  </a:lnTo>
                  <a:lnTo>
                    <a:pt x="11272" y="20346"/>
                  </a:lnTo>
                  <a:lnTo>
                    <a:pt x="11343" y="20133"/>
                  </a:lnTo>
                  <a:lnTo>
                    <a:pt x="11343" y="19992"/>
                  </a:lnTo>
                  <a:lnTo>
                    <a:pt x="11343" y="19779"/>
                  </a:lnTo>
                  <a:lnTo>
                    <a:pt x="11201" y="19424"/>
                  </a:lnTo>
                  <a:lnTo>
                    <a:pt x="10918" y="19070"/>
                  </a:lnTo>
                  <a:lnTo>
                    <a:pt x="10280" y="18503"/>
                  </a:lnTo>
                  <a:lnTo>
                    <a:pt x="9783" y="18078"/>
                  </a:lnTo>
                  <a:lnTo>
                    <a:pt x="9287" y="17298"/>
                  </a:lnTo>
                  <a:lnTo>
                    <a:pt x="8791" y="16589"/>
                  </a:lnTo>
                  <a:lnTo>
                    <a:pt x="8436" y="15809"/>
                  </a:lnTo>
                  <a:lnTo>
                    <a:pt x="8082" y="15100"/>
                  </a:lnTo>
                  <a:lnTo>
                    <a:pt x="7586" y="13612"/>
                  </a:lnTo>
                  <a:lnTo>
                    <a:pt x="7160" y="12194"/>
                  </a:lnTo>
                  <a:lnTo>
                    <a:pt x="6877" y="10989"/>
                  </a:lnTo>
                  <a:lnTo>
                    <a:pt x="6593" y="9854"/>
                  </a:lnTo>
                  <a:lnTo>
                    <a:pt x="6168" y="6735"/>
                  </a:lnTo>
                  <a:lnTo>
                    <a:pt x="6026" y="6239"/>
                  </a:lnTo>
                  <a:lnTo>
                    <a:pt x="5884" y="5743"/>
                  </a:lnTo>
                  <a:lnTo>
                    <a:pt x="5530" y="4821"/>
                  </a:lnTo>
                  <a:lnTo>
                    <a:pt x="5459" y="4821"/>
                  </a:lnTo>
                  <a:lnTo>
                    <a:pt x="5246" y="4325"/>
                  </a:lnTo>
                  <a:lnTo>
                    <a:pt x="4821" y="3616"/>
                  </a:lnTo>
                  <a:lnTo>
                    <a:pt x="4325" y="2907"/>
                  </a:lnTo>
                  <a:lnTo>
                    <a:pt x="3829" y="2269"/>
                  </a:lnTo>
                  <a:lnTo>
                    <a:pt x="3403" y="1773"/>
                  </a:lnTo>
                  <a:lnTo>
                    <a:pt x="2127" y="710"/>
                  </a:lnTo>
                  <a:lnTo>
                    <a:pt x="1418" y="213"/>
                  </a:lnTo>
                  <a:lnTo>
                    <a:pt x="1135" y="1"/>
                  </a:lnTo>
                  <a:close/>
                </a:path>
              </a:pathLst>
            </a:custGeom>
            <a:solidFill>
              <a:srgbClr val="DB546A"/>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15" name="Google Shape;21413;p90">
              <a:extLst>
                <a:ext uri="{FF2B5EF4-FFF2-40B4-BE49-F238E27FC236}">
                  <a16:creationId xmlns:a16="http://schemas.microsoft.com/office/drawing/2014/main" id="{1B7299E3-E6A5-349F-E90F-1A749C1F0149}"/>
                </a:ext>
              </a:extLst>
            </p:cNvPr>
            <p:cNvSpPr/>
            <p:nvPr/>
          </p:nvSpPr>
          <p:spPr>
            <a:xfrm>
              <a:off x="5729325" y="2701525"/>
              <a:ext cx="283575" cy="547650"/>
            </a:xfrm>
            <a:custGeom>
              <a:avLst/>
              <a:gdLst/>
              <a:ahLst/>
              <a:cxnLst/>
              <a:rect l="l" t="t" r="r" b="b"/>
              <a:pathLst>
                <a:path w="11343" h="21906" fill="none" extrusionOk="0">
                  <a:moveTo>
                    <a:pt x="11130" y="20488"/>
                  </a:moveTo>
                  <a:lnTo>
                    <a:pt x="11130" y="20488"/>
                  </a:lnTo>
                  <a:lnTo>
                    <a:pt x="10705" y="20842"/>
                  </a:lnTo>
                  <a:lnTo>
                    <a:pt x="10280" y="21197"/>
                  </a:lnTo>
                  <a:lnTo>
                    <a:pt x="9854" y="21409"/>
                  </a:lnTo>
                  <a:lnTo>
                    <a:pt x="9429" y="21622"/>
                  </a:lnTo>
                  <a:lnTo>
                    <a:pt x="9429" y="21622"/>
                  </a:lnTo>
                  <a:lnTo>
                    <a:pt x="9145" y="21764"/>
                  </a:lnTo>
                  <a:lnTo>
                    <a:pt x="9145" y="21764"/>
                  </a:lnTo>
                  <a:lnTo>
                    <a:pt x="8507" y="21906"/>
                  </a:lnTo>
                  <a:lnTo>
                    <a:pt x="7869" y="21906"/>
                  </a:lnTo>
                  <a:lnTo>
                    <a:pt x="7302" y="21835"/>
                  </a:lnTo>
                  <a:lnTo>
                    <a:pt x="6664" y="21764"/>
                  </a:lnTo>
                  <a:lnTo>
                    <a:pt x="6168" y="21551"/>
                  </a:lnTo>
                  <a:lnTo>
                    <a:pt x="5672" y="21339"/>
                  </a:lnTo>
                  <a:lnTo>
                    <a:pt x="5246" y="21055"/>
                  </a:lnTo>
                  <a:lnTo>
                    <a:pt x="4821" y="20771"/>
                  </a:lnTo>
                  <a:lnTo>
                    <a:pt x="4821" y="20771"/>
                  </a:lnTo>
                  <a:lnTo>
                    <a:pt x="4325" y="20275"/>
                  </a:lnTo>
                  <a:lnTo>
                    <a:pt x="4325" y="20275"/>
                  </a:lnTo>
                  <a:lnTo>
                    <a:pt x="4325" y="20275"/>
                  </a:lnTo>
                  <a:lnTo>
                    <a:pt x="4112" y="20062"/>
                  </a:lnTo>
                  <a:lnTo>
                    <a:pt x="4041" y="19779"/>
                  </a:lnTo>
                  <a:lnTo>
                    <a:pt x="4041" y="19779"/>
                  </a:lnTo>
                  <a:lnTo>
                    <a:pt x="3970" y="19495"/>
                  </a:lnTo>
                  <a:lnTo>
                    <a:pt x="3899" y="19141"/>
                  </a:lnTo>
                  <a:lnTo>
                    <a:pt x="3899" y="19141"/>
                  </a:lnTo>
                  <a:lnTo>
                    <a:pt x="3829" y="18574"/>
                  </a:lnTo>
                  <a:lnTo>
                    <a:pt x="3545" y="17652"/>
                  </a:lnTo>
                  <a:lnTo>
                    <a:pt x="3545" y="17652"/>
                  </a:lnTo>
                  <a:lnTo>
                    <a:pt x="3332" y="17085"/>
                  </a:lnTo>
                  <a:lnTo>
                    <a:pt x="3332" y="17085"/>
                  </a:lnTo>
                  <a:lnTo>
                    <a:pt x="3120" y="16589"/>
                  </a:lnTo>
                  <a:lnTo>
                    <a:pt x="3120" y="16589"/>
                  </a:lnTo>
                  <a:lnTo>
                    <a:pt x="3049" y="16376"/>
                  </a:lnTo>
                  <a:lnTo>
                    <a:pt x="3049" y="16376"/>
                  </a:lnTo>
                  <a:lnTo>
                    <a:pt x="2765" y="15738"/>
                  </a:lnTo>
                  <a:lnTo>
                    <a:pt x="2340" y="14958"/>
                  </a:lnTo>
                  <a:lnTo>
                    <a:pt x="1418" y="13328"/>
                  </a:lnTo>
                  <a:lnTo>
                    <a:pt x="1418" y="13328"/>
                  </a:lnTo>
                  <a:lnTo>
                    <a:pt x="851" y="12194"/>
                  </a:lnTo>
                  <a:lnTo>
                    <a:pt x="426" y="11201"/>
                  </a:lnTo>
                  <a:lnTo>
                    <a:pt x="426" y="11201"/>
                  </a:lnTo>
                  <a:lnTo>
                    <a:pt x="355" y="10989"/>
                  </a:lnTo>
                  <a:lnTo>
                    <a:pt x="355" y="10989"/>
                  </a:lnTo>
                  <a:lnTo>
                    <a:pt x="213" y="10421"/>
                  </a:lnTo>
                  <a:lnTo>
                    <a:pt x="213" y="10421"/>
                  </a:lnTo>
                  <a:lnTo>
                    <a:pt x="213" y="10280"/>
                  </a:lnTo>
                  <a:lnTo>
                    <a:pt x="213" y="10280"/>
                  </a:lnTo>
                  <a:lnTo>
                    <a:pt x="213" y="10280"/>
                  </a:lnTo>
                  <a:lnTo>
                    <a:pt x="142" y="9996"/>
                  </a:lnTo>
                  <a:lnTo>
                    <a:pt x="142" y="9996"/>
                  </a:lnTo>
                  <a:lnTo>
                    <a:pt x="71" y="8791"/>
                  </a:lnTo>
                  <a:lnTo>
                    <a:pt x="1" y="7657"/>
                  </a:lnTo>
                  <a:lnTo>
                    <a:pt x="1" y="7657"/>
                  </a:lnTo>
                  <a:lnTo>
                    <a:pt x="1" y="7657"/>
                  </a:lnTo>
                  <a:lnTo>
                    <a:pt x="71" y="6593"/>
                  </a:lnTo>
                  <a:lnTo>
                    <a:pt x="213" y="5601"/>
                  </a:lnTo>
                  <a:lnTo>
                    <a:pt x="213" y="5601"/>
                  </a:lnTo>
                  <a:lnTo>
                    <a:pt x="284" y="4750"/>
                  </a:lnTo>
                  <a:lnTo>
                    <a:pt x="284" y="4750"/>
                  </a:lnTo>
                  <a:lnTo>
                    <a:pt x="355" y="4183"/>
                  </a:lnTo>
                  <a:lnTo>
                    <a:pt x="355" y="4183"/>
                  </a:lnTo>
                  <a:lnTo>
                    <a:pt x="426" y="3758"/>
                  </a:lnTo>
                  <a:lnTo>
                    <a:pt x="426" y="3758"/>
                  </a:lnTo>
                  <a:lnTo>
                    <a:pt x="568" y="3120"/>
                  </a:lnTo>
                  <a:lnTo>
                    <a:pt x="568" y="3120"/>
                  </a:lnTo>
                  <a:lnTo>
                    <a:pt x="922" y="1206"/>
                  </a:lnTo>
                  <a:lnTo>
                    <a:pt x="1064" y="497"/>
                  </a:lnTo>
                  <a:lnTo>
                    <a:pt x="1064" y="1"/>
                  </a:lnTo>
                  <a:lnTo>
                    <a:pt x="1064" y="1"/>
                  </a:lnTo>
                  <a:lnTo>
                    <a:pt x="1064" y="1"/>
                  </a:lnTo>
                  <a:lnTo>
                    <a:pt x="1135" y="1"/>
                  </a:lnTo>
                  <a:lnTo>
                    <a:pt x="1418" y="213"/>
                  </a:lnTo>
                  <a:lnTo>
                    <a:pt x="2127" y="710"/>
                  </a:lnTo>
                  <a:lnTo>
                    <a:pt x="3403" y="1773"/>
                  </a:lnTo>
                  <a:lnTo>
                    <a:pt x="3403" y="1773"/>
                  </a:lnTo>
                  <a:lnTo>
                    <a:pt x="3829" y="2269"/>
                  </a:lnTo>
                  <a:lnTo>
                    <a:pt x="4325" y="2907"/>
                  </a:lnTo>
                  <a:lnTo>
                    <a:pt x="4325" y="2907"/>
                  </a:lnTo>
                  <a:lnTo>
                    <a:pt x="4821" y="3616"/>
                  </a:lnTo>
                  <a:lnTo>
                    <a:pt x="4821" y="3616"/>
                  </a:lnTo>
                  <a:lnTo>
                    <a:pt x="4821" y="3616"/>
                  </a:lnTo>
                  <a:lnTo>
                    <a:pt x="5246" y="4325"/>
                  </a:lnTo>
                  <a:lnTo>
                    <a:pt x="5246" y="4325"/>
                  </a:lnTo>
                  <a:lnTo>
                    <a:pt x="5459" y="4821"/>
                  </a:lnTo>
                  <a:lnTo>
                    <a:pt x="5530" y="4821"/>
                  </a:lnTo>
                  <a:lnTo>
                    <a:pt x="5530" y="4821"/>
                  </a:lnTo>
                  <a:lnTo>
                    <a:pt x="5884" y="5743"/>
                  </a:lnTo>
                  <a:lnTo>
                    <a:pt x="6026" y="6239"/>
                  </a:lnTo>
                  <a:lnTo>
                    <a:pt x="6168" y="6735"/>
                  </a:lnTo>
                  <a:lnTo>
                    <a:pt x="6168" y="6735"/>
                  </a:lnTo>
                  <a:lnTo>
                    <a:pt x="6593" y="9854"/>
                  </a:lnTo>
                  <a:lnTo>
                    <a:pt x="6877" y="10989"/>
                  </a:lnTo>
                  <a:lnTo>
                    <a:pt x="7160" y="12194"/>
                  </a:lnTo>
                  <a:lnTo>
                    <a:pt x="7160" y="12194"/>
                  </a:lnTo>
                  <a:lnTo>
                    <a:pt x="7586" y="13612"/>
                  </a:lnTo>
                  <a:lnTo>
                    <a:pt x="8082" y="15100"/>
                  </a:lnTo>
                  <a:lnTo>
                    <a:pt x="8436" y="15809"/>
                  </a:lnTo>
                  <a:lnTo>
                    <a:pt x="8791" y="16589"/>
                  </a:lnTo>
                  <a:lnTo>
                    <a:pt x="9287" y="17298"/>
                  </a:lnTo>
                  <a:lnTo>
                    <a:pt x="9783" y="18078"/>
                  </a:lnTo>
                  <a:lnTo>
                    <a:pt x="9783" y="18078"/>
                  </a:lnTo>
                  <a:lnTo>
                    <a:pt x="10280" y="18503"/>
                  </a:lnTo>
                  <a:lnTo>
                    <a:pt x="10918" y="19070"/>
                  </a:lnTo>
                  <a:lnTo>
                    <a:pt x="11201" y="19424"/>
                  </a:lnTo>
                  <a:lnTo>
                    <a:pt x="11343" y="19779"/>
                  </a:lnTo>
                  <a:lnTo>
                    <a:pt x="11343" y="19992"/>
                  </a:lnTo>
                  <a:lnTo>
                    <a:pt x="11343" y="20133"/>
                  </a:lnTo>
                  <a:lnTo>
                    <a:pt x="11272" y="20346"/>
                  </a:lnTo>
                  <a:lnTo>
                    <a:pt x="11130" y="20488"/>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16" name="Google Shape;21414;p90">
              <a:extLst>
                <a:ext uri="{FF2B5EF4-FFF2-40B4-BE49-F238E27FC236}">
                  <a16:creationId xmlns:a16="http://schemas.microsoft.com/office/drawing/2014/main" id="{CFDBB806-6704-FC3B-07B2-633A1D775E4C}"/>
                </a:ext>
              </a:extLst>
            </p:cNvPr>
            <p:cNvSpPr/>
            <p:nvPr/>
          </p:nvSpPr>
          <p:spPr>
            <a:xfrm>
              <a:off x="5729325" y="2875200"/>
              <a:ext cx="67375" cy="159525"/>
            </a:xfrm>
            <a:custGeom>
              <a:avLst/>
              <a:gdLst/>
              <a:ahLst/>
              <a:cxnLst/>
              <a:rect l="l" t="t" r="r" b="b"/>
              <a:pathLst>
                <a:path w="2695" h="6381" extrusionOk="0">
                  <a:moveTo>
                    <a:pt x="2694" y="1"/>
                  </a:moveTo>
                  <a:lnTo>
                    <a:pt x="1" y="852"/>
                  </a:lnTo>
                  <a:lnTo>
                    <a:pt x="71" y="2128"/>
                  </a:lnTo>
                  <a:lnTo>
                    <a:pt x="213" y="3333"/>
                  </a:lnTo>
                  <a:lnTo>
                    <a:pt x="213" y="3474"/>
                  </a:lnTo>
                  <a:lnTo>
                    <a:pt x="355" y="4042"/>
                  </a:lnTo>
                  <a:lnTo>
                    <a:pt x="426" y="4254"/>
                  </a:lnTo>
                  <a:lnTo>
                    <a:pt x="851" y="5247"/>
                  </a:lnTo>
                  <a:lnTo>
                    <a:pt x="1418" y="6381"/>
                  </a:lnTo>
                  <a:lnTo>
                    <a:pt x="1489" y="4751"/>
                  </a:lnTo>
                  <a:lnTo>
                    <a:pt x="1773" y="3049"/>
                  </a:lnTo>
                  <a:lnTo>
                    <a:pt x="1915" y="2269"/>
                  </a:lnTo>
                  <a:lnTo>
                    <a:pt x="2127" y="1419"/>
                  </a:lnTo>
                  <a:lnTo>
                    <a:pt x="2340" y="639"/>
                  </a:lnTo>
                  <a:lnTo>
                    <a:pt x="2694" y="1"/>
                  </a:lnTo>
                  <a:close/>
                </a:path>
              </a:pathLst>
            </a:custGeom>
            <a:solidFill>
              <a:srgbClr val="B34A62"/>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17" name="Google Shape;21415;p90">
              <a:extLst>
                <a:ext uri="{FF2B5EF4-FFF2-40B4-BE49-F238E27FC236}">
                  <a16:creationId xmlns:a16="http://schemas.microsoft.com/office/drawing/2014/main" id="{AA79D702-D01B-1AAA-F687-4021B731C115}"/>
                </a:ext>
              </a:extLst>
            </p:cNvPr>
            <p:cNvSpPr/>
            <p:nvPr/>
          </p:nvSpPr>
          <p:spPr>
            <a:xfrm>
              <a:off x="5729325" y="2875200"/>
              <a:ext cx="67375" cy="159525"/>
            </a:xfrm>
            <a:custGeom>
              <a:avLst/>
              <a:gdLst/>
              <a:ahLst/>
              <a:cxnLst/>
              <a:rect l="l" t="t" r="r" b="b"/>
              <a:pathLst>
                <a:path w="2695" h="6381" fill="none" extrusionOk="0">
                  <a:moveTo>
                    <a:pt x="2694" y="1"/>
                  </a:moveTo>
                  <a:lnTo>
                    <a:pt x="2694" y="1"/>
                  </a:lnTo>
                  <a:lnTo>
                    <a:pt x="1" y="852"/>
                  </a:lnTo>
                  <a:lnTo>
                    <a:pt x="1" y="852"/>
                  </a:lnTo>
                  <a:lnTo>
                    <a:pt x="71" y="2128"/>
                  </a:lnTo>
                  <a:lnTo>
                    <a:pt x="213" y="3333"/>
                  </a:lnTo>
                  <a:lnTo>
                    <a:pt x="213" y="3333"/>
                  </a:lnTo>
                  <a:lnTo>
                    <a:pt x="213" y="3333"/>
                  </a:lnTo>
                  <a:lnTo>
                    <a:pt x="213" y="3474"/>
                  </a:lnTo>
                  <a:lnTo>
                    <a:pt x="213" y="3474"/>
                  </a:lnTo>
                  <a:lnTo>
                    <a:pt x="355" y="4042"/>
                  </a:lnTo>
                  <a:lnTo>
                    <a:pt x="355" y="4042"/>
                  </a:lnTo>
                  <a:lnTo>
                    <a:pt x="426" y="4254"/>
                  </a:lnTo>
                  <a:lnTo>
                    <a:pt x="426" y="4254"/>
                  </a:lnTo>
                  <a:lnTo>
                    <a:pt x="851" y="5247"/>
                  </a:lnTo>
                  <a:lnTo>
                    <a:pt x="1418" y="6381"/>
                  </a:lnTo>
                  <a:lnTo>
                    <a:pt x="1418" y="6381"/>
                  </a:lnTo>
                  <a:lnTo>
                    <a:pt x="1489" y="4751"/>
                  </a:lnTo>
                  <a:lnTo>
                    <a:pt x="1773" y="3049"/>
                  </a:lnTo>
                  <a:lnTo>
                    <a:pt x="1915" y="2269"/>
                  </a:lnTo>
                  <a:lnTo>
                    <a:pt x="2127" y="1419"/>
                  </a:lnTo>
                  <a:lnTo>
                    <a:pt x="2340" y="639"/>
                  </a:lnTo>
                  <a:lnTo>
                    <a:pt x="2694"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18" name="Google Shape;21416;p90">
              <a:extLst>
                <a:ext uri="{FF2B5EF4-FFF2-40B4-BE49-F238E27FC236}">
                  <a16:creationId xmlns:a16="http://schemas.microsoft.com/office/drawing/2014/main" id="{4A06557E-F461-4A77-0C1C-3BEF3EDF7628}"/>
                </a:ext>
              </a:extLst>
            </p:cNvPr>
            <p:cNvSpPr/>
            <p:nvPr/>
          </p:nvSpPr>
          <p:spPr>
            <a:xfrm>
              <a:off x="4283175" y="2263775"/>
              <a:ext cx="1187425" cy="1029700"/>
            </a:xfrm>
            <a:custGeom>
              <a:avLst/>
              <a:gdLst/>
              <a:ahLst/>
              <a:cxnLst/>
              <a:rect l="l" t="t" r="r" b="b"/>
              <a:pathLst>
                <a:path w="47497" h="41188" extrusionOk="0">
                  <a:moveTo>
                    <a:pt x="17156" y="1"/>
                  </a:moveTo>
                  <a:lnTo>
                    <a:pt x="14462" y="72"/>
                  </a:lnTo>
                  <a:lnTo>
                    <a:pt x="14108" y="143"/>
                  </a:lnTo>
                  <a:lnTo>
                    <a:pt x="13753" y="285"/>
                  </a:lnTo>
                  <a:lnTo>
                    <a:pt x="13540" y="568"/>
                  </a:lnTo>
                  <a:lnTo>
                    <a:pt x="13470" y="852"/>
                  </a:lnTo>
                  <a:lnTo>
                    <a:pt x="13470" y="14179"/>
                  </a:lnTo>
                  <a:lnTo>
                    <a:pt x="12052" y="14179"/>
                  </a:lnTo>
                  <a:lnTo>
                    <a:pt x="10705" y="14321"/>
                  </a:lnTo>
                  <a:lnTo>
                    <a:pt x="9429" y="14462"/>
                  </a:lnTo>
                  <a:lnTo>
                    <a:pt x="8224" y="14675"/>
                  </a:lnTo>
                  <a:lnTo>
                    <a:pt x="7019" y="14959"/>
                  </a:lnTo>
                  <a:lnTo>
                    <a:pt x="5955" y="15242"/>
                  </a:lnTo>
                  <a:lnTo>
                    <a:pt x="4892" y="15668"/>
                  </a:lnTo>
                  <a:lnTo>
                    <a:pt x="3970" y="16022"/>
                  </a:lnTo>
                  <a:lnTo>
                    <a:pt x="3120" y="16518"/>
                  </a:lnTo>
                  <a:lnTo>
                    <a:pt x="2340" y="17014"/>
                  </a:lnTo>
                  <a:lnTo>
                    <a:pt x="1631" y="17511"/>
                  </a:lnTo>
                  <a:lnTo>
                    <a:pt x="1064" y="18078"/>
                  </a:lnTo>
                  <a:lnTo>
                    <a:pt x="639" y="18645"/>
                  </a:lnTo>
                  <a:lnTo>
                    <a:pt x="284" y="19283"/>
                  </a:lnTo>
                  <a:lnTo>
                    <a:pt x="71" y="19921"/>
                  </a:lnTo>
                  <a:lnTo>
                    <a:pt x="1" y="20559"/>
                  </a:lnTo>
                  <a:lnTo>
                    <a:pt x="71" y="21197"/>
                  </a:lnTo>
                  <a:lnTo>
                    <a:pt x="284" y="21835"/>
                  </a:lnTo>
                  <a:lnTo>
                    <a:pt x="639" y="22473"/>
                  </a:lnTo>
                  <a:lnTo>
                    <a:pt x="1064" y="23040"/>
                  </a:lnTo>
                  <a:lnTo>
                    <a:pt x="1631" y="23607"/>
                  </a:lnTo>
                  <a:lnTo>
                    <a:pt x="2340" y="24103"/>
                  </a:lnTo>
                  <a:lnTo>
                    <a:pt x="3120" y="24600"/>
                  </a:lnTo>
                  <a:lnTo>
                    <a:pt x="3970" y="25096"/>
                  </a:lnTo>
                  <a:lnTo>
                    <a:pt x="4892" y="25450"/>
                  </a:lnTo>
                  <a:lnTo>
                    <a:pt x="5955" y="25876"/>
                  </a:lnTo>
                  <a:lnTo>
                    <a:pt x="7019" y="26159"/>
                  </a:lnTo>
                  <a:lnTo>
                    <a:pt x="8224" y="26443"/>
                  </a:lnTo>
                  <a:lnTo>
                    <a:pt x="9429" y="26655"/>
                  </a:lnTo>
                  <a:lnTo>
                    <a:pt x="10705" y="26797"/>
                  </a:lnTo>
                  <a:lnTo>
                    <a:pt x="12052" y="26868"/>
                  </a:lnTo>
                  <a:lnTo>
                    <a:pt x="13399" y="26939"/>
                  </a:lnTo>
                  <a:lnTo>
                    <a:pt x="13470" y="40337"/>
                  </a:lnTo>
                  <a:lnTo>
                    <a:pt x="13540" y="40692"/>
                  </a:lnTo>
                  <a:lnTo>
                    <a:pt x="13753" y="40904"/>
                  </a:lnTo>
                  <a:lnTo>
                    <a:pt x="14108" y="41117"/>
                  </a:lnTo>
                  <a:lnTo>
                    <a:pt x="14462" y="41188"/>
                  </a:lnTo>
                  <a:lnTo>
                    <a:pt x="24316" y="41188"/>
                  </a:lnTo>
                  <a:lnTo>
                    <a:pt x="24316" y="40054"/>
                  </a:lnTo>
                  <a:lnTo>
                    <a:pt x="24528" y="38919"/>
                  </a:lnTo>
                  <a:lnTo>
                    <a:pt x="24812" y="37785"/>
                  </a:lnTo>
                  <a:lnTo>
                    <a:pt x="25237" y="36722"/>
                  </a:lnTo>
                  <a:lnTo>
                    <a:pt x="25663" y="35658"/>
                  </a:lnTo>
                  <a:lnTo>
                    <a:pt x="26230" y="34666"/>
                  </a:lnTo>
                  <a:lnTo>
                    <a:pt x="26868" y="33744"/>
                  </a:lnTo>
                  <a:lnTo>
                    <a:pt x="27577" y="32894"/>
                  </a:lnTo>
                  <a:lnTo>
                    <a:pt x="28286" y="32043"/>
                  </a:lnTo>
                  <a:lnTo>
                    <a:pt x="29065" y="31334"/>
                  </a:lnTo>
                  <a:lnTo>
                    <a:pt x="29845" y="30696"/>
                  </a:lnTo>
                  <a:lnTo>
                    <a:pt x="30696" y="30129"/>
                  </a:lnTo>
                  <a:lnTo>
                    <a:pt x="31476" y="29704"/>
                  </a:lnTo>
                  <a:lnTo>
                    <a:pt x="32326" y="29420"/>
                  </a:lnTo>
                  <a:lnTo>
                    <a:pt x="33177" y="29208"/>
                  </a:lnTo>
                  <a:lnTo>
                    <a:pt x="33957" y="29137"/>
                  </a:lnTo>
                  <a:lnTo>
                    <a:pt x="34737" y="29208"/>
                  </a:lnTo>
                  <a:lnTo>
                    <a:pt x="35516" y="29420"/>
                  </a:lnTo>
                  <a:lnTo>
                    <a:pt x="36296" y="29704"/>
                  </a:lnTo>
                  <a:lnTo>
                    <a:pt x="37005" y="30129"/>
                  </a:lnTo>
                  <a:lnTo>
                    <a:pt x="37714" y="30696"/>
                  </a:lnTo>
                  <a:lnTo>
                    <a:pt x="38352" y="31334"/>
                  </a:lnTo>
                  <a:lnTo>
                    <a:pt x="38990" y="32043"/>
                  </a:lnTo>
                  <a:lnTo>
                    <a:pt x="39557" y="32823"/>
                  </a:lnTo>
                  <a:lnTo>
                    <a:pt x="40124" y="33744"/>
                  </a:lnTo>
                  <a:lnTo>
                    <a:pt x="40549" y="34666"/>
                  </a:lnTo>
                  <a:lnTo>
                    <a:pt x="40975" y="35658"/>
                  </a:lnTo>
                  <a:lnTo>
                    <a:pt x="41329" y="36651"/>
                  </a:lnTo>
                  <a:lnTo>
                    <a:pt x="41684" y="37714"/>
                  </a:lnTo>
                  <a:lnTo>
                    <a:pt x="41896" y="38849"/>
                  </a:lnTo>
                  <a:lnTo>
                    <a:pt x="42038" y="39983"/>
                  </a:lnTo>
                  <a:lnTo>
                    <a:pt x="42109" y="41117"/>
                  </a:lnTo>
                  <a:lnTo>
                    <a:pt x="47426" y="41117"/>
                  </a:lnTo>
                  <a:lnTo>
                    <a:pt x="47497" y="38636"/>
                  </a:lnTo>
                  <a:lnTo>
                    <a:pt x="47497" y="36722"/>
                  </a:lnTo>
                  <a:lnTo>
                    <a:pt x="47426" y="34808"/>
                  </a:lnTo>
                  <a:lnTo>
                    <a:pt x="47284" y="32894"/>
                  </a:lnTo>
                  <a:lnTo>
                    <a:pt x="47000" y="31051"/>
                  </a:lnTo>
                  <a:lnTo>
                    <a:pt x="46717" y="29278"/>
                  </a:lnTo>
                  <a:lnTo>
                    <a:pt x="46362" y="27577"/>
                  </a:lnTo>
                  <a:lnTo>
                    <a:pt x="45937" y="25876"/>
                  </a:lnTo>
                  <a:lnTo>
                    <a:pt x="45441" y="24174"/>
                  </a:lnTo>
                  <a:lnTo>
                    <a:pt x="44803" y="22544"/>
                  </a:lnTo>
                  <a:lnTo>
                    <a:pt x="44165" y="20984"/>
                  </a:lnTo>
                  <a:lnTo>
                    <a:pt x="43527" y="19496"/>
                  </a:lnTo>
                  <a:lnTo>
                    <a:pt x="42747" y="18007"/>
                  </a:lnTo>
                  <a:lnTo>
                    <a:pt x="41896" y="16589"/>
                  </a:lnTo>
                  <a:lnTo>
                    <a:pt x="41046" y="15242"/>
                  </a:lnTo>
                  <a:lnTo>
                    <a:pt x="40124" y="13895"/>
                  </a:lnTo>
                  <a:lnTo>
                    <a:pt x="39132" y="12619"/>
                  </a:lnTo>
                  <a:lnTo>
                    <a:pt x="38068" y="11414"/>
                  </a:lnTo>
                  <a:lnTo>
                    <a:pt x="37005" y="10209"/>
                  </a:lnTo>
                  <a:lnTo>
                    <a:pt x="35871" y="9146"/>
                  </a:lnTo>
                  <a:lnTo>
                    <a:pt x="34666" y="8082"/>
                  </a:lnTo>
                  <a:lnTo>
                    <a:pt x="33461" y="7090"/>
                  </a:lnTo>
                  <a:lnTo>
                    <a:pt x="32184" y="6097"/>
                  </a:lnTo>
                  <a:lnTo>
                    <a:pt x="30838" y="5247"/>
                  </a:lnTo>
                  <a:lnTo>
                    <a:pt x="29491" y="4396"/>
                  </a:lnTo>
                  <a:lnTo>
                    <a:pt x="28073" y="3687"/>
                  </a:lnTo>
                  <a:lnTo>
                    <a:pt x="26584" y="2978"/>
                  </a:lnTo>
                  <a:lnTo>
                    <a:pt x="25096" y="2269"/>
                  </a:lnTo>
                  <a:lnTo>
                    <a:pt x="23607" y="1702"/>
                  </a:lnTo>
                  <a:lnTo>
                    <a:pt x="22047" y="1206"/>
                  </a:lnTo>
                  <a:lnTo>
                    <a:pt x="20488" y="781"/>
                  </a:lnTo>
                  <a:lnTo>
                    <a:pt x="18857" y="355"/>
                  </a:lnTo>
                  <a:lnTo>
                    <a:pt x="17156" y="1"/>
                  </a:lnTo>
                  <a:close/>
                </a:path>
              </a:pathLst>
            </a:custGeom>
            <a:solidFill>
              <a:srgbClr val="FDB61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19" name="Google Shape;21417;p90">
              <a:extLst>
                <a:ext uri="{FF2B5EF4-FFF2-40B4-BE49-F238E27FC236}">
                  <a16:creationId xmlns:a16="http://schemas.microsoft.com/office/drawing/2014/main" id="{D1F72734-42D8-7B43-0C5E-A0B64F4BF64A}"/>
                </a:ext>
              </a:extLst>
            </p:cNvPr>
            <p:cNvSpPr/>
            <p:nvPr/>
          </p:nvSpPr>
          <p:spPr>
            <a:xfrm>
              <a:off x="4283175" y="2263775"/>
              <a:ext cx="1187425" cy="1029700"/>
            </a:xfrm>
            <a:custGeom>
              <a:avLst/>
              <a:gdLst/>
              <a:ahLst/>
              <a:cxnLst/>
              <a:rect l="l" t="t" r="r" b="b"/>
              <a:pathLst>
                <a:path w="47497" h="41188" fill="none" extrusionOk="0">
                  <a:moveTo>
                    <a:pt x="47497" y="38636"/>
                  </a:moveTo>
                  <a:lnTo>
                    <a:pt x="47497" y="38636"/>
                  </a:lnTo>
                  <a:lnTo>
                    <a:pt x="47426" y="41117"/>
                  </a:lnTo>
                  <a:lnTo>
                    <a:pt x="47426" y="41117"/>
                  </a:lnTo>
                  <a:lnTo>
                    <a:pt x="45086" y="41117"/>
                  </a:lnTo>
                  <a:lnTo>
                    <a:pt x="42109" y="41117"/>
                  </a:lnTo>
                  <a:lnTo>
                    <a:pt x="42109" y="41117"/>
                  </a:lnTo>
                  <a:lnTo>
                    <a:pt x="42038" y="39983"/>
                  </a:lnTo>
                  <a:lnTo>
                    <a:pt x="41896" y="38849"/>
                  </a:lnTo>
                  <a:lnTo>
                    <a:pt x="41684" y="37714"/>
                  </a:lnTo>
                  <a:lnTo>
                    <a:pt x="41329" y="36651"/>
                  </a:lnTo>
                  <a:lnTo>
                    <a:pt x="40975" y="35658"/>
                  </a:lnTo>
                  <a:lnTo>
                    <a:pt x="40549" y="34666"/>
                  </a:lnTo>
                  <a:lnTo>
                    <a:pt x="40124" y="33744"/>
                  </a:lnTo>
                  <a:lnTo>
                    <a:pt x="39557" y="32823"/>
                  </a:lnTo>
                  <a:lnTo>
                    <a:pt x="38990" y="32043"/>
                  </a:lnTo>
                  <a:lnTo>
                    <a:pt x="38352" y="31334"/>
                  </a:lnTo>
                  <a:lnTo>
                    <a:pt x="37714" y="30696"/>
                  </a:lnTo>
                  <a:lnTo>
                    <a:pt x="37005" y="30129"/>
                  </a:lnTo>
                  <a:lnTo>
                    <a:pt x="36296" y="29704"/>
                  </a:lnTo>
                  <a:lnTo>
                    <a:pt x="35516" y="29420"/>
                  </a:lnTo>
                  <a:lnTo>
                    <a:pt x="34737" y="29208"/>
                  </a:lnTo>
                  <a:lnTo>
                    <a:pt x="33957" y="29137"/>
                  </a:lnTo>
                  <a:lnTo>
                    <a:pt x="33957" y="29137"/>
                  </a:lnTo>
                  <a:lnTo>
                    <a:pt x="33177" y="29208"/>
                  </a:lnTo>
                  <a:lnTo>
                    <a:pt x="32326" y="29420"/>
                  </a:lnTo>
                  <a:lnTo>
                    <a:pt x="31476" y="29704"/>
                  </a:lnTo>
                  <a:lnTo>
                    <a:pt x="30696" y="30129"/>
                  </a:lnTo>
                  <a:lnTo>
                    <a:pt x="29845" y="30696"/>
                  </a:lnTo>
                  <a:lnTo>
                    <a:pt x="29065" y="31334"/>
                  </a:lnTo>
                  <a:lnTo>
                    <a:pt x="28286" y="32043"/>
                  </a:lnTo>
                  <a:lnTo>
                    <a:pt x="27577" y="32894"/>
                  </a:lnTo>
                  <a:lnTo>
                    <a:pt x="26868" y="33744"/>
                  </a:lnTo>
                  <a:lnTo>
                    <a:pt x="26230" y="34666"/>
                  </a:lnTo>
                  <a:lnTo>
                    <a:pt x="25663" y="35658"/>
                  </a:lnTo>
                  <a:lnTo>
                    <a:pt x="25237" y="36722"/>
                  </a:lnTo>
                  <a:lnTo>
                    <a:pt x="24812" y="37785"/>
                  </a:lnTo>
                  <a:lnTo>
                    <a:pt x="24528" y="38919"/>
                  </a:lnTo>
                  <a:lnTo>
                    <a:pt x="24316" y="40054"/>
                  </a:lnTo>
                  <a:lnTo>
                    <a:pt x="24316" y="41188"/>
                  </a:lnTo>
                  <a:lnTo>
                    <a:pt x="24316" y="41188"/>
                  </a:lnTo>
                  <a:lnTo>
                    <a:pt x="18999" y="41188"/>
                  </a:lnTo>
                  <a:lnTo>
                    <a:pt x="18999" y="41188"/>
                  </a:lnTo>
                  <a:lnTo>
                    <a:pt x="14462" y="41188"/>
                  </a:lnTo>
                  <a:lnTo>
                    <a:pt x="14462" y="41188"/>
                  </a:lnTo>
                  <a:lnTo>
                    <a:pt x="14108" y="41117"/>
                  </a:lnTo>
                  <a:lnTo>
                    <a:pt x="13753" y="40904"/>
                  </a:lnTo>
                  <a:lnTo>
                    <a:pt x="13540" y="40692"/>
                  </a:lnTo>
                  <a:lnTo>
                    <a:pt x="13470" y="40337"/>
                  </a:lnTo>
                  <a:lnTo>
                    <a:pt x="13470" y="40337"/>
                  </a:lnTo>
                  <a:lnTo>
                    <a:pt x="13399" y="26939"/>
                  </a:lnTo>
                  <a:lnTo>
                    <a:pt x="13399" y="26939"/>
                  </a:lnTo>
                  <a:lnTo>
                    <a:pt x="12052" y="26868"/>
                  </a:lnTo>
                  <a:lnTo>
                    <a:pt x="10705" y="26797"/>
                  </a:lnTo>
                  <a:lnTo>
                    <a:pt x="9429" y="26655"/>
                  </a:lnTo>
                  <a:lnTo>
                    <a:pt x="8224" y="26443"/>
                  </a:lnTo>
                  <a:lnTo>
                    <a:pt x="7019" y="26159"/>
                  </a:lnTo>
                  <a:lnTo>
                    <a:pt x="5955" y="25876"/>
                  </a:lnTo>
                  <a:lnTo>
                    <a:pt x="4892" y="25450"/>
                  </a:lnTo>
                  <a:lnTo>
                    <a:pt x="3970" y="25096"/>
                  </a:lnTo>
                  <a:lnTo>
                    <a:pt x="3970" y="25096"/>
                  </a:lnTo>
                  <a:lnTo>
                    <a:pt x="3120" y="24600"/>
                  </a:lnTo>
                  <a:lnTo>
                    <a:pt x="2340" y="24103"/>
                  </a:lnTo>
                  <a:lnTo>
                    <a:pt x="1631" y="23607"/>
                  </a:lnTo>
                  <a:lnTo>
                    <a:pt x="1064" y="23040"/>
                  </a:lnTo>
                  <a:lnTo>
                    <a:pt x="639" y="22473"/>
                  </a:lnTo>
                  <a:lnTo>
                    <a:pt x="284" y="21835"/>
                  </a:lnTo>
                  <a:lnTo>
                    <a:pt x="71" y="21197"/>
                  </a:lnTo>
                  <a:lnTo>
                    <a:pt x="1" y="20559"/>
                  </a:lnTo>
                  <a:lnTo>
                    <a:pt x="1" y="20559"/>
                  </a:lnTo>
                  <a:lnTo>
                    <a:pt x="71" y="19921"/>
                  </a:lnTo>
                  <a:lnTo>
                    <a:pt x="284" y="19283"/>
                  </a:lnTo>
                  <a:lnTo>
                    <a:pt x="639" y="18645"/>
                  </a:lnTo>
                  <a:lnTo>
                    <a:pt x="1064" y="18078"/>
                  </a:lnTo>
                  <a:lnTo>
                    <a:pt x="1631" y="17511"/>
                  </a:lnTo>
                  <a:lnTo>
                    <a:pt x="2340" y="17014"/>
                  </a:lnTo>
                  <a:lnTo>
                    <a:pt x="3120" y="16518"/>
                  </a:lnTo>
                  <a:lnTo>
                    <a:pt x="3970" y="16022"/>
                  </a:lnTo>
                  <a:lnTo>
                    <a:pt x="4892" y="15668"/>
                  </a:lnTo>
                  <a:lnTo>
                    <a:pt x="5955" y="15242"/>
                  </a:lnTo>
                  <a:lnTo>
                    <a:pt x="7019" y="14959"/>
                  </a:lnTo>
                  <a:lnTo>
                    <a:pt x="8224" y="14675"/>
                  </a:lnTo>
                  <a:lnTo>
                    <a:pt x="9429" y="14462"/>
                  </a:lnTo>
                  <a:lnTo>
                    <a:pt x="10705" y="14321"/>
                  </a:lnTo>
                  <a:lnTo>
                    <a:pt x="12052" y="14179"/>
                  </a:lnTo>
                  <a:lnTo>
                    <a:pt x="13399" y="14179"/>
                  </a:lnTo>
                  <a:lnTo>
                    <a:pt x="13470" y="14179"/>
                  </a:lnTo>
                  <a:lnTo>
                    <a:pt x="13470" y="14179"/>
                  </a:lnTo>
                  <a:lnTo>
                    <a:pt x="13470" y="852"/>
                  </a:lnTo>
                  <a:lnTo>
                    <a:pt x="13470" y="852"/>
                  </a:lnTo>
                  <a:lnTo>
                    <a:pt x="13540" y="568"/>
                  </a:lnTo>
                  <a:lnTo>
                    <a:pt x="13753" y="285"/>
                  </a:lnTo>
                  <a:lnTo>
                    <a:pt x="14108" y="143"/>
                  </a:lnTo>
                  <a:lnTo>
                    <a:pt x="14462" y="72"/>
                  </a:lnTo>
                  <a:lnTo>
                    <a:pt x="14462" y="72"/>
                  </a:lnTo>
                  <a:lnTo>
                    <a:pt x="17156" y="1"/>
                  </a:lnTo>
                  <a:lnTo>
                    <a:pt x="17156" y="1"/>
                  </a:lnTo>
                  <a:lnTo>
                    <a:pt x="18857" y="355"/>
                  </a:lnTo>
                  <a:lnTo>
                    <a:pt x="20488" y="781"/>
                  </a:lnTo>
                  <a:lnTo>
                    <a:pt x="22047" y="1206"/>
                  </a:lnTo>
                  <a:lnTo>
                    <a:pt x="23607" y="1702"/>
                  </a:lnTo>
                  <a:lnTo>
                    <a:pt x="25096" y="2269"/>
                  </a:lnTo>
                  <a:lnTo>
                    <a:pt x="26584" y="2978"/>
                  </a:lnTo>
                  <a:lnTo>
                    <a:pt x="28073" y="3687"/>
                  </a:lnTo>
                  <a:lnTo>
                    <a:pt x="29491" y="4396"/>
                  </a:lnTo>
                  <a:lnTo>
                    <a:pt x="30838" y="5247"/>
                  </a:lnTo>
                  <a:lnTo>
                    <a:pt x="32184" y="6097"/>
                  </a:lnTo>
                  <a:lnTo>
                    <a:pt x="33461" y="7090"/>
                  </a:lnTo>
                  <a:lnTo>
                    <a:pt x="34666" y="8082"/>
                  </a:lnTo>
                  <a:lnTo>
                    <a:pt x="35871" y="9146"/>
                  </a:lnTo>
                  <a:lnTo>
                    <a:pt x="37005" y="10209"/>
                  </a:lnTo>
                  <a:lnTo>
                    <a:pt x="38068" y="11414"/>
                  </a:lnTo>
                  <a:lnTo>
                    <a:pt x="39132" y="12619"/>
                  </a:lnTo>
                  <a:lnTo>
                    <a:pt x="40124" y="13895"/>
                  </a:lnTo>
                  <a:lnTo>
                    <a:pt x="41046" y="15242"/>
                  </a:lnTo>
                  <a:lnTo>
                    <a:pt x="41896" y="16589"/>
                  </a:lnTo>
                  <a:lnTo>
                    <a:pt x="42747" y="18007"/>
                  </a:lnTo>
                  <a:lnTo>
                    <a:pt x="43527" y="19496"/>
                  </a:lnTo>
                  <a:lnTo>
                    <a:pt x="44165" y="20984"/>
                  </a:lnTo>
                  <a:lnTo>
                    <a:pt x="44803" y="22544"/>
                  </a:lnTo>
                  <a:lnTo>
                    <a:pt x="45441" y="24174"/>
                  </a:lnTo>
                  <a:lnTo>
                    <a:pt x="45937" y="25876"/>
                  </a:lnTo>
                  <a:lnTo>
                    <a:pt x="46362" y="27577"/>
                  </a:lnTo>
                  <a:lnTo>
                    <a:pt x="46717" y="29278"/>
                  </a:lnTo>
                  <a:lnTo>
                    <a:pt x="47000" y="31051"/>
                  </a:lnTo>
                  <a:lnTo>
                    <a:pt x="47284" y="32894"/>
                  </a:lnTo>
                  <a:lnTo>
                    <a:pt x="47426" y="34808"/>
                  </a:lnTo>
                  <a:lnTo>
                    <a:pt x="47497" y="36722"/>
                  </a:lnTo>
                  <a:lnTo>
                    <a:pt x="47497" y="38636"/>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20" name="Google Shape;21418;p90">
              <a:extLst>
                <a:ext uri="{FF2B5EF4-FFF2-40B4-BE49-F238E27FC236}">
                  <a16:creationId xmlns:a16="http://schemas.microsoft.com/office/drawing/2014/main" id="{4DE80FC2-E8A3-49DE-82A2-7AEE36E5FC1F}"/>
                </a:ext>
              </a:extLst>
            </p:cNvPr>
            <p:cNvSpPr/>
            <p:nvPr/>
          </p:nvSpPr>
          <p:spPr>
            <a:xfrm>
              <a:off x="5055875" y="2550900"/>
              <a:ext cx="182575" cy="319025"/>
            </a:xfrm>
            <a:custGeom>
              <a:avLst/>
              <a:gdLst/>
              <a:ahLst/>
              <a:cxnLst/>
              <a:rect l="l" t="t" r="r" b="b"/>
              <a:pathLst>
                <a:path w="7303" h="12761" extrusionOk="0">
                  <a:moveTo>
                    <a:pt x="284" y="0"/>
                  </a:moveTo>
                  <a:lnTo>
                    <a:pt x="142" y="142"/>
                  </a:lnTo>
                  <a:lnTo>
                    <a:pt x="0" y="355"/>
                  </a:lnTo>
                  <a:lnTo>
                    <a:pt x="0" y="567"/>
                  </a:lnTo>
                  <a:lnTo>
                    <a:pt x="0" y="780"/>
                  </a:lnTo>
                  <a:lnTo>
                    <a:pt x="142" y="922"/>
                  </a:lnTo>
                  <a:lnTo>
                    <a:pt x="1418" y="2269"/>
                  </a:lnTo>
                  <a:lnTo>
                    <a:pt x="2553" y="3615"/>
                  </a:lnTo>
                  <a:lnTo>
                    <a:pt x="3545" y="5033"/>
                  </a:lnTo>
                  <a:lnTo>
                    <a:pt x="4467" y="6451"/>
                  </a:lnTo>
                  <a:lnTo>
                    <a:pt x="5105" y="7940"/>
                  </a:lnTo>
                  <a:lnTo>
                    <a:pt x="5672" y="9358"/>
                  </a:lnTo>
                  <a:lnTo>
                    <a:pt x="6026" y="10775"/>
                  </a:lnTo>
                  <a:lnTo>
                    <a:pt x="6168" y="11484"/>
                  </a:lnTo>
                  <a:lnTo>
                    <a:pt x="6168" y="12193"/>
                  </a:lnTo>
                  <a:lnTo>
                    <a:pt x="6239" y="12406"/>
                  </a:lnTo>
                  <a:lnTo>
                    <a:pt x="6381" y="12548"/>
                  </a:lnTo>
                  <a:lnTo>
                    <a:pt x="6522" y="12689"/>
                  </a:lnTo>
                  <a:lnTo>
                    <a:pt x="6735" y="12760"/>
                  </a:lnTo>
                  <a:lnTo>
                    <a:pt x="6806" y="12760"/>
                  </a:lnTo>
                  <a:lnTo>
                    <a:pt x="7019" y="12689"/>
                  </a:lnTo>
                  <a:lnTo>
                    <a:pt x="7160" y="12548"/>
                  </a:lnTo>
                  <a:lnTo>
                    <a:pt x="7302" y="12335"/>
                  </a:lnTo>
                  <a:lnTo>
                    <a:pt x="7302" y="12122"/>
                  </a:lnTo>
                  <a:lnTo>
                    <a:pt x="7231" y="11413"/>
                  </a:lnTo>
                  <a:lnTo>
                    <a:pt x="7160" y="10634"/>
                  </a:lnTo>
                  <a:lnTo>
                    <a:pt x="6948" y="9854"/>
                  </a:lnTo>
                  <a:lnTo>
                    <a:pt x="6735" y="9074"/>
                  </a:lnTo>
                  <a:lnTo>
                    <a:pt x="6168" y="7514"/>
                  </a:lnTo>
                  <a:lnTo>
                    <a:pt x="5459" y="6026"/>
                  </a:lnTo>
                  <a:lnTo>
                    <a:pt x="4537" y="4466"/>
                  </a:lnTo>
                  <a:lnTo>
                    <a:pt x="3474" y="2977"/>
                  </a:lnTo>
                  <a:lnTo>
                    <a:pt x="2269" y="1489"/>
                  </a:lnTo>
                  <a:lnTo>
                    <a:pt x="922" y="142"/>
                  </a:lnTo>
                  <a:lnTo>
                    <a:pt x="709"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21" name="Google Shape;21419;p90">
              <a:extLst>
                <a:ext uri="{FF2B5EF4-FFF2-40B4-BE49-F238E27FC236}">
                  <a16:creationId xmlns:a16="http://schemas.microsoft.com/office/drawing/2014/main" id="{A7377522-B7B0-FDB8-906E-DAFFEE3B4451}"/>
                </a:ext>
              </a:extLst>
            </p:cNvPr>
            <p:cNvSpPr/>
            <p:nvPr/>
          </p:nvSpPr>
          <p:spPr>
            <a:xfrm>
              <a:off x="5055875" y="2550900"/>
              <a:ext cx="182575" cy="319025"/>
            </a:xfrm>
            <a:custGeom>
              <a:avLst/>
              <a:gdLst/>
              <a:ahLst/>
              <a:cxnLst/>
              <a:rect l="l" t="t" r="r" b="b"/>
              <a:pathLst>
                <a:path w="7303" h="12761" fill="none" extrusionOk="0">
                  <a:moveTo>
                    <a:pt x="6735" y="12760"/>
                  </a:moveTo>
                  <a:lnTo>
                    <a:pt x="6735" y="12760"/>
                  </a:lnTo>
                  <a:lnTo>
                    <a:pt x="6522" y="12689"/>
                  </a:lnTo>
                  <a:lnTo>
                    <a:pt x="6381" y="12548"/>
                  </a:lnTo>
                  <a:lnTo>
                    <a:pt x="6239" y="12406"/>
                  </a:lnTo>
                  <a:lnTo>
                    <a:pt x="6168" y="12193"/>
                  </a:lnTo>
                  <a:lnTo>
                    <a:pt x="6168" y="12193"/>
                  </a:lnTo>
                  <a:lnTo>
                    <a:pt x="6168" y="11484"/>
                  </a:lnTo>
                  <a:lnTo>
                    <a:pt x="6026" y="10775"/>
                  </a:lnTo>
                  <a:lnTo>
                    <a:pt x="5672" y="9358"/>
                  </a:lnTo>
                  <a:lnTo>
                    <a:pt x="5105" y="7940"/>
                  </a:lnTo>
                  <a:lnTo>
                    <a:pt x="4467" y="6451"/>
                  </a:lnTo>
                  <a:lnTo>
                    <a:pt x="3545" y="5033"/>
                  </a:lnTo>
                  <a:lnTo>
                    <a:pt x="2553" y="3615"/>
                  </a:lnTo>
                  <a:lnTo>
                    <a:pt x="1418" y="2269"/>
                  </a:lnTo>
                  <a:lnTo>
                    <a:pt x="142" y="922"/>
                  </a:lnTo>
                  <a:lnTo>
                    <a:pt x="142" y="922"/>
                  </a:lnTo>
                  <a:lnTo>
                    <a:pt x="0" y="780"/>
                  </a:lnTo>
                  <a:lnTo>
                    <a:pt x="0" y="567"/>
                  </a:lnTo>
                  <a:lnTo>
                    <a:pt x="0" y="355"/>
                  </a:lnTo>
                  <a:lnTo>
                    <a:pt x="142" y="142"/>
                  </a:lnTo>
                  <a:lnTo>
                    <a:pt x="142" y="142"/>
                  </a:lnTo>
                  <a:lnTo>
                    <a:pt x="284" y="0"/>
                  </a:lnTo>
                  <a:lnTo>
                    <a:pt x="497" y="0"/>
                  </a:lnTo>
                  <a:lnTo>
                    <a:pt x="709" y="0"/>
                  </a:lnTo>
                  <a:lnTo>
                    <a:pt x="922" y="142"/>
                  </a:lnTo>
                  <a:lnTo>
                    <a:pt x="922" y="142"/>
                  </a:lnTo>
                  <a:lnTo>
                    <a:pt x="2269" y="1489"/>
                  </a:lnTo>
                  <a:lnTo>
                    <a:pt x="3474" y="2977"/>
                  </a:lnTo>
                  <a:lnTo>
                    <a:pt x="4537" y="4466"/>
                  </a:lnTo>
                  <a:lnTo>
                    <a:pt x="5459" y="6026"/>
                  </a:lnTo>
                  <a:lnTo>
                    <a:pt x="6168" y="7514"/>
                  </a:lnTo>
                  <a:lnTo>
                    <a:pt x="6735" y="9074"/>
                  </a:lnTo>
                  <a:lnTo>
                    <a:pt x="6948" y="9854"/>
                  </a:lnTo>
                  <a:lnTo>
                    <a:pt x="7160" y="10634"/>
                  </a:lnTo>
                  <a:lnTo>
                    <a:pt x="7231" y="11413"/>
                  </a:lnTo>
                  <a:lnTo>
                    <a:pt x="7302" y="12122"/>
                  </a:lnTo>
                  <a:lnTo>
                    <a:pt x="7302" y="12122"/>
                  </a:lnTo>
                  <a:lnTo>
                    <a:pt x="7302" y="12335"/>
                  </a:lnTo>
                  <a:lnTo>
                    <a:pt x="7160" y="12548"/>
                  </a:lnTo>
                  <a:lnTo>
                    <a:pt x="7019" y="12689"/>
                  </a:lnTo>
                  <a:lnTo>
                    <a:pt x="6806" y="12760"/>
                  </a:lnTo>
                  <a:lnTo>
                    <a:pt x="6735" y="1276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22" name="Google Shape;21420;p90">
              <a:extLst>
                <a:ext uri="{FF2B5EF4-FFF2-40B4-BE49-F238E27FC236}">
                  <a16:creationId xmlns:a16="http://schemas.microsoft.com/office/drawing/2014/main" id="{5C1D4004-FE86-43E4-427F-F6E4788822A8}"/>
                </a:ext>
              </a:extLst>
            </p:cNvPr>
            <p:cNvSpPr/>
            <p:nvPr/>
          </p:nvSpPr>
          <p:spPr>
            <a:xfrm>
              <a:off x="4806000" y="2414425"/>
              <a:ext cx="182550" cy="90400"/>
            </a:xfrm>
            <a:custGeom>
              <a:avLst/>
              <a:gdLst/>
              <a:ahLst/>
              <a:cxnLst/>
              <a:rect l="l" t="t" r="r" b="b"/>
              <a:pathLst>
                <a:path w="7302" h="3616" extrusionOk="0">
                  <a:moveTo>
                    <a:pt x="425" y="1"/>
                  </a:moveTo>
                  <a:lnTo>
                    <a:pt x="213" y="71"/>
                  </a:lnTo>
                  <a:lnTo>
                    <a:pt x="71" y="213"/>
                  </a:lnTo>
                  <a:lnTo>
                    <a:pt x="0" y="426"/>
                  </a:lnTo>
                  <a:lnTo>
                    <a:pt x="0" y="639"/>
                  </a:lnTo>
                  <a:lnTo>
                    <a:pt x="71" y="851"/>
                  </a:lnTo>
                  <a:lnTo>
                    <a:pt x="213" y="993"/>
                  </a:lnTo>
                  <a:lnTo>
                    <a:pt x="425" y="1064"/>
                  </a:lnTo>
                  <a:lnTo>
                    <a:pt x="1914" y="1418"/>
                  </a:lnTo>
                  <a:lnTo>
                    <a:pt x="3403" y="1985"/>
                  </a:lnTo>
                  <a:lnTo>
                    <a:pt x="4962" y="2694"/>
                  </a:lnTo>
                  <a:lnTo>
                    <a:pt x="6451" y="3545"/>
                  </a:lnTo>
                  <a:lnTo>
                    <a:pt x="6593" y="3616"/>
                  </a:lnTo>
                  <a:lnTo>
                    <a:pt x="6805" y="3616"/>
                  </a:lnTo>
                  <a:lnTo>
                    <a:pt x="7018" y="3545"/>
                  </a:lnTo>
                  <a:lnTo>
                    <a:pt x="7231" y="3403"/>
                  </a:lnTo>
                  <a:lnTo>
                    <a:pt x="7302" y="3191"/>
                  </a:lnTo>
                  <a:lnTo>
                    <a:pt x="7302" y="2978"/>
                  </a:lnTo>
                  <a:lnTo>
                    <a:pt x="7231" y="2765"/>
                  </a:lnTo>
                  <a:lnTo>
                    <a:pt x="7089" y="2623"/>
                  </a:lnTo>
                  <a:lnTo>
                    <a:pt x="5459" y="1702"/>
                  </a:lnTo>
                  <a:lnTo>
                    <a:pt x="3828" y="922"/>
                  </a:lnTo>
                  <a:lnTo>
                    <a:pt x="2198" y="355"/>
                  </a:lnTo>
                  <a:lnTo>
                    <a:pt x="1418" y="142"/>
                  </a:lnTo>
                  <a:lnTo>
                    <a:pt x="638" y="1"/>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23" name="Google Shape;21421;p90">
              <a:extLst>
                <a:ext uri="{FF2B5EF4-FFF2-40B4-BE49-F238E27FC236}">
                  <a16:creationId xmlns:a16="http://schemas.microsoft.com/office/drawing/2014/main" id="{C1DA6A65-D57C-2A5A-829F-2BEA913F225C}"/>
                </a:ext>
              </a:extLst>
            </p:cNvPr>
            <p:cNvSpPr/>
            <p:nvPr/>
          </p:nvSpPr>
          <p:spPr>
            <a:xfrm>
              <a:off x="5146250" y="2827350"/>
              <a:ext cx="187900" cy="81550"/>
            </a:xfrm>
            <a:custGeom>
              <a:avLst/>
              <a:gdLst/>
              <a:ahLst/>
              <a:cxnLst/>
              <a:rect l="l" t="t" r="r" b="b"/>
              <a:pathLst>
                <a:path w="7516" h="3262" extrusionOk="0">
                  <a:moveTo>
                    <a:pt x="1" y="1"/>
                  </a:moveTo>
                  <a:lnTo>
                    <a:pt x="143" y="214"/>
                  </a:lnTo>
                  <a:lnTo>
                    <a:pt x="355" y="426"/>
                  </a:lnTo>
                  <a:lnTo>
                    <a:pt x="639" y="568"/>
                  </a:lnTo>
                  <a:lnTo>
                    <a:pt x="993" y="781"/>
                  </a:lnTo>
                  <a:lnTo>
                    <a:pt x="1773" y="993"/>
                  </a:lnTo>
                  <a:lnTo>
                    <a:pt x="2624" y="1206"/>
                  </a:lnTo>
                  <a:lnTo>
                    <a:pt x="2553" y="1135"/>
                  </a:lnTo>
                  <a:lnTo>
                    <a:pt x="2553" y="568"/>
                  </a:lnTo>
                  <a:lnTo>
                    <a:pt x="1" y="1"/>
                  </a:lnTo>
                  <a:close/>
                  <a:moveTo>
                    <a:pt x="3687" y="852"/>
                  </a:moveTo>
                  <a:lnTo>
                    <a:pt x="3687" y="1064"/>
                  </a:lnTo>
                  <a:lnTo>
                    <a:pt x="3687" y="1277"/>
                  </a:lnTo>
                  <a:lnTo>
                    <a:pt x="3545" y="1490"/>
                  </a:lnTo>
                  <a:lnTo>
                    <a:pt x="3900" y="1702"/>
                  </a:lnTo>
                  <a:lnTo>
                    <a:pt x="4183" y="1915"/>
                  </a:lnTo>
                  <a:lnTo>
                    <a:pt x="4609" y="2269"/>
                  </a:lnTo>
                  <a:lnTo>
                    <a:pt x="5318" y="2553"/>
                  </a:lnTo>
                  <a:lnTo>
                    <a:pt x="6664" y="3049"/>
                  </a:lnTo>
                  <a:lnTo>
                    <a:pt x="7444" y="3262"/>
                  </a:lnTo>
                  <a:lnTo>
                    <a:pt x="7515" y="2624"/>
                  </a:lnTo>
                  <a:lnTo>
                    <a:pt x="5034" y="1915"/>
                  </a:lnTo>
                  <a:lnTo>
                    <a:pt x="4963" y="1844"/>
                  </a:lnTo>
                  <a:lnTo>
                    <a:pt x="4821" y="1702"/>
                  </a:lnTo>
                  <a:lnTo>
                    <a:pt x="4750" y="1135"/>
                  </a:lnTo>
                  <a:lnTo>
                    <a:pt x="3687" y="852"/>
                  </a:lnTo>
                  <a:close/>
                </a:path>
              </a:pathLst>
            </a:custGeom>
            <a:solidFill>
              <a:srgbClr val="C7903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24" name="Google Shape;21422;p90">
              <a:extLst>
                <a:ext uri="{FF2B5EF4-FFF2-40B4-BE49-F238E27FC236}">
                  <a16:creationId xmlns:a16="http://schemas.microsoft.com/office/drawing/2014/main" id="{70563207-3018-3AE2-C96C-C18C8F71E10E}"/>
                </a:ext>
              </a:extLst>
            </p:cNvPr>
            <p:cNvSpPr/>
            <p:nvPr/>
          </p:nvSpPr>
          <p:spPr>
            <a:xfrm>
              <a:off x="5234875" y="2848625"/>
              <a:ext cx="99275" cy="60275"/>
            </a:xfrm>
            <a:custGeom>
              <a:avLst/>
              <a:gdLst/>
              <a:ahLst/>
              <a:cxnLst/>
              <a:rect l="l" t="t" r="r" b="b"/>
              <a:pathLst>
                <a:path w="3971" h="2411" fill="none" extrusionOk="0">
                  <a:moveTo>
                    <a:pt x="142" y="1"/>
                  </a:moveTo>
                  <a:lnTo>
                    <a:pt x="142" y="1"/>
                  </a:lnTo>
                  <a:lnTo>
                    <a:pt x="142" y="213"/>
                  </a:lnTo>
                  <a:lnTo>
                    <a:pt x="142" y="213"/>
                  </a:lnTo>
                  <a:lnTo>
                    <a:pt x="142" y="426"/>
                  </a:lnTo>
                  <a:lnTo>
                    <a:pt x="0" y="639"/>
                  </a:lnTo>
                  <a:lnTo>
                    <a:pt x="0" y="639"/>
                  </a:lnTo>
                  <a:lnTo>
                    <a:pt x="355" y="851"/>
                  </a:lnTo>
                  <a:lnTo>
                    <a:pt x="638" y="1064"/>
                  </a:lnTo>
                  <a:lnTo>
                    <a:pt x="1064" y="1418"/>
                  </a:lnTo>
                  <a:lnTo>
                    <a:pt x="1064" y="1418"/>
                  </a:lnTo>
                  <a:lnTo>
                    <a:pt x="1773" y="1702"/>
                  </a:lnTo>
                  <a:lnTo>
                    <a:pt x="3119" y="2198"/>
                  </a:lnTo>
                  <a:lnTo>
                    <a:pt x="3119" y="2198"/>
                  </a:lnTo>
                  <a:lnTo>
                    <a:pt x="3899" y="2411"/>
                  </a:lnTo>
                  <a:lnTo>
                    <a:pt x="3899" y="2411"/>
                  </a:lnTo>
                  <a:lnTo>
                    <a:pt x="3970" y="1773"/>
                  </a:lnTo>
                  <a:lnTo>
                    <a:pt x="3970" y="1773"/>
                  </a:lnTo>
                  <a:lnTo>
                    <a:pt x="1489" y="1064"/>
                  </a:lnTo>
                  <a:lnTo>
                    <a:pt x="1489" y="1064"/>
                  </a:lnTo>
                  <a:lnTo>
                    <a:pt x="1418" y="993"/>
                  </a:lnTo>
                  <a:lnTo>
                    <a:pt x="1276" y="851"/>
                  </a:lnTo>
                  <a:lnTo>
                    <a:pt x="1205" y="284"/>
                  </a:lnTo>
                  <a:lnTo>
                    <a:pt x="142"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25" name="Google Shape;21423;p90">
              <a:extLst>
                <a:ext uri="{FF2B5EF4-FFF2-40B4-BE49-F238E27FC236}">
                  <a16:creationId xmlns:a16="http://schemas.microsoft.com/office/drawing/2014/main" id="{1B25F645-BA71-DBCC-9B0F-9EA2B0E7B86B}"/>
                </a:ext>
              </a:extLst>
            </p:cNvPr>
            <p:cNvSpPr/>
            <p:nvPr/>
          </p:nvSpPr>
          <p:spPr>
            <a:xfrm>
              <a:off x="5146250" y="2827350"/>
              <a:ext cx="65600" cy="30150"/>
            </a:xfrm>
            <a:custGeom>
              <a:avLst/>
              <a:gdLst/>
              <a:ahLst/>
              <a:cxnLst/>
              <a:rect l="l" t="t" r="r" b="b"/>
              <a:pathLst>
                <a:path w="2624" h="1206" fill="none" extrusionOk="0">
                  <a:moveTo>
                    <a:pt x="1" y="1"/>
                  </a:moveTo>
                  <a:lnTo>
                    <a:pt x="1" y="1"/>
                  </a:lnTo>
                  <a:lnTo>
                    <a:pt x="143" y="214"/>
                  </a:lnTo>
                  <a:lnTo>
                    <a:pt x="355" y="426"/>
                  </a:lnTo>
                  <a:lnTo>
                    <a:pt x="639" y="568"/>
                  </a:lnTo>
                  <a:lnTo>
                    <a:pt x="993" y="781"/>
                  </a:lnTo>
                  <a:lnTo>
                    <a:pt x="1773" y="993"/>
                  </a:lnTo>
                  <a:lnTo>
                    <a:pt x="2624" y="1206"/>
                  </a:lnTo>
                  <a:lnTo>
                    <a:pt x="2624" y="1206"/>
                  </a:lnTo>
                  <a:lnTo>
                    <a:pt x="2553" y="1135"/>
                  </a:lnTo>
                  <a:lnTo>
                    <a:pt x="2553" y="1135"/>
                  </a:lnTo>
                  <a:lnTo>
                    <a:pt x="2553" y="568"/>
                  </a:lnTo>
                  <a:lnTo>
                    <a:pt x="1"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26" name="Google Shape;21424;p90">
              <a:extLst>
                <a:ext uri="{FF2B5EF4-FFF2-40B4-BE49-F238E27FC236}">
                  <a16:creationId xmlns:a16="http://schemas.microsoft.com/office/drawing/2014/main" id="{F53C1BC3-CE3A-3DE9-1EC7-BBB17EF59348}"/>
                </a:ext>
              </a:extLst>
            </p:cNvPr>
            <p:cNvSpPr/>
            <p:nvPr/>
          </p:nvSpPr>
          <p:spPr>
            <a:xfrm>
              <a:off x="5210050" y="2841525"/>
              <a:ext cx="28400" cy="23075"/>
            </a:xfrm>
            <a:custGeom>
              <a:avLst/>
              <a:gdLst/>
              <a:ahLst/>
              <a:cxnLst/>
              <a:rect l="l" t="t" r="r" b="b"/>
              <a:pathLst>
                <a:path w="1136" h="923" extrusionOk="0">
                  <a:moveTo>
                    <a:pt x="1" y="1"/>
                  </a:moveTo>
                  <a:lnTo>
                    <a:pt x="1" y="568"/>
                  </a:lnTo>
                  <a:lnTo>
                    <a:pt x="72" y="639"/>
                  </a:lnTo>
                  <a:lnTo>
                    <a:pt x="284" y="710"/>
                  </a:lnTo>
                  <a:lnTo>
                    <a:pt x="993" y="923"/>
                  </a:lnTo>
                  <a:lnTo>
                    <a:pt x="1135" y="710"/>
                  </a:lnTo>
                  <a:lnTo>
                    <a:pt x="1135" y="497"/>
                  </a:lnTo>
                  <a:lnTo>
                    <a:pt x="1135" y="285"/>
                  </a:lnTo>
                  <a:lnTo>
                    <a:pt x="1" y="1"/>
                  </a:lnTo>
                  <a:close/>
                </a:path>
              </a:pathLst>
            </a:custGeom>
            <a:solidFill>
              <a:srgbClr val="C3C0C8"/>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27" name="Google Shape;21425;p90">
              <a:extLst>
                <a:ext uri="{FF2B5EF4-FFF2-40B4-BE49-F238E27FC236}">
                  <a16:creationId xmlns:a16="http://schemas.microsoft.com/office/drawing/2014/main" id="{B00D31E9-C212-A35F-8EC7-C38DF438C138}"/>
                </a:ext>
              </a:extLst>
            </p:cNvPr>
            <p:cNvSpPr/>
            <p:nvPr/>
          </p:nvSpPr>
          <p:spPr>
            <a:xfrm>
              <a:off x="5210050" y="2841525"/>
              <a:ext cx="28400" cy="23075"/>
            </a:xfrm>
            <a:custGeom>
              <a:avLst/>
              <a:gdLst/>
              <a:ahLst/>
              <a:cxnLst/>
              <a:rect l="l" t="t" r="r" b="b"/>
              <a:pathLst>
                <a:path w="1136" h="923" fill="none" extrusionOk="0">
                  <a:moveTo>
                    <a:pt x="1" y="1"/>
                  </a:moveTo>
                  <a:lnTo>
                    <a:pt x="1" y="1"/>
                  </a:lnTo>
                  <a:lnTo>
                    <a:pt x="1" y="568"/>
                  </a:lnTo>
                  <a:lnTo>
                    <a:pt x="1" y="568"/>
                  </a:lnTo>
                  <a:lnTo>
                    <a:pt x="72" y="639"/>
                  </a:lnTo>
                  <a:lnTo>
                    <a:pt x="72" y="639"/>
                  </a:lnTo>
                  <a:lnTo>
                    <a:pt x="284" y="710"/>
                  </a:lnTo>
                  <a:lnTo>
                    <a:pt x="284" y="710"/>
                  </a:lnTo>
                  <a:lnTo>
                    <a:pt x="993" y="923"/>
                  </a:lnTo>
                  <a:lnTo>
                    <a:pt x="993" y="923"/>
                  </a:lnTo>
                  <a:lnTo>
                    <a:pt x="1135" y="710"/>
                  </a:lnTo>
                  <a:lnTo>
                    <a:pt x="1135" y="497"/>
                  </a:lnTo>
                  <a:lnTo>
                    <a:pt x="1135" y="497"/>
                  </a:lnTo>
                  <a:lnTo>
                    <a:pt x="1135" y="285"/>
                  </a:lnTo>
                  <a:lnTo>
                    <a:pt x="1"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28" name="Google Shape;21426;p90">
              <a:extLst>
                <a:ext uri="{FF2B5EF4-FFF2-40B4-BE49-F238E27FC236}">
                  <a16:creationId xmlns:a16="http://schemas.microsoft.com/office/drawing/2014/main" id="{F7AAE9C3-F466-187C-0BAF-D45BEB9B38D7}"/>
                </a:ext>
              </a:extLst>
            </p:cNvPr>
            <p:cNvSpPr/>
            <p:nvPr/>
          </p:nvSpPr>
          <p:spPr>
            <a:xfrm>
              <a:off x="5144475" y="2763550"/>
              <a:ext cx="196750" cy="108150"/>
            </a:xfrm>
            <a:custGeom>
              <a:avLst/>
              <a:gdLst/>
              <a:ahLst/>
              <a:cxnLst/>
              <a:rect l="l" t="t" r="r" b="b"/>
              <a:pathLst>
                <a:path w="7870" h="4326" extrusionOk="0">
                  <a:moveTo>
                    <a:pt x="3120" y="1"/>
                  </a:moveTo>
                  <a:lnTo>
                    <a:pt x="3049" y="72"/>
                  </a:lnTo>
                  <a:lnTo>
                    <a:pt x="2978" y="143"/>
                  </a:lnTo>
                  <a:lnTo>
                    <a:pt x="2978" y="426"/>
                  </a:lnTo>
                  <a:lnTo>
                    <a:pt x="2907" y="781"/>
                  </a:lnTo>
                  <a:lnTo>
                    <a:pt x="2837" y="993"/>
                  </a:lnTo>
                  <a:lnTo>
                    <a:pt x="2695" y="1135"/>
                  </a:lnTo>
                  <a:lnTo>
                    <a:pt x="2482" y="1206"/>
                  </a:lnTo>
                  <a:lnTo>
                    <a:pt x="1915" y="1206"/>
                  </a:lnTo>
                  <a:lnTo>
                    <a:pt x="1064" y="993"/>
                  </a:lnTo>
                  <a:lnTo>
                    <a:pt x="639" y="993"/>
                  </a:lnTo>
                  <a:lnTo>
                    <a:pt x="426" y="1064"/>
                  </a:lnTo>
                  <a:lnTo>
                    <a:pt x="285" y="1135"/>
                  </a:lnTo>
                  <a:lnTo>
                    <a:pt x="143" y="1277"/>
                  </a:lnTo>
                  <a:lnTo>
                    <a:pt x="72" y="1419"/>
                  </a:lnTo>
                  <a:lnTo>
                    <a:pt x="1" y="1702"/>
                  </a:lnTo>
                  <a:lnTo>
                    <a:pt x="1" y="1986"/>
                  </a:lnTo>
                  <a:lnTo>
                    <a:pt x="1" y="2340"/>
                  </a:lnTo>
                  <a:lnTo>
                    <a:pt x="143" y="2553"/>
                  </a:lnTo>
                  <a:lnTo>
                    <a:pt x="214" y="2766"/>
                  </a:lnTo>
                  <a:lnTo>
                    <a:pt x="426" y="2978"/>
                  </a:lnTo>
                  <a:lnTo>
                    <a:pt x="639" y="3049"/>
                  </a:lnTo>
                  <a:lnTo>
                    <a:pt x="852" y="3191"/>
                  </a:lnTo>
                  <a:lnTo>
                    <a:pt x="1419" y="3333"/>
                  </a:lnTo>
                  <a:lnTo>
                    <a:pt x="2057" y="3404"/>
                  </a:lnTo>
                  <a:lnTo>
                    <a:pt x="3120" y="3404"/>
                  </a:lnTo>
                  <a:lnTo>
                    <a:pt x="3545" y="3474"/>
                  </a:lnTo>
                  <a:lnTo>
                    <a:pt x="4183" y="3687"/>
                  </a:lnTo>
                  <a:lnTo>
                    <a:pt x="5105" y="4042"/>
                  </a:lnTo>
                  <a:lnTo>
                    <a:pt x="5601" y="4183"/>
                  </a:lnTo>
                  <a:lnTo>
                    <a:pt x="6097" y="4325"/>
                  </a:lnTo>
                  <a:lnTo>
                    <a:pt x="7373" y="4325"/>
                  </a:lnTo>
                  <a:lnTo>
                    <a:pt x="7515" y="4042"/>
                  </a:lnTo>
                  <a:lnTo>
                    <a:pt x="7657" y="3616"/>
                  </a:lnTo>
                  <a:lnTo>
                    <a:pt x="7799" y="3262"/>
                  </a:lnTo>
                  <a:lnTo>
                    <a:pt x="7870" y="2766"/>
                  </a:lnTo>
                  <a:lnTo>
                    <a:pt x="7799" y="2411"/>
                  </a:lnTo>
                  <a:lnTo>
                    <a:pt x="7657" y="2269"/>
                  </a:lnTo>
                  <a:lnTo>
                    <a:pt x="7515" y="2128"/>
                  </a:lnTo>
                  <a:lnTo>
                    <a:pt x="7373" y="1986"/>
                  </a:lnTo>
                  <a:lnTo>
                    <a:pt x="7090" y="1915"/>
                  </a:lnTo>
                  <a:lnTo>
                    <a:pt x="5318" y="1631"/>
                  </a:lnTo>
                  <a:lnTo>
                    <a:pt x="4467" y="1419"/>
                  </a:lnTo>
                  <a:lnTo>
                    <a:pt x="4183" y="1277"/>
                  </a:lnTo>
                  <a:lnTo>
                    <a:pt x="3971" y="1064"/>
                  </a:lnTo>
                  <a:lnTo>
                    <a:pt x="3758" y="781"/>
                  </a:lnTo>
                  <a:lnTo>
                    <a:pt x="3616" y="426"/>
                  </a:lnTo>
                  <a:lnTo>
                    <a:pt x="3475" y="143"/>
                  </a:lnTo>
                  <a:lnTo>
                    <a:pt x="3333" y="72"/>
                  </a:lnTo>
                  <a:lnTo>
                    <a:pt x="3120" y="1"/>
                  </a:lnTo>
                  <a:close/>
                </a:path>
              </a:pathLst>
            </a:custGeom>
            <a:solidFill>
              <a:srgbClr val="EFAEA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29" name="Google Shape;21427;p90">
              <a:extLst>
                <a:ext uri="{FF2B5EF4-FFF2-40B4-BE49-F238E27FC236}">
                  <a16:creationId xmlns:a16="http://schemas.microsoft.com/office/drawing/2014/main" id="{B77CF7D0-EEA9-BA13-74F4-C36DC85E0AA5}"/>
                </a:ext>
              </a:extLst>
            </p:cNvPr>
            <p:cNvSpPr/>
            <p:nvPr/>
          </p:nvSpPr>
          <p:spPr>
            <a:xfrm>
              <a:off x="5263225" y="2740525"/>
              <a:ext cx="568925" cy="202050"/>
            </a:xfrm>
            <a:custGeom>
              <a:avLst/>
              <a:gdLst/>
              <a:ahLst/>
              <a:cxnLst/>
              <a:rect l="l" t="t" r="r" b="b"/>
              <a:pathLst>
                <a:path w="22757" h="8082" extrusionOk="0">
                  <a:moveTo>
                    <a:pt x="21338" y="0"/>
                  </a:moveTo>
                  <a:lnTo>
                    <a:pt x="16589" y="2056"/>
                  </a:lnTo>
                  <a:lnTo>
                    <a:pt x="13541" y="3474"/>
                  </a:lnTo>
                  <a:lnTo>
                    <a:pt x="12406" y="3899"/>
                  </a:lnTo>
                  <a:lnTo>
                    <a:pt x="11556" y="4183"/>
                  </a:lnTo>
                  <a:lnTo>
                    <a:pt x="10847" y="4325"/>
                  </a:lnTo>
                  <a:lnTo>
                    <a:pt x="10209" y="4325"/>
                  </a:lnTo>
                  <a:lnTo>
                    <a:pt x="9287" y="4183"/>
                  </a:lnTo>
                  <a:lnTo>
                    <a:pt x="8011" y="3899"/>
                  </a:lnTo>
                  <a:lnTo>
                    <a:pt x="4821" y="3190"/>
                  </a:lnTo>
                  <a:lnTo>
                    <a:pt x="355" y="2127"/>
                  </a:lnTo>
                  <a:lnTo>
                    <a:pt x="284" y="2127"/>
                  </a:lnTo>
                  <a:lnTo>
                    <a:pt x="213" y="2269"/>
                  </a:lnTo>
                  <a:lnTo>
                    <a:pt x="142" y="2552"/>
                  </a:lnTo>
                  <a:lnTo>
                    <a:pt x="71" y="3119"/>
                  </a:lnTo>
                  <a:lnTo>
                    <a:pt x="1" y="3687"/>
                  </a:lnTo>
                  <a:lnTo>
                    <a:pt x="71" y="4325"/>
                  </a:lnTo>
                  <a:lnTo>
                    <a:pt x="71" y="4821"/>
                  </a:lnTo>
                  <a:lnTo>
                    <a:pt x="213" y="5246"/>
                  </a:lnTo>
                  <a:lnTo>
                    <a:pt x="284" y="5388"/>
                  </a:lnTo>
                  <a:lnTo>
                    <a:pt x="355" y="5388"/>
                  </a:lnTo>
                  <a:lnTo>
                    <a:pt x="1773" y="5813"/>
                  </a:lnTo>
                  <a:lnTo>
                    <a:pt x="4467" y="6593"/>
                  </a:lnTo>
                  <a:lnTo>
                    <a:pt x="7515" y="7444"/>
                  </a:lnTo>
                  <a:lnTo>
                    <a:pt x="9642" y="8011"/>
                  </a:lnTo>
                  <a:lnTo>
                    <a:pt x="10209" y="8082"/>
                  </a:lnTo>
                  <a:lnTo>
                    <a:pt x="10918" y="8082"/>
                  </a:lnTo>
                  <a:lnTo>
                    <a:pt x="11697" y="8011"/>
                  </a:lnTo>
                  <a:lnTo>
                    <a:pt x="12619" y="7869"/>
                  </a:lnTo>
                  <a:lnTo>
                    <a:pt x="14533" y="7444"/>
                  </a:lnTo>
                  <a:lnTo>
                    <a:pt x="16518" y="6877"/>
                  </a:lnTo>
                  <a:lnTo>
                    <a:pt x="18361" y="6309"/>
                  </a:lnTo>
                  <a:lnTo>
                    <a:pt x="19921" y="5813"/>
                  </a:lnTo>
                  <a:lnTo>
                    <a:pt x="21409" y="5317"/>
                  </a:lnTo>
                  <a:lnTo>
                    <a:pt x="21622" y="5175"/>
                  </a:lnTo>
                  <a:lnTo>
                    <a:pt x="21905" y="4963"/>
                  </a:lnTo>
                  <a:lnTo>
                    <a:pt x="22118" y="4679"/>
                  </a:lnTo>
                  <a:lnTo>
                    <a:pt x="22402" y="4325"/>
                  </a:lnTo>
                  <a:lnTo>
                    <a:pt x="22614" y="3828"/>
                  </a:lnTo>
                  <a:lnTo>
                    <a:pt x="22756" y="3190"/>
                  </a:lnTo>
                  <a:lnTo>
                    <a:pt x="22756" y="2411"/>
                  </a:lnTo>
                  <a:lnTo>
                    <a:pt x="22685" y="1702"/>
                  </a:lnTo>
                  <a:lnTo>
                    <a:pt x="22473" y="1064"/>
                  </a:lnTo>
                  <a:lnTo>
                    <a:pt x="22260" y="638"/>
                  </a:lnTo>
                  <a:lnTo>
                    <a:pt x="21976" y="355"/>
                  </a:lnTo>
                  <a:lnTo>
                    <a:pt x="21764" y="142"/>
                  </a:lnTo>
                  <a:lnTo>
                    <a:pt x="21551" y="71"/>
                  </a:lnTo>
                  <a:lnTo>
                    <a:pt x="21338" y="0"/>
                  </a:lnTo>
                  <a:close/>
                </a:path>
              </a:pathLst>
            </a:custGeom>
            <a:solidFill>
              <a:srgbClr val="DB546A"/>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30" name="Google Shape;21428;p90">
              <a:extLst>
                <a:ext uri="{FF2B5EF4-FFF2-40B4-BE49-F238E27FC236}">
                  <a16:creationId xmlns:a16="http://schemas.microsoft.com/office/drawing/2014/main" id="{FFD9CED5-3962-C935-49BD-57D24B57A1A8}"/>
                </a:ext>
              </a:extLst>
            </p:cNvPr>
            <p:cNvSpPr/>
            <p:nvPr/>
          </p:nvSpPr>
          <p:spPr>
            <a:xfrm>
              <a:off x="5263225" y="2740525"/>
              <a:ext cx="568925" cy="202050"/>
            </a:xfrm>
            <a:custGeom>
              <a:avLst/>
              <a:gdLst/>
              <a:ahLst/>
              <a:cxnLst/>
              <a:rect l="l" t="t" r="r" b="b"/>
              <a:pathLst>
                <a:path w="22757" h="8082" fill="none" extrusionOk="0">
                  <a:moveTo>
                    <a:pt x="21338" y="0"/>
                  </a:moveTo>
                  <a:lnTo>
                    <a:pt x="21338" y="0"/>
                  </a:lnTo>
                  <a:lnTo>
                    <a:pt x="16589" y="2056"/>
                  </a:lnTo>
                  <a:lnTo>
                    <a:pt x="13541" y="3474"/>
                  </a:lnTo>
                  <a:lnTo>
                    <a:pt x="12406" y="3899"/>
                  </a:lnTo>
                  <a:lnTo>
                    <a:pt x="11556" y="4183"/>
                  </a:lnTo>
                  <a:lnTo>
                    <a:pt x="10847" y="4325"/>
                  </a:lnTo>
                  <a:lnTo>
                    <a:pt x="10209" y="4325"/>
                  </a:lnTo>
                  <a:lnTo>
                    <a:pt x="10209" y="4325"/>
                  </a:lnTo>
                  <a:lnTo>
                    <a:pt x="9287" y="4183"/>
                  </a:lnTo>
                  <a:lnTo>
                    <a:pt x="8011" y="3899"/>
                  </a:lnTo>
                  <a:lnTo>
                    <a:pt x="4821" y="3190"/>
                  </a:lnTo>
                  <a:lnTo>
                    <a:pt x="355" y="2127"/>
                  </a:lnTo>
                  <a:lnTo>
                    <a:pt x="355" y="2127"/>
                  </a:lnTo>
                  <a:lnTo>
                    <a:pt x="284" y="2127"/>
                  </a:lnTo>
                  <a:lnTo>
                    <a:pt x="213" y="2269"/>
                  </a:lnTo>
                  <a:lnTo>
                    <a:pt x="142" y="2552"/>
                  </a:lnTo>
                  <a:lnTo>
                    <a:pt x="71" y="3119"/>
                  </a:lnTo>
                  <a:lnTo>
                    <a:pt x="1" y="3687"/>
                  </a:lnTo>
                  <a:lnTo>
                    <a:pt x="71" y="4325"/>
                  </a:lnTo>
                  <a:lnTo>
                    <a:pt x="71" y="4821"/>
                  </a:lnTo>
                  <a:lnTo>
                    <a:pt x="213" y="5246"/>
                  </a:lnTo>
                  <a:lnTo>
                    <a:pt x="284" y="5388"/>
                  </a:lnTo>
                  <a:lnTo>
                    <a:pt x="355" y="5388"/>
                  </a:lnTo>
                  <a:lnTo>
                    <a:pt x="355" y="5388"/>
                  </a:lnTo>
                  <a:lnTo>
                    <a:pt x="1773" y="5813"/>
                  </a:lnTo>
                  <a:lnTo>
                    <a:pt x="4467" y="6593"/>
                  </a:lnTo>
                  <a:lnTo>
                    <a:pt x="7515" y="7444"/>
                  </a:lnTo>
                  <a:lnTo>
                    <a:pt x="9642" y="8011"/>
                  </a:lnTo>
                  <a:lnTo>
                    <a:pt x="9642" y="8011"/>
                  </a:lnTo>
                  <a:lnTo>
                    <a:pt x="10209" y="8082"/>
                  </a:lnTo>
                  <a:lnTo>
                    <a:pt x="10918" y="8082"/>
                  </a:lnTo>
                  <a:lnTo>
                    <a:pt x="11697" y="8011"/>
                  </a:lnTo>
                  <a:lnTo>
                    <a:pt x="12619" y="7869"/>
                  </a:lnTo>
                  <a:lnTo>
                    <a:pt x="14533" y="7444"/>
                  </a:lnTo>
                  <a:lnTo>
                    <a:pt x="16518" y="6877"/>
                  </a:lnTo>
                  <a:lnTo>
                    <a:pt x="18361" y="6309"/>
                  </a:lnTo>
                  <a:lnTo>
                    <a:pt x="19921" y="5813"/>
                  </a:lnTo>
                  <a:lnTo>
                    <a:pt x="21409" y="5317"/>
                  </a:lnTo>
                  <a:lnTo>
                    <a:pt x="21409" y="5317"/>
                  </a:lnTo>
                  <a:lnTo>
                    <a:pt x="21622" y="5175"/>
                  </a:lnTo>
                  <a:lnTo>
                    <a:pt x="21905" y="4963"/>
                  </a:lnTo>
                  <a:lnTo>
                    <a:pt x="22118" y="4679"/>
                  </a:lnTo>
                  <a:lnTo>
                    <a:pt x="22402" y="4325"/>
                  </a:lnTo>
                  <a:lnTo>
                    <a:pt x="22614" y="3828"/>
                  </a:lnTo>
                  <a:lnTo>
                    <a:pt x="22756" y="3190"/>
                  </a:lnTo>
                  <a:lnTo>
                    <a:pt x="22756" y="2411"/>
                  </a:lnTo>
                  <a:lnTo>
                    <a:pt x="22756" y="2411"/>
                  </a:lnTo>
                  <a:lnTo>
                    <a:pt x="22685" y="1702"/>
                  </a:lnTo>
                  <a:lnTo>
                    <a:pt x="22473" y="1064"/>
                  </a:lnTo>
                  <a:lnTo>
                    <a:pt x="22260" y="638"/>
                  </a:lnTo>
                  <a:lnTo>
                    <a:pt x="21976" y="355"/>
                  </a:lnTo>
                  <a:lnTo>
                    <a:pt x="21764" y="142"/>
                  </a:lnTo>
                  <a:lnTo>
                    <a:pt x="21551" y="71"/>
                  </a:lnTo>
                  <a:lnTo>
                    <a:pt x="21338"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31" name="Google Shape;21429;p90">
              <a:extLst>
                <a:ext uri="{FF2B5EF4-FFF2-40B4-BE49-F238E27FC236}">
                  <a16:creationId xmlns:a16="http://schemas.microsoft.com/office/drawing/2014/main" id="{217DCD9D-887B-7C87-0E8F-6F3A4CBA0B02}"/>
                </a:ext>
              </a:extLst>
            </p:cNvPr>
            <p:cNvSpPr/>
            <p:nvPr/>
          </p:nvSpPr>
          <p:spPr>
            <a:xfrm>
              <a:off x="5697425" y="2744075"/>
              <a:ext cx="8875" cy="7100"/>
            </a:xfrm>
            <a:custGeom>
              <a:avLst/>
              <a:gdLst/>
              <a:ahLst/>
              <a:cxnLst/>
              <a:rect l="l" t="t" r="r" b="b"/>
              <a:pathLst>
                <a:path w="355" h="284" extrusionOk="0">
                  <a:moveTo>
                    <a:pt x="1" y="0"/>
                  </a:moveTo>
                  <a:lnTo>
                    <a:pt x="1" y="71"/>
                  </a:lnTo>
                  <a:lnTo>
                    <a:pt x="1" y="284"/>
                  </a:lnTo>
                  <a:lnTo>
                    <a:pt x="71" y="284"/>
                  </a:lnTo>
                  <a:lnTo>
                    <a:pt x="213" y="213"/>
                  </a:lnTo>
                  <a:lnTo>
                    <a:pt x="355" y="71"/>
                  </a:lnTo>
                  <a:lnTo>
                    <a:pt x="284" y="0"/>
                  </a:lnTo>
                  <a:close/>
                </a:path>
              </a:pathLst>
            </a:custGeom>
            <a:solidFill>
              <a:srgbClr val="BB898B"/>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32" name="Google Shape;21430;p90">
              <a:extLst>
                <a:ext uri="{FF2B5EF4-FFF2-40B4-BE49-F238E27FC236}">
                  <a16:creationId xmlns:a16="http://schemas.microsoft.com/office/drawing/2014/main" id="{8B215CB6-5668-D2BE-3F1D-2B1116989AD6}"/>
                </a:ext>
              </a:extLst>
            </p:cNvPr>
            <p:cNvSpPr/>
            <p:nvPr/>
          </p:nvSpPr>
          <p:spPr>
            <a:xfrm>
              <a:off x="5697425" y="2744075"/>
              <a:ext cx="8875" cy="7100"/>
            </a:xfrm>
            <a:custGeom>
              <a:avLst/>
              <a:gdLst/>
              <a:ahLst/>
              <a:cxnLst/>
              <a:rect l="l" t="t" r="r" b="b"/>
              <a:pathLst>
                <a:path w="355" h="284" fill="none" extrusionOk="0">
                  <a:moveTo>
                    <a:pt x="142" y="0"/>
                  </a:moveTo>
                  <a:lnTo>
                    <a:pt x="142" y="0"/>
                  </a:lnTo>
                  <a:lnTo>
                    <a:pt x="142" y="0"/>
                  </a:lnTo>
                  <a:lnTo>
                    <a:pt x="142" y="0"/>
                  </a:lnTo>
                  <a:lnTo>
                    <a:pt x="1" y="0"/>
                  </a:lnTo>
                  <a:lnTo>
                    <a:pt x="1" y="71"/>
                  </a:lnTo>
                  <a:lnTo>
                    <a:pt x="1" y="284"/>
                  </a:lnTo>
                  <a:lnTo>
                    <a:pt x="1" y="284"/>
                  </a:lnTo>
                  <a:lnTo>
                    <a:pt x="71" y="284"/>
                  </a:lnTo>
                  <a:lnTo>
                    <a:pt x="71" y="284"/>
                  </a:lnTo>
                  <a:lnTo>
                    <a:pt x="213" y="213"/>
                  </a:lnTo>
                  <a:lnTo>
                    <a:pt x="355" y="71"/>
                  </a:lnTo>
                  <a:lnTo>
                    <a:pt x="355" y="71"/>
                  </a:lnTo>
                  <a:lnTo>
                    <a:pt x="284" y="0"/>
                  </a:lnTo>
                  <a:lnTo>
                    <a:pt x="142"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33" name="Google Shape;21431;p90">
              <a:extLst>
                <a:ext uri="{FF2B5EF4-FFF2-40B4-BE49-F238E27FC236}">
                  <a16:creationId xmlns:a16="http://schemas.microsoft.com/office/drawing/2014/main" id="{A532DB49-E912-EF51-87A1-61162AA4346B}"/>
                </a:ext>
              </a:extLst>
            </p:cNvPr>
            <p:cNvSpPr/>
            <p:nvPr/>
          </p:nvSpPr>
          <p:spPr>
            <a:xfrm>
              <a:off x="5697425" y="2745825"/>
              <a:ext cx="33700" cy="28400"/>
            </a:xfrm>
            <a:custGeom>
              <a:avLst/>
              <a:gdLst/>
              <a:ahLst/>
              <a:cxnLst/>
              <a:rect l="l" t="t" r="r" b="b"/>
              <a:pathLst>
                <a:path w="1348" h="1136" extrusionOk="0">
                  <a:moveTo>
                    <a:pt x="355" y="1"/>
                  </a:moveTo>
                  <a:lnTo>
                    <a:pt x="213" y="143"/>
                  </a:lnTo>
                  <a:lnTo>
                    <a:pt x="71" y="214"/>
                  </a:lnTo>
                  <a:lnTo>
                    <a:pt x="1" y="214"/>
                  </a:lnTo>
                  <a:lnTo>
                    <a:pt x="142" y="355"/>
                  </a:lnTo>
                  <a:lnTo>
                    <a:pt x="213" y="426"/>
                  </a:lnTo>
                  <a:lnTo>
                    <a:pt x="213" y="355"/>
                  </a:lnTo>
                  <a:lnTo>
                    <a:pt x="426" y="639"/>
                  </a:lnTo>
                  <a:lnTo>
                    <a:pt x="851" y="1135"/>
                  </a:lnTo>
                  <a:lnTo>
                    <a:pt x="1347" y="852"/>
                  </a:lnTo>
                  <a:lnTo>
                    <a:pt x="639" y="355"/>
                  </a:lnTo>
                  <a:lnTo>
                    <a:pt x="497" y="214"/>
                  </a:lnTo>
                  <a:lnTo>
                    <a:pt x="355" y="1"/>
                  </a:lnTo>
                  <a:close/>
                </a:path>
              </a:pathLst>
            </a:custGeom>
            <a:solidFill>
              <a:srgbClr val="C0BDC5"/>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34" name="Google Shape;21432;p90">
              <a:extLst>
                <a:ext uri="{FF2B5EF4-FFF2-40B4-BE49-F238E27FC236}">
                  <a16:creationId xmlns:a16="http://schemas.microsoft.com/office/drawing/2014/main" id="{CFE0F35A-C2B0-84F9-15BC-B92238F78464}"/>
                </a:ext>
              </a:extLst>
            </p:cNvPr>
            <p:cNvSpPr/>
            <p:nvPr/>
          </p:nvSpPr>
          <p:spPr>
            <a:xfrm>
              <a:off x="5697425" y="2745825"/>
              <a:ext cx="33700" cy="28400"/>
            </a:xfrm>
            <a:custGeom>
              <a:avLst/>
              <a:gdLst/>
              <a:ahLst/>
              <a:cxnLst/>
              <a:rect l="l" t="t" r="r" b="b"/>
              <a:pathLst>
                <a:path w="1348" h="1136" fill="none" extrusionOk="0">
                  <a:moveTo>
                    <a:pt x="355" y="1"/>
                  </a:moveTo>
                  <a:lnTo>
                    <a:pt x="355" y="1"/>
                  </a:lnTo>
                  <a:lnTo>
                    <a:pt x="213" y="143"/>
                  </a:lnTo>
                  <a:lnTo>
                    <a:pt x="71" y="214"/>
                  </a:lnTo>
                  <a:lnTo>
                    <a:pt x="71" y="214"/>
                  </a:lnTo>
                  <a:lnTo>
                    <a:pt x="1" y="214"/>
                  </a:lnTo>
                  <a:lnTo>
                    <a:pt x="1" y="214"/>
                  </a:lnTo>
                  <a:lnTo>
                    <a:pt x="142" y="355"/>
                  </a:lnTo>
                  <a:lnTo>
                    <a:pt x="213" y="426"/>
                  </a:lnTo>
                  <a:lnTo>
                    <a:pt x="213" y="426"/>
                  </a:lnTo>
                  <a:lnTo>
                    <a:pt x="213" y="355"/>
                  </a:lnTo>
                  <a:lnTo>
                    <a:pt x="213" y="355"/>
                  </a:lnTo>
                  <a:lnTo>
                    <a:pt x="213" y="355"/>
                  </a:lnTo>
                  <a:lnTo>
                    <a:pt x="213" y="355"/>
                  </a:lnTo>
                  <a:lnTo>
                    <a:pt x="426" y="639"/>
                  </a:lnTo>
                  <a:lnTo>
                    <a:pt x="851" y="1135"/>
                  </a:lnTo>
                  <a:lnTo>
                    <a:pt x="851" y="1135"/>
                  </a:lnTo>
                  <a:lnTo>
                    <a:pt x="1347" y="852"/>
                  </a:lnTo>
                  <a:lnTo>
                    <a:pt x="1347" y="852"/>
                  </a:lnTo>
                  <a:lnTo>
                    <a:pt x="639" y="355"/>
                  </a:lnTo>
                  <a:lnTo>
                    <a:pt x="639" y="355"/>
                  </a:lnTo>
                  <a:lnTo>
                    <a:pt x="497" y="214"/>
                  </a:lnTo>
                  <a:lnTo>
                    <a:pt x="355"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35" name="Google Shape;21433;p90">
              <a:extLst>
                <a:ext uri="{FF2B5EF4-FFF2-40B4-BE49-F238E27FC236}">
                  <a16:creationId xmlns:a16="http://schemas.microsoft.com/office/drawing/2014/main" id="{A56A1F83-D808-0101-5B46-E42A10F13288}"/>
                </a:ext>
              </a:extLst>
            </p:cNvPr>
            <p:cNvSpPr/>
            <p:nvPr/>
          </p:nvSpPr>
          <p:spPr>
            <a:xfrm>
              <a:off x="5848075" y="2788375"/>
              <a:ext cx="7100" cy="12425"/>
            </a:xfrm>
            <a:custGeom>
              <a:avLst/>
              <a:gdLst/>
              <a:ahLst/>
              <a:cxnLst/>
              <a:rect l="l" t="t" r="r" b="b"/>
              <a:pathLst>
                <a:path w="284" h="497" extrusionOk="0">
                  <a:moveTo>
                    <a:pt x="0" y="0"/>
                  </a:moveTo>
                  <a:lnTo>
                    <a:pt x="71" y="142"/>
                  </a:lnTo>
                  <a:lnTo>
                    <a:pt x="284" y="497"/>
                  </a:lnTo>
                  <a:lnTo>
                    <a:pt x="0" y="0"/>
                  </a:lnTo>
                  <a:close/>
                </a:path>
              </a:pathLst>
            </a:custGeom>
            <a:solidFill>
              <a:srgbClr val="C0BDC5"/>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36" name="Google Shape;21434;p90">
              <a:extLst>
                <a:ext uri="{FF2B5EF4-FFF2-40B4-BE49-F238E27FC236}">
                  <a16:creationId xmlns:a16="http://schemas.microsoft.com/office/drawing/2014/main" id="{2A0DFD42-F5BB-149B-BA6F-0A3248C312EA}"/>
                </a:ext>
              </a:extLst>
            </p:cNvPr>
            <p:cNvSpPr/>
            <p:nvPr/>
          </p:nvSpPr>
          <p:spPr>
            <a:xfrm>
              <a:off x="5848075" y="2788375"/>
              <a:ext cx="7100" cy="12425"/>
            </a:xfrm>
            <a:custGeom>
              <a:avLst/>
              <a:gdLst/>
              <a:ahLst/>
              <a:cxnLst/>
              <a:rect l="l" t="t" r="r" b="b"/>
              <a:pathLst>
                <a:path w="284" h="497" fill="none" extrusionOk="0">
                  <a:moveTo>
                    <a:pt x="0" y="0"/>
                  </a:moveTo>
                  <a:lnTo>
                    <a:pt x="0" y="0"/>
                  </a:lnTo>
                  <a:lnTo>
                    <a:pt x="71" y="142"/>
                  </a:lnTo>
                  <a:lnTo>
                    <a:pt x="71" y="142"/>
                  </a:lnTo>
                  <a:lnTo>
                    <a:pt x="71" y="142"/>
                  </a:lnTo>
                  <a:lnTo>
                    <a:pt x="284" y="497"/>
                  </a:lnTo>
                  <a:lnTo>
                    <a:pt x="284" y="497"/>
                  </a:lnTo>
                  <a:lnTo>
                    <a:pt x="0"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37" name="Google Shape;21435;p90">
              <a:extLst>
                <a:ext uri="{FF2B5EF4-FFF2-40B4-BE49-F238E27FC236}">
                  <a16:creationId xmlns:a16="http://schemas.microsoft.com/office/drawing/2014/main" id="{4CCFE24B-8771-10F7-22BE-6D248EC97326}"/>
                </a:ext>
              </a:extLst>
            </p:cNvPr>
            <p:cNvSpPr/>
            <p:nvPr/>
          </p:nvSpPr>
          <p:spPr>
            <a:xfrm>
              <a:off x="5828575" y="2775975"/>
              <a:ext cx="30150" cy="35450"/>
            </a:xfrm>
            <a:custGeom>
              <a:avLst/>
              <a:gdLst/>
              <a:ahLst/>
              <a:cxnLst/>
              <a:rect l="l" t="t" r="r" b="b"/>
              <a:pathLst>
                <a:path w="1206" h="1418" extrusionOk="0">
                  <a:moveTo>
                    <a:pt x="284" y="0"/>
                  </a:moveTo>
                  <a:lnTo>
                    <a:pt x="0" y="71"/>
                  </a:lnTo>
                  <a:lnTo>
                    <a:pt x="142" y="496"/>
                  </a:lnTo>
                  <a:lnTo>
                    <a:pt x="142" y="993"/>
                  </a:lnTo>
                  <a:lnTo>
                    <a:pt x="213" y="1418"/>
                  </a:lnTo>
                  <a:lnTo>
                    <a:pt x="1206" y="1347"/>
                  </a:lnTo>
                  <a:lnTo>
                    <a:pt x="1064" y="993"/>
                  </a:lnTo>
                  <a:lnTo>
                    <a:pt x="851" y="638"/>
                  </a:lnTo>
                  <a:lnTo>
                    <a:pt x="780" y="496"/>
                  </a:lnTo>
                  <a:lnTo>
                    <a:pt x="568" y="213"/>
                  </a:lnTo>
                  <a:lnTo>
                    <a:pt x="284" y="0"/>
                  </a:lnTo>
                  <a:close/>
                </a:path>
              </a:pathLst>
            </a:custGeom>
            <a:solidFill>
              <a:srgbClr val="B04961"/>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38" name="Google Shape;21436;p90">
              <a:extLst>
                <a:ext uri="{FF2B5EF4-FFF2-40B4-BE49-F238E27FC236}">
                  <a16:creationId xmlns:a16="http://schemas.microsoft.com/office/drawing/2014/main" id="{F4541604-A423-2CD7-AD5C-0AFB83581B04}"/>
                </a:ext>
              </a:extLst>
            </p:cNvPr>
            <p:cNvSpPr/>
            <p:nvPr/>
          </p:nvSpPr>
          <p:spPr>
            <a:xfrm>
              <a:off x="5828575" y="2775975"/>
              <a:ext cx="30150" cy="35450"/>
            </a:xfrm>
            <a:custGeom>
              <a:avLst/>
              <a:gdLst/>
              <a:ahLst/>
              <a:cxnLst/>
              <a:rect l="l" t="t" r="r" b="b"/>
              <a:pathLst>
                <a:path w="1206" h="1418" fill="none" extrusionOk="0">
                  <a:moveTo>
                    <a:pt x="284" y="0"/>
                  </a:moveTo>
                  <a:lnTo>
                    <a:pt x="284" y="0"/>
                  </a:lnTo>
                  <a:lnTo>
                    <a:pt x="0" y="71"/>
                  </a:lnTo>
                  <a:lnTo>
                    <a:pt x="0" y="71"/>
                  </a:lnTo>
                  <a:lnTo>
                    <a:pt x="142" y="496"/>
                  </a:lnTo>
                  <a:lnTo>
                    <a:pt x="142" y="993"/>
                  </a:lnTo>
                  <a:lnTo>
                    <a:pt x="142" y="993"/>
                  </a:lnTo>
                  <a:lnTo>
                    <a:pt x="213" y="1418"/>
                  </a:lnTo>
                  <a:lnTo>
                    <a:pt x="213" y="1418"/>
                  </a:lnTo>
                  <a:lnTo>
                    <a:pt x="1206" y="1347"/>
                  </a:lnTo>
                  <a:lnTo>
                    <a:pt x="1206" y="1347"/>
                  </a:lnTo>
                  <a:lnTo>
                    <a:pt x="1064" y="993"/>
                  </a:lnTo>
                  <a:lnTo>
                    <a:pt x="1064" y="993"/>
                  </a:lnTo>
                  <a:lnTo>
                    <a:pt x="851" y="638"/>
                  </a:lnTo>
                  <a:lnTo>
                    <a:pt x="851" y="638"/>
                  </a:lnTo>
                  <a:lnTo>
                    <a:pt x="851" y="638"/>
                  </a:lnTo>
                  <a:lnTo>
                    <a:pt x="780" y="496"/>
                  </a:lnTo>
                  <a:lnTo>
                    <a:pt x="780" y="496"/>
                  </a:lnTo>
                  <a:lnTo>
                    <a:pt x="568" y="213"/>
                  </a:lnTo>
                  <a:lnTo>
                    <a:pt x="284"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39" name="Google Shape;21437;p90">
              <a:extLst>
                <a:ext uri="{FF2B5EF4-FFF2-40B4-BE49-F238E27FC236}">
                  <a16:creationId xmlns:a16="http://schemas.microsoft.com/office/drawing/2014/main" id="{9F1BA18E-75DD-0989-1882-F2A180FB600A}"/>
                </a:ext>
              </a:extLst>
            </p:cNvPr>
            <p:cNvSpPr/>
            <p:nvPr/>
          </p:nvSpPr>
          <p:spPr>
            <a:xfrm>
              <a:off x="5718700" y="2767100"/>
              <a:ext cx="115225" cy="46100"/>
            </a:xfrm>
            <a:custGeom>
              <a:avLst/>
              <a:gdLst/>
              <a:ahLst/>
              <a:cxnLst/>
              <a:rect l="l" t="t" r="r" b="b"/>
              <a:pathLst>
                <a:path w="4609" h="1844" extrusionOk="0">
                  <a:moveTo>
                    <a:pt x="496" y="1"/>
                  </a:moveTo>
                  <a:lnTo>
                    <a:pt x="0" y="284"/>
                  </a:lnTo>
                  <a:lnTo>
                    <a:pt x="284" y="639"/>
                  </a:lnTo>
                  <a:lnTo>
                    <a:pt x="709" y="1064"/>
                  </a:lnTo>
                  <a:lnTo>
                    <a:pt x="1134" y="1348"/>
                  </a:lnTo>
                  <a:lnTo>
                    <a:pt x="1560" y="1631"/>
                  </a:lnTo>
                  <a:lnTo>
                    <a:pt x="2056" y="1773"/>
                  </a:lnTo>
                  <a:lnTo>
                    <a:pt x="2623" y="1844"/>
                  </a:lnTo>
                  <a:lnTo>
                    <a:pt x="2694" y="1844"/>
                  </a:lnTo>
                  <a:lnTo>
                    <a:pt x="4608" y="1773"/>
                  </a:lnTo>
                  <a:lnTo>
                    <a:pt x="4537" y="1348"/>
                  </a:lnTo>
                  <a:lnTo>
                    <a:pt x="4537" y="851"/>
                  </a:lnTo>
                  <a:lnTo>
                    <a:pt x="4395" y="426"/>
                  </a:lnTo>
                  <a:lnTo>
                    <a:pt x="3545" y="710"/>
                  </a:lnTo>
                  <a:lnTo>
                    <a:pt x="3190" y="780"/>
                  </a:lnTo>
                  <a:lnTo>
                    <a:pt x="2694" y="780"/>
                  </a:lnTo>
                  <a:lnTo>
                    <a:pt x="2056" y="710"/>
                  </a:lnTo>
                  <a:lnTo>
                    <a:pt x="1489" y="568"/>
                  </a:lnTo>
                  <a:lnTo>
                    <a:pt x="993" y="284"/>
                  </a:lnTo>
                  <a:lnTo>
                    <a:pt x="496" y="1"/>
                  </a:lnTo>
                  <a:close/>
                </a:path>
              </a:pathLst>
            </a:custGeom>
            <a:solidFill>
              <a:srgbClr val="B04961"/>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40" name="Google Shape;21438;p90">
              <a:extLst>
                <a:ext uri="{FF2B5EF4-FFF2-40B4-BE49-F238E27FC236}">
                  <a16:creationId xmlns:a16="http://schemas.microsoft.com/office/drawing/2014/main" id="{DA54B1A5-E663-6CE5-C966-017FF0DD08C6}"/>
                </a:ext>
              </a:extLst>
            </p:cNvPr>
            <p:cNvSpPr/>
            <p:nvPr/>
          </p:nvSpPr>
          <p:spPr>
            <a:xfrm>
              <a:off x="5718700" y="2767100"/>
              <a:ext cx="115225" cy="46100"/>
            </a:xfrm>
            <a:custGeom>
              <a:avLst/>
              <a:gdLst/>
              <a:ahLst/>
              <a:cxnLst/>
              <a:rect l="l" t="t" r="r" b="b"/>
              <a:pathLst>
                <a:path w="4609" h="1844" fill="none" extrusionOk="0">
                  <a:moveTo>
                    <a:pt x="496" y="1"/>
                  </a:moveTo>
                  <a:lnTo>
                    <a:pt x="496" y="1"/>
                  </a:lnTo>
                  <a:lnTo>
                    <a:pt x="0" y="284"/>
                  </a:lnTo>
                  <a:lnTo>
                    <a:pt x="0" y="284"/>
                  </a:lnTo>
                  <a:lnTo>
                    <a:pt x="284" y="639"/>
                  </a:lnTo>
                  <a:lnTo>
                    <a:pt x="709" y="1064"/>
                  </a:lnTo>
                  <a:lnTo>
                    <a:pt x="1134" y="1348"/>
                  </a:lnTo>
                  <a:lnTo>
                    <a:pt x="1560" y="1631"/>
                  </a:lnTo>
                  <a:lnTo>
                    <a:pt x="1560" y="1631"/>
                  </a:lnTo>
                  <a:lnTo>
                    <a:pt x="2056" y="1773"/>
                  </a:lnTo>
                  <a:lnTo>
                    <a:pt x="2623" y="1844"/>
                  </a:lnTo>
                  <a:lnTo>
                    <a:pt x="2623" y="1844"/>
                  </a:lnTo>
                  <a:lnTo>
                    <a:pt x="2694" y="1844"/>
                  </a:lnTo>
                  <a:lnTo>
                    <a:pt x="2694" y="1844"/>
                  </a:lnTo>
                  <a:lnTo>
                    <a:pt x="4608" y="1773"/>
                  </a:lnTo>
                  <a:lnTo>
                    <a:pt x="4608" y="1773"/>
                  </a:lnTo>
                  <a:lnTo>
                    <a:pt x="4537" y="1348"/>
                  </a:lnTo>
                  <a:lnTo>
                    <a:pt x="4537" y="1348"/>
                  </a:lnTo>
                  <a:lnTo>
                    <a:pt x="4537" y="851"/>
                  </a:lnTo>
                  <a:lnTo>
                    <a:pt x="4395" y="426"/>
                  </a:lnTo>
                  <a:lnTo>
                    <a:pt x="4395" y="426"/>
                  </a:lnTo>
                  <a:lnTo>
                    <a:pt x="3545" y="710"/>
                  </a:lnTo>
                  <a:lnTo>
                    <a:pt x="3190" y="780"/>
                  </a:lnTo>
                  <a:lnTo>
                    <a:pt x="2836" y="780"/>
                  </a:lnTo>
                  <a:lnTo>
                    <a:pt x="2836" y="780"/>
                  </a:lnTo>
                  <a:lnTo>
                    <a:pt x="2694" y="780"/>
                  </a:lnTo>
                  <a:lnTo>
                    <a:pt x="2694" y="780"/>
                  </a:lnTo>
                  <a:lnTo>
                    <a:pt x="2056" y="710"/>
                  </a:lnTo>
                  <a:lnTo>
                    <a:pt x="1489" y="568"/>
                  </a:lnTo>
                  <a:lnTo>
                    <a:pt x="1489" y="568"/>
                  </a:lnTo>
                  <a:lnTo>
                    <a:pt x="993" y="284"/>
                  </a:lnTo>
                  <a:lnTo>
                    <a:pt x="496"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41" name="Google Shape;21439;p90">
              <a:extLst>
                <a:ext uri="{FF2B5EF4-FFF2-40B4-BE49-F238E27FC236}">
                  <a16:creationId xmlns:a16="http://schemas.microsoft.com/office/drawing/2014/main" id="{7CAA51B7-CFA5-8B2E-7F90-3103F96653B3}"/>
                </a:ext>
              </a:extLst>
            </p:cNvPr>
            <p:cNvSpPr/>
            <p:nvPr/>
          </p:nvSpPr>
          <p:spPr>
            <a:xfrm>
              <a:off x="5690325" y="2736975"/>
              <a:ext cx="529925" cy="95725"/>
            </a:xfrm>
            <a:custGeom>
              <a:avLst/>
              <a:gdLst/>
              <a:ahLst/>
              <a:cxnLst/>
              <a:rect l="l" t="t" r="r" b="b"/>
              <a:pathLst>
                <a:path w="21197" h="3829" extrusionOk="0">
                  <a:moveTo>
                    <a:pt x="214" y="1"/>
                  </a:moveTo>
                  <a:lnTo>
                    <a:pt x="72" y="142"/>
                  </a:lnTo>
                  <a:lnTo>
                    <a:pt x="1" y="284"/>
                  </a:lnTo>
                  <a:lnTo>
                    <a:pt x="1" y="426"/>
                  </a:lnTo>
                  <a:lnTo>
                    <a:pt x="1" y="709"/>
                  </a:lnTo>
                  <a:lnTo>
                    <a:pt x="72" y="851"/>
                  </a:lnTo>
                  <a:lnTo>
                    <a:pt x="143" y="922"/>
                  </a:lnTo>
                  <a:lnTo>
                    <a:pt x="426" y="922"/>
                  </a:lnTo>
                  <a:lnTo>
                    <a:pt x="568" y="780"/>
                  </a:lnTo>
                  <a:lnTo>
                    <a:pt x="639" y="851"/>
                  </a:lnTo>
                  <a:lnTo>
                    <a:pt x="852" y="1064"/>
                  </a:lnTo>
                  <a:lnTo>
                    <a:pt x="1561" y="1702"/>
                  </a:lnTo>
                  <a:lnTo>
                    <a:pt x="2057" y="1985"/>
                  </a:lnTo>
                  <a:lnTo>
                    <a:pt x="2553" y="2340"/>
                  </a:lnTo>
                  <a:lnTo>
                    <a:pt x="3120" y="2553"/>
                  </a:lnTo>
                  <a:lnTo>
                    <a:pt x="3758" y="2623"/>
                  </a:lnTo>
                  <a:lnTo>
                    <a:pt x="4325" y="2553"/>
                  </a:lnTo>
                  <a:lnTo>
                    <a:pt x="5034" y="2482"/>
                  </a:lnTo>
                  <a:lnTo>
                    <a:pt x="6523" y="2198"/>
                  </a:lnTo>
                  <a:lnTo>
                    <a:pt x="7941" y="1985"/>
                  </a:lnTo>
                  <a:lnTo>
                    <a:pt x="8579" y="1915"/>
                  </a:lnTo>
                  <a:lnTo>
                    <a:pt x="9146" y="1844"/>
                  </a:lnTo>
                  <a:lnTo>
                    <a:pt x="9642" y="1985"/>
                  </a:lnTo>
                  <a:lnTo>
                    <a:pt x="10138" y="2198"/>
                  </a:lnTo>
                  <a:lnTo>
                    <a:pt x="11343" y="2765"/>
                  </a:lnTo>
                  <a:lnTo>
                    <a:pt x="11981" y="3120"/>
                  </a:lnTo>
                  <a:lnTo>
                    <a:pt x="12690" y="3403"/>
                  </a:lnTo>
                  <a:lnTo>
                    <a:pt x="13399" y="3687"/>
                  </a:lnTo>
                  <a:lnTo>
                    <a:pt x="14108" y="3829"/>
                  </a:lnTo>
                  <a:lnTo>
                    <a:pt x="14675" y="3829"/>
                  </a:lnTo>
                  <a:lnTo>
                    <a:pt x="15526" y="3758"/>
                  </a:lnTo>
                  <a:lnTo>
                    <a:pt x="17511" y="3616"/>
                  </a:lnTo>
                  <a:lnTo>
                    <a:pt x="19354" y="3403"/>
                  </a:lnTo>
                  <a:lnTo>
                    <a:pt x="19992" y="3261"/>
                  </a:lnTo>
                  <a:lnTo>
                    <a:pt x="20346" y="3191"/>
                  </a:lnTo>
                  <a:lnTo>
                    <a:pt x="20701" y="2978"/>
                  </a:lnTo>
                  <a:lnTo>
                    <a:pt x="20984" y="2694"/>
                  </a:lnTo>
                  <a:lnTo>
                    <a:pt x="21126" y="2411"/>
                  </a:lnTo>
                  <a:lnTo>
                    <a:pt x="21197" y="2198"/>
                  </a:lnTo>
                  <a:lnTo>
                    <a:pt x="21197" y="2056"/>
                  </a:lnTo>
                  <a:lnTo>
                    <a:pt x="21126" y="1985"/>
                  </a:lnTo>
                  <a:lnTo>
                    <a:pt x="20913" y="1844"/>
                  </a:lnTo>
                  <a:lnTo>
                    <a:pt x="20559" y="1702"/>
                  </a:lnTo>
                  <a:lnTo>
                    <a:pt x="20063" y="1631"/>
                  </a:lnTo>
                  <a:lnTo>
                    <a:pt x="19637" y="1702"/>
                  </a:lnTo>
                  <a:lnTo>
                    <a:pt x="19141" y="1773"/>
                  </a:lnTo>
                  <a:lnTo>
                    <a:pt x="17723" y="2127"/>
                  </a:lnTo>
                  <a:lnTo>
                    <a:pt x="16944" y="2269"/>
                  </a:lnTo>
                  <a:lnTo>
                    <a:pt x="16022" y="2411"/>
                  </a:lnTo>
                  <a:lnTo>
                    <a:pt x="15100" y="2482"/>
                  </a:lnTo>
                  <a:lnTo>
                    <a:pt x="14179" y="2411"/>
                  </a:lnTo>
                  <a:lnTo>
                    <a:pt x="13328" y="2269"/>
                  </a:lnTo>
                  <a:lnTo>
                    <a:pt x="12548" y="1985"/>
                  </a:lnTo>
                  <a:lnTo>
                    <a:pt x="11981" y="1702"/>
                  </a:lnTo>
                  <a:lnTo>
                    <a:pt x="11414" y="1347"/>
                  </a:lnTo>
                  <a:lnTo>
                    <a:pt x="10422" y="709"/>
                  </a:lnTo>
                  <a:lnTo>
                    <a:pt x="9926" y="497"/>
                  </a:lnTo>
                  <a:lnTo>
                    <a:pt x="9288" y="284"/>
                  </a:lnTo>
                  <a:lnTo>
                    <a:pt x="8650" y="284"/>
                  </a:lnTo>
                  <a:lnTo>
                    <a:pt x="7870" y="355"/>
                  </a:lnTo>
                  <a:lnTo>
                    <a:pt x="7090" y="568"/>
                  </a:lnTo>
                  <a:lnTo>
                    <a:pt x="6381" y="851"/>
                  </a:lnTo>
                  <a:lnTo>
                    <a:pt x="4892" y="1347"/>
                  </a:lnTo>
                  <a:lnTo>
                    <a:pt x="4325" y="1489"/>
                  </a:lnTo>
                  <a:lnTo>
                    <a:pt x="3829" y="1560"/>
                  </a:lnTo>
                  <a:lnTo>
                    <a:pt x="3404" y="1489"/>
                  </a:lnTo>
                  <a:lnTo>
                    <a:pt x="2978" y="1418"/>
                  </a:lnTo>
                  <a:lnTo>
                    <a:pt x="2199" y="1064"/>
                  </a:lnTo>
                  <a:lnTo>
                    <a:pt x="1490" y="709"/>
                  </a:lnTo>
                  <a:lnTo>
                    <a:pt x="923" y="284"/>
                  </a:lnTo>
                  <a:lnTo>
                    <a:pt x="710" y="71"/>
                  </a:lnTo>
                  <a:lnTo>
                    <a:pt x="568" y="1"/>
                  </a:lnTo>
                  <a:close/>
                </a:path>
              </a:pathLst>
            </a:custGeom>
            <a:solidFill>
              <a:srgbClr val="FDB61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42" name="Google Shape;21440;p90">
              <a:extLst>
                <a:ext uri="{FF2B5EF4-FFF2-40B4-BE49-F238E27FC236}">
                  <a16:creationId xmlns:a16="http://schemas.microsoft.com/office/drawing/2014/main" id="{27047852-2208-1C61-C443-CBDC2258D2FB}"/>
                </a:ext>
              </a:extLst>
            </p:cNvPr>
            <p:cNvSpPr/>
            <p:nvPr/>
          </p:nvSpPr>
          <p:spPr>
            <a:xfrm>
              <a:off x="3327950" y="4138825"/>
              <a:ext cx="1775" cy="25"/>
            </a:xfrm>
            <a:custGeom>
              <a:avLst/>
              <a:gdLst/>
              <a:ahLst/>
              <a:cxnLst/>
              <a:rect l="l" t="t" r="r" b="b"/>
              <a:pathLst>
                <a:path w="71" h="1" extrusionOk="0">
                  <a:moveTo>
                    <a:pt x="0" y="0"/>
                  </a:moveTo>
                  <a:lnTo>
                    <a:pt x="71" y="0"/>
                  </a:lnTo>
                  <a:lnTo>
                    <a:pt x="0" y="0"/>
                  </a:lnTo>
                  <a:close/>
                </a:path>
              </a:pathLst>
            </a:custGeom>
            <a:solidFill>
              <a:srgbClr val="EFAEA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43" name="Google Shape;21441;p90">
              <a:extLst>
                <a:ext uri="{FF2B5EF4-FFF2-40B4-BE49-F238E27FC236}">
                  <a16:creationId xmlns:a16="http://schemas.microsoft.com/office/drawing/2014/main" id="{05C745F7-5FF3-2E04-3C7B-9794A36EBE8E}"/>
                </a:ext>
              </a:extLst>
            </p:cNvPr>
            <p:cNvSpPr/>
            <p:nvPr/>
          </p:nvSpPr>
          <p:spPr>
            <a:xfrm>
              <a:off x="3327950" y="4138825"/>
              <a:ext cx="1775" cy="25"/>
            </a:xfrm>
            <a:custGeom>
              <a:avLst/>
              <a:gdLst/>
              <a:ahLst/>
              <a:cxnLst/>
              <a:rect l="l" t="t" r="r" b="b"/>
              <a:pathLst>
                <a:path w="71" h="1" fill="none" extrusionOk="0">
                  <a:moveTo>
                    <a:pt x="0" y="0"/>
                  </a:moveTo>
                  <a:lnTo>
                    <a:pt x="71" y="0"/>
                  </a:lnTo>
                  <a:lnTo>
                    <a:pt x="0"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44" name="Google Shape;21442;p90">
              <a:extLst>
                <a:ext uri="{FF2B5EF4-FFF2-40B4-BE49-F238E27FC236}">
                  <a16:creationId xmlns:a16="http://schemas.microsoft.com/office/drawing/2014/main" id="{6E77E970-3F2F-1583-3725-194ECA1CE4C0}"/>
                </a:ext>
              </a:extLst>
            </p:cNvPr>
            <p:cNvSpPr/>
            <p:nvPr/>
          </p:nvSpPr>
          <p:spPr>
            <a:xfrm>
              <a:off x="2468400" y="2279725"/>
              <a:ext cx="95725" cy="95725"/>
            </a:xfrm>
            <a:custGeom>
              <a:avLst/>
              <a:gdLst/>
              <a:ahLst/>
              <a:cxnLst/>
              <a:rect l="l" t="t" r="r" b="b"/>
              <a:pathLst>
                <a:path w="3829" h="3829" extrusionOk="0">
                  <a:moveTo>
                    <a:pt x="2127" y="710"/>
                  </a:moveTo>
                  <a:lnTo>
                    <a:pt x="2411" y="781"/>
                  </a:lnTo>
                  <a:lnTo>
                    <a:pt x="2623" y="923"/>
                  </a:lnTo>
                  <a:lnTo>
                    <a:pt x="2765" y="1064"/>
                  </a:lnTo>
                  <a:lnTo>
                    <a:pt x="2907" y="1206"/>
                  </a:lnTo>
                  <a:lnTo>
                    <a:pt x="3049" y="1419"/>
                  </a:lnTo>
                  <a:lnTo>
                    <a:pt x="3120" y="1702"/>
                  </a:lnTo>
                  <a:lnTo>
                    <a:pt x="3120" y="1915"/>
                  </a:lnTo>
                  <a:lnTo>
                    <a:pt x="3120" y="2199"/>
                  </a:lnTo>
                  <a:lnTo>
                    <a:pt x="3049" y="2411"/>
                  </a:lnTo>
                  <a:lnTo>
                    <a:pt x="2907" y="2624"/>
                  </a:lnTo>
                  <a:lnTo>
                    <a:pt x="2765" y="2766"/>
                  </a:lnTo>
                  <a:lnTo>
                    <a:pt x="2623" y="2907"/>
                  </a:lnTo>
                  <a:lnTo>
                    <a:pt x="2411" y="3049"/>
                  </a:lnTo>
                  <a:lnTo>
                    <a:pt x="2127" y="3120"/>
                  </a:lnTo>
                  <a:lnTo>
                    <a:pt x="1702" y="3120"/>
                  </a:lnTo>
                  <a:lnTo>
                    <a:pt x="1418" y="3049"/>
                  </a:lnTo>
                  <a:lnTo>
                    <a:pt x="1206" y="2907"/>
                  </a:lnTo>
                  <a:lnTo>
                    <a:pt x="1064" y="2766"/>
                  </a:lnTo>
                  <a:lnTo>
                    <a:pt x="922" y="2624"/>
                  </a:lnTo>
                  <a:lnTo>
                    <a:pt x="780" y="2411"/>
                  </a:lnTo>
                  <a:lnTo>
                    <a:pt x="709" y="2199"/>
                  </a:lnTo>
                  <a:lnTo>
                    <a:pt x="709" y="1915"/>
                  </a:lnTo>
                  <a:lnTo>
                    <a:pt x="709" y="1702"/>
                  </a:lnTo>
                  <a:lnTo>
                    <a:pt x="780" y="1419"/>
                  </a:lnTo>
                  <a:lnTo>
                    <a:pt x="922" y="1206"/>
                  </a:lnTo>
                  <a:lnTo>
                    <a:pt x="1064" y="1064"/>
                  </a:lnTo>
                  <a:lnTo>
                    <a:pt x="1206" y="923"/>
                  </a:lnTo>
                  <a:lnTo>
                    <a:pt x="1418" y="781"/>
                  </a:lnTo>
                  <a:lnTo>
                    <a:pt x="1702" y="710"/>
                  </a:lnTo>
                  <a:close/>
                  <a:moveTo>
                    <a:pt x="1489" y="1"/>
                  </a:moveTo>
                  <a:lnTo>
                    <a:pt x="1135" y="143"/>
                  </a:lnTo>
                  <a:lnTo>
                    <a:pt x="851" y="285"/>
                  </a:lnTo>
                  <a:lnTo>
                    <a:pt x="568" y="568"/>
                  </a:lnTo>
                  <a:lnTo>
                    <a:pt x="284" y="852"/>
                  </a:lnTo>
                  <a:lnTo>
                    <a:pt x="142" y="1135"/>
                  </a:lnTo>
                  <a:lnTo>
                    <a:pt x="0" y="1561"/>
                  </a:lnTo>
                  <a:lnTo>
                    <a:pt x="0" y="1915"/>
                  </a:lnTo>
                  <a:lnTo>
                    <a:pt x="0" y="2340"/>
                  </a:lnTo>
                  <a:lnTo>
                    <a:pt x="142" y="2695"/>
                  </a:lnTo>
                  <a:lnTo>
                    <a:pt x="284" y="2978"/>
                  </a:lnTo>
                  <a:lnTo>
                    <a:pt x="568" y="3262"/>
                  </a:lnTo>
                  <a:lnTo>
                    <a:pt x="851" y="3545"/>
                  </a:lnTo>
                  <a:lnTo>
                    <a:pt x="1135" y="3687"/>
                  </a:lnTo>
                  <a:lnTo>
                    <a:pt x="1489" y="3829"/>
                  </a:lnTo>
                  <a:lnTo>
                    <a:pt x="2269" y="3829"/>
                  </a:lnTo>
                  <a:lnTo>
                    <a:pt x="2694" y="3687"/>
                  </a:lnTo>
                  <a:lnTo>
                    <a:pt x="2978" y="3545"/>
                  </a:lnTo>
                  <a:lnTo>
                    <a:pt x="3261" y="3262"/>
                  </a:lnTo>
                  <a:lnTo>
                    <a:pt x="3545" y="2978"/>
                  </a:lnTo>
                  <a:lnTo>
                    <a:pt x="3687" y="2695"/>
                  </a:lnTo>
                  <a:lnTo>
                    <a:pt x="3829" y="2340"/>
                  </a:lnTo>
                  <a:lnTo>
                    <a:pt x="3829" y="1915"/>
                  </a:lnTo>
                  <a:lnTo>
                    <a:pt x="3829" y="1561"/>
                  </a:lnTo>
                  <a:lnTo>
                    <a:pt x="3687" y="1135"/>
                  </a:lnTo>
                  <a:lnTo>
                    <a:pt x="3545" y="852"/>
                  </a:lnTo>
                  <a:lnTo>
                    <a:pt x="3261" y="568"/>
                  </a:lnTo>
                  <a:lnTo>
                    <a:pt x="2978" y="285"/>
                  </a:lnTo>
                  <a:lnTo>
                    <a:pt x="2694" y="143"/>
                  </a:lnTo>
                  <a:lnTo>
                    <a:pt x="2269" y="1"/>
                  </a:lnTo>
                  <a:close/>
                </a:path>
              </a:pathLst>
            </a:custGeom>
            <a:solidFill>
              <a:srgbClr val="2D2D2D"/>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45" name="Google Shape;21443;p90">
              <a:extLst>
                <a:ext uri="{FF2B5EF4-FFF2-40B4-BE49-F238E27FC236}">
                  <a16:creationId xmlns:a16="http://schemas.microsoft.com/office/drawing/2014/main" id="{8D8BF093-8C6B-FD6C-9C00-ADA862EDD293}"/>
                </a:ext>
              </a:extLst>
            </p:cNvPr>
            <p:cNvSpPr/>
            <p:nvPr/>
          </p:nvSpPr>
          <p:spPr>
            <a:xfrm>
              <a:off x="2525100" y="2343525"/>
              <a:ext cx="205625" cy="448425"/>
            </a:xfrm>
            <a:custGeom>
              <a:avLst/>
              <a:gdLst/>
              <a:ahLst/>
              <a:cxnLst/>
              <a:rect l="l" t="t" r="r" b="b"/>
              <a:pathLst>
                <a:path w="8225" h="17937" extrusionOk="0">
                  <a:moveTo>
                    <a:pt x="143" y="1"/>
                  </a:moveTo>
                  <a:lnTo>
                    <a:pt x="1" y="143"/>
                  </a:lnTo>
                  <a:lnTo>
                    <a:pt x="1" y="355"/>
                  </a:lnTo>
                  <a:lnTo>
                    <a:pt x="72" y="993"/>
                  </a:lnTo>
                  <a:lnTo>
                    <a:pt x="355" y="1915"/>
                  </a:lnTo>
                  <a:lnTo>
                    <a:pt x="710" y="3049"/>
                  </a:lnTo>
                  <a:lnTo>
                    <a:pt x="1844" y="5956"/>
                  </a:lnTo>
                  <a:lnTo>
                    <a:pt x="3191" y="9217"/>
                  </a:lnTo>
                  <a:lnTo>
                    <a:pt x="4609" y="12407"/>
                  </a:lnTo>
                  <a:lnTo>
                    <a:pt x="5814" y="15242"/>
                  </a:lnTo>
                  <a:lnTo>
                    <a:pt x="7090" y="17936"/>
                  </a:lnTo>
                  <a:lnTo>
                    <a:pt x="8224" y="17723"/>
                  </a:lnTo>
                  <a:lnTo>
                    <a:pt x="7657" y="16447"/>
                  </a:lnTo>
                  <a:lnTo>
                    <a:pt x="6735" y="14179"/>
                  </a:lnTo>
                  <a:lnTo>
                    <a:pt x="4254" y="8012"/>
                  </a:lnTo>
                  <a:lnTo>
                    <a:pt x="2978" y="4892"/>
                  </a:lnTo>
                  <a:lnTo>
                    <a:pt x="1773" y="2269"/>
                  </a:lnTo>
                  <a:lnTo>
                    <a:pt x="1277" y="1277"/>
                  </a:lnTo>
                  <a:lnTo>
                    <a:pt x="781" y="568"/>
                  </a:lnTo>
                  <a:lnTo>
                    <a:pt x="426" y="72"/>
                  </a:lnTo>
                  <a:lnTo>
                    <a:pt x="214" y="1"/>
                  </a:lnTo>
                  <a:close/>
                </a:path>
              </a:pathLst>
            </a:custGeom>
            <a:solidFill>
              <a:srgbClr val="46464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46" name="Google Shape;21444;p90">
              <a:extLst>
                <a:ext uri="{FF2B5EF4-FFF2-40B4-BE49-F238E27FC236}">
                  <a16:creationId xmlns:a16="http://schemas.microsoft.com/office/drawing/2014/main" id="{3F75925D-DA1F-CC10-7B95-71E66CE65FD4}"/>
                </a:ext>
              </a:extLst>
            </p:cNvPr>
            <p:cNvSpPr/>
            <p:nvPr/>
          </p:nvSpPr>
          <p:spPr>
            <a:xfrm>
              <a:off x="2464850" y="238125"/>
              <a:ext cx="81550" cy="2071775"/>
            </a:xfrm>
            <a:custGeom>
              <a:avLst/>
              <a:gdLst/>
              <a:ahLst/>
              <a:cxnLst/>
              <a:rect l="l" t="t" r="r" b="b"/>
              <a:pathLst>
                <a:path w="3262" h="82871" extrusionOk="0">
                  <a:moveTo>
                    <a:pt x="3262" y="0"/>
                  </a:moveTo>
                  <a:lnTo>
                    <a:pt x="1" y="71"/>
                  </a:lnTo>
                  <a:lnTo>
                    <a:pt x="1489" y="81594"/>
                  </a:lnTo>
                  <a:lnTo>
                    <a:pt x="1489" y="82090"/>
                  </a:lnTo>
                  <a:lnTo>
                    <a:pt x="1631" y="82516"/>
                  </a:lnTo>
                  <a:lnTo>
                    <a:pt x="1773" y="82657"/>
                  </a:lnTo>
                  <a:lnTo>
                    <a:pt x="1915" y="82799"/>
                  </a:lnTo>
                  <a:lnTo>
                    <a:pt x="2057" y="82870"/>
                  </a:lnTo>
                  <a:lnTo>
                    <a:pt x="2340" y="82870"/>
                  </a:lnTo>
                  <a:lnTo>
                    <a:pt x="2553" y="82799"/>
                  </a:lnTo>
                  <a:lnTo>
                    <a:pt x="2695" y="82657"/>
                  </a:lnTo>
                  <a:lnTo>
                    <a:pt x="2836" y="82445"/>
                  </a:lnTo>
                  <a:lnTo>
                    <a:pt x="2907" y="82232"/>
                  </a:lnTo>
                  <a:lnTo>
                    <a:pt x="3049" y="81665"/>
                  </a:lnTo>
                  <a:lnTo>
                    <a:pt x="3049" y="81311"/>
                  </a:lnTo>
                  <a:lnTo>
                    <a:pt x="3191" y="42676"/>
                  </a:lnTo>
                  <a:lnTo>
                    <a:pt x="3262" y="0"/>
                  </a:lnTo>
                  <a:close/>
                </a:path>
              </a:pathLst>
            </a:custGeom>
            <a:solidFill>
              <a:srgbClr val="46464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47" name="Google Shape;21445;p90">
              <a:extLst>
                <a:ext uri="{FF2B5EF4-FFF2-40B4-BE49-F238E27FC236}">
                  <a16:creationId xmlns:a16="http://schemas.microsoft.com/office/drawing/2014/main" id="{20464F17-E513-2EF8-E1D2-CCD3D9CF9C5F}"/>
                </a:ext>
              </a:extLst>
            </p:cNvPr>
            <p:cNvSpPr/>
            <p:nvPr/>
          </p:nvSpPr>
          <p:spPr>
            <a:xfrm>
              <a:off x="3147175" y="2947875"/>
              <a:ext cx="187875" cy="81550"/>
            </a:xfrm>
            <a:custGeom>
              <a:avLst/>
              <a:gdLst/>
              <a:ahLst/>
              <a:cxnLst/>
              <a:rect l="l" t="t" r="r" b="b"/>
              <a:pathLst>
                <a:path w="7515" h="3262" extrusionOk="0">
                  <a:moveTo>
                    <a:pt x="4821" y="0"/>
                  </a:moveTo>
                  <a:lnTo>
                    <a:pt x="4537" y="142"/>
                  </a:lnTo>
                  <a:lnTo>
                    <a:pt x="4325" y="426"/>
                  </a:lnTo>
                  <a:lnTo>
                    <a:pt x="4041" y="638"/>
                  </a:lnTo>
                  <a:lnTo>
                    <a:pt x="3757" y="709"/>
                  </a:lnTo>
                  <a:lnTo>
                    <a:pt x="3403" y="780"/>
                  </a:lnTo>
                  <a:lnTo>
                    <a:pt x="2552" y="922"/>
                  </a:lnTo>
                  <a:lnTo>
                    <a:pt x="1631" y="993"/>
                  </a:lnTo>
                  <a:lnTo>
                    <a:pt x="851" y="922"/>
                  </a:lnTo>
                  <a:lnTo>
                    <a:pt x="567" y="922"/>
                  </a:lnTo>
                  <a:lnTo>
                    <a:pt x="426" y="993"/>
                  </a:lnTo>
                  <a:lnTo>
                    <a:pt x="284" y="1064"/>
                  </a:lnTo>
                  <a:lnTo>
                    <a:pt x="142" y="1206"/>
                  </a:lnTo>
                  <a:lnTo>
                    <a:pt x="0" y="1489"/>
                  </a:lnTo>
                  <a:lnTo>
                    <a:pt x="0" y="1914"/>
                  </a:lnTo>
                  <a:lnTo>
                    <a:pt x="71" y="2340"/>
                  </a:lnTo>
                  <a:lnTo>
                    <a:pt x="142" y="2694"/>
                  </a:lnTo>
                  <a:lnTo>
                    <a:pt x="213" y="3049"/>
                  </a:lnTo>
                  <a:lnTo>
                    <a:pt x="567" y="3190"/>
                  </a:lnTo>
                  <a:lnTo>
                    <a:pt x="922" y="3261"/>
                  </a:lnTo>
                  <a:lnTo>
                    <a:pt x="1560" y="3261"/>
                  </a:lnTo>
                  <a:lnTo>
                    <a:pt x="2127" y="3190"/>
                  </a:lnTo>
                  <a:lnTo>
                    <a:pt x="2623" y="3049"/>
                  </a:lnTo>
                  <a:lnTo>
                    <a:pt x="3190" y="2907"/>
                  </a:lnTo>
                  <a:lnTo>
                    <a:pt x="3474" y="2836"/>
                  </a:lnTo>
                  <a:lnTo>
                    <a:pt x="3687" y="2836"/>
                  </a:lnTo>
                  <a:lnTo>
                    <a:pt x="4608" y="2978"/>
                  </a:lnTo>
                  <a:lnTo>
                    <a:pt x="5175" y="3049"/>
                  </a:lnTo>
                  <a:lnTo>
                    <a:pt x="6380" y="3049"/>
                  </a:lnTo>
                  <a:lnTo>
                    <a:pt x="6877" y="2836"/>
                  </a:lnTo>
                  <a:lnTo>
                    <a:pt x="7089" y="2765"/>
                  </a:lnTo>
                  <a:lnTo>
                    <a:pt x="7231" y="2552"/>
                  </a:lnTo>
                  <a:lnTo>
                    <a:pt x="7373" y="2340"/>
                  </a:lnTo>
                  <a:lnTo>
                    <a:pt x="7444" y="2056"/>
                  </a:lnTo>
                  <a:lnTo>
                    <a:pt x="7515" y="1702"/>
                  </a:lnTo>
                  <a:lnTo>
                    <a:pt x="7373" y="1418"/>
                  </a:lnTo>
                  <a:lnTo>
                    <a:pt x="7160" y="1206"/>
                  </a:lnTo>
                  <a:lnTo>
                    <a:pt x="6877" y="1064"/>
                  </a:lnTo>
                  <a:lnTo>
                    <a:pt x="6593" y="993"/>
                  </a:lnTo>
                  <a:lnTo>
                    <a:pt x="5813" y="993"/>
                  </a:lnTo>
                  <a:lnTo>
                    <a:pt x="5388" y="1064"/>
                  </a:lnTo>
                  <a:lnTo>
                    <a:pt x="5104" y="1064"/>
                  </a:lnTo>
                  <a:lnTo>
                    <a:pt x="5033" y="993"/>
                  </a:lnTo>
                  <a:lnTo>
                    <a:pt x="5033" y="780"/>
                  </a:lnTo>
                  <a:lnTo>
                    <a:pt x="5033" y="638"/>
                  </a:lnTo>
                  <a:lnTo>
                    <a:pt x="5175" y="213"/>
                  </a:lnTo>
                  <a:lnTo>
                    <a:pt x="5175" y="71"/>
                  </a:lnTo>
                  <a:lnTo>
                    <a:pt x="5104" y="0"/>
                  </a:lnTo>
                  <a:close/>
                </a:path>
              </a:pathLst>
            </a:custGeom>
            <a:solidFill>
              <a:srgbClr val="EFAEA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48" name="Google Shape;21446;p90">
              <a:extLst>
                <a:ext uri="{FF2B5EF4-FFF2-40B4-BE49-F238E27FC236}">
                  <a16:creationId xmlns:a16="http://schemas.microsoft.com/office/drawing/2014/main" id="{4365BDFF-1BF5-B54E-61CC-60535880A2CB}"/>
                </a:ext>
              </a:extLst>
            </p:cNvPr>
            <p:cNvSpPr/>
            <p:nvPr/>
          </p:nvSpPr>
          <p:spPr>
            <a:xfrm>
              <a:off x="3147175" y="2947875"/>
              <a:ext cx="187875" cy="81550"/>
            </a:xfrm>
            <a:custGeom>
              <a:avLst/>
              <a:gdLst/>
              <a:ahLst/>
              <a:cxnLst/>
              <a:rect l="l" t="t" r="r" b="b"/>
              <a:pathLst>
                <a:path w="7515" h="3262" fill="none" extrusionOk="0">
                  <a:moveTo>
                    <a:pt x="213" y="3049"/>
                  </a:moveTo>
                  <a:lnTo>
                    <a:pt x="213" y="3049"/>
                  </a:lnTo>
                  <a:lnTo>
                    <a:pt x="567" y="3190"/>
                  </a:lnTo>
                  <a:lnTo>
                    <a:pt x="922" y="3261"/>
                  </a:lnTo>
                  <a:lnTo>
                    <a:pt x="1560" y="3261"/>
                  </a:lnTo>
                  <a:lnTo>
                    <a:pt x="2127" y="3190"/>
                  </a:lnTo>
                  <a:lnTo>
                    <a:pt x="2623" y="3049"/>
                  </a:lnTo>
                  <a:lnTo>
                    <a:pt x="2623" y="3049"/>
                  </a:lnTo>
                  <a:lnTo>
                    <a:pt x="3190" y="2907"/>
                  </a:lnTo>
                  <a:lnTo>
                    <a:pt x="3474" y="2836"/>
                  </a:lnTo>
                  <a:lnTo>
                    <a:pt x="3687" y="2836"/>
                  </a:lnTo>
                  <a:lnTo>
                    <a:pt x="3687" y="2836"/>
                  </a:lnTo>
                  <a:lnTo>
                    <a:pt x="4608" y="2978"/>
                  </a:lnTo>
                  <a:lnTo>
                    <a:pt x="5175" y="3049"/>
                  </a:lnTo>
                  <a:lnTo>
                    <a:pt x="5742" y="3049"/>
                  </a:lnTo>
                  <a:lnTo>
                    <a:pt x="6380" y="3049"/>
                  </a:lnTo>
                  <a:lnTo>
                    <a:pt x="6877" y="2836"/>
                  </a:lnTo>
                  <a:lnTo>
                    <a:pt x="7089" y="2765"/>
                  </a:lnTo>
                  <a:lnTo>
                    <a:pt x="7231" y="2552"/>
                  </a:lnTo>
                  <a:lnTo>
                    <a:pt x="7373" y="2340"/>
                  </a:lnTo>
                  <a:lnTo>
                    <a:pt x="7444" y="2056"/>
                  </a:lnTo>
                  <a:lnTo>
                    <a:pt x="7444" y="2056"/>
                  </a:lnTo>
                  <a:lnTo>
                    <a:pt x="7515" y="1702"/>
                  </a:lnTo>
                  <a:lnTo>
                    <a:pt x="7373" y="1418"/>
                  </a:lnTo>
                  <a:lnTo>
                    <a:pt x="7160" y="1206"/>
                  </a:lnTo>
                  <a:lnTo>
                    <a:pt x="6877" y="1064"/>
                  </a:lnTo>
                  <a:lnTo>
                    <a:pt x="6593" y="993"/>
                  </a:lnTo>
                  <a:lnTo>
                    <a:pt x="6168" y="993"/>
                  </a:lnTo>
                  <a:lnTo>
                    <a:pt x="5813" y="993"/>
                  </a:lnTo>
                  <a:lnTo>
                    <a:pt x="5388" y="1064"/>
                  </a:lnTo>
                  <a:lnTo>
                    <a:pt x="5388" y="1064"/>
                  </a:lnTo>
                  <a:lnTo>
                    <a:pt x="5104" y="1064"/>
                  </a:lnTo>
                  <a:lnTo>
                    <a:pt x="5033" y="993"/>
                  </a:lnTo>
                  <a:lnTo>
                    <a:pt x="5033" y="780"/>
                  </a:lnTo>
                  <a:lnTo>
                    <a:pt x="5033" y="638"/>
                  </a:lnTo>
                  <a:lnTo>
                    <a:pt x="5175" y="213"/>
                  </a:lnTo>
                  <a:lnTo>
                    <a:pt x="5175" y="71"/>
                  </a:lnTo>
                  <a:lnTo>
                    <a:pt x="5104" y="0"/>
                  </a:lnTo>
                  <a:lnTo>
                    <a:pt x="5104" y="0"/>
                  </a:lnTo>
                  <a:lnTo>
                    <a:pt x="4963" y="0"/>
                  </a:lnTo>
                  <a:lnTo>
                    <a:pt x="4821" y="0"/>
                  </a:lnTo>
                  <a:lnTo>
                    <a:pt x="4537" y="142"/>
                  </a:lnTo>
                  <a:lnTo>
                    <a:pt x="4325" y="426"/>
                  </a:lnTo>
                  <a:lnTo>
                    <a:pt x="4041" y="638"/>
                  </a:lnTo>
                  <a:lnTo>
                    <a:pt x="4041" y="638"/>
                  </a:lnTo>
                  <a:lnTo>
                    <a:pt x="3757" y="709"/>
                  </a:lnTo>
                  <a:lnTo>
                    <a:pt x="3403" y="780"/>
                  </a:lnTo>
                  <a:lnTo>
                    <a:pt x="2552" y="922"/>
                  </a:lnTo>
                  <a:lnTo>
                    <a:pt x="1631" y="993"/>
                  </a:lnTo>
                  <a:lnTo>
                    <a:pt x="851" y="922"/>
                  </a:lnTo>
                  <a:lnTo>
                    <a:pt x="851" y="922"/>
                  </a:lnTo>
                  <a:lnTo>
                    <a:pt x="567" y="922"/>
                  </a:lnTo>
                  <a:lnTo>
                    <a:pt x="426" y="993"/>
                  </a:lnTo>
                  <a:lnTo>
                    <a:pt x="284" y="1064"/>
                  </a:lnTo>
                  <a:lnTo>
                    <a:pt x="142" y="1206"/>
                  </a:lnTo>
                  <a:lnTo>
                    <a:pt x="0" y="1489"/>
                  </a:lnTo>
                  <a:lnTo>
                    <a:pt x="0" y="1914"/>
                  </a:lnTo>
                  <a:lnTo>
                    <a:pt x="71" y="2340"/>
                  </a:lnTo>
                  <a:lnTo>
                    <a:pt x="142" y="2694"/>
                  </a:lnTo>
                  <a:lnTo>
                    <a:pt x="213" y="3049"/>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49" name="Google Shape;21447;p90">
              <a:extLst>
                <a:ext uri="{FF2B5EF4-FFF2-40B4-BE49-F238E27FC236}">
                  <a16:creationId xmlns:a16="http://schemas.microsoft.com/office/drawing/2014/main" id="{A4BEDE70-2845-CA83-11EF-7514CAA1D8A4}"/>
                </a:ext>
              </a:extLst>
            </p:cNvPr>
            <p:cNvSpPr/>
            <p:nvPr/>
          </p:nvSpPr>
          <p:spPr>
            <a:xfrm>
              <a:off x="1826850" y="2217700"/>
              <a:ext cx="70925" cy="127625"/>
            </a:xfrm>
            <a:custGeom>
              <a:avLst/>
              <a:gdLst/>
              <a:ahLst/>
              <a:cxnLst/>
              <a:rect l="l" t="t" r="r" b="b"/>
              <a:pathLst>
                <a:path w="2837" h="5105" extrusionOk="0">
                  <a:moveTo>
                    <a:pt x="1206" y="1"/>
                  </a:moveTo>
                  <a:lnTo>
                    <a:pt x="355" y="1277"/>
                  </a:lnTo>
                  <a:lnTo>
                    <a:pt x="213" y="2198"/>
                  </a:lnTo>
                  <a:lnTo>
                    <a:pt x="142" y="3404"/>
                  </a:lnTo>
                  <a:lnTo>
                    <a:pt x="0" y="4750"/>
                  </a:lnTo>
                  <a:lnTo>
                    <a:pt x="2623" y="5105"/>
                  </a:lnTo>
                  <a:lnTo>
                    <a:pt x="2836" y="1348"/>
                  </a:lnTo>
                  <a:lnTo>
                    <a:pt x="1206" y="1"/>
                  </a:lnTo>
                  <a:close/>
                </a:path>
              </a:pathLst>
            </a:custGeom>
            <a:solidFill>
              <a:srgbClr val="EFAEA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50" name="Google Shape;21448;p90">
              <a:extLst>
                <a:ext uri="{FF2B5EF4-FFF2-40B4-BE49-F238E27FC236}">
                  <a16:creationId xmlns:a16="http://schemas.microsoft.com/office/drawing/2014/main" id="{0096A9A7-9127-F3FD-CFE8-8C7E5085B12D}"/>
                </a:ext>
              </a:extLst>
            </p:cNvPr>
            <p:cNvSpPr/>
            <p:nvPr/>
          </p:nvSpPr>
          <p:spPr>
            <a:xfrm>
              <a:off x="1720525" y="2168075"/>
              <a:ext cx="189650" cy="93975"/>
            </a:xfrm>
            <a:custGeom>
              <a:avLst/>
              <a:gdLst/>
              <a:ahLst/>
              <a:cxnLst/>
              <a:rect l="l" t="t" r="r" b="b"/>
              <a:pathLst>
                <a:path w="7586" h="3759" extrusionOk="0">
                  <a:moveTo>
                    <a:pt x="567" y="1"/>
                  </a:moveTo>
                  <a:lnTo>
                    <a:pt x="284" y="143"/>
                  </a:lnTo>
                  <a:lnTo>
                    <a:pt x="71" y="355"/>
                  </a:lnTo>
                  <a:lnTo>
                    <a:pt x="0" y="568"/>
                  </a:lnTo>
                  <a:lnTo>
                    <a:pt x="0" y="852"/>
                  </a:lnTo>
                  <a:lnTo>
                    <a:pt x="0" y="1064"/>
                  </a:lnTo>
                  <a:lnTo>
                    <a:pt x="71" y="1277"/>
                  </a:lnTo>
                  <a:lnTo>
                    <a:pt x="213" y="1348"/>
                  </a:lnTo>
                  <a:lnTo>
                    <a:pt x="992" y="1560"/>
                  </a:lnTo>
                  <a:lnTo>
                    <a:pt x="2339" y="1844"/>
                  </a:lnTo>
                  <a:lnTo>
                    <a:pt x="3048" y="2128"/>
                  </a:lnTo>
                  <a:lnTo>
                    <a:pt x="3615" y="2340"/>
                  </a:lnTo>
                  <a:lnTo>
                    <a:pt x="4041" y="2624"/>
                  </a:lnTo>
                  <a:lnTo>
                    <a:pt x="4183" y="2836"/>
                  </a:lnTo>
                  <a:lnTo>
                    <a:pt x="4183" y="2978"/>
                  </a:lnTo>
                  <a:lnTo>
                    <a:pt x="4183" y="3475"/>
                  </a:lnTo>
                  <a:lnTo>
                    <a:pt x="4253" y="3616"/>
                  </a:lnTo>
                  <a:lnTo>
                    <a:pt x="5246" y="3616"/>
                  </a:lnTo>
                  <a:lnTo>
                    <a:pt x="5955" y="3687"/>
                  </a:lnTo>
                  <a:lnTo>
                    <a:pt x="6593" y="3758"/>
                  </a:lnTo>
                  <a:lnTo>
                    <a:pt x="7089" y="3758"/>
                  </a:lnTo>
                  <a:lnTo>
                    <a:pt x="7231" y="3687"/>
                  </a:lnTo>
                  <a:lnTo>
                    <a:pt x="7302" y="3545"/>
                  </a:lnTo>
                  <a:lnTo>
                    <a:pt x="7514" y="2978"/>
                  </a:lnTo>
                  <a:lnTo>
                    <a:pt x="7585" y="2198"/>
                  </a:lnTo>
                  <a:lnTo>
                    <a:pt x="7585" y="1419"/>
                  </a:lnTo>
                  <a:lnTo>
                    <a:pt x="7514" y="1206"/>
                  </a:lnTo>
                  <a:lnTo>
                    <a:pt x="7443" y="1064"/>
                  </a:lnTo>
                  <a:lnTo>
                    <a:pt x="7302" y="993"/>
                  </a:lnTo>
                  <a:lnTo>
                    <a:pt x="7089" y="922"/>
                  </a:lnTo>
                  <a:lnTo>
                    <a:pt x="992" y="1"/>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51" name="Google Shape;21449;p90">
              <a:extLst>
                <a:ext uri="{FF2B5EF4-FFF2-40B4-BE49-F238E27FC236}">
                  <a16:creationId xmlns:a16="http://schemas.microsoft.com/office/drawing/2014/main" id="{5309DFE9-71E5-0BEB-633A-B9FE955BF109}"/>
                </a:ext>
              </a:extLst>
            </p:cNvPr>
            <p:cNvSpPr/>
            <p:nvPr/>
          </p:nvSpPr>
          <p:spPr>
            <a:xfrm>
              <a:off x="1506075" y="2738750"/>
              <a:ext cx="127625" cy="106350"/>
            </a:xfrm>
            <a:custGeom>
              <a:avLst/>
              <a:gdLst/>
              <a:ahLst/>
              <a:cxnLst/>
              <a:rect l="l" t="t" r="r" b="b"/>
              <a:pathLst>
                <a:path w="5105" h="4254" extrusionOk="0">
                  <a:moveTo>
                    <a:pt x="1985" y="0"/>
                  </a:moveTo>
                  <a:lnTo>
                    <a:pt x="0" y="709"/>
                  </a:lnTo>
                  <a:lnTo>
                    <a:pt x="638" y="2127"/>
                  </a:lnTo>
                  <a:lnTo>
                    <a:pt x="1418" y="2694"/>
                  </a:lnTo>
                  <a:lnTo>
                    <a:pt x="2340" y="3403"/>
                  </a:lnTo>
                  <a:lnTo>
                    <a:pt x="3403" y="4254"/>
                  </a:lnTo>
                  <a:lnTo>
                    <a:pt x="5104" y="2198"/>
                  </a:lnTo>
                  <a:lnTo>
                    <a:pt x="1985" y="0"/>
                  </a:lnTo>
                  <a:close/>
                </a:path>
              </a:pathLst>
            </a:custGeom>
            <a:solidFill>
              <a:srgbClr val="EFAEA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52" name="Google Shape;21450;p90">
              <a:extLst>
                <a:ext uri="{FF2B5EF4-FFF2-40B4-BE49-F238E27FC236}">
                  <a16:creationId xmlns:a16="http://schemas.microsoft.com/office/drawing/2014/main" id="{8013D03F-A4BE-7898-5264-F52E8ACFEED9}"/>
                </a:ext>
              </a:extLst>
            </p:cNvPr>
            <p:cNvSpPr/>
            <p:nvPr/>
          </p:nvSpPr>
          <p:spPr>
            <a:xfrm>
              <a:off x="1399750" y="2703300"/>
              <a:ext cx="164825" cy="159525"/>
            </a:xfrm>
            <a:custGeom>
              <a:avLst/>
              <a:gdLst/>
              <a:ahLst/>
              <a:cxnLst/>
              <a:rect l="l" t="t" r="r" b="b"/>
              <a:pathLst>
                <a:path w="6593" h="6381" extrusionOk="0">
                  <a:moveTo>
                    <a:pt x="4466" y="1"/>
                  </a:moveTo>
                  <a:lnTo>
                    <a:pt x="4324" y="71"/>
                  </a:lnTo>
                  <a:lnTo>
                    <a:pt x="4182" y="213"/>
                  </a:lnTo>
                  <a:lnTo>
                    <a:pt x="284" y="4963"/>
                  </a:lnTo>
                  <a:lnTo>
                    <a:pt x="71" y="5317"/>
                  </a:lnTo>
                  <a:lnTo>
                    <a:pt x="0" y="5672"/>
                  </a:lnTo>
                  <a:lnTo>
                    <a:pt x="71" y="5884"/>
                  </a:lnTo>
                  <a:lnTo>
                    <a:pt x="213" y="6097"/>
                  </a:lnTo>
                  <a:lnTo>
                    <a:pt x="425" y="6239"/>
                  </a:lnTo>
                  <a:lnTo>
                    <a:pt x="638" y="6381"/>
                  </a:lnTo>
                  <a:lnTo>
                    <a:pt x="992" y="6381"/>
                  </a:lnTo>
                  <a:lnTo>
                    <a:pt x="1560" y="5743"/>
                  </a:lnTo>
                  <a:lnTo>
                    <a:pt x="2552" y="4750"/>
                  </a:lnTo>
                  <a:lnTo>
                    <a:pt x="3048" y="4325"/>
                  </a:lnTo>
                  <a:lnTo>
                    <a:pt x="3615" y="3970"/>
                  </a:lnTo>
                  <a:lnTo>
                    <a:pt x="4112" y="3758"/>
                  </a:lnTo>
                  <a:lnTo>
                    <a:pt x="4253" y="3687"/>
                  </a:lnTo>
                  <a:lnTo>
                    <a:pt x="4466" y="3758"/>
                  </a:lnTo>
                  <a:lnTo>
                    <a:pt x="4891" y="4041"/>
                  </a:lnTo>
                  <a:lnTo>
                    <a:pt x="5033" y="4041"/>
                  </a:lnTo>
                  <a:lnTo>
                    <a:pt x="5104" y="3970"/>
                  </a:lnTo>
                  <a:lnTo>
                    <a:pt x="5529" y="3191"/>
                  </a:lnTo>
                  <a:lnTo>
                    <a:pt x="5955" y="2624"/>
                  </a:lnTo>
                  <a:lnTo>
                    <a:pt x="6309" y="2127"/>
                  </a:lnTo>
                  <a:lnTo>
                    <a:pt x="6593" y="1702"/>
                  </a:lnTo>
                  <a:lnTo>
                    <a:pt x="6593" y="1560"/>
                  </a:lnTo>
                  <a:lnTo>
                    <a:pt x="6522" y="1348"/>
                  </a:lnTo>
                  <a:lnTo>
                    <a:pt x="6097" y="922"/>
                  </a:lnTo>
                  <a:lnTo>
                    <a:pt x="5529" y="426"/>
                  </a:lnTo>
                  <a:lnTo>
                    <a:pt x="4891" y="71"/>
                  </a:lnTo>
                  <a:lnTo>
                    <a:pt x="4679" y="1"/>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53" name="Google Shape;21451;p90">
              <a:extLst>
                <a:ext uri="{FF2B5EF4-FFF2-40B4-BE49-F238E27FC236}">
                  <a16:creationId xmlns:a16="http://schemas.microsoft.com/office/drawing/2014/main" id="{5F116A74-8BB0-E43F-EF15-5205459D2DA4}"/>
                </a:ext>
              </a:extLst>
            </p:cNvPr>
            <p:cNvSpPr/>
            <p:nvPr/>
          </p:nvSpPr>
          <p:spPr>
            <a:xfrm>
              <a:off x="1537975" y="2293925"/>
              <a:ext cx="886150" cy="760300"/>
            </a:xfrm>
            <a:custGeom>
              <a:avLst/>
              <a:gdLst/>
              <a:ahLst/>
              <a:cxnLst/>
              <a:rect l="l" t="t" r="r" b="b"/>
              <a:pathLst>
                <a:path w="35446" h="30412" extrusionOk="0">
                  <a:moveTo>
                    <a:pt x="14320" y="0"/>
                  </a:moveTo>
                  <a:lnTo>
                    <a:pt x="13186" y="71"/>
                  </a:lnTo>
                  <a:lnTo>
                    <a:pt x="11697" y="213"/>
                  </a:lnTo>
                  <a:lnTo>
                    <a:pt x="11130" y="284"/>
                  </a:lnTo>
                  <a:lnTo>
                    <a:pt x="10917" y="2410"/>
                  </a:lnTo>
                  <a:lnTo>
                    <a:pt x="10776" y="4608"/>
                  </a:lnTo>
                  <a:lnTo>
                    <a:pt x="10705" y="7231"/>
                  </a:lnTo>
                  <a:lnTo>
                    <a:pt x="10705" y="8649"/>
                  </a:lnTo>
                  <a:lnTo>
                    <a:pt x="10847" y="10066"/>
                  </a:lnTo>
                  <a:lnTo>
                    <a:pt x="10988" y="11413"/>
                  </a:lnTo>
                  <a:lnTo>
                    <a:pt x="11201" y="12689"/>
                  </a:lnTo>
                  <a:lnTo>
                    <a:pt x="11485" y="13894"/>
                  </a:lnTo>
                  <a:lnTo>
                    <a:pt x="11910" y="14887"/>
                  </a:lnTo>
                  <a:lnTo>
                    <a:pt x="12123" y="15383"/>
                  </a:lnTo>
                  <a:lnTo>
                    <a:pt x="12406" y="15808"/>
                  </a:lnTo>
                  <a:lnTo>
                    <a:pt x="12690" y="16163"/>
                  </a:lnTo>
                  <a:lnTo>
                    <a:pt x="13044" y="16446"/>
                  </a:lnTo>
                  <a:lnTo>
                    <a:pt x="14462" y="17368"/>
                  </a:lnTo>
                  <a:lnTo>
                    <a:pt x="16234" y="18361"/>
                  </a:lnTo>
                  <a:lnTo>
                    <a:pt x="20204" y="20416"/>
                  </a:lnTo>
                  <a:lnTo>
                    <a:pt x="23607" y="22047"/>
                  </a:lnTo>
                  <a:lnTo>
                    <a:pt x="24741" y="22543"/>
                  </a:lnTo>
                  <a:lnTo>
                    <a:pt x="25308" y="22685"/>
                  </a:lnTo>
                  <a:lnTo>
                    <a:pt x="25379" y="22685"/>
                  </a:lnTo>
                  <a:lnTo>
                    <a:pt x="23819" y="23181"/>
                  </a:lnTo>
                  <a:lnTo>
                    <a:pt x="20488" y="24173"/>
                  </a:lnTo>
                  <a:lnTo>
                    <a:pt x="18503" y="24741"/>
                  </a:lnTo>
                  <a:lnTo>
                    <a:pt x="16589" y="25237"/>
                  </a:lnTo>
                  <a:lnTo>
                    <a:pt x="15100" y="25520"/>
                  </a:lnTo>
                  <a:lnTo>
                    <a:pt x="14533" y="25591"/>
                  </a:lnTo>
                  <a:lnTo>
                    <a:pt x="14178" y="25591"/>
                  </a:lnTo>
                  <a:lnTo>
                    <a:pt x="13824" y="25449"/>
                  </a:lnTo>
                  <a:lnTo>
                    <a:pt x="13257" y="25166"/>
                  </a:lnTo>
                  <a:lnTo>
                    <a:pt x="11910" y="24386"/>
                  </a:lnTo>
                  <a:lnTo>
                    <a:pt x="10279" y="23323"/>
                  </a:lnTo>
                  <a:lnTo>
                    <a:pt x="8507" y="22189"/>
                  </a:lnTo>
                  <a:lnTo>
                    <a:pt x="5104" y="19849"/>
                  </a:lnTo>
                  <a:lnTo>
                    <a:pt x="3687" y="18928"/>
                  </a:lnTo>
                  <a:lnTo>
                    <a:pt x="2694" y="18290"/>
                  </a:lnTo>
                  <a:lnTo>
                    <a:pt x="2127" y="18786"/>
                  </a:lnTo>
                  <a:lnTo>
                    <a:pt x="1347" y="19566"/>
                  </a:lnTo>
                  <a:lnTo>
                    <a:pt x="426" y="20700"/>
                  </a:lnTo>
                  <a:lnTo>
                    <a:pt x="0" y="21267"/>
                  </a:lnTo>
                  <a:lnTo>
                    <a:pt x="142" y="21480"/>
                  </a:lnTo>
                  <a:lnTo>
                    <a:pt x="497" y="21834"/>
                  </a:lnTo>
                  <a:lnTo>
                    <a:pt x="1773" y="22897"/>
                  </a:lnTo>
                  <a:lnTo>
                    <a:pt x="3545" y="24315"/>
                  </a:lnTo>
                  <a:lnTo>
                    <a:pt x="5672" y="25875"/>
                  </a:lnTo>
                  <a:lnTo>
                    <a:pt x="7940" y="27434"/>
                  </a:lnTo>
                  <a:lnTo>
                    <a:pt x="10138" y="28781"/>
                  </a:lnTo>
                  <a:lnTo>
                    <a:pt x="11130" y="29348"/>
                  </a:lnTo>
                  <a:lnTo>
                    <a:pt x="11981" y="29845"/>
                  </a:lnTo>
                  <a:lnTo>
                    <a:pt x="12761" y="30128"/>
                  </a:lnTo>
                  <a:lnTo>
                    <a:pt x="13399" y="30341"/>
                  </a:lnTo>
                  <a:lnTo>
                    <a:pt x="14037" y="30412"/>
                  </a:lnTo>
                  <a:lnTo>
                    <a:pt x="14887" y="30412"/>
                  </a:lnTo>
                  <a:lnTo>
                    <a:pt x="17156" y="30270"/>
                  </a:lnTo>
                  <a:lnTo>
                    <a:pt x="20062" y="29916"/>
                  </a:lnTo>
                  <a:lnTo>
                    <a:pt x="23252" y="29490"/>
                  </a:lnTo>
                  <a:lnTo>
                    <a:pt x="26442" y="28923"/>
                  </a:lnTo>
                  <a:lnTo>
                    <a:pt x="29491" y="28285"/>
                  </a:lnTo>
                  <a:lnTo>
                    <a:pt x="30767" y="27931"/>
                  </a:lnTo>
                  <a:lnTo>
                    <a:pt x="31972" y="27576"/>
                  </a:lnTo>
                  <a:lnTo>
                    <a:pt x="32964" y="27222"/>
                  </a:lnTo>
                  <a:lnTo>
                    <a:pt x="33673" y="26938"/>
                  </a:lnTo>
                  <a:lnTo>
                    <a:pt x="34453" y="26371"/>
                  </a:lnTo>
                  <a:lnTo>
                    <a:pt x="34949" y="25946"/>
                  </a:lnTo>
                  <a:lnTo>
                    <a:pt x="35303" y="25520"/>
                  </a:lnTo>
                  <a:lnTo>
                    <a:pt x="35445" y="25095"/>
                  </a:lnTo>
                  <a:lnTo>
                    <a:pt x="35374" y="24811"/>
                  </a:lnTo>
                  <a:lnTo>
                    <a:pt x="35303" y="24599"/>
                  </a:lnTo>
                  <a:lnTo>
                    <a:pt x="35162" y="24528"/>
                  </a:lnTo>
                  <a:lnTo>
                    <a:pt x="34949" y="24528"/>
                  </a:lnTo>
                  <a:lnTo>
                    <a:pt x="35091" y="24173"/>
                  </a:lnTo>
                  <a:lnTo>
                    <a:pt x="34949" y="23252"/>
                  </a:lnTo>
                  <a:lnTo>
                    <a:pt x="34949" y="23039"/>
                  </a:lnTo>
                  <a:lnTo>
                    <a:pt x="34878" y="22756"/>
                  </a:lnTo>
                  <a:lnTo>
                    <a:pt x="34736" y="22472"/>
                  </a:lnTo>
                  <a:lnTo>
                    <a:pt x="34736" y="22189"/>
                  </a:lnTo>
                  <a:lnTo>
                    <a:pt x="34736" y="22118"/>
                  </a:lnTo>
                  <a:lnTo>
                    <a:pt x="34665" y="21976"/>
                  </a:lnTo>
                  <a:lnTo>
                    <a:pt x="34382" y="21834"/>
                  </a:lnTo>
                  <a:lnTo>
                    <a:pt x="34169" y="21692"/>
                  </a:lnTo>
                  <a:lnTo>
                    <a:pt x="34098" y="21621"/>
                  </a:lnTo>
                  <a:lnTo>
                    <a:pt x="34098" y="21480"/>
                  </a:lnTo>
                  <a:lnTo>
                    <a:pt x="34169" y="20771"/>
                  </a:lnTo>
                  <a:lnTo>
                    <a:pt x="34240" y="20204"/>
                  </a:lnTo>
                  <a:lnTo>
                    <a:pt x="34240" y="19637"/>
                  </a:lnTo>
                  <a:lnTo>
                    <a:pt x="34240" y="19211"/>
                  </a:lnTo>
                  <a:lnTo>
                    <a:pt x="34098" y="18502"/>
                  </a:lnTo>
                  <a:lnTo>
                    <a:pt x="33957" y="18006"/>
                  </a:lnTo>
                  <a:lnTo>
                    <a:pt x="33886" y="17864"/>
                  </a:lnTo>
                  <a:lnTo>
                    <a:pt x="32893" y="17439"/>
                  </a:lnTo>
                  <a:lnTo>
                    <a:pt x="31901" y="17014"/>
                  </a:lnTo>
                  <a:lnTo>
                    <a:pt x="30979" y="16801"/>
                  </a:lnTo>
                  <a:lnTo>
                    <a:pt x="30199" y="16588"/>
                  </a:lnTo>
                  <a:lnTo>
                    <a:pt x="27576" y="16021"/>
                  </a:lnTo>
                  <a:lnTo>
                    <a:pt x="26159" y="15667"/>
                  </a:lnTo>
                  <a:lnTo>
                    <a:pt x="23536" y="14958"/>
                  </a:lnTo>
                  <a:lnTo>
                    <a:pt x="20488" y="14107"/>
                  </a:lnTo>
                  <a:lnTo>
                    <a:pt x="16589" y="12831"/>
                  </a:lnTo>
                  <a:lnTo>
                    <a:pt x="16376" y="12760"/>
                  </a:lnTo>
                  <a:lnTo>
                    <a:pt x="16234" y="12618"/>
                  </a:lnTo>
                  <a:lnTo>
                    <a:pt x="15880" y="12193"/>
                  </a:lnTo>
                  <a:lnTo>
                    <a:pt x="15667" y="11626"/>
                  </a:lnTo>
                  <a:lnTo>
                    <a:pt x="15454" y="10917"/>
                  </a:lnTo>
                  <a:lnTo>
                    <a:pt x="15242" y="10066"/>
                  </a:lnTo>
                  <a:lnTo>
                    <a:pt x="15171" y="9145"/>
                  </a:lnTo>
                  <a:lnTo>
                    <a:pt x="14958" y="7160"/>
                  </a:lnTo>
                  <a:lnTo>
                    <a:pt x="14887" y="5104"/>
                  </a:lnTo>
                  <a:lnTo>
                    <a:pt x="14887" y="3119"/>
                  </a:lnTo>
                  <a:lnTo>
                    <a:pt x="14816" y="1418"/>
                  </a:lnTo>
                  <a:lnTo>
                    <a:pt x="14816" y="213"/>
                  </a:lnTo>
                  <a:lnTo>
                    <a:pt x="14816" y="142"/>
                  </a:lnTo>
                  <a:lnTo>
                    <a:pt x="14745" y="71"/>
                  </a:lnTo>
                  <a:lnTo>
                    <a:pt x="14320" y="0"/>
                  </a:lnTo>
                  <a:close/>
                </a:path>
              </a:pathLst>
            </a:custGeom>
            <a:solidFill>
              <a:srgbClr val="2D2D2D"/>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54" name="Google Shape;21452;p90">
              <a:extLst>
                <a:ext uri="{FF2B5EF4-FFF2-40B4-BE49-F238E27FC236}">
                  <a16:creationId xmlns:a16="http://schemas.microsoft.com/office/drawing/2014/main" id="{FA5340A5-7E6D-75C5-6EB5-8FDE50E7A516}"/>
                </a:ext>
              </a:extLst>
            </p:cNvPr>
            <p:cNvSpPr/>
            <p:nvPr/>
          </p:nvSpPr>
          <p:spPr>
            <a:xfrm>
              <a:off x="1537975" y="2293925"/>
              <a:ext cx="886150" cy="760300"/>
            </a:xfrm>
            <a:custGeom>
              <a:avLst/>
              <a:gdLst/>
              <a:ahLst/>
              <a:cxnLst/>
              <a:rect l="l" t="t" r="r" b="b"/>
              <a:pathLst>
                <a:path w="35446" h="30412" fill="none" extrusionOk="0">
                  <a:moveTo>
                    <a:pt x="0" y="21267"/>
                  </a:moveTo>
                  <a:lnTo>
                    <a:pt x="0" y="21267"/>
                  </a:lnTo>
                  <a:lnTo>
                    <a:pt x="142" y="21480"/>
                  </a:lnTo>
                  <a:lnTo>
                    <a:pt x="497" y="21834"/>
                  </a:lnTo>
                  <a:lnTo>
                    <a:pt x="1773" y="22897"/>
                  </a:lnTo>
                  <a:lnTo>
                    <a:pt x="3545" y="24315"/>
                  </a:lnTo>
                  <a:lnTo>
                    <a:pt x="5672" y="25875"/>
                  </a:lnTo>
                  <a:lnTo>
                    <a:pt x="7940" y="27434"/>
                  </a:lnTo>
                  <a:lnTo>
                    <a:pt x="10138" y="28781"/>
                  </a:lnTo>
                  <a:lnTo>
                    <a:pt x="11130" y="29348"/>
                  </a:lnTo>
                  <a:lnTo>
                    <a:pt x="11981" y="29845"/>
                  </a:lnTo>
                  <a:lnTo>
                    <a:pt x="12761" y="30128"/>
                  </a:lnTo>
                  <a:lnTo>
                    <a:pt x="13399" y="30341"/>
                  </a:lnTo>
                  <a:lnTo>
                    <a:pt x="13399" y="30341"/>
                  </a:lnTo>
                  <a:lnTo>
                    <a:pt x="14037" y="30412"/>
                  </a:lnTo>
                  <a:lnTo>
                    <a:pt x="14887" y="30412"/>
                  </a:lnTo>
                  <a:lnTo>
                    <a:pt x="17156" y="30270"/>
                  </a:lnTo>
                  <a:lnTo>
                    <a:pt x="20062" y="29916"/>
                  </a:lnTo>
                  <a:lnTo>
                    <a:pt x="23252" y="29490"/>
                  </a:lnTo>
                  <a:lnTo>
                    <a:pt x="26442" y="28923"/>
                  </a:lnTo>
                  <a:lnTo>
                    <a:pt x="29491" y="28285"/>
                  </a:lnTo>
                  <a:lnTo>
                    <a:pt x="30767" y="27931"/>
                  </a:lnTo>
                  <a:lnTo>
                    <a:pt x="31972" y="27576"/>
                  </a:lnTo>
                  <a:lnTo>
                    <a:pt x="32964" y="27222"/>
                  </a:lnTo>
                  <a:lnTo>
                    <a:pt x="33673" y="26938"/>
                  </a:lnTo>
                  <a:lnTo>
                    <a:pt x="33673" y="26938"/>
                  </a:lnTo>
                  <a:lnTo>
                    <a:pt x="34453" y="26371"/>
                  </a:lnTo>
                  <a:lnTo>
                    <a:pt x="34949" y="25946"/>
                  </a:lnTo>
                  <a:lnTo>
                    <a:pt x="35303" y="25520"/>
                  </a:lnTo>
                  <a:lnTo>
                    <a:pt x="35445" y="25095"/>
                  </a:lnTo>
                  <a:lnTo>
                    <a:pt x="35374" y="24811"/>
                  </a:lnTo>
                  <a:lnTo>
                    <a:pt x="35303" y="24599"/>
                  </a:lnTo>
                  <a:lnTo>
                    <a:pt x="35162" y="24528"/>
                  </a:lnTo>
                  <a:lnTo>
                    <a:pt x="34949" y="24528"/>
                  </a:lnTo>
                  <a:lnTo>
                    <a:pt x="34949" y="24528"/>
                  </a:lnTo>
                  <a:lnTo>
                    <a:pt x="35091" y="24173"/>
                  </a:lnTo>
                  <a:lnTo>
                    <a:pt x="35091" y="24173"/>
                  </a:lnTo>
                  <a:lnTo>
                    <a:pt x="34949" y="23252"/>
                  </a:lnTo>
                  <a:lnTo>
                    <a:pt x="34949" y="23252"/>
                  </a:lnTo>
                  <a:lnTo>
                    <a:pt x="34949" y="23039"/>
                  </a:lnTo>
                  <a:lnTo>
                    <a:pt x="34878" y="22756"/>
                  </a:lnTo>
                  <a:lnTo>
                    <a:pt x="34736" y="22472"/>
                  </a:lnTo>
                  <a:lnTo>
                    <a:pt x="34736" y="22189"/>
                  </a:lnTo>
                  <a:lnTo>
                    <a:pt x="34736" y="22189"/>
                  </a:lnTo>
                  <a:lnTo>
                    <a:pt x="34736" y="22118"/>
                  </a:lnTo>
                  <a:lnTo>
                    <a:pt x="34665" y="21976"/>
                  </a:lnTo>
                  <a:lnTo>
                    <a:pt x="34382" y="21834"/>
                  </a:lnTo>
                  <a:lnTo>
                    <a:pt x="34169" y="21692"/>
                  </a:lnTo>
                  <a:lnTo>
                    <a:pt x="34098" y="21621"/>
                  </a:lnTo>
                  <a:lnTo>
                    <a:pt x="34098" y="21480"/>
                  </a:lnTo>
                  <a:lnTo>
                    <a:pt x="34098" y="21480"/>
                  </a:lnTo>
                  <a:lnTo>
                    <a:pt x="34169" y="20771"/>
                  </a:lnTo>
                  <a:lnTo>
                    <a:pt x="34240" y="20204"/>
                  </a:lnTo>
                  <a:lnTo>
                    <a:pt x="34240" y="19637"/>
                  </a:lnTo>
                  <a:lnTo>
                    <a:pt x="34240" y="19211"/>
                  </a:lnTo>
                  <a:lnTo>
                    <a:pt x="34098" y="18502"/>
                  </a:lnTo>
                  <a:lnTo>
                    <a:pt x="33957" y="18006"/>
                  </a:lnTo>
                  <a:lnTo>
                    <a:pt x="33957" y="18006"/>
                  </a:lnTo>
                  <a:lnTo>
                    <a:pt x="33886" y="17864"/>
                  </a:lnTo>
                  <a:lnTo>
                    <a:pt x="33886" y="17864"/>
                  </a:lnTo>
                  <a:lnTo>
                    <a:pt x="32893" y="17439"/>
                  </a:lnTo>
                  <a:lnTo>
                    <a:pt x="31901" y="17014"/>
                  </a:lnTo>
                  <a:lnTo>
                    <a:pt x="31901" y="17014"/>
                  </a:lnTo>
                  <a:lnTo>
                    <a:pt x="30979" y="16801"/>
                  </a:lnTo>
                  <a:lnTo>
                    <a:pt x="30979" y="16801"/>
                  </a:lnTo>
                  <a:lnTo>
                    <a:pt x="30199" y="16588"/>
                  </a:lnTo>
                  <a:lnTo>
                    <a:pt x="30199" y="16588"/>
                  </a:lnTo>
                  <a:lnTo>
                    <a:pt x="27576" y="16021"/>
                  </a:lnTo>
                  <a:lnTo>
                    <a:pt x="27576" y="16021"/>
                  </a:lnTo>
                  <a:lnTo>
                    <a:pt x="26159" y="15667"/>
                  </a:lnTo>
                  <a:lnTo>
                    <a:pt x="26159" y="15667"/>
                  </a:lnTo>
                  <a:lnTo>
                    <a:pt x="23536" y="14958"/>
                  </a:lnTo>
                  <a:lnTo>
                    <a:pt x="20488" y="14107"/>
                  </a:lnTo>
                  <a:lnTo>
                    <a:pt x="16589" y="12831"/>
                  </a:lnTo>
                  <a:lnTo>
                    <a:pt x="16589" y="12831"/>
                  </a:lnTo>
                  <a:lnTo>
                    <a:pt x="16376" y="12760"/>
                  </a:lnTo>
                  <a:lnTo>
                    <a:pt x="16234" y="12618"/>
                  </a:lnTo>
                  <a:lnTo>
                    <a:pt x="15880" y="12193"/>
                  </a:lnTo>
                  <a:lnTo>
                    <a:pt x="15667" y="11626"/>
                  </a:lnTo>
                  <a:lnTo>
                    <a:pt x="15454" y="10917"/>
                  </a:lnTo>
                  <a:lnTo>
                    <a:pt x="15242" y="10066"/>
                  </a:lnTo>
                  <a:lnTo>
                    <a:pt x="15171" y="9145"/>
                  </a:lnTo>
                  <a:lnTo>
                    <a:pt x="14958" y="7160"/>
                  </a:lnTo>
                  <a:lnTo>
                    <a:pt x="14887" y="5104"/>
                  </a:lnTo>
                  <a:lnTo>
                    <a:pt x="14887" y="3119"/>
                  </a:lnTo>
                  <a:lnTo>
                    <a:pt x="14816" y="1418"/>
                  </a:lnTo>
                  <a:lnTo>
                    <a:pt x="14816" y="213"/>
                  </a:lnTo>
                  <a:lnTo>
                    <a:pt x="14816" y="213"/>
                  </a:lnTo>
                  <a:lnTo>
                    <a:pt x="14816" y="142"/>
                  </a:lnTo>
                  <a:lnTo>
                    <a:pt x="14745" y="71"/>
                  </a:lnTo>
                  <a:lnTo>
                    <a:pt x="14320" y="0"/>
                  </a:lnTo>
                  <a:lnTo>
                    <a:pt x="14320" y="0"/>
                  </a:lnTo>
                  <a:lnTo>
                    <a:pt x="13186" y="71"/>
                  </a:lnTo>
                  <a:lnTo>
                    <a:pt x="11697" y="213"/>
                  </a:lnTo>
                  <a:lnTo>
                    <a:pt x="11697" y="213"/>
                  </a:lnTo>
                  <a:lnTo>
                    <a:pt x="11697" y="213"/>
                  </a:lnTo>
                  <a:lnTo>
                    <a:pt x="11130" y="284"/>
                  </a:lnTo>
                  <a:lnTo>
                    <a:pt x="11130" y="284"/>
                  </a:lnTo>
                  <a:lnTo>
                    <a:pt x="10917" y="2410"/>
                  </a:lnTo>
                  <a:lnTo>
                    <a:pt x="10776" y="4608"/>
                  </a:lnTo>
                  <a:lnTo>
                    <a:pt x="10705" y="7231"/>
                  </a:lnTo>
                  <a:lnTo>
                    <a:pt x="10705" y="8649"/>
                  </a:lnTo>
                  <a:lnTo>
                    <a:pt x="10847" y="10066"/>
                  </a:lnTo>
                  <a:lnTo>
                    <a:pt x="10988" y="11413"/>
                  </a:lnTo>
                  <a:lnTo>
                    <a:pt x="11201" y="12689"/>
                  </a:lnTo>
                  <a:lnTo>
                    <a:pt x="11485" y="13894"/>
                  </a:lnTo>
                  <a:lnTo>
                    <a:pt x="11910" y="14887"/>
                  </a:lnTo>
                  <a:lnTo>
                    <a:pt x="12123" y="15383"/>
                  </a:lnTo>
                  <a:lnTo>
                    <a:pt x="12406" y="15808"/>
                  </a:lnTo>
                  <a:lnTo>
                    <a:pt x="12690" y="16163"/>
                  </a:lnTo>
                  <a:lnTo>
                    <a:pt x="13044" y="16446"/>
                  </a:lnTo>
                  <a:lnTo>
                    <a:pt x="13044" y="16446"/>
                  </a:lnTo>
                  <a:lnTo>
                    <a:pt x="14462" y="17368"/>
                  </a:lnTo>
                  <a:lnTo>
                    <a:pt x="16234" y="18361"/>
                  </a:lnTo>
                  <a:lnTo>
                    <a:pt x="20204" y="20416"/>
                  </a:lnTo>
                  <a:lnTo>
                    <a:pt x="23607" y="22047"/>
                  </a:lnTo>
                  <a:lnTo>
                    <a:pt x="24741" y="22543"/>
                  </a:lnTo>
                  <a:lnTo>
                    <a:pt x="25308" y="22685"/>
                  </a:lnTo>
                  <a:lnTo>
                    <a:pt x="25379" y="22685"/>
                  </a:lnTo>
                  <a:lnTo>
                    <a:pt x="25379" y="22685"/>
                  </a:lnTo>
                  <a:lnTo>
                    <a:pt x="23819" y="23181"/>
                  </a:lnTo>
                  <a:lnTo>
                    <a:pt x="20488" y="24173"/>
                  </a:lnTo>
                  <a:lnTo>
                    <a:pt x="20488" y="24173"/>
                  </a:lnTo>
                  <a:lnTo>
                    <a:pt x="18503" y="24741"/>
                  </a:lnTo>
                  <a:lnTo>
                    <a:pt x="16589" y="25237"/>
                  </a:lnTo>
                  <a:lnTo>
                    <a:pt x="15100" y="25520"/>
                  </a:lnTo>
                  <a:lnTo>
                    <a:pt x="14533" y="25591"/>
                  </a:lnTo>
                  <a:lnTo>
                    <a:pt x="14178" y="25591"/>
                  </a:lnTo>
                  <a:lnTo>
                    <a:pt x="14178" y="25591"/>
                  </a:lnTo>
                  <a:lnTo>
                    <a:pt x="13824" y="25449"/>
                  </a:lnTo>
                  <a:lnTo>
                    <a:pt x="13257" y="25166"/>
                  </a:lnTo>
                  <a:lnTo>
                    <a:pt x="11910" y="24386"/>
                  </a:lnTo>
                  <a:lnTo>
                    <a:pt x="10279" y="23323"/>
                  </a:lnTo>
                  <a:lnTo>
                    <a:pt x="8507" y="22189"/>
                  </a:lnTo>
                  <a:lnTo>
                    <a:pt x="5104" y="19849"/>
                  </a:lnTo>
                  <a:lnTo>
                    <a:pt x="3687" y="18928"/>
                  </a:lnTo>
                  <a:lnTo>
                    <a:pt x="2694" y="18290"/>
                  </a:lnTo>
                  <a:lnTo>
                    <a:pt x="2694" y="18290"/>
                  </a:lnTo>
                  <a:lnTo>
                    <a:pt x="2127" y="18786"/>
                  </a:lnTo>
                  <a:lnTo>
                    <a:pt x="2127" y="18786"/>
                  </a:lnTo>
                  <a:lnTo>
                    <a:pt x="1347" y="19566"/>
                  </a:lnTo>
                  <a:lnTo>
                    <a:pt x="426" y="20700"/>
                  </a:lnTo>
                  <a:lnTo>
                    <a:pt x="426" y="20700"/>
                  </a:lnTo>
                  <a:lnTo>
                    <a:pt x="0" y="21267"/>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55" name="Google Shape;21453;p90">
              <a:extLst>
                <a:ext uri="{FF2B5EF4-FFF2-40B4-BE49-F238E27FC236}">
                  <a16:creationId xmlns:a16="http://schemas.microsoft.com/office/drawing/2014/main" id="{E7DC9507-5D94-E486-CFA1-18DB6B0BDDCC}"/>
                </a:ext>
              </a:extLst>
            </p:cNvPr>
            <p:cNvSpPr/>
            <p:nvPr/>
          </p:nvSpPr>
          <p:spPr>
            <a:xfrm>
              <a:off x="2239775" y="3008125"/>
              <a:ext cx="3575" cy="1800"/>
            </a:xfrm>
            <a:custGeom>
              <a:avLst/>
              <a:gdLst/>
              <a:ahLst/>
              <a:cxnLst/>
              <a:rect l="l" t="t" r="r" b="b"/>
              <a:pathLst>
                <a:path w="143" h="72" extrusionOk="0">
                  <a:moveTo>
                    <a:pt x="1" y="1"/>
                  </a:moveTo>
                  <a:lnTo>
                    <a:pt x="1" y="72"/>
                  </a:lnTo>
                  <a:lnTo>
                    <a:pt x="143" y="1"/>
                  </a:lnTo>
                  <a:close/>
                </a:path>
              </a:pathLst>
            </a:custGeom>
            <a:solidFill>
              <a:srgbClr val="8D879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56" name="Google Shape;21454;p90">
              <a:extLst>
                <a:ext uri="{FF2B5EF4-FFF2-40B4-BE49-F238E27FC236}">
                  <a16:creationId xmlns:a16="http://schemas.microsoft.com/office/drawing/2014/main" id="{1B918E30-A2C7-16A6-DC1C-0BD95F2E6785}"/>
                </a:ext>
              </a:extLst>
            </p:cNvPr>
            <p:cNvSpPr/>
            <p:nvPr/>
          </p:nvSpPr>
          <p:spPr>
            <a:xfrm>
              <a:off x="2239775" y="3008125"/>
              <a:ext cx="3575" cy="1800"/>
            </a:xfrm>
            <a:custGeom>
              <a:avLst/>
              <a:gdLst/>
              <a:ahLst/>
              <a:cxnLst/>
              <a:rect l="l" t="t" r="r" b="b"/>
              <a:pathLst>
                <a:path w="143" h="72" fill="none" extrusionOk="0">
                  <a:moveTo>
                    <a:pt x="143" y="1"/>
                  </a:moveTo>
                  <a:lnTo>
                    <a:pt x="143" y="1"/>
                  </a:lnTo>
                  <a:lnTo>
                    <a:pt x="1" y="1"/>
                  </a:lnTo>
                  <a:lnTo>
                    <a:pt x="1" y="1"/>
                  </a:lnTo>
                  <a:lnTo>
                    <a:pt x="1" y="72"/>
                  </a:lnTo>
                  <a:lnTo>
                    <a:pt x="143"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57" name="Google Shape;21455;p90">
              <a:extLst>
                <a:ext uri="{FF2B5EF4-FFF2-40B4-BE49-F238E27FC236}">
                  <a16:creationId xmlns:a16="http://schemas.microsoft.com/office/drawing/2014/main" id="{B4EEB2D5-CE4E-7084-901D-3066A4E1FE19}"/>
                </a:ext>
              </a:extLst>
            </p:cNvPr>
            <p:cNvSpPr/>
            <p:nvPr/>
          </p:nvSpPr>
          <p:spPr>
            <a:xfrm>
              <a:off x="2239775" y="2790150"/>
              <a:ext cx="69150" cy="218000"/>
            </a:xfrm>
            <a:custGeom>
              <a:avLst/>
              <a:gdLst/>
              <a:ahLst/>
              <a:cxnLst/>
              <a:rect l="l" t="t" r="r" b="b"/>
              <a:pathLst>
                <a:path w="2766" h="8720" extrusionOk="0">
                  <a:moveTo>
                    <a:pt x="2198" y="0"/>
                  </a:moveTo>
                  <a:lnTo>
                    <a:pt x="993" y="5175"/>
                  </a:lnTo>
                  <a:lnTo>
                    <a:pt x="426" y="7444"/>
                  </a:lnTo>
                  <a:lnTo>
                    <a:pt x="213" y="8223"/>
                  </a:lnTo>
                  <a:lnTo>
                    <a:pt x="1" y="8720"/>
                  </a:lnTo>
                  <a:lnTo>
                    <a:pt x="143" y="8720"/>
                  </a:lnTo>
                  <a:lnTo>
                    <a:pt x="710" y="8507"/>
                  </a:lnTo>
                  <a:lnTo>
                    <a:pt x="710" y="8294"/>
                  </a:lnTo>
                  <a:lnTo>
                    <a:pt x="851" y="7727"/>
                  </a:lnTo>
                  <a:lnTo>
                    <a:pt x="1419" y="5884"/>
                  </a:lnTo>
                  <a:lnTo>
                    <a:pt x="2127" y="3474"/>
                  </a:lnTo>
                  <a:lnTo>
                    <a:pt x="2482" y="2127"/>
                  </a:lnTo>
                  <a:lnTo>
                    <a:pt x="2765" y="780"/>
                  </a:lnTo>
                  <a:lnTo>
                    <a:pt x="2198" y="0"/>
                  </a:lnTo>
                  <a:close/>
                </a:path>
              </a:pathLst>
            </a:custGeom>
            <a:solidFill>
              <a:srgbClr val="292932"/>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58" name="Google Shape;21456;p90">
              <a:extLst>
                <a:ext uri="{FF2B5EF4-FFF2-40B4-BE49-F238E27FC236}">
                  <a16:creationId xmlns:a16="http://schemas.microsoft.com/office/drawing/2014/main" id="{91F91B65-ECC5-A51D-955D-D94815C017AE}"/>
                </a:ext>
              </a:extLst>
            </p:cNvPr>
            <p:cNvSpPr/>
            <p:nvPr/>
          </p:nvSpPr>
          <p:spPr>
            <a:xfrm>
              <a:off x="2239775" y="2790150"/>
              <a:ext cx="69150" cy="218000"/>
            </a:xfrm>
            <a:custGeom>
              <a:avLst/>
              <a:gdLst/>
              <a:ahLst/>
              <a:cxnLst/>
              <a:rect l="l" t="t" r="r" b="b"/>
              <a:pathLst>
                <a:path w="2766" h="8720" fill="none" extrusionOk="0">
                  <a:moveTo>
                    <a:pt x="2198" y="0"/>
                  </a:moveTo>
                  <a:lnTo>
                    <a:pt x="2198" y="0"/>
                  </a:lnTo>
                  <a:lnTo>
                    <a:pt x="993" y="5175"/>
                  </a:lnTo>
                  <a:lnTo>
                    <a:pt x="426" y="7444"/>
                  </a:lnTo>
                  <a:lnTo>
                    <a:pt x="213" y="8223"/>
                  </a:lnTo>
                  <a:lnTo>
                    <a:pt x="1" y="8720"/>
                  </a:lnTo>
                  <a:lnTo>
                    <a:pt x="1" y="8720"/>
                  </a:lnTo>
                  <a:lnTo>
                    <a:pt x="143" y="8720"/>
                  </a:lnTo>
                  <a:lnTo>
                    <a:pt x="710" y="8507"/>
                  </a:lnTo>
                  <a:lnTo>
                    <a:pt x="710" y="8507"/>
                  </a:lnTo>
                  <a:lnTo>
                    <a:pt x="710" y="8507"/>
                  </a:lnTo>
                  <a:lnTo>
                    <a:pt x="710" y="8294"/>
                  </a:lnTo>
                  <a:lnTo>
                    <a:pt x="851" y="7727"/>
                  </a:lnTo>
                  <a:lnTo>
                    <a:pt x="1419" y="5884"/>
                  </a:lnTo>
                  <a:lnTo>
                    <a:pt x="2127" y="3474"/>
                  </a:lnTo>
                  <a:lnTo>
                    <a:pt x="2482" y="2127"/>
                  </a:lnTo>
                  <a:lnTo>
                    <a:pt x="2765" y="780"/>
                  </a:lnTo>
                  <a:lnTo>
                    <a:pt x="2765" y="780"/>
                  </a:lnTo>
                  <a:lnTo>
                    <a:pt x="2198"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59" name="Google Shape;21457;p90">
              <a:extLst>
                <a:ext uri="{FF2B5EF4-FFF2-40B4-BE49-F238E27FC236}">
                  <a16:creationId xmlns:a16="http://schemas.microsoft.com/office/drawing/2014/main" id="{D0BF53C4-66D3-EC5D-7001-879DD945C588}"/>
                </a:ext>
              </a:extLst>
            </p:cNvPr>
            <p:cNvSpPr/>
            <p:nvPr/>
          </p:nvSpPr>
          <p:spPr>
            <a:xfrm>
              <a:off x="2257500" y="2712175"/>
              <a:ext cx="104600" cy="295975"/>
            </a:xfrm>
            <a:custGeom>
              <a:avLst/>
              <a:gdLst/>
              <a:ahLst/>
              <a:cxnLst/>
              <a:rect l="l" t="t" r="r" b="b"/>
              <a:pathLst>
                <a:path w="4184" h="11839" extrusionOk="0">
                  <a:moveTo>
                    <a:pt x="2978" y="0"/>
                  </a:moveTo>
                  <a:lnTo>
                    <a:pt x="2694" y="71"/>
                  </a:lnTo>
                  <a:lnTo>
                    <a:pt x="2553" y="213"/>
                  </a:lnTo>
                  <a:lnTo>
                    <a:pt x="2482" y="425"/>
                  </a:lnTo>
                  <a:lnTo>
                    <a:pt x="2482" y="1134"/>
                  </a:lnTo>
                  <a:lnTo>
                    <a:pt x="2411" y="1914"/>
                  </a:lnTo>
                  <a:lnTo>
                    <a:pt x="2127" y="3615"/>
                  </a:lnTo>
                  <a:lnTo>
                    <a:pt x="1702" y="5459"/>
                  </a:lnTo>
                  <a:lnTo>
                    <a:pt x="1206" y="7231"/>
                  </a:lnTo>
                  <a:lnTo>
                    <a:pt x="355" y="10279"/>
                  </a:lnTo>
                  <a:lnTo>
                    <a:pt x="72" y="11201"/>
                  </a:lnTo>
                  <a:lnTo>
                    <a:pt x="1" y="11626"/>
                  </a:lnTo>
                  <a:lnTo>
                    <a:pt x="284" y="11768"/>
                  </a:lnTo>
                  <a:lnTo>
                    <a:pt x="710" y="11839"/>
                  </a:lnTo>
                  <a:lnTo>
                    <a:pt x="1206" y="11839"/>
                  </a:lnTo>
                  <a:lnTo>
                    <a:pt x="1418" y="11697"/>
                  </a:lnTo>
                  <a:lnTo>
                    <a:pt x="1560" y="11555"/>
                  </a:lnTo>
                  <a:lnTo>
                    <a:pt x="1773" y="11059"/>
                  </a:lnTo>
                  <a:lnTo>
                    <a:pt x="2127" y="10066"/>
                  </a:lnTo>
                  <a:lnTo>
                    <a:pt x="2624" y="8649"/>
                  </a:lnTo>
                  <a:lnTo>
                    <a:pt x="3120" y="6947"/>
                  </a:lnTo>
                  <a:lnTo>
                    <a:pt x="3616" y="5175"/>
                  </a:lnTo>
                  <a:lnTo>
                    <a:pt x="3970" y="3403"/>
                  </a:lnTo>
                  <a:lnTo>
                    <a:pt x="4112" y="2481"/>
                  </a:lnTo>
                  <a:lnTo>
                    <a:pt x="4183" y="1701"/>
                  </a:lnTo>
                  <a:lnTo>
                    <a:pt x="4183" y="993"/>
                  </a:lnTo>
                  <a:lnTo>
                    <a:pt x="4183" y="284"/>
                  </a:lnTo>
                  <a:lnTo>
                    <a:pt x="4112" y="142"/>
                  </a:lnTo>
                  <a:lnTo>
                    <a:pt x="3900" y="71"/>
                  </a:lnTo>
                  <a:lnTo>
                    <a:pt x="3616" y="0"/>
                  </a:lnTo>
                  <a:close/>
                </a:path>
              </a:pathLst>
            </a:custGeom>
            <a:solidFill>
              <a:srgbClr val="46464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60" name="Google Shape;21458;p90">
              <a:extLst>
                <a:ext uri="{FF2B5EF4-FFF2-40B4-BE49-F238E27FC236}">
                  <a16:creationId xmlns:a16="http://schemas.microsoft.com/office/drawing/2014/main" id="{A7D3B8D0-CA57-D057-7C9E-128ECBEFBE36}"/>
                </a:ext>
              </a:extLst>
            </p:cNvPr>
            <p:cNvSpPr/>
            <p:nvPr/>
          </p:nvSpPr>
          <p:spPr>
            <a:xfrm>
              <a:off x="2257500" y="2712175"/>
              <a:ext cx="104600" cy="295975"/>
            </a:xfrm>
            <a:custGeom>
              <a:avLst/>
              <a:gdLst/>
              <a:ahLst/>
              <a:cxnLst/>
              <a:rect l="l" t="t" r="r" b="b"/>
              <a:pathLst>
                <a:path w="4184" h="11839" fill="none" extrusionOk="0">
                  <a:moveTo>
                    <a:pt x="1560" y="11555"/>
                  </a:moveTo>
                  <a:lnTo>
                    <a:pt x="1560" y="11555"/>
                  </a:lnTo>
                  <a:lnTo>
                    <a:pt x="1418" y="11697"/>
                  </a:lnTo>
                  <a:lnTo>
                    <a:pt x="1206" y="11839"/>
                  </a:lnTo>
                  <a:lnTo>
                    <a:pt x="922" y="11839"/>
                  </a:lnTo>
                  <a:lnTo>
                    <a:pt x="710" y="11839"/>
                  </a:lnTo>
                  <a:lnTo>
                    <a:pt x="284" y="11768"/>
                  </a:lnTo>
                  <a:lnTo>
                    <a:pt x="1" y="11626"/>
                  </a:lnTo>
                  <a:lnTo>
                    <a:pt x="1" y="11626"/>
                  </a:lnTo>
                  <a:lnTo>
                    <a:pt x="72" y="11201"/>
                  </a:lnTo>
                  <a:lnTo>
                    <a:pt x="355" y="10279"/>
                  </a:lnTo>
                  <a:lnTo>
                    <a:pt x="1206" y="7231"/>
                  </a:lnTo>
                  <a:lnTo>
                    <a:pt x="1702" y="5459"/>
                  </a:lnTo>
                  <a:lnTo>
                    <a:pt x="2127" y="3615"/>
                  </a:lnTo>
                  <a:lnTo>
                    <a:pt x="2411" y="1914"/>
                  </a:lnTo>
                  <a:lnTo>
                    <a:pt x="2482" y="1134"/>
                  </a:lnTo>
                  <a:lnTo>
                    <a:pt x="2482" y="425"/>
                  </a:lnTo>
                  <a:lnTo>
                    <a:pt x="2482" y="425"/>
                  </a:lnTo>
                  <a:lnTo>
                    <a:pt x="2553" y="213"/>
                  </a:lnTo>
                  <a:lnTo>
                    <a:pt x="2694" y="71"/>
                  </a:lnTo>
                  <a:lnTo>
                    <a:pt x="2978" y="0"/>
                  </a:lnTo>
                  <a:lnTo>
                    <a:pt x="3262" y="0"/>
                  </a:lnTo>
                  <a:lnTo>
                    <a:pt x="3616" y="0"/>
                  </a:lnTo>
                  <a:lnTo>
                    <a:pt x="3900" y="71"/>
                  </a:lnTo>
                  <a:lnTo>
                    <a:pt x="4112" y="142"/>
                  </a:lnTo>
                  <a:lnTo>
                    <a:pt x="4183" y="284"/>
                  </a:lnTo>
                  <a:lnTo>
                    <a:pt x="4183" y="284"/>
                  </a:lnTo>
                  <a:lnTo>
                    <a:pt x="4183" y="993"/>
                  </a:lnTo>
                  <a:lnTo>
                    <a:pt x="4183" y="1701"/>
                  </a:lnTo>
                  <a:lnTo>
                    <a:pt x="4112" y="2481"/>
                  </a:lnTo>
                  <a:lnTo>
                    <a:pt x="3970" y="3403"/>
                  </a:lnTo>
                  <a:lnTo>
                    <a:pt x="3616" y="5175"/>
                  </a:lnTo>
                  <a:lnTo>
                    <a:pt x="3120" y="6947"/>
                  </a:lnTo>
                  <a:lnTo>
                    <a:pt x="2624" y="8649"/>
                  </a:lnTo>
                  <a:lnTo>
                    <a:pt x="2127" y="10066"/>
                  </a:lnTo>
                  <a:lnTo>
                    <a:pt x="1773" y="11059"/>
                  </a:lnTo>
                  <a:lnTo>
                    <a:pt x="1560" y="11555"/>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61" name="Google Shape;21459;p90">
              <a:extLst>
                <a:ext uri="{FF2B5EF4-FFF2-40B4-BE49-F238E27FC236}">
                  <a16:creationId xmlns:a16="http://schemas.microsoft.com/office/drawing/2014/main" id="{C3935565-1638-5286-AABD-7B0B7AC2ACC5}"/>
                </a:ext>
              </a:extLst>
            </p:cNvPr>
            <p:cNvSpPr/>
            <p:nvPr/>
          </p:nvSpPr>
          <p:spPr>
            <a:xfrm>
              <a:off x="2767900" y="2834450"/>
              <a:ext cx="120550" cy="102825"/>
            </a:xfrm>
            <a:custGeom>
              <a:avLst/>
              <a:gdLst/>
              <a:ahLst/>
              <a:cxnLst/>
              <a:rect l="l" t="t" r="r" b="b"/>
              <a:pathLst>
                <a:path w="4822" h="4113" extrusionOk="0">
                  <a:moveTo>
                    <a:pt x="4680" y="0"/>
                  </a:moveTo>
                  <a:lnTo>
                    <a:pt x="3829" y="71"/>
                  </a:lnTo>
                  <a:lnTo>
                    <a:pt x="3049" y="284"/>
                  </a:lnTo>
                  <a:lnTo>
                    <a:pt x="2057" y="638"/>
                  </a:lnTo>
                  <a:lnTo>
                    <a:pt x="1206" y="1135"/>
                  </a:lnTo>
                  <a:lnTo>
                    <a:pt x="781" y="1347"/>
                  </a:lnTo>
                  <a:lnTo>
                    <a:pt x="497" y="1631"/>
                  </a:lnTo>
                  <a:lnTo>
                    <a:pt x="355" y="1702"/>
                  </a:lnTo>
                  <a:lnTo>
                    <a:pt x="143" y="1985"/>
                  </a:lnTo>
                  <a:lnTo>
                    <a:pt x="72" y="2198"/>
                  </a:lnTo>
                  <a:lnTo>
                    <a:pt x="1" y="2482"/>
                  </a:lnTo>
                  <a:lnTo>
                    <a:pt x="1" y="2765"/>
                  </a:lnTo>
                  <a:lnTo>
                    <a:pt x="1" y="3190"/>
                  </a:lnTo>
                  <a:lnTo>
                    <a:pt x="355" y="3332"/>
                  </a:lnTo>
                  <a:lnTo>
                    <a:pt x="639" y="3545"/>
                  </a:lnTo>
                  <a:lnTo>
                    <a:pt x="1064" y="3899"/>
                  </a:lnTo>
                  <a:lnTo>
                    <a:pt x="1277" y="4041"/>
                  </a:lnTo>
                  <a:lnTo>
                    <a:pt x="1419" y="4112"/>
                  </a:lnTo>
                  <a:lnTo>
                    <a:pt x="1560" y="4112"/>
                  </a:lnTo>
                  <a:lnTo>
                    <a:pt x="1702" y="3970"/>
                  </a:lnTo>
                  <a:lnTo>
                    <a:pt x="2128" y="3545"/>
                  </a:lnTo>
                  <a:lnTo>
                    <a:pt x="2482" y="3332"/>
                  </a:lnTo>
                  <a:lnTo>
                    <a:pt x="3120" y="2978"/>
                  </a:lnTo>
                  <a:lnTo>
                    <a:pt x="3545" y="2765"/>
                  </a:lnTo>
                  <a:lnTo>
                    <a:pt x="3900" y="2623"/>
                  </a:lnTo>
                  <a:lnTo>
                    <a:pt x="4183" y="2623"/>
                  </a:lnTo>
                  <a:lnTo>
                    <a:pt x="4396" y="1773"/>
                  </a:lnTo>
                  <a:lnTo>
                    <a:pt x="4821" y="71"/>
                  </a:lnTo>
                  <a:lnTo>
                    <a:pt x="4680" y="0"/>
                  </a:lnTo>
                  <a:close/>
                </a:path>
              </a:pathLst>
            </a:custGeom>
            <a:solidFill>
              <a:srgbClr val="EFAEA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62" name="Google Shape;21460;p90">
              <a:extLst>
                <a:ext uri="{FF2B5EF4-FFF2-40B4-BE49-F238E27FC236}">
                  <a16:creationId xmlns:a16="http://schemas.microsoft.com/office/drawing/2014/main" id="{F4D7D457-63FF-0DDB-6696-ECA98213796C}"/>
                </a:ext>
              </a:extLst>
            </p:cNvPr>
            <p:cNvSpPr/>
            <p:nvPr/>
          </p:nvSpPr>
          <p:spPr>
            <a:xfrm>
              <a:off x="2767900" y="2834450"/>
              <a:ext cx="120550" cy="102825"/>
            </a:xfrm>
            <a:custGeom>
              <a:avLst/>
              <a:gdLst/>
              <a:ahLst/>
              <a:cxnLst/>
              <a:rect l="l" t="t" r="r" b="b"/>
              <a:pathLst>
                <a:path w="4822" h="4113" fill="none" extrusionOk="0">
                  <a:moveTo>
                    <a:pt x="1" y="3190"/>
                  </a:moveTo>
                  <a:lnTo>
                    <a:pt x="1" y="3190"/>
                  </a:lnTo>
                  <a:lnTo>
                    <a:pt x="1" y="2765"/>
                  </a:lnTo>
                  <a:lnTo>
                    <a:pt x="1" y="2482"/>
                  </a:lnTo>
                  <a:lnTo>
                    <a:pt x="72" y="2198"/>
                  </a:lnTo>
                  <a:lnTo>
                    <a:pt x="143" y="1985"/>
                  </a:lnTo>
                  <a:lnTo>
                    <a:pt x="355" y="1702"/>
                  </a:lnTo>
                  <a:lnTo>
                    <a:pt x="497" y="1631"/>
                  </a:lnTo>
                  <a:lnTo>
                    <a:pt x="497" y="1631"/>
                  </a:lnTo>
                  <a:lnTo>
                    <a:pt x="781" y="1347"/>
                  </a:lnTo>
                  <a:lnTo>
                    <a:pt x="1206" y="1135"/>
                  </a:lnTo>
                  <a:lnTo>
                    <a:pt x="2057" y="638"/>
                  </a:lnTo>
                  <a:lnTo>
                    <a:pt x="3049" y="284"/>
                  </a:lnTo>
                  <a:lnTo>
                    <a:pt x="3829" y="71"/>
                  </a:lnTo>
                  <a:lnTo>
                    <a:pt x="3829" y="71"/>
                  </a:lnTo>
                  <a:lnTo>
                    <a:pt x="4680" y="0"/>
                  </a:lnTo>
                  <a:lnTo>
                    <a:pt x="4821" y="71"/>
                  </a:lnTo>
                  <a:lnTo>
                    <a:pt x="4396" y="1773"/>
                  </a:lnTo>
                  <a:lnTo>
                    <a:pt x="4183" y="2623"/>
                  </a:lnTo>
                  <a:lnTo>
                    <a:pt x="4183" y="2623"/>
                  </a:lnTo>
                  <a:lnTo>
                    <a:pt x="3900" y="2623"/>
                  </a:lnTo>
                  <a:lnTo>
                    <a:pt x="3545" y="2765"/>
                  </a:lnTo>
                  <a:lnTo>
                    <a:pt x="3120" y="2978"/>
                  </a:lnTo>
                  <a:lnTo>
                    <a:pt x="3120" y="2978"/>
                  </a:lnTo>
                  <a:lnTo>
                    <a:pt x="2482" y="3332"/>
                  </a:lnTo>
                  <a:lnTo>
                    <a:pt x="2128" y="3545"/>
                  </a:lnTo>
                  <a:lnTo>
                    <a:pt x="1702" y="3970"/>
                  </a:lnTo>
                  <a:lnTo>
                    <a:pt x="1702" y="3970"/>
                  </a:lnTo>
                  <a:lnTo>
                    <a:pt x="1560" y="4112"/>
                  </a:lnTo>
                  <a:lnTo>
                    <a:pt x="1419" y="4112"/>
                  </a:lnTo>
                  <a:lnTo>
                    <a:pt x="1277" y="4041"/>
                  </a:lnTo>
                  <a:lnTo>
                    <a:pt x="1064" y="3899"/>
                  </a:lnTo>
                  <a:lnTo>
                    <a:pt x="639" y="3545"/>
                  </a:lnTo>
                  <a:lnTo>
                    <a:pt x="355" y="3332"/>
                  </a:lnTo>
                  <a:lnTo>
                    <a:pt x="1" y="319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63" name="Google Shape;21461;p90">
              <a:extLst>
                <a:ext uri="{FF2B5EF4-FFF2-40B4-BE49-F238E27FC236}">
                  <a16:creationId xmlns:a16="http://schemas.microsoft.com/office/drawing/2014/main" id="{23564792-4F89-40F1-F57B-BD72BA71FF20}"/>
                </a:ext>
              </a:extLst>
            </p:cNvPr>
            <p:cNvSpPr/>
            <p:nvPr/>
          </p:nvSpPr>
          <p:spPr>
            <a:xfrm>
              <a:off x="2844125" y="2900025"/>
              <a:ext cx="28375" cy="10650"/>
            </a:xfrm>
            <a:custGeom>
              <a:avLst/>
              <a:gdLst/>
              <a:ahLst/>
              <a:cxnLst/>
              <a:rect l="l" t="t" r="r" b="b"/>
              <a:pathLst>
                <a:path w="1135" h="426" extrusionOk="0">
                  <a:moveTo>
                    <a:pt x="851" y="0"/>
                  </a:moveTo>
                  <a:lnTo>
                    <a:pt x="496" y="142"/>
                  </a:lnTo>
                  <a:lnTo>
                    <a:pt x="71" y="355"/>
                  </a:lnTo>
                  <a:lnTo>
                    <a:pt x="0" y="426"/>
                  </a:lnTo>
                  <a:lnTo>
                    <a:pt x="425" y="213"/>
                  </a:lnTo>
                  <a:lnTo>
                    <a:pt x="780" y="71"/>
                  </a:lnTo>
                  <a:lnTo>
                    <a:pt x="1134" y="0"/>
                  </a:lnTo>
                  <a:close/>
                </a:path>
              </a:pathLst>
            </a:custGeom>
            <a:solidFill>
              <a:srgbClr val="CBC9C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64" name="Google Shape;21462;p90">
              <a:extLst>
                <a:ext uri="{FF2B5EF4-FFF2-40B4-BE49-F238E27FC236}">
                  <a16:creationId xmlns:a16="http://schemas.microsoft.com/office/drawing/2014/main" id="{9C47EFB6-FAA8-12EA-8DA6-F61DFEC41265}"/>
                </a:ext>
              </a:extLst>
            </p:cNvPr>
            <p:cNvSpPr/>
            <p:nvPr/>
          </p:nvSpPr>
          <p:spPr>
            <a:xfrm>
              <a:off x="2844125" y="2900025"/>
              <a:ext cx="28375" cy="10650"/>
            </a:xfrm>
            <a:custGeom>
              <a:avLst/>
              <a:gdLst/>
              <a:ahLst/>
              <a:cxnLst/>
              <a:rect l="l" t="t" r="r" b="b"/>
              <a:pathLst>
                <a:path w="1135" h="426" fill="none" extrusionOk="0">
                  <a:moveTo>
                    <a:pt x="1134" y="0"/>
                  </a:moveTo>
                  <a:lnTo>
                    <a:pt x="1134" y="0"/>
                  </a:lnTo>
                  <a:lnTo>
                    <a:pt x="851" y="0"/>
                  </a:lnTo>
                  <a:lnTo>
                    <a:pt x="496" y="142"/>
                  </a:lnTo>
                  <a:lnTo>
                    <a:pt x="71" y="355"/>
                  </a:lnTo>
                  <a:lnTo>
                    <a:pt x="71" y="355"/>
                  </a:lnTo>
                  <a:lnTo>
                    <a:pt x="0" y="426"/>
                  </a:lnTo>
                  <a:lnTo>
                    <a:pt x="0" y="426"/>
                  </a:lnTo>
                  <a:lnTo>
                    <a:pt x="0" y="426"/>
                  </a:lnTo>
                  <a:lnTo>
                    <a:pt x="0" y="426"/>
                  </a:lnTo>
                  <a:lnTo>
                    <a:pt x="425" y="213"/>
                  </a:lnTo>
                  <a:lnTo>
                    <a:pt x="780" y="71"/>
                  </a:lnTo>
                  <a:lnTo>
                    <a:pt x="1134"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65" name="Google Shape;21463;p90">
              <a:extLst>
                <a:ext uri="{FF2B5EF4-FFF2-40B4-BE49-F238E27FC236}">
                  <a16:creationId xmlns:a16="http://schemas.microsoft.com/office/drawing/2014/main" id="{62AC238C-75F3-EBE1-DA3D-B66189007DFE}"/>
                </a:ext>
              </a:extLst>
            </p:cNvPr>
            <p:cNvSpPr/>
            <p:nvPr/>
          </p:nvSpPr>
          <p:spPr>
            <a:xfrm>
              <a:off x="2831700" y="2859250"/>
              <a:ext cx="46125" cy="51425"/>
            </a:xfrm>
            <a:custGeom>
              <a:avLst/>
              <a:gdLst/>
              <a:ahLst/>
              <a:cxnLst/>
              <a:rect l="l" t="t" r="r" b="b"/>
              <a:pathLst>
                <a:path w="1845" h="2057" extrusionOk="0">
                  <a:moveTo>
                    <a:pt x="639" y="1"/>
                  </a:moveTo>
                  <a:lnTo>
                    <a:pt x="426" y="72"/>
                  </a:lnTo>
                  <a:lnTo>
                    <a:pt x="284" y="214"/>
                  </a:lnTo>
                  <a:lnTo>
                    <a:pt x="143" y="426"/>
                  </a:lnTo>
                  <a:lnTo>
                    <a:pt x="72" y="639"/>
                  </a:lnTo>
                  <a:lnTo>
                    <a:pt x="1" y="922"/>
                  </a:lnTo>
                  <a:lnTo>
                    <a:pt x="72" y="1277"/>
                  </a:lnTo>
                  <a:lnTo>
                    <a:pt x="214" y="1631"/>
                  </a:lnTo>
                  <a:lnTo>
                    <a:pt x="497" y="2057"/>
                  </a:lnTo>
                  <a:lnTo>
                    <a:pt x="568" y="1986"/>
                  </a:lnTo>
                  <a:lnTo>
                    <a:pt x="993" y="1773"/>
                  </a:lnTo>
                  <a:lnTo>
                    <a:pt x="1348" y="1631"/>
                  </a:lnTo>
                  <a:lnTo>
                    <a:pt x="1631" y="1631"/>
                  </a:lnTo>
                  <a:lnTo>
                    <a:pt x="1844" y="781"/>
                  </a:lnTo>
                  <a:lnTo>
                    <a:pt x="1419" y="497"/>
                  </a:lnTo>
                  <a:lnTo>
                    <a:pt x="781" y="72"/>
                  </a:lnTo>
                  <a:lnTo>
                    <a:pt x="639" y="1"/>
                  </a:lnTo>
                  <a:close/>
                </a:path>
              </a:pathLst>
            </a:custGeom>
            <a:solidFill>
              <a:srgbClr val="C59091"/>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66" name="Google Shape;21464;p90">
              <a:extLst>
                <a:ext uri="{FF2B5EF4-FFF2-40B4-BE49-F238E27FC236}">
                  <a16:creationId xmlns:a16="http://schemas.microsoft.com/office/drawing/2014/main" id="{0180315B-BD35-1BD9-43DE-499346894628}"/>
                </a:ext>
              </a:extLst>
            </p:cNvPr>
            <p:cNvSpPr/>
            <p:nvPr/>
          </p:nvSpPr>
          <p:spPr>
            <a:xfrm>
              <a:off x="2831700" y="2859250"/>
              <a:ext cx="46125" cy="51425"/>
            </a:xfrm>
            <a:custGeom>
              <a:avLst/>
              <a:gdLst/>
              <a:ahLst/>
              <a:cxnLst/>
              <a:rect l="l" t="t" r="r" b="b"/>
              <a:pathLst>
                <a:path w="1845" h="2057" fill="none" extrusionOk="0">
                  <a:moveTo>
                    <a:pt x="639" y="1"/>
                  </a:moveTo>
                  <a:lnTo>
                    <a:pt x="639" y="1"/>
                  </a:lnTo>
                  <a:lnTo>
                    <a:pt x="426" y="72"/>
                  </a:lnTo>
                  <a:lnTo>
                    <a:pt x="284" y="214"/>
                  </a:lnTo>
                  <a:lnTo>
                    <a:pt x="143" y="426"/>
                  </a:lnTo>
                  <a:lnTo>
                    <a:pt x="72" y="639"/>
                  </a:lnTo>
                  <a:lnTo>
                    <a:pt x="1" y="922"/>
                  </a:lnTo>
                  <a:lnTo>
                    <a:pt x="72" y="1277"/>
                  </a:lnTo>
                  <a:lnTo>
                    <a:pt x="214" y="1631"/>
                  </a:lnTo>
                  <a:lnTo>
                    <a:pt x="497" y="2057"/>
                  </a:lnTo>
                  <a:lnTo>
                    <a:pt x="497" y="2057"/>
                  </a:lnTo>
                  <a:lnTo>
                    <a:pt x="568" y="1986"/>
                  </a:lnTo>
                  <a:lnTo>
                    <a:pt x="568" y="1986"/>
                  </a:lnTo>
                  <a:lnTo>
                    <a:pt x="993" y="1773"/>
                  </a:lnTo>
                  <a:lnTo>
                    <a:pt x="1348" y="1631"/>
                  </a:lnTo>
                  <a:lnTo>
                    <a:pt x="1631" y="1631"/>
                  </a:lnTo>
                  <a:lnTo>
                    <a:pt x="1631" y="1631"/>
                  </a:lnTo>
                  <a:lnTo>
                    <a:pt x="1844" y="781"/>
                  </a:lnTo>
                  <a:lnTo>
                    <a:pt x="1844" y="781"/>
                  </a:lnTo>
                  <a:lnTo>
                    <a:pt x="1419" y="497"/>
                  </a:lnTo>
                  <a:lnTo>
                    <a:pt x="781" y="72"/>
                  </a:lnTo>
                  <a:lnTo>
                    <a:pt x="781" y="72"/>
                  </a:lnTo>
                  <a:lnTo>
                    <a:pt x="639"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67" name="Google Shape;21465;p90">
              <a:extLst>
                <a:ext uri="{FF2B5EF4-FFF2-40B4-BE49-F238E27FC236}">
                  <a16:creationId xmlns:a16="http://schemas.microsoft.com/office/drawing/2014/main" id="{272EE528-2AB8-8CCA-FBBE-A19064244E63}"/>
                </a:ext>
              </a:extLst>
            </p:cNvPr>
            <p:cNvSpPr/>
            <p:nvPr/>
          </p:nvSpPr>
          <p:spPr>
            <a:xfrm>
              <a:off x="2333700" y="2731650"/>
              <a:ext cx="483850" cy="258775"/>
            </a:xfrm>
            <a:custGeom>
              <a:avLst/>
              <a:gdLst/>
              <a:ahLst/>
              <a:cxnLst/>
              <a:rect l="l" t="t" r="r" b="b"/>
              <a:pathLst>
                <a:path w="19354" h="10351" extrusionOk="0">
                  <a:moveTo>
                    <a:pt x="2836" y="1"/>
                  </a:moveTo>
                  <a:lnTo>
                    <a:pt x="2695" y="214"/>
                  </a:lnTo>
                  <a:lnTo>
                    <a:pt x="2411" y="852"/>
                  </a:lnTo>
                  <a:lnTo>
                    <a:pt x="2198" y="1348"/>
                  </a:lnTo>
                  <a:lnTo>
                    <a:pt x="1915" y="1986"/>
                  </a:lnTo>
                  <a:lnTo>
                    <a:pt x="1419" y="2695"/>
                  </a:lnTo>
                  <a:lnTo>
                    <a:pt x="710" y="3474"/>
                  </a:lnTo>
                  <a:lnTo>
                    <a:pt x="426" y="3900"/>
                  </a:lnTo>
                  <a:lnTo>
                    <a:pt x="284" y="4254"/>
                  </a:lnTo>
                  <a:lnTo>
                    <a:pt x="143" y="4750"/>
                  </a:lnTo>
                  <a:lnTo>
                    <a:pt x="1" y="5176"/>
                  </a:lnTo>
                  <a:lnTo>
                    <a:pt x="1" y="5672"/>
                  </a:lnTo>
                  <a:lnTo>
                    <a:pt x="1" y="6168"/>
                  </a:lnTo>
                  <a:lnTo>
                    <a:pt x="143" y="7161"/>
                  </a:lnTo>
                  <a:lnTo>
                    <a:pt x="355" y="8082"/>
                  </a:lnTo>
                  <a:lnTo>
                    <a:pt x="568" y="8791"/>
                  </a:lnTo>
                  <a:lnTo>
                    <a:pt x="781" y="9429"/>
                  </a:lnTo>
                  <a:lnTo>
                    <a:pt x="1419" y="9571"/>
                  </a:lnTo>
                  <a:lnTo>
                    <a:pt x="2978" y="9855"/>
                  </a:lnTo>
                  <a:lnTo>
                    <a:pt x="5388" y="10138"/>
                  </a:lnTo>
                  <a:lnTo>
                    <a:pt x="6735" y="10209"/>
                  </a:lnTo>
                  <a:lnTo>
                    <a:pt x="8153" y="10280"/>
                  </a:lnTo>
                  <a:lnTo>
                    <a:pt x="9713" y="10351"/>
                  </a:lnTo>
                  <a:lnTo>
                    <a:pt x="11201" y="10280"/>
                  </a:lnTo>
                  <a:lnTo>
                    <a:pt x="12761" y="10138"/>
                  </a:lnTo>
                  <a:lnTo>
                    <a:pt x="14179" y="9925"/>
                  </a:lnTo>
                  <a:lnTo>
                    <a:pt x="15597" y="9642"/>
                  </a:lnTo>
                  <a:lnTo>
                    <a:pt x="16235" y="9429"/>
                  </a:lnTo>
                  <a:lnTo>
                    <a:pt x="16873" y="9146"/>
                  </a:lnTo>
                  <a:lnTo>
                    <a:pt x="17440" y="8862"/>
                  </a:lnTo>
                  <a:lnTo>
                    <a:pt x="18007" y="8578"/>
                  </a:lnTo>
                  <a:lnTo>
                    <a:pt x="18503" y="8224"/>
                  </a:lnTo>
                  <a:lnTo>
                    <a:pt x="18928" y="7799"/>
                  </a:lnTo>
                  <a:lnTo>
                    <a:pt x="19070" y="7728"/>
                  </a:lnTo>
                  <a:lnTo>
                    <a:pt x="18999" y="7586"/>
                  </a:lnTo>
                  <a:lnTo>
                    <a:pt x="18432" y="7302"/>
                  </a:lnTo>
                  <a:lnTo>
                    <a:pt x="18290" y="7232"/>
                  </a:lnTo>
                  <a:lnTo>
                    <a:pt x="17865" y="7232"/>
                  </a:lnTo>
                  <a:lnTo>
                    <a:pt x="17794" y="7161"/>
                  </a:lnTo>
                  <a:lnTo>
                    <a:pt x="17794" y="7019"/>
                  </a:lnTo>
                  <a:lnTo>
                    <a:pt x="17865" y="6735"/>
                  </a:lnTo>
                  <a:lnTo>
                    <a:pt x="18078" y="6452"/>
                  </a:lnTo>
                  <a:lnTo>
                    <a:pt x="18716" y="5885"/>
                  </a:lnTo>
                  <a:lnTo>
                    <a:pt x="18999" y="5601"/>
                  </a:lnTo>
                  <a:lnTo>
                    <a:pt x="19212" y="5247"/>
                  </a:lnTo>
                  <a:lnTo>
                    <a:pt x="19354" y="4963"/>
                  </a:lnTo>
                  <a:lnTo>
                    <a:pt x="19354" y="4821"/>
                  </a:lnTo>
                  <a:lnTo>
                    <a:pt x="19354" y="4609"/>
                  </a:lnTo>
                  <a:lnTo>
                    <a:pt x="18432" y="3758"/>
                  </a:lnTo>
                  <a:lnTo>
                    <a:pt x="17652" y="3191"/>
                  </a:lnTo>
                  <a:lnTo>
                    <a:pt x="17085" y="2836"/>
                  </a:lnTo>
                  <a:lnTo>
                    <a:pt x="16873" y="2695"/>
                  </a:lnTo>
                  <a:lnTo>
                    <a:pt x="10918" y="1490"/>
                  </a:lnTo>
                  <a:lnTo>
                    <a:pt x="6310" y="568"/>
                  </a:lnTo>
                  <a:lnTo>
                    <a:pt x="3049" y="1"/>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68" name="Google Shape;21466;p90">
              <a:extLst>
                <a:ext uri="{FF2B5EF4-FFF2-40B4-BE49-F238E27FC236}">
                  <a16:creationId xmlns:a16="http://schemas.microsoft.com/office/drawing/2014/main" id="{A74447A1-EA12-A52E-9167-CADEEA711707}"/>
                </a:ext>
              </a:extLst>
            </p:cNvPr>
            <p:cNvSpPr/>
            <p:nvPr/>
          </p:nvSpPr>
          <p:spPr>
            <a:xfrm>
              <a:off x="2333700" y="2731650"/>
              <a:ext cx="483850" cy="258775"/>
            </a:xfrm>
            <a:custGeom>
              <a:avLst/>
              <a:gdLst/>
              <a:ahLst/>
              <a:cxnLst/>
              <a:rect l="l" t="t" r="r" b="b"/>
              <a:pathLst>
                <a:path w="19354" h="10351" fill="none" extrusionOk="0">
                  <a:moveTo>
                    <a:pt x="19354" y="4609"/>
                  </a:moveTo>
                  <a:lnTo>
                    <a:pt x="19354" y="4609"/>
                  </a:lnTo>
                  <a:lnTo>
                    <a:pt x="19354" y="4821"/>
                  </a:lnTo>
                  <a:lnTo>
                    <a:pt x="19354" y="4963"/>
                  </a:lnTo>
                  <a:lnTo>
                    <a:pt x="19212" y="5247"/>
                  </a:lnTo>
                  <a:lnTo>
                    <a:pt x="18999" y="5601"/>
                  </a:lnTo>
                  <a:lnTo>
                    <a:pt x="18716" y="5885"/>
                  </a:lnTo>
                  <a:lnTo>
                    <a:pt x="18078" y="6452"/>
                  </a:lnTo>
                  <a:lnTo>
                    <a:pt x="17865" y="6735"/>
                  </a:lnTo>
                  <a:lnTo>
                    <a:pt x="17794" y="7019"/>
                  </a:lnTo>
                  <a:lnTo>
                    <a:pt x="17794" y="7019"/>
                  </a:lnTo>
                  <a:lnTo>
                    <a:pt x="17794" y="7161"/>
                  </a:lnTo>
                  <a:lnTo>
                    <a:pt x="17865" y="7232"/>
                  </a:lnTo>
                  <a:lnTo>
                    <a:pt x="18078" y="7232"/>
                  </a:lnTo>
                  <a:lnTo>
                    <a:pt x="18078" y="7232"/>
                  </a:lnTo>
                  <a:lnTo>
                    <a:pt x="18290" y="7232"/>
                  </a:lnTo>
                  <a:lnTo>
                    <a:pt x="18432" y="7302"/>
                  </a:lnTo>
                  <a:lnTo>
                    <a:pt x="18432" y="7302"/>
                  </a:lnTo>
                  <a:lnTo>
                    <a:pt x="18999" y="7586"/>
                  </a:lnTo>
                  <a:lnTo>
                    <a:pt x="19070" y="7728"/>
                  </a:lnTo>
                  <a:lnTo>
                    <a:pt x="18928" y="7799"/>
                  </a:lnTo>
                  <a:lnTo>
                    <a:pt x="18928" y="7799"/>
                  </a:lnTo>
                  <a:lnTo>
                    <a:pt x="18503" y="8224"/>
                  </a:lnTo>
                  <a:lnTo>
                    <a:pt x="18007" y="8578"/>
                  </a:lnTo>
                  <a:lnTo>
                    <a:pt x="17440" y="8862"/>
                  </a:lnTo>
                  <a:lnTo>
                    <a:pt x="16873" y="9146"/>
                  </a:lnTo>
                  <a:lnTo>
                    <a:pt x="16235" y="9429"/>
                  </a:lnTo>
                  <a:lnTo>
                    <a:pt x="15597" y="9642"/>
                  </a:lnTo>
                  <a:lnTo>
                    <a:pt x="14179" y="9925"/>
                  </a:lnTo>
                  <a:lnTo>
                    <a:pt x="12761" y="10138"/>
                  </a:lnTo>
                  <a:lnTo>
                    <a:pt x="11201" y="10280"/>
                  </a:lnTo>
                  <a:lnTo>
                    <a:pt x="9713" y="10351"/>
                  </a:lnTo>
                  <a:lnTo>
                    <a:pt x="8153" y="10280"/>
                  </a:lnTo>
                  <a:lnTo>
                    <a:pt x="6735" y="10209"/>
                  </a:lnTo>
                  <a:lnTo>
                    <a:pt x="5388" y="10138"/>
                  </a:lnTo>
                  <a:lnTo>
                    <a:pt x="2978" y="9855"/>
                  </a:lnTo>
                  <a:lnTo>
                    <a:pt x="1419" y="9571"/>
                  </a:lnTo>
                  <a:lnTo>
                    <a:pt x="781" y="9429"/>
                  </a:lnTo>
                  <a:lnTo>
                    <a:pt x="781" y="9429"/>
                  </a:lnTo>
                  <a:lnTo>
                    <a:pt x="568" y="8791"/>
                  </a:lnTo>
                  <a:lnTo>
                    <a:pt x="355" y="8082"/>
                  </a:lnTo>
                  <a:lnTo>
                    <a:pt x="143" y="7161"/>
                  </a:lnTo>
                  <a:lnTo>
                    <a:pt x="1" y="6168"/>
                  </a:lnTo>
                  <a:lnTo>
                    <a:pt x="1" y="5672"/>
                  </a:lnTo>
                  <a:lnTo>
                    <a:pt x="1" y="5176"/>
                  </a:lnTo>
                  <a:lnTo>
                    <a:pt x="143" y="4750"/>
                  </a:lnTo>
                  <a:lnTo>
                    <a:pt x="284" y="4254"/>
                  </a:lnTo>
                  <a:lnTo>
                    <a:pt x="426" y="3900"/>
                  </a:lnTo>
                  <a:lnTo>
                    <a:pt x="710" y="3474"/>
                  </a:lnTo>
                  <a:lnTo>
                    <a:pt x="710" y="3474"/>
                  </a:lnTo>
                  <a:lnTo>
                    <a:pt x="1419" y="2695"/>
                  </a:lnTo>
                  <a:lnTo>
                    <a:pt x="1915" y="1986"/>
                  </a:lnTo>
                  <a:lnTo>
                    <a:pt x="2198" y="1348"/>
                  </a:lnTo>
                  <a:lnTo>
                    <a:pt x="2411" y="852"/>
                  </a:lnTo>
                  <a:lnTo>
                    <a:pt x="2695" y="214"/>
                  </a:lnTo>
                  <a:lnTo>
                    <a:pt x="2836" y="1"/>
                  </a:lnTo>
                  <a:lnTo>
                    <a:pt x="3049" y="1"/>
                  </a:lnTo>
                  <a:lnTo>
                    <a:pt x="3049" y="1"/>
                  </a:lnTo>
                  <a:lnTo>
                    <a:pt x="6310" y="568"/>
                  </a:lnTo>
                  <a:lnTo>
                    <a:pt x="10918" y="1490"/>
                  </a:lnTo>
                  <a:lnTo>
                    <a:pt x="16873" y="2695"/>
                  </a:lnTo>
                  <a:lnTo>
                    <a:pt x="16873" y="2695"/>
                  </a:lnTo>
                  <a:lnTo>
                    <a:pt x="17085" y="2836"/>
                  </a:lnTo>
                  <a:lnTo>
                    <a:pt x="17652" y="3191"/>
                  </a:lnTo>
                  <a:lnTo>
                    <a:pt x="18432" y="3758"/>
                  </a:lnTo>
                  <a:lnTo>
                    <a:pt x="19354" y="4609"/>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69" name="Google Shape;21467;p90">
              <a:extLst>
                <a:ext uri="{FF2B5EF4-FFF2-40B4-BE49-F238E27FC236}">
                  <a16:creationId xmlns:a16="http://schemas.microsoft.com/office/drawing/2014/main" id="{F70CABCD-C678-244D-EB95-5C920D10ED17}"/>
                </a:ext>
              </a:extLst>
            </p:cNvPr>
            <p:cNvSpPr/>
            <p:nvPr/>
          </p:nvSpPr>
          <p:spPr>
            <a:xfrm>
              <a:off x="2300025" y="2915975"/>
              <a:ext cx="925150" cy="179025"/>
            </a:xfrm>
            <a:custGeom>
              <a:avLst/>
              <a:gdLst/>
              <a:ahLst/>
              <a:cxnLst/>
              <a:rect l="l" t="t" r="r" b="b"/>
              <a:pathLst>
                <a:path w="37006" h="7161" extrusionOk="0">
                  <a:moveTo>
                    <a:pt x="2199" y="0"/>
                  </a:moveTo>
                  <a:lnTo>
                    <a:pt x="1915" y="71"/>
                  </a:lnTo>
                  <a:lnTo>
                    <a:pt x="1631" y="213"/>
                  </a:lnTo>
                  <a:lnTo>
                    <a:pt x="1277" y="426"/>
                  </a:lnTo>
                  <a:lnTo>
                    <a:pt x="923" y="709"/>
                  </a:lnTo>
                  <a:lnTo>
                    <a:pt x="710" y="1064"/>
                  </a:lnTo>
                  <a:lnTo>
                    <a:pt x="426" y="1347"/>
                  </a:lnTo>
                  <a:lnTo>
                    <a:pt x="285" y="1702"/>
                  </a:lnTo>
                  <a:lnTo>
                    <a:pt x="143" y="2056"/>
                  </a:lnTo>
                  <a:lnTo>
                    <a:pt x="1" y="2765"/>
                  </a:lnTo>
                  <a:lnTo>
                    <a:pt x="72" y="3403"/>
                  </a:lnTo>
                  <a:lnTo>
                    <a:pt x="143" y="3687"/>
                  </a:lnTo>
                  <a:lnTo>
                    <a:pt x="285" y="3970"/>
                  </a:lnTo>
                  <a:lnTo>
                    <a:pt x="426" y="4254"/>
                  </a:lnTo>
                  <a:lnTo>
                    <a:pt x="568" y="4396"/>
                  </a:lnTo>
                  <a:lnTo>
                    <a:pt x="781" y="4608"/>
                  </a:lnTo>
                  <a:lnTo>
                    <a:pt x="1064" y="4679"/>
                  </a:lnTo>
                  <a:lnTo>
                    <a:pt x="1561" y="4821"/>
                  </a:lnTo>
                  <a:lnTo>
                    <a:pt x="3120" y="4821"/>
                  </a:lnTo>
                  <a:lnTo>
                    <a:pt x="4113" y="4608"/>
                  </a:lnTo>
                  <a:lnTo>
                    <a:pt x="5034" y="4325"/>
                  </a:lnTo>
                  <a:lnTo>
                    <a:pt x="5814" y="4112"/>
                  </a:lnTo>
                  <a:lnTo>
                    <a:pt x="6665" y="3899"/>
                  </a:lnTo>
                  <a:lnTo>
                    <a:pt x="7515" y="3828"/>
                  </a:lnTo>
                  <a:lnTo>
                    <a:pt x="8508" y="3828"/>
                  </a:lnTo>
                  <a:lnTo>
                    <a:pt x="9500" y="3899"/>
                  </a:lnTo>
                  <a:lnTo>
                    <a:pt x="10989" y="3828"/>
                  </a:lnTo>
                  <a:lnTo>
                    <a:pt x="13470" y="3828"/>
                  </a:lnTo>
                  <a:lnTo>
                    <a:pt x="14533" y="3899"/>
                  </a:lnTo>
                  <a:lnTo>
                    <a:pt x="14888" y="3970"/>
                  </a:lnTo>
                  <a:lnTo>
                    <a:pt x="15242" y="4041"/>
                  </a:lnTo>
                  <a:lnTo>
                    <a:pt x="16022" y="4325"/>
                  </a:lnTo>
                  <a:lnTo>
                    <a:pt x="17440" y="4821"/>
                  </a:lnTo>
                  <a:lnTo>
                    <a:pt x="21339" y="5955"/>
                  </a:lnTo>
                  <a:lnTo>
                    <a:pt x="23395" y="6451"/>
                  </a:lnTo>
                  <a:lnTo>
                    <a:pt x="25309" y="6877"/>
                  </a:lnTo>
                  <a:lnTo>
                    <a:pt x="26797" y="7089"/>
                  </a:lnTo>
                  <a:lnTo>
                    <a:pt x="27364" y="7160"/>
                  </a:lnTo>
                  <a:lnTo>
                    <a:pt x="27790" y="7160"/>
                  </a:lnTo>
                  <a:lnTo>
                    <a:pt x="29987" y="6735"/>
                  </a:lnTo>
                  <a:lnTo>
                    <a:pt x="32752" y="6097"/>
                  </a:lnTo>
                  <a:lnTo>
                    <a:pt x="34099" y="5742"/>
                  </a:lnTo>
                  <a:lnTo>
                    <a:pt x="35304" y="5388"/>
                  </a:lnTo>
                  <a:lnTo>
                    <a:pt x="36155" y="5034"/>
                  </a:lnTo>
                  <a:lnTo>
                    <a:pt x="36367" y="4821"/>
                  </a:lnTo>
                  <a:lnTo>
                    <a:pt x="36509" y="4679"/>
                  </a:lnTo>
                  <a:lnTo>
                    <a:pt x="36651" y="4254"/>
                  </a:lnTo>
                  <a:lnTo>
                    <a:pt x="36793" y="3758"/>
                  </a:lnTo>
                  <a:lnTo>
                    <a:pt x="36935" y="2694"/>
                  </a:lnTo>
                  <a:lnTo>
                    <a:pt x="37005" y="2269"/>
                  </a:lnTo>
                  <a:lnTo>
                    <a:pt x="36935" y="1843"/>
                  </a:lnTo>
                  <a:lnTo>
                    <a:pt x="36864" y="1631"/>
                  </a:lnTo>
                  <a:lnTo>
                    <a:pt x="36722" y="1560"/>
                  </a:lnTo>
                  <a:lnTo>
                    <a:pt x="36651" y="1631"/>
                  </a:lnTo>
                  <a:lnTo>
                    <a:pt x="35233" y="2056"/>
                  </a:lnTo>
                  <a:lnTo>
                    <a:pt x="32752" y="2694"/>
                  </a:lnTo>
                  <a:lnTo>
                    <a:pt x="29987" y="3403"/>
                  </a:lnTo>
                  <a:lnTo>
                    <a:pt x="28782" y="3616"/>
                  </a:lnTo>
                  <a:lnTo>
                    <a:pt x="27932" y="3687"/>
                  </a:lnTo>
                  <a:lnTo>
                    <a:pt x="27223" y="3616"/>
                  </a:lnTo>
                  <a:lnTo>
                    <a:pt x="26301" y="3545"/>
                  </a:lnTo>
                  <a:lnTo>
                    <a:pt x="25309" y="3261"/>
                  </a:lnTo>
                  <a:lnTo>
                    <a:pt x="24245" y="2907"/>
                  </a:lnTo>
                  <a:lnTo>
                    <a:pt x="23182" y="2482"/>
                  </a:lnTo>
                  <a:lnTo>
                    <a:pt x="22189" y="1843"/>
                  </a:lnTo>
                  <a:lnTo>
                    <a:pt x="21693" y="1560"/>
                  </a:lnTo>
                  <a:lnTo>
                    <a:pt x="21197" y="1135"/>
                  </a:lnTo>
                  <a:lnTo>
                    <a:pt x="20772" y="780"/>
                  </a:lnTo>
                  <a:lnTo>
                    <a:pt x="20417" y="284"/>
                  </a:lnTo>
                  <a:lnTo>
                    <a:pt x="20134" y="426"/>
                  </a:lnTo>
                  <a:lnTo>
                    <a:pt x="19425" y="780"/>
                  </a:lnTo>
                  <a:lnTo>
                    <a:pt x="18291" y="1135"/>
                  </a:lnTo>
                  <a:lnTo>
                    <a:pt x="17653" y="1276"/>
                  </a:lnTo>
                  <a:lnTo>
                    <a:pt x="16873" y="1418"/>
                  </a:lnTo>
                  <a:lnTo>
                    <a:pt x="15951" y="1489"/>
                  </a:lnTo>
                  <a:lnTo>
                    <a:pt x="15030" y="1489"/>
                  </a:lnTo>
                  <a:lnTo>
                    <a:pt x="14108" y="1418"/>
                  </a:lnTo>
                  <a:lnTo>
                    <a:pt x="13186" y="1347"/>
                  </a:lnTo>
                  <a:lnTo>
                    <a:pt x="11343" y="1064"/>
                  </a:lnTo>
                  <a:lnTo>
                    <a:pt x="10280" y="851"/>
                  </a:lnTo>
                  <a:lnTo>
                    <a:pt x="9146" y="780"/>
                  </a:lnTo>
                  <a:lnTo>
                    <a:pt x="7870" y="638"/>
                  </a:lnTo>
                  <a:lnTo>
                    <a:pt x="6665" y="426"/>
                  </a:lnTo>
                  <a:lnTo>
                    <a:pt x="4538" y="142"/>
                  </a:lnTo>
                  <a:lnTo>
                    <a:pt x="3616" y="0"/>
                  </a:lnTo>
                  <a:close/>
                </a:path>
              </a:pathLst>
            </a:custGeom>
            <a:solidFill>
              <a:srgbClr val="CF4D2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70" name="Google Shape;21468;p90">
              <a:extLst>
                <a:ext uri="{FF2B5EF4-FFF2-40B4-BE49-F238E27FC236}">
                  <a16:creationId xmlns:a16="http://schemas.microsoft.com/office/drawing/2014/main" id="{AD11C57C-D3FC-25D7-CE1C-27C2898E994F}"/>
                </a:ext>
              </a:extLst>
            </p:cNvPr>
            <p:cNvSpPr/>
            <p:nvPr/>
          </p:nvSpPr>
          <p:spPr>
            <a:xfrm>
              <a:off x="2300025" y="2915975"/>
              <a:ext cx="925150" cy="179025"/>
            </a:xfrm>
            <a:custGeom>
              <a:avLst/>
              <a:gdLst/>
              <a:ahLst/>
              <a:cxnLst/>
              <a:rect l="l" t="t" r="r" b="b"/>
              <a:pathLst>
                <a:path w="37006" h="7161" fill="none" extrusionOk="0">
                  <a:moveTo>
                    <a:pt x="20417" y="284"/>
                  </a:moveTo>
                  <a:lnTo>
                    <a:pt x="20417" y="284"/>
                  </a:lnTo>
                  <a:lnTo>
                    <a:pt x="20772" y="780"/>
                  </a:lnTo>
                  <a:lnTo>
                    <a:pt x="21197" y="1135"/>
                  </a:lnTo>
                  <a:lnTo>
                    <a:pt x="21693" y="1560"/>
                  </a:lnTo>
                  <a:lnTo>
                    <a:pt x="22189" y="1843"/>
                  </a:lnTo>
                  <a:lnTo>
                    <a:pt x="23182" y="2482"/>
                  </a:lnTo>
                  <a:lnTo>
                    <a:pt x="24245" y="2907"/>
                  </a:lnTo>
                  <a:lnTo>
                    <a:pt x="25309" y="3261"/>
                  </a:lnTo>
                  <a:lnTo>
                    <a:pt x="26301" y="3545"/>
                  </a:lnTo>
                  <a:lnTo>
                    <a:pt x="27223" y="3616"/>
                  </a:lnTo>
                  <a:lnTo>
                    <a:pt x="27932" y="3687"/>
                  </a:lnTo>
                  <a:lnTo>
                    <a:pt x="27932" y="3687"/>
                  </a:lnTo>
                  <a:lnTo>
                    <a:pt x="28782" y="3616"/>
                  </a:lnTo>
                  <a:lnTo>
                    <a:pt x="29987" y="3403"/>
                  </a:lnTo>
                  <a:lnTo>
                    <a:pt x="32752" y="2694"/>
                  </a:lnTo>
                  <a:lnTo>
                    <a:pt x="35233" y="2056"/>
                  </a:lnTo>
                  <a:lnTo>
                    <a:pt x="36651" y="1631"/>
                  </a:lnTo>
                  <a:lnTo>
                    <a:pt x="36651" y="1631"/>
                  </a:lnTo>
                  <a:lnTo>
                    <a:pt x="36722" y="1560"/>
                  </a:lnTo>
                  <a:lnTo>
                    <a:pt x="36864" y="1631"/>
                  </a:lnTo>
                  <a:lnTo>
                    <a:pt x="36935" y="1843"/>
                  </a:lnTo>
                  <a:lnTo>
                    <a:pt x="37005" y="2269"/>
                  </a:lnTo>
                  <a:lnTo>
                    <a:pt x="36935" y="2694"/>
                  </a:lnTo>
                  <a:lnTo>
                    <a:pt x="36793" y="3758"/>
                  </a:lnTo>
                  <a:lnTo>
                    <a:pt x="36651" y="4254"/>
                  </a:lnTo>
                  <a:lnTo>
                    <a:pt x="36509" y="4679"/>
                  </a:lnTo>
                  <a:lnTo>
                    <a:pt x="36509" y="4679"/>
                  </a:lnTo>
                  <a:lnTo>
                    <a:pt x="36367" y="4821"/>
                  </a:lnTo>
                  <a:lnTo>
                    <a:pt x="36155" y="5034"/>
                  </a:lnTo>
                  <a:lnTo>
                    <a:pt x="35304" y="5388"/>
                  </a:lnTo>
                  <a:lnTo>
                    <a:pt x="34099" y="5742"/>
                  </a:lnTo>
                  <a:lnTo>
                    <a:pt x="32752" y="6097"/>
                  </a:lnTo>
                  <a:lnTo>
                    <a:pt x="29987" y="6735"/>
                  </a:lnTo>
                  <a:lnTo>
                    <a:pt x="27790" y="7160"/>
                  </a:lnTo>
                  <a:lnTo>
                    <a:pt x="27790" y="7160"/>
                  </a:lnTo>
                  <a:lnTo>
                    <a:pt x="27364" y="7160"/>
                  </a:lnTo>
                  <a:lnTo>
                    <a:pt x="26797" y="7089"/>
                  </a:lnTo>
                  <a:lnTo>
                    <a:pt x="25309" y="6877"/>
                  </a:lnTo>
                  <a:lnTo>
                    <a:pt x="23395" y="6451"/>
                  </a:lnTo>
                  <a:lnTo>
                    <a:pt x="21339" y="5955"/>
                  </a:lnTo>
                  <a:lnTo>
                    <a:pt x="17440" y="4821"/>
                  </a:lnTo>
                  <a:lnTo>
                    <a:pt x="16022" y="4325"/>
                  </a:lnTo>
                  <a:lnTo>
                    <a:pt x="15242" y="4041"/>
                  </a:lnTo>
                  <a:lnTo>
                    <a:pt x="15242" y="4041"/>
                  </a:lnTo>
                  <a:lnTo>
                    <a:pt x="14888" y="3970"/>
                  </a:lnTo>
                  <a:lnTo>
                    <a:pt x="14533" y="3899"/>
                  </a:lnTo>
                  <a:lnTo>
                    <a:pt x="13470" y="3828"/>
                  </a:lnTo>
                  <a:lnTo>
                    <a:pt x="10989" y="3828"/>
                  </a:lnTo>
                  <a:lnTo>
                    <a:pt x="10989" y="3828"/>
                  </a:lnTo>
                  <a:lnTo>
                    <a:pt x="9500" y="3899"/>
                  </a:lnTo>
                  <a:lnTo>
                    <a:pt x="8508" y="3828"/>
                  </a:lnTo>
                  <a:lnTo>
                    <a:pt x="8508" y="3828"/>
                  </a:lnTo>
                  <a:lnTo>
                    <a:pt x="7515" y="3828"/>
                  </a:lnTo>
                  <a:lnTo>
                    <a:pt x="6665" y="3899"/>
                  </a:lnTo>
                  <a:lnTo>
                    <a:pt x="5814" y="4112"/>
                  </a:lnTo>
                  <a:lnTo>
                    <a:pt x="5034" y="4325"/>
                  </a:lnTo>
                  <a:lnTo>
                    <a:pt x="5034" y="4325"/>
                  </a:lnTo>
                  <a:lnTo>
                    <a:pt x="4113" y="4608"/>
                  </a:lnTo>
                  <a:lnTo>
                    <a:pt x="3120" y="4821"/>
                  </a:lnTo>
                  <a:lnTo>
                    <a:pt x="2624" y="4821"/>
                  </a:lnTo>
                  <a:lnTo>
                    <a:pt x="2128" y="4821"/>
                  </a:lnTo>
                  <a:lnTo>
                    <a:pt x="1561" y="4821"/>
                  </a:lnTo>
                  <a:lnTo>
                    <a:pt x="1064" y="4679"/>
                  </a:lnTo>
                  <a:lnTo>
                    <a:pt x="1064" y="4679"/>
                  </a:lnTo>
                  <a:lnTo>
                    <a:pt x="781" y="4608"/>
                  </a:lnTo>
                  <a:lnTo>
                    <a:pt x="568" y="4396"/>
                  </a:lnTo>
                  <a:lnTo>
                    <a:pt x="426" y="4254"/>
                  </a:lnTo>
                  <a:lnTo>
                    <a:pt x="285" y="3970"/>
                  </a:lnTo>
                  <a:lnTo>
                    <a:pt x="143" y="3687"/>
                  </a:lnTo>
                  <a:lnTo>
                    <a:pt x="72" y="3403"/>
                  </a:lnTo>
                  <a:lnTo>
                    <a:pt x="1" y="2765"/>
                  </a:lnTo>
                  <a:lnTo>
                    <a:pt x="143" y="2056"/>
                  </a:lnTo>
                  <a:lnTo>
                    <a:pt x="285" y="1702"/>
                  </a:lnTo>
                  <a:lnTo>
                    <a:pt x="426" y="1347"/>
                  </a:lnTo>
                  <a:lnTo>
                    <a:pt x="710" y="1064"/>
                  </a:lnTo>
                  <a:lnTo>
                    <a:pt x="923" y="709"/>
                  </a:lnTo>
                  <a:lnTo>
                    <a:pt x="1277" y="426"/>
                  </a:lnTo>
                  <a:lnTo>
                    <a:pt x="1631" y="213"/>
                  </a:lnTo>
                  <a:lnTo>
                    <a:pt x="1631" y="213"/>
                  </a:lnTo>
                  <a:lnTo>
                    <a:pt x="1915" y="71"/>
                  </a:lnTo>
                  <a:lnTo>
                    <a:pt x="2199" y="0"/>
                  </a:lnTo>
                  <a:lnTo>
                    <a:pt x="2837" y="0"/>
                  </a:lnTo>
                  <a:lnTo>
                    <a:pt x="3616" y="0"/>
                  </a:lnTo>
                  <a:lnTo>
                    <a:pt x="4538" y="142"/>
                  </a:lnTo>
                  <a:lnTo>
                    <a:pt x="6665" y="426"/>
                  </a:lnTo>
                  <a:lnTo>
                    <a:pt x="7870" y="638"/>
                  </a:lnTo>
                  <a:lnTo>
                    <a:pt x="9146" y="780"/>
                  </a:lnTo>
                  <a:lnTo>
                    <a:pt x="9146" y="780"/>
                  </a:lnTo>
                  <a:lnTo>
                    <a:pt x="10280" y="851"/>
                  </a:lnTo>
                  <a:lnTo>
                    <a:pt x="11343" y="1064"/>
                  </a:lnTo>
                  <a:lnTo>
                    <a:pt x="13186" y="1347"/>
                  </a:lnTo>
                  <a:lnTo>
                    <a:pt x="14108" y="1418"/>
                  </a:lnTo>
                  <a:lnTo>
                    <a:pt x="15030" y="1489"/>
                  </a:lnTo>
                  <a:lnTo>
                    <a:pt x="15951" y="1489"/>
                  </a:lnTo>
                  <a:lnTo>
                    <a:pt x="16873" y="1418"/>
                  </a:lnTo>
                  <a:lnTo>
                    <a:pt x="16873" y="1418"/>
                  </a:lnTo>
                  <a:lnTo>
                    <a:pt x="17653" y="1276"/>
                  </a:lnTo>
                  <a:lnTo>
                    <a:pt x="18291" y="1135"/>
                  </a:lnTo>
                  <a:lnTo>
                    <a:pt x="19425" y="780"/>
                  </a:lnTo>
                  <a:lnTo>
                    <a:pt x="20134" y="426"/>
                  </a:lnTo>
                  <a:lnTo>
                    <a:pt x="20417" y="284"/>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71" name="Google Shape;21469;p90">
              <a:extLst>
                <a:ext uri="{FF2B5EF4-FFF2-40B4-BE49-F238E27FC236}">
                  <a16:creationId xmlns:a16="http://schemas.microsoft.com/office/drawing/2014/main" id="{9857DC7E-FD00-07D1-DB27-ED44AA00C78A}"/>
                </a:ext>
              </a:extLst>
            </p:cNvPr>
            <p:cNvSpPr/>
            <p:nvPr/>
          </p:nvSpPr>
          <p:spPr>
            <a:xfrm>
              <a:off x="2300025" y="2915975"/>
              <a:ext cx="882625" cy="179025"/>
            </a:xfrm>
            <a:custGeom>
              <a:avLst/>
              <a:gdLst/>
              <a:ahLst/>
              <a:cxnLst/>
              <a:rect l="l" t="t" r="r" b="b"/>
              <a:pathLst>
                <a:path w="35305" h="7161" extrusionOk="0">
                  <a:moveTo>
                    <a:pt x="2199" y="0"/>
                  </a:moveTo>
                  <a:lnTo>
                    <a:pt x="1915" y="71"/>
                  </a:lnTo>
                  <a:lnTo>
                    <a:pt x="1631" y="213"/>
                  </a:lnTo>
                  <a:lnTo>
                    <a:pt x="1206" y="497"/>
                  </a:lnTo>
                  <a:lnTo>
                    <a:pt x="781" y="922"/>
                  </a:lnTo>
                  <a:lnTo>
                    <a:pt x="426" y="1347"/>
                  </a:lnTo>
                  <a:lnTo>
                    <a:pt x="214" y="1914"/>
                  </a:lnTo>
                  <a:lnTo>
                    <a:pt x="72" y="2411"/>
                  </a:lnTo>
                  <a:lnTo>
                    <a:pt x="1" y="2907"/>
                  </a:lnTo>
                  <a:lnTo>
                    <a:pt x="72" y="3545"/>
                  </a:lnTo>
                  <a:lnTo>
                    <a:pt x="285" y="4041"/>
                  </a:lnTo>
                  <a:lnTo>
                    <a:pt x="426" y="4254"/>
                  </a:lnTo>
                  <a:lnTo>
                    <a:pt x="639" y="4466"/>
                  </a:lnTo>
                  <a:lnTo>
                    <a:pt x="781" y="4608"/>
                  </a:lnTo>
                  <a:lnTo>
                    <a:pt x="1064" y="4679"/>
                  </a:lnTo>
                  <a:lnTo>
                    <a:pt x="1702" y="4821"/>
                  </a:lnTo>
                  <a:lnTo>
                    <a:pt x="3049" y="4821"/>
                  </a:lnTo>
                  <a:lnTo>
                    <a:pt x="3687" y="4679"/>
                  </a:lnTo>
                  <a:lnTo>
                    <a:pt x="5034" y="4325"/>
                  </a:lnTo>
                  <a:lnTo>
                    <a:pt x="6381" y="3970"/>
                  </a:lnTo>
                  <a:lnTo>
                    <a:pt x="7090" y="3899"/>
                  </a:lnTo>
                  <a:lnTo>
                    <a:pt x="7799" y="3828"/>
                  </a:lnTo>
                  <a:lnTo>
                    <a:pt x="8508" y="3828"/>
                  </a:lnTo>
                  <a:lnTo>
                    <a:pt x="9288" y="3899"/>
                  </a:lnTo>
                  <a:lnTo>
                    <a:pt x="10989" y="3828"/>
                  </a:lnTo>
                  <a:lnTo>
                    <a:pt x="12903" y="3828"/>
                  </a:lnTo>
                  <a:lnTo>
                    <a:pt x="14321" y="3899"/>
                  </a:lnTo>
                  <a:lnTo>
                    <a:pt x="14817" y="3970"/>
                  </a:lnTo>
                  <a:lnTo>
                    <a:pt x="15242" y="4041"/>
                  </a:lnTo>
                  <a:lnTo>
                    <a:pt x="15880" y="4325"/>
                  </a:lnTo>
                  <a:lnTo>
                    <a:pt x="17015" y="4679"/>
                  </a:lnTo>
                  <a:lnTo>
                    <a:pt x="17015" y="4396"/>
                  </a:lnTo>
                  <a:lnTo>
                    <a:pt x="17015" y="3899"/>
                  </a:lnTo>
                  <a:lnTo>
                    <a:pt x="17085" y="2765"/>
                  </a:lnTo>
                  <a:lnTo>
                    <a:pt x="17085" y="2552"/>
                  </a:lnTo>
                  <a:lnTo>
                    <a:pt x="17227" y="2269"/>
                  </a:lnTo>
                  <a:lnTo>
                    <a:pt x="17369" y="1773"/>
                  </a:lnTo>
                  <a:lnTo>
                    <a:pt x="17723" y="1276"/>
                  </a:lnTo>
                  <a:lnTo>
                    <a:pt x="16873" y="1418"/>
                  </a:lnTo>
                  <a:lnTo>
                    <a:pt x="16093" y="1489"/>
                  </a:lnTo>
                  <a:lnTo>
                    <a:pt x="14675" y="1489"/>
                  </a:lnTo>
                  <a:lnTo>
                    <a:pt x="13966" y="1418"/>
                  </a:lnTo>
                  <a:lnTo>
                    <a:pt x="12478" y="1205"/>
                  </a:lnTo>
                  <a:lnTo>
                    <a:pt x="10918" y="993"/>
                  </a:lnTo>
                  <a:lnTo>
                    <a:pt x="9146" y="780"/>
                  </a:lnTo>
                  <a:lnTo>
                    <a:pt x="7303" y="567"/>
                  </a:lnTo>
                  <a:lnTo>
                    <a:pt x="5601" y="284"/>
                  </a:lnTo>
                  <a:lnTo>
                    <a:pt x="4113" y="71"/>
                  </a:lnTo>
                  <a:lnTo>
                    <a:pt x="2907" y="0"/>
                  </a:lnTo>
                  <a:close/>
                  <a:moveTo>
                    <a:pt x="20417" y="284"/>
                  </a:moveTo>
                  <a:lnTo>
                    <a:pt x="19921" y="567"/>
                  </a:lnTo>
                  <a:lnTo>
                    <a:pt x="19354" y="780"/>
                  </a:lnTo>
                  <a:lnTo>
                    <a:pt x="18574" y="1064"/>
                  </a:lnTo>
                  <a:lnTo>
                    <a:pt x="18220" y="1702"/>
                  </a:lnTo>
                  <a:lnTo>
                    <a:pt x="18078" y="2127"/>
                  </a:lnTo>
                  <a:lnTo>
                    <a:pt x="18007" y="2623"/>
                  </a:lnTo>
                  <a:lnTo>
                    <a:pt x="18078" y="3049"/>
                  </a:lnTo>
                  <a:lnTo>
                    <a:pt x="18149" y="3687"/>
                  </a:lnTo>
                  <a:lnTo>
                    <a:pt x="18291" y="4325"/>
                  </a:lnTo>
                  <a:lnTo>
                    <a:pt x="18503" y="4963"/>
                  </a:lnTo>
                  <a:lnTo>
                    <a:pt x="17227" y="4750"/>
                  </a:lnTo>
                  <a:lnTo>
                    <a:pt x="17227" y="4750"/>
                  </a:lnTo>
                  <a:lnTo>
                    <a:pt x="19850" y="5530"/>
                  </a:lnTo>
                  <a:lnTo>
                    <a:pt x="22827" y="6310"/>
                  </a:lnTo>
                  <a:lnTo>
                    <a:pt x="25521" y="6948"/>
                  </a:lnTo>
                  <a:lnTo>
                    <a:pt x="26656" y="7089"/>
                  </a:lnTo>
                  <a:lnTo>
                    <a:pt x="27435" y="7160"/>
                  </a:lnTo>
                  <a:lnTo>
                    <a:pt x="27790" y="7160"/>
                  </a:lnTo>
                  <a:lnTo>
                    <a:pt x="30413" y="6593"/>
                  </a:lnTo>
                  <a:lnTo>
                    <a:pt x="32043" y="6239"/>
                  </a:lnTo>
                  <a:lnTo>
                    <a:pt x="33674" y="5884"/>
                  </a:lnTo>
                  <a:lnTo>
                    <a:pt x="34453" y="3899"/>
                  </a:lnTo>
                  <a:lnTo>
                    <a:pt x="35304" y="2056"/>
                  </a:lnTo>
                  <a:lnTo>
                    <a:pt x="34666" y="2198"/>
                  </a:lnTo>
                  <a:lnTo>
                    <a:pt x="34099" y="2340"/>
                  </a:lnTo>
                  <a:lnTo>
                    <a:pt x="32398" y="2836"/>
                  </a:lnTo>
                  <a:lnTo>
                    <a:pt x="30625" y="3261"/>
                  </a:lnTo>
                  <a:lnTo>
                    <a:pt x="29066" y="3545"/>
                  </a:lnTo>
                  <a:lnTo>
                    <a:pt x="27932" y="3687"/>
                  </a:lnTo>
                  <a:lnTo>
                    <a:pt x="27861" y="3687"/>
                  </a:lnTo>
                  <a:lnTo>
                    <a:pt x="27081" y="3616"/>
                  </a:lnTo>
                  <a:lnTo>
                    <a:pt x="26230" y="3474"/>
                  </a:lnTo>
                  <a:lnTo>
                    <a:pt x="25238" y="3261"/>
                  </a:lnTo>
                  <a:lnTo>
                    <a:pt x="24174" y="2907"/>
                  </a:lnTo>
                  <a:lnTo>
                    <a:pt x="23182" y="2411"/>
                  </a:lnTo>
                  <a:lnTo>
                    <a:pt x="22119" y="1843"/>
                  </a:lnTo>
                  <a:lnTo>
                    <a:pt x="21197" y="1135"/>
                  </a:lnTo>
                  <a:lnTo>
                    <a:pt x="20772" y="780"/>
                  </a:lnTo>
                  <a:lnTo>
                    <a:pt x="20417" y="284"/>
                  </a:lnTo>
                  <a:close/>
                </a:path>
              </a:pathLst>
            </a:custGeom>
            <a:solidFill>
              <a:srgbClr val="A24431"/>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72" name="Google Shape;21470;p90">
              <a:extLst>
                <a:ext uri="{FF2B5EF4-FFF2-40B4-BE49-F238E27FC236}">
                  <a16:creationId xmlns:a16="http://schemas.microsoft.com/office/drawing/2014/main" id="{B69E6A3A-BA3B-C555-453A-728E213AB1CB}"/>
                </a:ext>
              </a:extLst>
            </p:cNvPr>
            <p:cNvSpPr/>
            <p:nvPr/>
          </p:nvSpPr>
          <p:spPr>
            <a:xfrm>
              <a:off x="2730700" y="2923050"/>
              <a:ext cx="451950" cy="171950"/>
            </a:xfrm>
            <a:custGeom>
              <a:avLst/>
              <a:gdLst/>
              <a:ahLst/>
              <a:cxnLst/>
              <a:rect l="l" t="t" r="r" b="b"/>
              <a:pathLst>
                <a:path w="18078" h="6878" fill="none" extrusionOk="0">
                  <a:moveTo>
                    <a:pt x="3190" y="1"/>
                  </a:moveTo>
                  <a:lnTo>
                    <a:pt x="3190" y="1"/>
                  </a:lnTo>
                  <a:lnTo>
                    <a:pt x="2694" y="284"/>
                  </a:lnTo>
                  <a:lnTo>
                    <a:pt x="2127" y="497"/>
                  </a:lnTo>
                  <a:lnTo>
                    <a:pt x="1347" y="781"/>
                  </a:lnTo>
                  <a:lnTo>
                    <a:pt x="1347" y="781"/>
                  </a:lnTo>
                  <a:lnTo>
                    <a:pt x="993" y="1419"/>
                  </a:lnTo>
                  <a:lnTo>
                    <a:pt x="993" y="1419"/>
                  </a:lnTo>
                  <a:lnTo>
                    <a:pt x="851" y="1844"/>
                  </a:lnTo>
                  <a:lnTo>
                    <a:pt x="780" y="2340"/>
                  </a:lnTo>
                  <a:lnTo>
                    <a:pt x="780" y="2340"/>
                  </a:lnTo>
                  <a:lnTo>
                    <a:pt x="851" y="2766"/>
                  </a:lnTo>
                  <a:lnTo>
                    <a:pt x="922" y="3404"/>
                  </a:lnTo>
                  <a:lnTo>
                    <a:pt x="1064" y="4042"/>
                  </a:lnTo>
                  <a:lnTo>
                    <a:pt x="1276" y="4680"/>
                  </a:lnTo>
                  <a:lnTo>
                    <a:pt x="1276" y="4680"/>
                  </a:lnTo>
                  <a:lnTo>
                    <a:pt x="0" y="4467"/>
                  </a:lnTo>
                  <a:lnTo>
                    <a:pt x="0" y="4467"/>
                  </a:lnTo>
                  <a:lnTo>
                    <a:pt x="2623" y="5247"/>
                  </a:lnTo>
                  <a:lnTo>
                    <a:pt x="5600" y="6027"/>
                  </a:lnTo>
                  <a:lnTo>
                    <a:pt x="8294" y="6665"/>
                  </a:lnTo>
                  <a:lnTo>
                    <a:pt x="9429" y="6806"/>
                  </a:lnTo>
                  <a:lnTo>
                    <a:pt x="10208" y="6877"/>
                  </a:lnTo>
                  <a:lnTo>
                    <a:pt x="10208" y="6877"/>
                  </a:lnTo>
                  <a:lnTo>
                    <a:pt x="10563" y="6877"/>
                  </a:lnTo>
                  <a:lnTo>
                    <a:pt x="10563" y="6877"/>
                  </a:lnTo>
                  <a:lnTo>
                    <a:pt x="13186" y="6310"/>
                  </a:lnTo>
                  <a:lnTo>
                    <a:pt x="14816" y="5956"/>
                  </a:lnTo>
                  <a:lnTo>
                    <a:pt x="16447" y="5601"/>
                  </a:lnTo>
                  <a:lnTo>
                    <a:pt x="16447" y="5601"/>
                  </a:lnTo>
                  <a:lnTo>
                    <a:pt x="17226" y="3616"/>
                  </a:lnTo>
                  <a:lnTo>
                    <a:pt x="18077" y="1773"/>
                  </a:lnTo>
                  <a:lnTo>
                    <a:pt x="18077" y="1773"/>
                  </a:lnTo>
                  <a:lnTo>
                    <a:pt x="17439" y="1915"/>
                  </a:lnTo>
                  <a:lnTo>
                    <a:pt x="17439" y="1915"/>
                  </a:lnTo>
                  <a:lnTo>
                    <a:pt x="16872" y="2057"/>
                  </a:lnTo>
                  <a:lnTo>
                    <a:pt x="16872" y="2057"/>
                  </a:lnTo>
                  <a:lnTo>
                    <a:pt x="15171" y="2553"/>
                  </a:lnTo>
                  <a:lnTo>
                    <a:pt x="13398" y="2978"/>
                  </a:lnTo>
                  <a:lnTo>
                    <a:pt x="11839" y="3262"/>
                  </a:lnTo>
                  <a:lnTo>
                    <a:pt x="10705" y="3404"/>
                  </a:lnTo>
                  <a:lnTo>
                    <a:pt x="10705" y="3404"/>
                  </a:lnTo>
                  <a:lnTo>
                    <a:pt x="10634" y="3404"/>
                  </a:lnTo>
                  <a:lnTo>
                    <a:pt x="10634" y="3404"/>
                  </a:lnTo>
                  <a:lnTo>
                    <a:pt x="9854" y="3333"/>
                  </a:lnTo>
                  <a:lnTo>
                    <a:pt x="9003" y="3191"/>
                  </a:lnTo>
                  <a:lnTo>
                    <a:pt x="8011" y="2978"/>
                  </a:lnTo>
                  <a:lnTo>
                    <a:pt x="6947" y="2624"/>
                  </a:lnTo>
                  <a:lnTo>
                    <a:pt x="5955" y="2128"/>
                  </a:lnTo>
                  <a:lnTo>
                    <a:pt x="4892" y="1560"/>
                  </a:lnTo>
                  <a:lnTo>
                    <a:pt x="3970" y="852"/>
                  </a:lnTo>
                  <a:lnTo>
                    <a:pt x="3545" y="497"/>
                  </a:lnTo>
                  <a:lnTo>
                    <a:pt x="3190"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73" name="Google Shape;21471;p90">
              <a:extLst>
                <a:ext uri="{FF2B5EF4-FFF2-40B4-BE49-F238E27FC236}">
                  <a16:creationId xmlns:a16="http://schemas.microsoft.com/office/drawing/2014/main" id="{C1223A3B-9AEB-D148-E014-FDD77A9F9248}"/>
                </a:ext>
              </a:extLst>
            </p:cNvPr>
            <p:cNvSpPr/>
            <p:nvPr/>
          </p:nvSpPr>
          <p:spPr>
            <a:xfrm>
              <a:off x="2300025" y="2915975"/>
              <a:ext cx="443100" cy="120525"/>
            </a:xfrm>
            <a:custGeom>
              <a:avLst/>
              <a:gdLst/>
              <a:ahLst/>
              <a:cxnLst/>
              <a:rect l="l" t="t" r="r" b="b"/>
              <a:pathLst>
                <a:path w="17724" h="4821" fill="none" extrusionOk="0">
                  <a:moveTo>
                    <a:pt x="2907" y="0"/>
                  </a:moveTo>
                  <a:lnTo>
                    <a:pt x="2907" y="0"/>
                  </a:lnTo>
                  <a:lnTo>
                    <a:pt x="2199" y="0"/>
                  </a:lnTo>
                  <a:lnTo>
                    <a:pt x="1915" y="71"/>
                  </a:lnTo>
                  <a:lnTo>
                    <a:pt x="1631" y="213"/>
                  </a:lnTo>
                  <a:lnTo>
                    <a:pt x="1631" y="213"/>
                  </a:lnTo>
                  <a:lnTo>
                    <a:pt x="1206" y="497"/>
                  </a:lnTo>
                  <a:lnTo>
                    <a:pt x="781" y="922"/>
                  </a:lnTo>
                  <a:lnTo>
                    <a:pt x="781" y="922"/>
                  </a:lnTo>
                  <a:lnTo>
                    <a:pt x="426" y="1347"/>
                  </a:lnTo>
                  <a:lnTo>
                    <a:pt x="214" y="1914"/>
                  </a:lnTo>
                  <a:lnTo>
                    <a:pt x="72" y="2411"/>
                  </a:lnTo>
                  <a:lnTo>
                    <a:pt x="1" y="2907"/>
                  </a:lnTo>
                  <a:lnTo>
                    <a:pt x="1" y="2907"/>
                  </a:lnTo>
                  <a:lnTo>
                    <a:pt x="72" y="3545"/>
                  </a:lnTo>
                  <a:lnTo>
                    <a:pt x="285" y="4041"/>
                  </a:lnTo>
                  <a:lnTo>
                    <a:pt x="426" y="4254"/>
                  </a:lnTo>
                  <a:lnTo>
                    <a:pt x="639" y="4466"/>
                  </a:lnTo>
                  <a:lnTo>
                    <a:pt x="781" y="4608"/>
                  </a:lnTo>
                  <a:lnTo>
                    <a:pt x="1064" y="4679"/>
                  </a:lnTo>
                  <a:lnTo>
                    <a:pt x="1064" y="4679"/>
                  </a:lnTo>
                  <a:lnTo>
                    <a:pt x="1702" y="4821"/>
                  </a:lnTo>
                  <a:lnTo>
                    <a:pt x="2340" y="4821"/>
                  </a:lnTo>
                  <a:lnTo>
                    <a:pt x="2340" y="4821"/>
                  </a:lnTo>
                  <a:lnTo>
                    <a:pt x="3049" y="4821"/>
                  </a:lnTo>
                  <a:lnTo>
                    <a:pt x="3687" y="4679"/>
                  </a:lnTo>
                  <a:lnTo>
                    <a:pt x="5034" y="4325"/>
                  </a:lnTo>
                  <a:lnTo>
                    <a:pt x="5034" y="4325"/>
                  </a:lnTo>
                  <a:lnTo>
                    <a:pt x="6381" y="3970"/>
                  </a:lnTo>
                  <a:lnTo>
                    <a:pt x="7090" y="3899"/>
                  </a:lnTo>
                  <a:lnTo>
                    <a:pt x="7799" y="3828"/>
                  </a:lnTo>
                  <a:lnTo>
                    <a:pt x="7799" y="3828"/>
                  </a:lnTo>
                  <a:lnTo>
                    <a:pt x="8508" y="3828"/>
                  </a:lnTo>
                  <a:lnTo>
                    <a:pt x="8508" y="3828"/>
                  </a:lnTo>
                  <a:lnTo>
                    <a:pt x="9288" y="3899"/>
                  </a:lnTo>
                  <a:lnTo>
                    <a:pt x="9288" y="3899"/>
                  </a:lnTo>
                  <a:lnTo>
                    <a:pt x="10989" y="3828"/>
                  </a:lnTo>
                  <a:lnTo>
                    <a:pt x="10989" y="3828"/>
                  </a:lnTo>
                  <a:lnTo>
                    <a:pt x="12903" y="3828"/>
                  </a:lnTo>
                  <a:lnTo>
                    <a:pt x="12903" y="3828"/>
                  </a:lnTo>
                  <a:lnTo>
                    <a:pt x="14321" y="3899"/>
                  </a:lnTo>
                  <a:lnTo>
                    <a:pt x="14817" y="3970"/>
                  </a:lnTo>
                  <a:lnTo>
                    <a:pt x="15242" y="4041"/>
                  </a:lnTo>
                  <a:lnTo>
                    <a:pt x="15242" y="4041"/>
                  </a:lnTo>
                  <a:lnTo>
                    <a:pt x="15880" y="4325"/>
                  </a:lnTo>
                  <a:lnTo>
                    <a:pt x="17015" y="4679"/>
                  </a:lnTo>
                  <a:lnTo>
                    <a:pt x="17015" y="4679"/>
                  </a:lnTo>
                  <a:lnTo>
                    <a:pt x="17015" y="4396"/>
                  </a:lnTo>
                  <a:lnTo>
                    <a:pt x="17015" y="3899"/>
                  </a:lnTo>
                  <a:lnTo>
                    <a:pt x="17085" y="2765"/>
                  </a:lnTo>
                  <a:lnTo>
                    <a:pt x="17085" y="2765"/>
                  </a:lnTo>
                  <a:lnTo>
                    <a:pt x="17085" y="2552"/>
                  </a:lnTo>
                  <a:lnTo>
                    <a:pt x="17227" y="2269"/>
                  </a:lnTo>
                  <a:lnTo>
                    <a:pt x="17369" y="1773"/>
                  </a:lnTo>
                  <a:lnTo>
                    <a:pt x="17369" y="1773"/>
                  </a:lnTo>
                  <a:lnTo>
                    <a:pt x="17723" y="1276"/>
                  </a:lnTo>
                  <a:lnTo>
                    <a:pt x="17723" y="1276"/>
                  </a:lnTo>
                  <a:lnTo>
                    <a:pt x="16873" y="1418"/>
                  </a:lnTo>
                  <a:lnTo>
                    <a:pt x="16873" y="1418"/>
                  </a:lnTo>
                  <a:lnTo>
                    <a:pt x="16093" y="1489"/>
                  </a:lnTo>
                  <a:lnTo>
                    <a:pt x="15384" y="1489"/>
                  </a:lnTo>
                  <a:lnTo>
                    <a:pt x="15384" y="1489"/>
                  </a:lnTo>
                  <a:lnTo>
                    <a:pt x="14675" y="1489"/>
                  </a:lnTo>
                  <a:lnTo>
                    <a:pt x="13966" y="1418"/>
                  </a:lnTo>
                  <a:lnTo>
                    <a:pt x="12478" y="1205"/>
                  </a:lnTo>
                  <a:lnTo>
                    <a:pt x="10918" y="993"/>
                  </a:lnTo>
                  <a:lnTo>
                    <a:pt x="9146" y="780"/>
                  </a:lnTo>
                  <a:lnTo>
                    <a:pt x="9146" y="780"/>
                  </a:lnTo>
                  <a:lnTo>
                    <a:pt x="7303" y="567"/>
                  </a:lnTo>
                  <a:lnTo>
                    <a:pt x="5601" y="284"/>
                  </a:lnTo>
                  <a:lnTo>
                    <a:pt x="4113" y="71"/>
                  </a:lnTo>
                  <a:lnTo>
                    <a:pt x="2907"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74" name="Google Shape;21472;p90">
              <a:extLst>
                <a:ext uri="{FF2B5EF4-FFF2-40B4-BE49-F238E27FC236}">
                  <a16:creationId xmlns:a16="http://schemas.microsoft.com/office/drawing/2014/main" id="{6315DEC6-87B9-984A-5EAF-AB4D41C7F07F}"/>
                </a:ext>
              </a:extLst>
            </p:cNvPr>
            <p:cNvSpPr/>
            <p:nvPr/>
          </p:nvSpPr>
          <p:spPr>
            <a:xfrm>
              <a:off x="2277000" y="2710400"/>
              <a:ext cx="540550" cy="189650"/>
            </a:xfrm>
            <a:custGeom>
              <a:avLst/>
              <a:gdLst/>
              <a:ahLst/>
              <a:cxnLst/>
              <a:rect l="l" t="t" r="r" b="b"/>
              <a:pathLst>
                <a:path w="21622" h="7586" extrusionOk="0">
                  <a:moveTo>
                    <a:pt x="1276" y="0"/>
                  </a:moveTo>
                  <a:lnTo>
                    <a:pt x="993" y="71"/>
                  </a:lnTo>
                  <a:lnTo>
                    <a:pt x="638" y="213"/>
                  </a:lnTo>
                  <a:lnTo>
                    <a:pt x="355" y="496"/>
                  </a:lnTo>
                  <a:lnTo>
                    <a:pt x="142" y="922"/>
                  </a:lnTo>
                  <a:lnTo>
                    <a:pt x="0" y="1205"/>
                  </a:lnTo>
                  <a:lnTo>
                    <a:pt x="0" y="1489"/>
                  </a:lnTo>
                  <a:lnTo>
                    <a:pt x="71" y="1843"/>
                  </a:lnTo>
                  <a:lnTo>
                    <a:pt x="284" y="2410"/>
                  </a:lnTo>
                  <a:lnTo>
                    <a:pt x="709" y="3119"/>
                  </a:lnTo>
                  <a:lnTo>
                    <a:pt x="1206" y="3899"/>
                  </a:lnTo>
                  <a:lnTo>
                    <a:pt x="1844" y="4608"/>
                  </a:lnTo>
                  <a:lnTo>
                    <a:pt x="2411" y="5033"/>
                  </a:lnTo>
                  <a:lnTo>
                    <a:pt x="2623" y="5175"/>
                  </a:lnTo>
                  <a:lnTo>
                    <a:pt x="2836" y="5246"/>
                  </a:lnTo>
                  <a:lnTo>
                    <a:pt x="4041" y="5246"/>
                  </a:lnTo>
                  <a:lnTo>
                    <a:pt x="4892" y="5388"/>
                  </a:lnTo>
                  <a:lnTo>
                    <a:pt x="5530" y="5530"/>
                  </a:lnTo>
                  <a:lnTo>
                    <a:pt x="5955" y="5671"/>
                  </a:lnTo>
                  <a:lnTo>
                    <a:pt x="6168" y="5671"/>
                  </a:lnTo>
                  <a:lnTo>
                    <a:pt x="6877" y="5955"/>
                  </a:lnTo>
                  <a:lnTo>
                    <a:pt x="7727" y="6238"/>
                  </a:lnTo>
                  <a:lnTo>
                    <a:pt x="9500" y="6947"/>
                  </a:lnTo>
                  <a:lnTo>
                    <a:pt x="10421" y="7231"/>
                  </a:lnTo>
                  <a:lnTo>
                    <a:pt x="11343" y="7444"/>
                  </a:lnTo>
                  <a:lnTo>
                    <a:pt x="11485" y="7514"/>
                  </a:lnTo>
                  <a:lnTo>
                    <a:pt x="12052" y="7585"/>
                  </a:lnTo>
                  <a:lnTo>
                    <a:pt x="12477" y="7585"/>
                  </a:lnTo>
                  <a:lnTo>
                    <a:pt x="13540" y="7514"/>
                  </a:lnTo>
                  <a:lnTo>
                    <a:pt x="14675" y="7373"/>
                  </a:lnTo>
                  <a:lnTo>
                    <a:pt x="15596" y="7231"/>
                  </a:lnTo>
                  <a:lnTo>
                    <a:pt x="16518" y="7018"/>
                  </a:lnTo>
                  <a:lnTo>
                    <a:pt x="16801" y="6876"/>
                  </a:lnTo>
                  <a:lnTo>
                    <a:pt x="17297" y="6806"/>
                  </a:lnTo>
                  <a:lnTo>
                    <a:pt x="17794" y="6593"/>
                  </a:lnTo>
                  <a:lnTo>
                    <a:pt x="18219" y="6522"/>
                  </a:lnTo>
                  <a:lnTo>
                    <a:pt x="18715" y="6309"/>
                  </a:lnTo>
                  <a:lnTo>
                    <a:pt x="20488" y="5742"/>
                  </a:lnTo>
                  <a:lnTo>
                    <a:pt x="21126" y="5530"/>
                  </a:lnTo>
                  <a:lnTo>
                    <a:pt x="21622" y="5459"/>
                  </a:lnTo>
                  <a:lnTo>
                    <a:pt x="21551" y="5317"/>
                  </a:lnTo>
                  <a:lnTo>
                    <a:pt x="21196" y="4821"/>
                  </a:lnTo>
                  <a:lnTo>
                    <a:pt x="20488" y="4041"/>
                  </a:lnTo>
                  <a:lnTo>
                    <a:pt x="19282" y="2907"/>
                  </a:lnTo>
                  <a:lnTo>
                    <a:pt x="18857" y="2552"/>
                  </a:lnTo>
                  <a:lnTo>
                    <a:pt x="18148" y="2198"/>
                  </a:lnTo>
                  <a:lnTo>
                    <a:pt x="17439" y="1843"/>
                  </a:lnTo>
                  <a:lnTo>
                    <a:pt x="16730" y="1489"/>
                  </a:lnTo>
                  <a:lnTo>
                    <a:pt x="16234" y="1347"/>
                  </a:lnTo>
                  <a:lnTo>
                    <a:pt x="15313" y="1134"/>
                  </a:lnTo>
                  <a:lnTo>
                    <a:pt x="14391" y="993"/>
                  </a:lnTo>
                  <a:lnTo>
                    <a:pt x="12831" y="993"/>
                  </a:lnTo>
                  <a:lnTo>
                    <a:pt x="11343" y="1064"/>
                  </a:lnTo>
                  <a:lnTo>
                    <a:pt x="9287" y="1134"/>
                  </a:lnTo>
                  <a:lnTo>
                    <a:pt x="8365" y="1134"/>
                  </a:lnTo>
                  <a:lnTo>
                    <a:pt x="7586" y="993"/>
                  </a:lnTo>
                  <a:lnTo>
                    <a:pt x="6451" y="851"/>
                  </a:lnTo>
                  <a:lnTo>
                    <a:pt x="5459" y="709"/>
                  </a:lnTo>
                  <a:lnTo>
                    <a:pt x="4325" y="567"/>
                  </a:lnTo>
                  <a:lnTo>
                    <a:pt x="2907" y="213"/>
                  </a:lnTo>
                  <a:lnTo>
                    <a:pt x="2269" y="71"/>
                  </a:lnTo>
                  <a:lnTo>
                    <a:pt x="1631" y="0"/>
                  </a:lnTo>
                  <a:close/>
                </a:path>
              </a:pathLst>
            </a:custGeom>
            <a:solidFill>
              <a:srgbClr val="CF4D2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75" name="Google Shape;21473;p90">
              <a:extLst>
                <a:ext uri="{FF2B5EF4-FFF2-40B4-BE49-F238E27FC236}">
                  <a16:creationId xmlns:a16="http://schemas.microsoft.com/office/drawing/2014/main" id="{1D317710-A51C-A7CF-9503-11CB5EC32BB8}"/>
                </a:ext>
              </a:extLst>
            </p:cNvPr>
            <p:cNvSpPr/>
            <p:nvPr/>
          </p:nvSpPr>
          <p:spPr>
            <a:xfrm>
              <a:off x="2277000" y="2710400"/>
              <a:ext cx="540550" cy="189650"/>
            </a:xfrm>
            <a:custGeom>
              <a:avLst/>
              <a:gdLst/>
              <a:ahLst/>
              <a:cxnLst/>
              <a:rect l="l" t="t" r="r" b="b"/>
              <a:pathLst>
                <a:path w="21622" h="7586" fill="none" extrusionOk="0">
                  <a:moveTo>
                    <a:pt x="71" y="1843"/>
                  </a:moveTo>
                  <a:lnTo>
                    <a:pt x="71" y="1843"/>
                  </a:lnTo>
                  <a:lnTo>
                    <a:pt x="284" y="2410"/>
                  </a:lnTo>
                  <a:lnTo>
                    <a:pt x="709" y="3119"/>
                  </a:lnTo>
                  <a:lnTo>
                    <a:pt x="1206" y="3899"/>
                  </a:lnTo>
                  <a:lnTo>
                    <a:pt x="1844" y="4608"/>
                  </a:lnTo>
                  <a:lnTo>
                    <a:pt x="1844" y="4608"/>
                  </a:lnTo>
                  <a:lnTo>
                    <a:pt x="2411" y="5033"/>
                  </a:lnTo>
                  <a:lnTo>
                    <a:pt x="2411" y="5033"/>
                  </a:lnTo>
                  <a:lnTo>
                    <a:pt x="2411" y="5033"/>
                  </a:lnTo>
                  <a:lnTo>
                    <a:pt x="2623" y="5175"/>
                  </a:lnTo>
                  <a:lnTo>
                    <a:pt x="2836" y="5246"/>
                  </a:lnTo>
                  <a:lnTo>
                    <a:pt x="2836" y="5246"/>
                  </a:lnTo>
                  <a:lnTo>
                    <a:pt x="3120" y="5246"/>
                  </a:lnTo>
                  <a:lnTo>
                    <a:pt x="3474" y="5246"/>
                  </a:lnTo>
                  <a:lnTo>
                    <a:pt x="3474" y="5246"/>
                  </a:lnTo>
                  <a:lnTo>
                    <a:pt x="4041" y="5246"/>
                  </a:lnTo>
                  <a:lnTo>
                    <a:pt x="4892" y="5388"/>
                  </a:lnTo>
                  <a:lnTo>
                    <a:pt x="4892" y="5388"/>
                  </a:lnTo>
                  <a:lnTo>
                    <a:pt x="5530" y="5530"/>
                  </a:lnTo>
                  <a:lnTo>
                    <a:pt x="5530" y="5530"/>
                  </a:lnTo>
                  <a:lnTo>
                    <a:pt x="5955" y="5671"/>
                  </a:lnTo>
                  <a:lnTo>
                    <a:pt x="5955" y="5671"/>
                  </a:lnTo>
                  <a:lnTo>
                    <a:pt x="6168" y="5671"/>
                  </a:lnTo>
                  <a:lnTo>
                    <a:pt x="6168" y="5671"/>
                  </a:lnTo>
                  <a:lnTo>
                    <a:pt x="6877" y="5955"/>
                  </a:lnTo>
                  <a:lnTo>
                    <a:pt x="7727" y="6238"/>
                  </a:lnTo>
                  <a:lnTo>
                    <a:pt x="7727" y="6238"/>
                  </a:lnTo>
                  <a:lnTo>
                    <a:pt x="9500" y="6947"/>
                  </a:lnTo>
                  <a:lnTo>
                    <a:pt x="10421" y="7231"/>
                  </a:lnTo>
                  <a:lnTo>
                    <a:pt x="11343" y="7444"/>
                  </a:lnTo>
                  <a:lnTo>
                    <a:pt x="11343" y="7444"/>
                  </a:lnTo>
                  <a:lnTo>
                    <a:pt x="11485" y="7514"/>
                  </a:lnTo>
                  <a:lnTo>
                    <a:pt x="11485" y="7514"/>
                  </a:lnTo>
                  <a:lnTo>
                    <a:pt x="12052" y="7585"/>
                  </a:lnTo>
                  <a:lnTo>
                    <a:pt x="12052" y="7585"/>
                  </a:lnTo>
                  <a:lnTo>
                    <a:pt x="12193" y="7585"/>
                  </a:lnTo>
                  <a:lnTo>
                    <a:pt x="12193" y="7585"/>
                  </a:lnTo>
                  <a:lnTo>
                    <a:pt x="12193" y="7585"/>
                  </a:lnTo>
                  <a:lnTo>
                    <a:pt x="12477" y="7585"/>
                  </a:lnTo>
                  <a:lnTo>
                    <a:pt x="12477" y="7585"/>
                  </a:lnTo>
                  <a:lnTo>
                    <a:pt x="13540" y="7514"/>
                  </a:lnTo>
                  <a:lnTo>
                    <a:pt x="14675" y="7373"/>
                  </a:lnTo>
                  <a:lnTo>
                    <a:pt x="14675" y="7373"/>
                  </a:lnTo>
                  <a:lnTo>
                    <a:pt x="14675" y="7373"/>
                  </a:lnTo>
                  <a:lnTo>
                    <a:pt x="15596" y="7231"/>
                  </a:lnTo>
                  <a:lnTo>
                    <a:pt x="16518" y="7018"/>
                  </a:lnTo>
                  <a:lnTo>
                    <a:pt x="16518" y="7018"/>
                  </a:lnTo>
                  <a:lnTo>
                    <a:pt x="16801" y="6876"/>
                  </a:lnTo>
                  <a:lnTo>
                    <a:pt x="16801" y="6876"/>
                  </a:lnTo>
                  <a:lnTo>
                    <a:pt x="17297" y="6806"/>
                  </a:lnTo>
                  <a:lnTo>
                    <a:pt x="17297" y="6806"/>
                  </a:lnTo>
                  <a:lnTo>
                    <a:pt x="17794" y="6593"/>
                  </a:lnTo>
                  <a:lnTo>
                    <a:pt x="17794" y="6593"/>
                  </a:lnTo>
                  <a:lnTo>
                    <a:pt x="18219" y="6522"/>
                  </a:lnTo>
                  <a:lnTo>
                    <a:pt x="18219" y="6522"/>
                  </a:lnTo>
                  <a:lnTo>
                    <a:pt x="18715" y="6309"/>
                  </a:lnTo>
                  <a:lnTo>
                    <a:pt x="18715" y="6309"/>
                  </a:lnTo>
                  <a:lnTo>
                    <a:pt x="20488" y="5742"/>
                  </a:lnTo>
                  <a:lnTo>
                    <a:pt x="21126" y="5530"/>
                  </a:lnTo>
                  <a:lnTo>
                    <a:pt x="21622" y="5459"/>
                  </a:lnTo>
                  <a:lnTo>
                    <a:pt x="21622" y="5459"/>
                  </a:lnTo>
                  <a:lnTo>
                    <a:pt x="21622" y="5459"/>
                  </a:lnTo>
                  <a:lnTo>
                    <a:pt x="21551" y="5317"/>
                  </a:lnTo>
                  <a:lnTo>
                    <a:pt x="21196" y="4821"/>
                  </a:lnTo>
                  <a:lnTo>
                    <a:pt x="20488" y="4041"/>
                  </a:lnTo>
                  <a:lnTo>
                    <a:pt x="19282" y="2907"/>
                  </a:lnTo>
                  <a:lnTo>
                    <a:pt x="19282" y="2907"/>
                  </a:lnTo>
                  <a:lnTo>
                    <a:pt x="18857" y="2552"/>
                  </a:lnTo>
                  <a:lnTo>
                    <a:pt x="18148" y="2198"/>
                  </a:lnTo>
                  <a:lnTo>
                    <a:pt x="18148" y="2198"/>
                  </a:lnTo>
                  <a:lnTo>
                    <a:pt x="17439" y="1843"/>
                  </a:lnTo>
                  <a:lnTo>
                    <a:pt x="17439" y="1843"/>
                  </a:lnTo>
                  <a:lnTo>
                    <a:pt x="17439" y="1843"/>
                  </a:lnTo>
                  <a:lnTo>
                    <a:pt x="16730" y="1489"/>
                  </a:lnTo>
                  <a:lnTo>
                    <a:pt x="16730" y="1489"/>
                  </a:lnTo>
                  <a:lnTo>
                    <a:pt x="16234" y="1347"/>
                  </a:lnTo>
                  <a:lnTo>
                    <a:pt x="16234" y="1347"/>
                  </a:lnTo>
                  <a:lnTo>
                    <a:pt x="16234" y="1347"/>
                  </a:lnTo>
                  <a:lnTo>
                    <a:pt x="15313" y="1134"/>
                  </a:lnTo>
                  <a:lnTo>
                    <a:pt x="14391" y="993"/>
                  </a:lnTo>
                  <a:lnTo>
                    <a:pt x="14391" y="993"/>
                  </a:lnTo>
                  <a:lnTo>
                    <a:pt x="12831" y="993"/>
                  </a:lnTo>
                  <a:lnTo>
                    <a:pt x="11343" y="1064"/>
                  </a:lnTo>
                  <a:lnTo>
                    <a:pt x="11343" y="1064"/>
                  </a:lnTo>
                  <a:lnTo>
                    <a:pt x="9287" y="1134"/>
                  </a:lnTo>
                  <a:lnTo>
                    <a:pt x="8365" y="1134"/>
                  </a:lnTo>
                  <a:lnTo>
                    <a:pt x="7586" y="993"/>
                  </a:lnTo>
                  <a:lnTo>
                    <a:pt x="7586" y="993"/>
                  </a:lnTo>
                  <a:lnTo>
                    <a:pt x="6451" y="851"/>
                  </a:lnTo>
                  <a:lnTo>
                    <a:pt x="5459" y="709"/>
                  </a:lnTo>
                  <a:lnTo>
                    <a:pt x="4325" y="567"/>
                  </a:lnTo>
                  <a:lnTo>
                    <a:pt x="2907" y="213"/>
                  </a:lnTo>
                  <a:lnTo>
                    <a:pt x="2907" y="213"/>
                  </a:lnTo>
                  <a:lnTo>
                    <a:pt x="2269" y="71"/>
                  </a:lnTo>
                  <a:lnTo>
                    <a:pt x="1631" y="0"/>
                  </a:lnTo>
                  <a:lnTo>
                    <a:pt x="1276" y="0"/>
                  </a:lnTo>
                  <a:lnTo>
                    <a:pt x="993" y="71"/>
                  </a:lnTo>
                  <a:lnTo>
                    <a:pt x="638" y="213"/>
                  </a:lnTo>
                  <a:lnTo>
                    <a:pt x="355" y="496"/>
                  </a:lnTo>
                  <a:lnTo>
                    <a:pt x="355" y="496"/>
                  </a:lnTo>
                  <a:lnTo>
                    <a:pt x="142" y="922"/>
                  </a:lnTo>
                  <a:lnTo>
                    <a:pt x="0" y="1205"/>
                  </a:lnTo>
                  <a:lnTo>
                    <a:pt x="0" y="1489"/>
                  </a:lnTo>
                  <a:lnTo>
                    <a:pt x="71" y="1843"/>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76" name="Google Shape;21474;p90">
              <a:extLst>
                <a:ext uri="{FF2B5EF4-FFF2-40B4-BE49-F238E27FC236}">
                  <a16:creationId xmlns:a16="http://schemas.microsoft.com/office/drawing/2014/main" id="{4D12AA7C-3CCD-902D-E68B-5C7C2C084D95}"/>
                </a:ext>
              </a:extLst>
            </p:cNvPr>
            <p:cNvSpPr/>
            <p:nvPr/>
          </p:nvSpPr>
          <p:spPr>
            <a:xfrm>
              <a:off x="2470175" y="2804325"/>
              <a:ext cx="226875" cy="95725"/>
            </a:xfrm>
            <a:custGeom>
              <a:avLst/>
              <a:gdLst/>
              <a:ahLst/>
              <a:cxnLst/>
              <a:rect l="l" t="t" r="r" b="b"/>
              <a:pathLst>
                <a:path w="9075" h="3829" extrusionOk="0">
                  <a:moveTo>
                    <a:pt x="6380" y="0"/>
                  </a:moveTo>
                  <a:lnTo>
                    <a:pt x="5742" y="567"/>
                  </a:lnTo>
                  <a:lnTo>
                    <a:pt x="5034" y="1064"/>
                  </a:lnTo>
                  <a:lnTo>
                    <a:pt x="4254" y="1489"/>
                  </a:lnTo>
                  <a:lnTo>
                    <a:pt x="3474" y="1843"/>
                  </a:lnTo>
                  <a:lnTo>
                    <a:pt x="2552" y="2056"/>
                  </a:lnTo>
                  <a:lnTo>
                    <a:pt x="1702" y="2269"/>
                  </a:lnTo>
                  <a:lnTo>
                    <a:pt x="851" y="2411"/>
                  </a:lnTo>
                  <a:lnTo>
                    <a:pt x="0" y="2481"/>
                  </a:lnTo>
                  <a:lnTo>
                    <a:pt x="1773" y="3190"/>
                  </a:lnTo>
                  <a:lnTo>
                    <a:pt x="2694" y="3474"/>
                  </a:lnTo>
                  <a:lnTo>
                    <a:pt x="3616" y="3687"/>
                  </a:lnTo>
                  <a:lnTo>
                    <a:pt x="3758" y="3757"/>
                  </a:lnTo>
                  <a:lnTo>
                    <a:pt x="4325" y="3828"/>
                  </a:lnTo>
                  <a:lnTo>
                    <a:pt x="4821" y="3828"/>
                  </a:lnTo>
                  <a:lnTo>
                    <a:pt x="5884" y="3757"/>
                  </a:lnTo>
                  <a:lnTo>
                    <a:pt x="6948" y="3616"/>
                  </a:lnTo>
                  <a:lnTo>
                    <a:pt x="7869" y="3474"/>
                  </a:lnTo>
                  <a:lnTo>
                    <a:pt x="8791" y="3261"/>
                  </a:lnTo>
                  <a:lnTo>
                    <a:pt x="9074" y="3119"/>
                  </a:lnTo>
                  <a:lnTo>
                    <a:pt x="6380" y="0"/>
                  </a:lnTo>
                  <a:close/>
                </a:path>
              </a:pathLst>
            </a:custGeom>
            <a:solidFill>
              <a:srgbClr val="AC463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77" name="Google Shape;21475;p90">
              <a:extLst>
                <a:ext uri="{FF2B5EF4-FFF2-40B4-BE49-F238E27FC236}">
                  <a16:creationId xmlns:a16="http://schemas.microsoft.com/office/drawing/2014/main" id="{7C427F5C-D797-FFFC-6ED8-A52F56251A26}"/>
                </a:ext>
              </a:extLst>
            </p:cNvPr>
            <p:cNvSpPr/>
            <p:nvPr/>
          </p:nvSpPr>
          <p:spPr>
            <a:xfrm>
              <a:off x="2470175" y="2804325"/>
              <a:ext cx="226875" cy="95725"/>
            </a:xfrm>
            <a:custGeom>
              <a:avLst/>
              <a:gdLst/>
              <a:ahLst/>
              <a:cxnLst/>
              <a:rect l="l" t="t" r="r" b="b"/>
              <a:pathLst>
                <a:path w="9075" h="3829" fill="none" extrusionOk="0">
                  <a:moveTo>
                    <a:pt x="6380" y="0"/>
                  </a:moveTo>
                  <a:lnTo>
                    <a:pt x="6380" y="0"/>
                  </a:lnTo>
                  <a:lnTo>
                    <a:pt x="5742" y="567"/>
                  </a:lnTo>
                  <a:lnTo>
                    <a:pt x="5034" y="1064"/>
                  </a:lnTo>
                  <a:lnTo>
                    <a:pt x="4254" y="1489"/>
                  </a:lnTo>
                  <a:lnTo>
                    <a:pt x="3474" y="1843"/>
                  </a:lnTo>
                  <a:lnTo>
                    <a:pt x="2552" y="2056"/>
                  </a:lnTo>
                  <a:lnTo>
                    <a:pt x="1702" y="2269"/>
                  </a:lnTo>
                  <a:lnTo>
                    <a:pt x="851" y="2411"/>
                  </a:lnTo>
                  <a:lnTo>
                    <a:pt x="0" y="2481"/>
                  </a:lnTo>
                  <a:lnTo>
                    <a:pt x="0" y="2481"/>
                  </a:lnTo>
                  <a:lnTo>
                    <a:pt x="1773" y="3190"/>
                  </a:lnTo>
                  <a:lnTo>
                    <a:pt x="2694" y="3474"/>
                  </a:lnTo>
                  <a:lnTo>
                    <a:pt x="3616" y="3687"/>
                  </a:lnTo>
                  <a:lnTo>
                    <a:pt x="3616" y="3687"/>
                  </a:lnTo>
                  <a:lnTo>
                    <a:pt x="3758" y="3757"/>
                  </a:lnTo>
                  <a:lnTo>
                    <a:pt x="3758" y="3757"/>
                  </a:lnTo>
                  <a:lnTo>
                    <a:pt x="4325" y="3828"/>
                  </a:lnTo>
                  <a:lnTo>
                    <a:pt x="4325" y="3828"/>
                  </a:lnTo>
                  <a:lnTo>
                    <a:pt x="4466" y="3828"/>
                  </a:lnTo>
                  <a:lnTo>
                    <a:pt x="4466" y="3828"/>
                  </a:lnTo>
                  <a:lnTo>
                    <a:pt x="4466" y="3828"/>
                  </a:lnTo>
                  <a:lnTo>
                    <a:pt x="4750" y="3828"/>
                  </a:lnTo>
                  <a:lnTo>
                    <a:pt x="4750" y="3828"/>
                  </a:lnTo>
                  <a:lnTo>
                    <a:pt x="4821" y="3828"/>
                  </a:lnTo>
                  <a:lnTo>
                    <a:pt x="4821" y="3828"/>
                  </a:lnTo>
                  <a:lnTo>
                    <a:pt x="5884" y="3757"/>
                  </a:lnTo>
                  <a:lnTo>
                    <a:pt x="6948" y="3616"/>
                  </a:lnTo>
                  <a:lnTo>
                    <a:pt x="6948" y="3616"/>
                  </a:lnTo>
                  <a:lnTo>
                    <a:pt x="6948" y="3616"/>
                  </a:lnTo>
                  <a:lnTo>
                    <a:pt x="7869" y="3474"/>
                  </a:lnTo>
                  <a:lnTo>
                    <a:pt x="8791" y="3261"/>
                  </a:lnTo>
                  <a:lnTo>
                    <a:pt x="8791" y="3261"/>
                  </a:lnTo>
                  <a:lnTo>
                    <a:pt x="9074" y="3119"/>
                  </a:lnTo>
                  <a:lnTo>
                    <a:pt x="6380"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78" name="Google Shape;21476;p90">
              <a:extLst>
                <a:ext uri="{FF2B5EF4-FFF2-40B4-BE49-F238E27FC236}">
                  <a16:creationId xmlns:a16="http://schemas.microsoft.com/office/drawing/2014/main" id="{3678E69E-2C45-E2AC-D3D9-456CB13C8E7B}"/>
                </a:ext>
              </a:extLst>
            </p:cNvPr>
            <p:cNvSpPr/>
            <p:nvPr/>
          </p:nvSpPr>
          <p:spPr>
            <a:xfrm>
              <a:off x="2778550" y="2907100"/>
              <a:ext cx="5325" cy="5350"/>
            </a:xfrm>
            <a:custGeom>
              <a:avLst/>
              <a:gdLst/>
              <a:ahLst/>
              <a:cxnLst/>
              <a:rect l="l" t="t" r="r" b="b"/>
              <a:pathLst>
                <a:path w="213" h="214" extrusionOk="0">
                  <a:moveTo>
                    <a:pt x="0" y="1"/>
                  </a:moveTo>
                  <a:lnTo>
                    <a:pt x="0" y="143"/>
                  </a:lnTo>
                  <a:lnTo>
                    <a:pt x="71" y="214"/>
                  </a:lnTo>
                  <a:lnTo>
                    <a:pt x="213" y="214"/>
                  </a:lnTo>
                  <a:lnTo>
                    <a:pt x="142" y="72"/>
                  </a:lnTo>
                  <a:lnTo>
                    <a:pt x="0" y="1"/>
                  </a:lnTo>
                  <a:close/>
                </a:path>
              </a:pathLst>
            </a:custGeom>
            <a:solidFill>
              <a:srgbClr val="BB898B"/>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79" name="Google Shape;21477;p90">
              <a:extLst>
                <a:ext uri="{FF2B5EF4-FFF2-40B4-BE49-F238E27FC236}">
                  <a16:creationId xmlns:a16="http://schemas.microsoft.com/office/drawing/2014/main" id="{5BB0D129-DB57-E851-F676-AEEA28E41284}"/>
                </a:ext>
              </a:extLst>
            </p:cNvPr>
            <p:cNvSpPr/>
            <p:nvPr/>
          </p:nvSpPr>
          <p:spPr>
            <a:xfrm>
              <a:off x="2778550" y="2907100"/>
              <a:ext cx="5325" cy="5350"/>
            </a:xfrm>
            <a:custGeom>
              <a:avLst/>
              <a:gdLst/>
              <a:ahLst/>
              <a:cxnLst/>
              <a:rect l="l" t="t" r="r" b="b"/>
              <a:pathLst>
                <a:path w="213" h="214" fill="none" extrusionOk="0">
                  <a:moveTo>
                    <a:pt x="0" y="1"/>
                  </a:moveTo>
                  <a:lnTo>
                    <a:pt x="0" y="1"/>
                  </a:lnTo>
                  <a:lnTo>
                    <a:pt x="0" y="143"/>
                  </a:lnTo>
                  <a:lnTo>
                    <a:pt x="71" y="214"/>
                  </a:lnTo>
                  <a:lnTo>
                    <a:pt x="213" y="214"/>
                  </a:lnTo>
                  <a:lnTo>
                    <a:pt x="213" y="214"/>
                  </a:lnTo>
                  <a:lnTo>
                    <a:pt x="213" y="214"/>
                  </a:lnTo>
                  <a:lnTo>
                    <a:pt x="213" y="214"/>
                  </a:lnTo>
                  <a:lnTo>
                    <a:pt x="142" y="72"/>
                  </a:lnTo>
                  <a:lnTo>
                    <a:pt x="0"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80" name="Google Shape;21478;p90">
              <a:extLst>
                <a:ext uri="{FF2B5EF4-FFF2-40B4-BE49-F238E27FC236}">
                  <a16:creationId xmlns:a16="http://schemas.microsoft.com/office/drawing/2014/main" id="{05D1CCBF-E659-8418-76AD-AB3FBCAE4FDD}"/>
                </a:ext>
              </a:extLst>
            </p:cNvPr>
            <p:cNvSpPr/>
            <p:nvPr/>
          </p:nvSpPr>
          <p:spPr>
            <a:xfrm>
              <a:off x="2725375" y="3032950"/>
              <a:ext cx="5350" cy="1775"/>
            </a:xfrm>
            <a:custGeom>
              <a:avLst/>
              <a:gdLst/>
              <a:ahLst/>
              <a:cxnLst/>
              <a:rect l="l" t="t" r="r" b="b"/>
              <a:pathLst>
                <a:path w="214" h="71" extrusionOk="0">
                  <a:moveTo>
                    <a:pt x="1" y="0"/>
                  </a:moveTo>
                  <a:lnTo>
                    <a:pt x="1" y="0"/>
                  </a:lnTo>
                  <a:lnTo>
                    <a:pt x="1" y="0"/>
                  </a:lnTo>
                  <a:lnTo>
                    <a:pt x="1" y="0"/>
                  </a:lnTo>
                  <a:lnTo>
                    <a:pt x="213" y="71"/>
                  </a:lnTo>
                  <a:lnTo>
                    <a:pt x="213" y="71"/>
                  </a:lnTo>
                  <a:lnTo>
                    <a:pt x="1" y="0"/>
                  </a:lnTo>
                  <a:close/>
                </a:path>
              </a:pathLst>
            </a:custGeom>
            <a:solidFill>
              <a:srgbClr val="C0BDC5"/>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81" name="Google Shape;21479;p90">
              <a:extLst>
                <a:ext uri="{FF2B5EF4-FFF2-40B4-BE49-F238E27FC236}">
                  <a16:creationId xmlns:a16="http://schemas.microsoft.com/office/drawing/2014/main" id="{DE2AFDBC-B09D-4864-C785-776B62C3BA2D}"/>
                </a:ext>
              </a:extLst>
            </p:cNvPr>
            <p:cNvSpPr/>
            <p:nvPr/>
          </p:nvSpPr>
          <p:spPr>
            <a:xfrm>
              <a:off x="2725375" y="3032950"/>
              <a:ext cx="5350" cy="1775"/>
            </a:xfrm>
            <a:custGeom>
              <a:avLst/>
              <a:gdLst/>
              <a:ahLst/>
              <a:cxnLst/>
              <a:rect l="l" t="t" r="r" b="b"/>
              <a:pathLst>
                <a:path w="214" h="71" fill="none" extrusionOk="0">
                  <a:moveTo>
                    <a:pt x="1" y="0"/>
                  </a:moveTo>
                  <a:lnTo>
                    <a:pt x="1" y="0"/>
                  </a:lnTo>
                  <a:lnTo>
                    <a:pt x="1" y="0"/>
                  </a:lnTo>
                  <a:lnTo>
                    <a:pt x="1" y="0"/>
                  </a:lnTo>
                  <a:lnTo>
                    <a:pt x="213" y="71"/>
                  </a:lnTo>
                  <a:lnTo>
                    <a:pt x="213" y="71"/>
                  </a:lnTo>
                  <a:lnTo>
                    <a:pt x="1"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82" name="Google Shape;21480;p90">
              <a:extLst>
                <a:ext uri="{FF2B5EF4-FFF2-40B4-BE49-F238E27FC236}">
                  <a16:creationId xmlns:a16="http://schemas.microsoft.com/office/drawing/2014/main" id="{26404B19-19A1-E42C-10CD-9F4C37CFE869}"/>
                </a:ext>
              </a:extLst>
            </p:cNvPr>
            <p:cNvSpPr/>
            <p:nvPr/>
          </p:nvSpPr>
          <p:spPr>
            <a:xfrm>
              <a:off x="2743100" y="2907100"/>
              <a:ext cx="40775" cy="40800"/>
            </a:xfrm>
            <a:custGeom>
              <a:avLst/>
              <a:gdLst/>
              <a:ahLst/>
              <a:cxnLst/>
              <a:rect l="l" t="t" r="r" b="b"/>
              <a:pathLst>
                <a:path w="1631" h="1632" extrusionOk="0">
                  <a:moveTo>
                    <a:pt x="1347" y="1"/>
                  </a:moveTo>
                  <a:lnTo>
                    <a:pt x="1276" y="72"/>
                  </a:lnTo>
                  <a:lnTo>
                    <a:pt x="1276" y="426"/>
                  </a:lnTo>
                  <a:lnTo>
                    <a:pt x="780" y="781"/>
                  </a:lnTo>
                  <a:lnTo>
                    <a:pt x="355" y="1135"/>
                  </a:lnTo>
                  <a:lnTo>
                    <a:pt x="0" y="1631"/>
                  </a:lnTo>
                  <a:lnTo>
                    <a:pt x="0" y="1631"/>
                  </a:lnTo>
                  <a:lnTo>
                    <a:pt x="851" y="1419"/>
                  </a:lnTo>
                  <a:lnTo>
                    <a:pt x="1276" y="710"/>
                  </a:lnTo>
                  <a:lnTo>
                    <a:pt x="1489" y="568"/>
                  </a:lnTo>
                  <a:lnTo>
                    <a:pt x="1631" y="426"/>
                  </a:lnTo>
                  <a:lnTo>
                    <a:pt x="1631" y="284"/>
                  </a:lnTo>
                  <a:lnTo>
                    <a:pt x="1631" y="214"/>
                  </a:lnTo>
                  <a:lnTo>
                    <a:pt x="1489" y="214"/>
                  </a:lnTo>
                  <a:lnTo>
                    <a:pt x="1418" y="143"/>
                  </a:lnTo>
                  <a:lnTo>
                    <a:pt x="1418" y="1"/>
                  </a:lnTo>
                  <a:close/>
                </a:path>
              </a:pathLst>
            </a:custGeom>
            <a:solidFill>
              <a:srgbClr val="C0BDC5"/>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83" name="Google Shape;21481;p90">
              <a:extLst>
                <a:ext uri="{FF2B5EF4-FFF2-40B4-BE49-F238E27FC236}">
                  <a16:creationId xmlns:a16="http://schemas.microsoft.com/office/drawing/2014/main" id="{B5CB633B-1740-F699-3A05-AB2ED75679C0}"/>
                </a:ext>
              </a:extLst>
            </p:cNvPr>
            <p:cNvSpPr/>
            <p:nvPr/>
          </p:nvSpPr>
          <p:spPr>
            <a:xfrm>
              <a:off x="2743100" y="2907100"/>
              <a:ext cx="40775" cy="40800"/>
            </a:xfrm>
            <a:custGeom>
              <a:avLst/>
              <a:gdLst/>
              <a:ahLst/>
              <a:cxnLst/>
              <a:rect l="l" t="t" r="r" b="b"/>
              <a:pathLst>
                <a:path w="1631" h="1632" fill="none" extrusionOk="0">
                  <a:moveTo>
                    <a:pt x="1418" y="1"/>
                  </a:moveTo>
                  <a:lnTo>
                    <a:pt x="1418" y="1"/>
                  </a:lnTo>
                  <a:lnTo>
                    <a:pt x="1347" y="1"/>
                  </a:lnTo>
                  <a:lnTo>
                    <a:pt x="1276" y="72"/>
                  </a:lnTo>
                  <a:lnTo>
                    <a:pt x="1276" y="426"/>
                  </a:lnTo>
                  <a:lnTo>
                    <a:pt x="1276" y="426"/>
                  </a:lnTo>
                  <a:lnTo>
                    <a:pt x="780" y="781"/>
                  </a:lnTo>
                  <a:lnTo>
                    <a:pt x="355" y="1135"/>
                  </a:lnTo>
                  <a:lnTo>
                    <a:pt x="0" y="1631"/>
                  </a:lnTo>
                  <a:lnTo>
                    <a:pt x="0" y="1631"/>
                  </a:lnTo>
                  <a:lnTo>
                    <a:pt x="851" y="1419"/>
                  </a:lnTo>
                  <a:lnTo>
                    <a:pt x="851" y="1419"/>
                  </a:lnTo>
                  <a:lnTo>
                    <a:pt x="1276" y="710"/>
                  </a:lnTo>
                  <a:lnTo>
                    <a:pt x="1276" y="710"/>
                  </a:lnTo>
                  <a:lnTo>
                    <a:pt x="1489" y="568"/>
                  </a:lnTo>
                  <a:lnTo>
                    <a:pt x="1631" y="426"/>
                  </a:lnTo>
                  <a:lnTo>
                    <a:pt x="1631" y="284"/>
                  </a:lnTo>
                  <a:lnTo>
                    <a:pt x="1631" y="284"/>
                  </a:lnTo>
                  <a:lnTo>
                    <a:pt x="1631" y="214"/>
                  </a:lnTo>
                  <a:lnTo>
                    <a:pt x="1631" y="214"/>
                  </a:lnTo>
                  <a:lnTo>
                    <a:pt x="1631" y="214"/>
                  </a:lnTo>
                  <a:lnTo>
                    <a:pt x="1631" y="214"/>
                  </a:lnTo>
                  <a:lnTo>
                    <a:pt x="1489" y="214"/>
                  </a:lnTo>
                  <a:lnTo>
                    <a:pt x="1418" y="143"/>
                  </a:lnTo>
                  <a:lnTo>
                    <a:pt x="1418" y="1"/>
                  </a:lnTo>
                  <a:lnTo>
                    <a:pt x="1418" y="1"/>
                  </a:lnTo>
                  <a:lnTo>
                    <a:pt x="1418"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84" name="Google Shape;21482;p90">
              <a:extLst>
                <a:ext uri="{FF2B5EF4-FFF2-40B4-BE49-F238E27FC236}">
                  <a16:creationId xmlns:a16="http://schemas.microsoft.com/office/drawing/2014/main" id="{E5A4B97E-E213-DF6C-F3C4-D52F5E1F56FB}"/>
                </a:ext>
              </a:extLst>
            </p:cNvPr>
            <p:cNvSpPr/>
            <p:nvPr/>
          </p:nvSpPr>
          <p:spPr>
            <a:xfrm>
              <a:off x="2725375" y="2942550"/>
              <a:ext cx="39025" cy="97500"/>
            </a:xfrm>
            <a:custGeom>
              <a:avLst/>
              <a:gdLst/>
              <a:ahLst/>
              <a:cxnLst/>
              <a:rect l="l" t="t" r="r" b="b"/>
              <a:pathLst>
                <a:path w="1561" h="3900" extrusionOk="0">
                  <a:moveTo>
                    <a:pt x="1560" y="1"/>
                  </a:moveTo>
                  <a:lnTo>
                    <a:pt x="709" y="213"/>
                  </a:lnTo>
                  <a:lnTo>
                    <a:pt x="355" y="710"/>
                  </a:lnTo>
                  <a:lnTo>
                    <a:pt x="213" y="1206"/>
                  </a:lnTo>
                  <a:lnTo>
                    <a:pt x="71" y="1489"/>
                  </a:lnTo>
                  <a:lnTo>
                    <a:pt x="71" y="1702"/>
                  </a:lnTo>
                  <a:lnTo>
                    <a:pt x="1" y="2836"/>
                  </a:lnTo>
                  <a:lnTo>
                    <a:pt x="1" y="3333"/>
                  </a:lnTo>
                  <a:lnTo>
                    <a:pt x="1" y="3616"/>
                  </a:lnTo>
                  <a:lnTo>
                    <a:pt x="213" y="3687"/>
                  </a:lnTo>
                  <a:lnTo>
                    <a:pt x="1489" y="3900"/>
                  </a:lnTo>
                  <a:lnTo>
                    <a:pt x="1277" y="3262"/>
                  </a:lnTo>
                  <a:lnTo>
                    <a:pt x="1135" y="2624"/>
                  </a:lnTo>
                  <a:lnTo>
                    <a:pt x="1064" y="1986"/>
                  </a:lnTo>
                  <a:lnTo>
                    <a:pt x="993" y="1560"/>
                  </a:lnTo>
                  <a:lnTo>
                    <a:pt x="1064" y="1064"/>
                  </a:lnTo>
                  <a:lnTo>
                    <a:pt x="1206" y="639"/>
                  </a:lnTo>
                  <a:lnTo>
                    <a:pt x="1560" y="1"/>
                  </a:lnTo>
                  <a:close/>
                </a:path>
              </a:pathLst>
            </a:custGeom>
            <a:solidFill>
              <a:srgbClr val="873E3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85" name="Google Shape;21483;p90">
              <a:extLst>
                <a:ext uri="{FF2B5EF4-FFF2-40B4-BE49-F238E27FC236}">
                  <a16:creationId xmlns:a16="http://schemas.microsoft.com/office/drawing/2014/main" id="{AFCB3E52-FB3F-17D0-66A2-7104E03E3EB9}"/>
                </a:ext>
              </a:extLst>
            </p:cNvPr>
            <p:cNvSpPr/>
            <p:nvPr/>
          </p:nvSpPr>
          <p:spPr>
            <a:xfrm>
              <a:off x="2725375" y="2942550"/>
              <a:ext cx="39025" cy="97500"/>
            </a:xfrm>
            <a:custGeom>
              <a:avLst/>
              <a:gdLst/>
              <a:ahLst/>
              <a:cxnLst/>
              <a:rect l="l" t="t" r="r" b="b"/>
              <a:pathLst>
                <a:path w="1561" h="3900" fill="none" extrusionOk="0">
                  <a:moveTo>
                    <a:pt x="1560" y="1"/>
                  </a:moveTo>
                  <a:lnTo>
                    <a:pt x="1560" y="1"/>
                  </a:lnTo>
                  <a:lnTo>
                    <a:pt x="709" y="213"/>
                  </a:lnTo>
                  <a:lnTo>
                    <a:pt x="709" y="213"/>
                  </a:lnTo>
                  <a:lnTo>
                    <a:pt x="355" y="710"/>
                  </a:lnTo>
                  <a:lnTo>
                    <a:pt x="355" y="710"/>
                  </a:lnTo>
                  <a:lnTo>
                    <a:pt x="213" y="1206"/>
                  </a:lnTo>
                  <a:lnTo>
                    <a:pt x="71" y="1489"/>
                  </a:lnTo>
                  <a:lnTo>
                    <a:pt x="71" y="1702"/>
                  </a:lnTo>
                  <a:lnTo>
                    <a:pt x="71" y="1702"/>
                  </a:lnTo>
                  <a:lnTo>
                    <a:pt x="1" y="2836"/>
                  </a:lnTo>
                  <a:lnTo>
                    <a:pt x="1" y="3333"/>
                  </a:lnTo>
                  <a:lnTo>
                    <a:pt x="1" y="3616"/>
                  </a:lnTo>
                  <a:lnTo>
                    <a:pt x="1" y="3616"/>
                  </a:lnTo>
                  <a:lnTo>
                    <a:pt x="213" y="3687"/>
                  </a:lnTo>
                  <a:lnTo>
                    <a:pt x="213" y="3687"/>
                  </a:lnTo>
                  <a:lnTo>
                    <a:pt x="1489" y="3900"/>
                  </a:lnTo>
                  <a:lnTo>
                    <a:pt x="1489" y="3900"/>
                  </a:lnTo>
                  <a:lnTo>
                    <a:pt x="1277" y="3262"/>
                  </a:lnTo>
                  <a:lnTo>
                    <a:pt x="1135" y="2624"/>
                  </a:lnTo>
                  <a:lnTo>
                    <a:pt x="1064" y="1986"/>
                  </a:lnTo>
                  <a:lnTo>
                    <a:pt x="993" y="1560"/>
                  </a:lnTo>
                  <a:lnTo>
                    <a:pt x="993" y="1560"/>
                  </a:lnTo>
                  <a:lnTo>
                    <a:pt x="1064" y="1064"/>
                  </a:lnTo>
                  <a:lnTo>
                    <a:pt x="1206" y="639"/>
                  </a:lnTo>
                  <a:lnTo>
                    <a:pt x="1206" y="639"/>
                  </a:lnTo>
                  <a:lnTo>
                    <a:pt x="1560"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86" name="Google Shape;21484;p90">
              <a:extLst>
                <a:ext uri="{FF2B5EF4-FFF2-40B4-BE49-F238E27FC236}">
                  <a16:creationId xmlns:a16="http://schemas.microsoft.com/office/drawing/2014/main" id="{B86E77E0-8E2A-796F-A305-D89B24B2B469}"/>
                </a:ext>
              </a:extLst>
            </p:cNvPr>
            <p:cNvSpPr/>
            <p:nvPr/>
          </p:nvSpPr>
          <p:spPr>
            <a:xfrm>
              <a:off x="2712975" y="2905350"/>
              <a:ext cx="86850" cy="496250"/>
            </a:xfrm>
            <a:custGeom>
              <a:avLst/>
              <a:gdLst/>
              <a:ahLst/>
              <a:cxnLst/>
              <a:rect l="l" t="t" r="r" b="b"/>
              <a:pathLst>
                <a:path w="3474" h="19850" extrusionOk="0">
                  <a:moveTo>
                    <a:pt x="2836" y="0"/>
                  </a:moveTo>
                  <a:lnTo>
                    <a:pt x="2694" y="71"/>
                  </a:lnTo>
                  <a:lnTo>
                    <a:pt x="2623" y="142"/>
                  </a:lnTo>
                  <a:lnTo>
                    <a:pt x="2623" y="354"/>
                  </a:lnTo>
                  <a:lnTo>
                    <a:pt x="2694" y="496"/>
                  </a:lnTo>
                  <a:lnTo>
                    <a:pt x="2694" y="638"/>
                  </a:lnTo>
                  <a:lnTo>
                    <a:pt x="2481" y="780"/>
                  </a:lnTo>
                  <a:lnTo>
                    <a:pt x="1914" y="1489"/>
                  </a:lnTo>
                  <a:lnTo>
                    <a:pt x="1631" y="1914"/>
                  </a:lnTo>
                  <a:lnTo>
                    <a:pt x="1347" y="2410"/>
                  </a:lnTo>
                  <a:lnTo>
                    <a:pt x="1135" y="2977"/>
                  </a:lnTo>
                  <a:lnTo>
                    <a:pt x="1064" y="3545"/>
                  </a:lnTo>
                  <a:lnTo>
                    <a:pt x="1064" y="4112"/>
                  </a:lnTo>
                  <a:lnTo>
                    <a:pt x="1205" y="4750"/>
                  </a:lnTo>
                  <a:lnTo>
                    <a:pt x="1418" y="6097"/>
                  </a:lnTo>
                  <a:lnTo>
                    <a:pt x="1702" y="7443"/>
                  </a:lnTo>
                  <a:lnTo>
                    <a:pt x="1773" y="8011"/>
                  </a:lnTo>
                  <a:lnTo>
                    <a:pt x="1773" y="8507"/>
                  </a:lnTo>
                  <a:lnTo>
                    <a:pt x="1702" y="9003"/>
                  </a:lnTo>
                  <a:lnTo>
                    <a:pt x="1489" y="9499"/>
                  </a:lnTo>
                  <a:lnTo>
                    <a:pt x="922" y="10633"/>
                  </a:lnTo>
                  <a:lnTo>
                    <a:pt x="638" y="11271"/>
                  </a:lnTo>
                  <a:lnTo>
                    <a:pt x="355" y="11909"/>
                  </a:lnTo>
                  <a:lnTo>
                    <a:pt x="142" y="12548"/>
                  </a:lnTo>
                  <a:lnTo>
                    <a:pt x="0" y="13256"/>
                  </a:lnTo>
                  <a:lnTo>
                    <a:pt x="0" y="13824"/>
                  </a:lnTo>
                  <a:lnTo>
                    <a:pt x="71" y="14532"/>
                  </a:lnTo>
                  <a:lnTo>
                    <a:pt x="213" y="16376"/>
                  </a:lnTo>
                  <a:lnTo>
                    <a:pt x="426" y="18148"/>
                  </a:lnTo>
                  <a:lnTo>
                    <a:pt x="567" y="18715"/>
                  </a:lnTo>
                  <a:lnTo>
                    <a:pt x="638" y="19069"/>
                  </a:lnTo>
                  <a:lnTo>
                    <a:pt x="851" y="19424"/>
                  </a:lnTo>
                  <a:lnTo>
                    <a:pt x="1135" y="19636"/>
                  </a:lnTo>
                  <a:lnTo>
                    <a:pt x="1347" y="19849"/>
                  </a:lnTo>
                  <a:lnTo>
                    <a:pt x="1631" y="19849"/>
                  </a:lnTo>
                  <a:lnTo>
                    <a:pt x="1773" y="19778"/>
                  </a:lnTo>
                  <a:lnTo>
                    <a:pt x="1914" y="19566"/>
                  </a:lnTo>
                  <a:lnTo>
                    <a:pt x="1985" y="19211"/>
                  </a:lnTo>
                  <a:lnTo>
                    <a:pt x="2056" y="18786"/>
                  </a:lnTo>
                  <a:lnTo>
                    <a:pt x="2056" y="18431"/>
                  </a:lnTo>
                  <a:lnTo>
                    <a:pt x="1985" y="17935"/>
                  </a:lnTo>
                  <a:lnTo>
                    <a:pt x="1631" y="16659"/>
                  </a:lnTo>
                  <a:lnTo>
                    <a:pt x="1489" y="15879"/>
                  </a:lnTo>
                  <a:lnTo>
                    <a:pt x="1347" y="15029"/>
                  </a:lnTo>
                  <a:lnTo>
                    <a:pt x="1276" y="14178"/>
                  </a:lnTo>
                  <a:lnTo>
                    <a:pt x="1347" y="13256"/>
                  </a:lnTo>
                  <a:lnTo>
                    <a:pt x="1489" y="12477"/>
                  </a:lnTo>
                  <a:lnTo>
                    <a:pt x="1702" y="11768"/>
                  </a:lnTo>
                  <a:lnTo>
                    <a:pt x="1985" y="11201"/>
                  </a:lnTo>
                  <a:lnTo>
                    <a:pt x="2269" y="10704"/>
                  </a:lnTo>
                  <a:lnTo>
                    <a:pt x="2907" y="9783"/>
                  </a:lnTo>
                  <a:lnTo>
                    <a:pt x="3119" y="9287"/>
                  </a:lnTo>
                  <a:lnTo>
                    <a:pt x="3261" y="8719"/>
                  </a:lnTo>
                  <a:lnTo>
                    <a:pt x="3261" y="8081"/>
                  </a:lnTo>
                  <a:lnTo>
                    <a:pt x="3190" y="7373"/>
                  </a:lnTo>
                  <a:lnTo>
                    <a:pt x="2978" y="6664"/>
                  </a:lnTo>
                  <a:lnTo>
                    <a:pt x="2765" y="5955"/>
                  </a:lnTo>
                  <a:lnTo>
                    <a:pt x="2269" y="4608"/>
                  </a:lnTo>
                  <a:lnTo>
                    <a:pt x="2056" y="4041"/>
                  </a:lnTo>
                  <a:lnTo>
                    <a:pt x="2056" y="3545"/>
                  </a:lnTo>
                  <a:lnTo>
                    <a:pt x="2127" y="3190"/>
                  </a:lnTo>
                  <a:lnTo>
                    <a:pt x="2198" y="2765"/>
                  </a:lnTo>
                  <a:lnTo>
                    <a:pt x="2481" y="2056"/>
                  </a:lnTo>
                  <a:lnTo>
                    <a:pt x="2836" y="1418"/>
                  </a:lnTo>
                  <a:lnTo>
                    <a:pt x="3261" y="851"/>
                  </a:lnTo>
                  <a:lnTo>
                    <a:pt x="3403" y="638"/>
                  </a:lnTo>
                  <a:lnTo>
                    <a:pt x="3474" y="567"/>
                  </a:lnTo>
                  <a:lnTo>
                    <a:pt x="3474" y="425"/>
                  </a:lnTo>
                  <a:lnTo>
                    <a:pt x="3474" y="213"/>
                  </a:lnTo>
                  <a:lnTo>
                    <a:pt x="3332" y="71"/>
                  </a:lnTo>
                  <a:lnTo>
                    <a:pt x="3190" y="0"/>
                  </a:lnTo>
                  <a:close/>
                </a:path>
              </a:pathLst>
            </a:custGeom>
            <a:solidFill>
              <a:srgbClr val="FDB61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87" name="Google Shape;21485;p90">
              <a:extLst>
                <a:ext uri="{FF2B5EF4-FFF2-40B4-BE49-F238E27FC236}">
                  <a16:creationId xmlns:a16="http://schemas.microsoft.com/office/drawing/2014/main" id="{B9AD807A-145D-3E05-094D-94FAFCF7D9CA}"/>
                </a:ext>
              </a:extLst>
            </p:cNvPr>
            <p:cNvSpPr/>
            <p:nvPr/>
          </p:nvSpPr>
          <p:spPr>
            <a:xfrm>
              <a:off x="2587150" y="2726350"/>
              <a:ext cx="230400" cy="173700"/>
            </a:xfrm>
            <a:custGeom>
              <a:avLst/>
              <a:gdLst/>
              <a:ahLst/>
              <a:cxnLst/>
              <a:rect l="l" t="t" r="r" b="b"/>
              <a:pathLst>
                <a:path w="9216" h="6948" extrusionOk="0">
                  <a:moveTo>
                    <a:pt x="425" y="0"/>
                  </a:moveTo>
                  <a:lnTo>
                    <a:pt x="213" y="71"/>
                  </a:lnTo>
                  <a:lnTo>
                    <a:pt x="71" y="284"/>
                  </a:lnTo>
                  <a:lnTo>
                    <a:pt x="0" y="496"/>
                  </a:lnTo>
                  <a:lnTo>
                    <a:pt x="0" y="780"/>
                  </a:lnTo>
                  <a:lnTo>
                    <a:pt x="213" y="1489"/>
                  </a:lnTo>
                  <a:lnTo>
                    <a:pt x="496" y="2340"/>
                  </a:lnTo>
                  <a:lnTo>
                    <a:pt x="922" y="3190"/>
                  </a:lnTo>
                  <a:lnTo>
                    <a:pt x="1347" y="3970"/>
                  </a:lnTo>
                  <a:lnTo>
                    <a:pt x="1914" y="4962"/>
                  </a:lnTo>
                  <a:lnTo>
                    <a:pt x="2269" y="5459"/>
                  </a:lnTo>
                  <a:lnTo>
                    <a:pt x="2765" y="5884"/>
                  </a:lnTo>
                  <a:lnTo>
                    <a:pt x="3332" y="6309"/>
                  </a:lnTo>
                  <a:lnTo>
                    <a:pt x="3970" y="6664"/>
                  </a:lnTo>
                  <a:lnTo>
                    <a:pt x="4608" y="6876"/>
                  </a:lnTo>
                  <a:lnTo>
                    <a:pt x="5317" y="6947"/>
                  </a:lnTo>
                  <a:lnTo>
                    <a:pt x="5671" y="6947"/>
                  </a:lnTo>
                  <a:lnTo>
                    <a:pt x="5955" y="6876"/>
                  </a:lnTo>
                  <a:lnTo>
                    <a:pt x="6309" y="6735"/>
                  </a:lnTo>
                  <a:lnTo>
                    <a:pt x="6664" y="6593"/>
                  </a:lnTo>
                  <a:lnTo>
                    <a:pt x="7727" y="5884"/>
                  </a:lnTo>
                  <a:lnTo>
                    <a:pt x="8436" y="5388"/>
                  </a:lnTo>
                  <a:lnTo>
                    <a:pt x="8932" y="5104"/>
                  </a:lnTo>
                  <a:lnTo>
                    <a:pt x="9074" y="4962"/>
                  </a:lnTo>
                  <a:lnTo>
                    <a:pt x="9216" y="4821"/>
                  </a:lnTo>
                  <a:lnTo>
                    <a:pt x="9216" y="4608"/>
                  </a:lnTo>
                  <a:lnTo>
                    <a:pt x="9216" y="4466"/>
                  </a:lnTo>
                  <a:lnTo>
                    <a:pt x="9145" y="4112"/>
                  </a:lnTo>
                  <a:lnTo>
                    <a:pt x="9003" y="3970"/>
                  </a:lnTo>
                  <a:lnTo>
                    <a:pt x="8932" y="3899"/>
                  </a:lnTo>
                  <a:lnTo>
                    <a:pt x="8790" y="3899"/>
                  </a:lnTo>
                  <a:lnTo>
                    <a:pt x="8578" y="4041"/>
                  </a:lnTo>
                  <a:lnTo>
                    <a:pt x="8294" y="4395"/>
                  </a:lnTo>
                  <a:lnTo>
                    <a:pt x="7727" y="4892"/>
                  </a:lnTo>
                  <a:lnTo>
                    <a:pt x="7089" y="5317"/>
                  </a:lnTo>
                  <a:lnTo>
                    <a:pt x="6664" y="5530"/>
                  </a:lnTo>
                  <a:lnTo>
                    <a:pt x="6309" y="5671"/>
                  </a:lnTo>
                  <a:lnTo>
                    <a:pt x="5884" y="5813"/>
                  </a:lnTo>
                  <a:lnTo>
                    <a:pt x="4962" y="5813"/>
                  </a:lnTo>
                  <a:lnTo>
                    <a:pt x="4537" y="5742"/>
                  </a:lnTo>
                  <a:lnTo>
                    <a:pt x="4112" y="5530"/>
                  </a:lnTo>
                  <a:lnTo>
                    <a:pt x="3615" y="5246"/>
                  </a:lnTo>
                  <a:lnTo>
                    <a:pt x="3190" y="4821"/>
                  </a:lnTo>
                  <a:lnTo>
                    <a:pt x="2836" y="4254"/>
                  </a:lnTo>
                  <a:lnTo>
                    <a:pt x="2127" y="3190"/>
                  </a:lnTo>
                  <a:lnTo>
                    <a:pt x="1772" y="2198"/>
                  </a:lnTo>
                  <a:lnTo>
                    <a:pt x="1489" y="1489"/>
                  </a:lnTo>
                  <a:lnTo>
                    <a:pt x="1418" y="851"/>
                  </a:lnTo>
                  <a:lnTo>
                    <a:pt x="1276" y="426"/>
                  </a:lnTo>
                  <a:lnTo>
                    <a:pt x="1134" y="142"/>
                  </a:lnTo>
                  <a:lnTo>
                    <a:pt x="1063" y="71"/>
                  </a:lnTo>
                  <a:lnTo>
                    <a:pt x="922" y="0"/>
                  </a:lnTo>
                  <a:close/>
                </a:path>
              </a:pathLst>
            </a:custGeom>
            <a:solidFill>
              <a:srgbClr val="46464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88" name="Google Shape;21486;p90">
              <a:extLst>
                <a:ext uri="{FF2B5EF4-FFF2-40B4-BE49-F238E27FC236}">
                  <a16:creationId xmlns:a16="http://schemas.microsoft.com/office/drawing/2014/main" id="{57B5B189-1AEA-A630-2502-1E93DC437253}"/>
                </a:ext>
              </a:extLst>
            </p:cNvPr>
            <p:cNvSpPr/>
            <p:nvPr/>
          </p:nvSpPr>
          <p:spPr>
            <a:xfrm>
              <a:off x="2050150" y="2861025"/>
              <a:ext cx="164850" cy="39025"/>
            </a:xfrm>
            <a:custGeom>
              <a:avLst/>
              <a:gdLst/>
              <a:ahLst/>
              <a:cxnLst/>
              <a:rect l="l" t="t" r="r" b="b"/>
              <a:pathLst>
                <a:path w="6594" h="1561" extrusionOk="0">
                  <a:moveTo>
                    <a:pt x="4892" y="1"/>
                  </a:moveTo>
                  <a:lnTo>
                    <a:pt x="3332" y="497"/>
                  </a:lnTo>
                  <a:lnTo>
                    <a:pt x="1" y="1489"/>
                  </a:lnTo>
                  <a:lnTo>
                    <a:pt x="1347" y="1560"/>
                  </a:lnTo>
                  <a:lnTo>
                    <a:pt x="2411" y="1560"/>
                  </a:lnTo>
                  <a:lnTo>
                    <a:pt x="3332" y="1489"/>
                  </a:lnTo>
                  <a:lnTo>
                    <a:pt x="5034" y="1206"/>
                  </a:lnTo>
                  <a:lnTo>
                    <a:pt x="6168" y="993"/>
                  </a:lnTo>
                  <a:lnTo>
                    <a:pt x="6593" y="851"/>
                  </a:lnTo>
                  <a:lnTo>
                    <a:pt x="4892" y="1"/>
                  </a:lnTo>
                  <a:close/>
                </a:path>
              </a:pathLst>
            </a:custGeom>
            <a:solidFill>
              <a:srgbClr val="0B0C0C"/>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89" name="Google Shape;21487;p90">
              <a:extLst>
                <a:ext uri="{FF2B5EF4-FFF2-40B4-BE49-F238E27FC236}">
                  <a16:creationId xmlns:a16="http://schemas.microsoft.com/office/drawing/2014/main" id="{0664FEAA-25F0-5F69-145D-32FFC8F2D84A}"/>
                </a:ext>
              </a:extLst>
            </p:cNvPr>
            <p:cNvSpPr/>
            <p:nvPr/>
          </p:nvSpPr>
          <p:spPr>
            <a:xfrm>
              <a:off x="2050150" y="2861025"/>
              <a:ext cx="164850" cy="39025"/>
            </a:xfrm>
            <a:custGeom>
              <a:avLst/>
              <a:gdLst/>
              <a:ahLst/>
              <a:cxnLst/>
              <a:rect l="l" t="t" r="r" b="b"/>
              <a:pathLst>
                <a:path w="6594" h="1561" fill="none" extrusionOk="0">
                  <a:moveTo>
                    <a:pt x="4892" y="1"/>
                  </a:moveTo>
                  <a:lnTo>
                    <a:pt x="4821" y="1"/>
                  </a:lnTo>
                  <a:lnTo>
                    <a:pt x="4892" y="1"/>
                  </a:lnTo>
                  <a:lnTo>
                    <a:pt x="4892" y="1"/>
                  </a:lnTo>
                  <a:lnTo>
                    <a:pt x="4892" y="1"/>
                  </a:lnTo>
                  <a:lnTo>
                    <a:pt x="3332" y="497"/>
                  </a:lnTo>
                  <a:lnTo>
                    <a:pt x="1" y="1489"/>
                  </a:lnTo>
                  <a:lnTo>
                    <a:pt x="1" y="1489"/>
                  </a:lnTo>
                  <a:lnTo>
                    <a:pt x="1347" y="1560"/>
                  </a:lnTo>
                  <a:lnTo>
                    <a:pt x="1347" y="1560"/>
                  </a:lnTo>
                  <a:lnTo>
                    <a:pt x="2411" y="1560"/>
                  </a:lnTo>
                  <a:lnTo>
                    <a:pt x="3332" y="1489"/>
                  </a:lnTo>
                  <a:lnTo>
                    <a:pt x="5034" y="1206"/>
                  </a:lnTo>
                  <a:lnTo>
                    <a:pt x="6168" y="993"/>
                  </a:lnTo>
                  <a:lnTo>
                    <a:pt x="6593" y="851"/>
                  </a:lnTo>
                  <a:lnTo>
                    <a:pt x="4892"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90" name="Google Shape;21488;p90">
              <a:extLst>
                <a:ext uri="{FF2B5EF4-FFF2-40B4-BE49-F238E27FC236}">
                  <a16:creationId xmlns:a16="http://schemas.microsoft.com/office/drawing/2014/main" id="{CECE68AA-31DF-AA65-BA2C-CA09F77AB2B4}"/>
                </a:ext>
              </a:extLst>
            </p:cNvPr>
            <p:cNvSpPr/>
            <p:nvPr/>
          </p:nvSpPr>
          <p:spPr>
            <a:xfrm>
              <a:off x="2305350" y="2343525"/>
              <a:ext cx="202075" cy="560075"/>
            </a:xfrm>
            <a:custGeom>
              <a:avLst/>
              <a:gdLst/>
              <a:ahLst/>
              <a:cxnLst/>
              <a:rect l="l" t="t" r="r" b="b"/>
              <a:pathLst>
                <a:path w="8083" h="22403" extrusionOk="0">
                  <a:moveTo>
                    <a:pt x="7869" y="1"/>
                  </a:moveTo>
                  <a:lnTo>
                    <a:pt x="7728" y="72"/>
                  </a:lnTo>
                  <a:lnTo>
                    <a:pt x="7515" y="285"/>
                  </a:lnTo>
                  <a:lnTo>
                    <a:pt x="7302" y="497"/>
                  </a:lnTo>
                  <a:lnTo>
                    <a:pt x="6806" y="1277"/>
                  </a:lnTo>
                  <a:lnTo>
                    <a:pt x="6239" y="2340"/>
                  </a:lnTo>
                  <a:lnTo>
                    <a:pt x="5601" y="3687"/>
                  </a:lnTo>
                  <a:lnTo>
                    <a:pt x="4963" y="5176"/>
                  </a:lnTo>
                  <a:lnTo>
                    <a:pt x="3616" y="8508"/>
                  </a:lnTo>
                  <a:lnTo>
                    <a:pt x="2340" y="11981"/>
                  </a:lnTo>
                  <a:lnTo>
                    <a:pt x="1206" y="15242"/>
                  </a:lnTo>
                  <a:lnTo>
                    <a:pt x="355" y="17936"/>
                  </a:lnTo>
                  <a:lnTo>
                    <a:pt x="142" y="18858"/>
                  </a:lnTo>
                  <a:lnTo>
                    <a:pt x="1" y="19496"/>
                  </a:lnTo>
                  <a:lnTo>
                    <a:pt x="142" y="20134"/>
                  </a:lnTo>
                  <a:lnTo>
                    <a:pt x="426" y="21410"/>
                  </a:lnTo>
                  <a:lnTo>
                    <a:pt x="639" y="21977"/>
                  </a:lnTo>
                  <a:lnTo>
                    <a:pt x="780" y="22331"/>
                  </a:lnTo>
                  <a:lnTo>
                    <a:pt x="851" y="22402"/>
                  </a:lnTo>
                  <a:lnTo>
                    <a:pt x="922" y="22402"/>
                  </a:lnTo>
                  <a:lnTo>
                    <a:pt x="993" y="22331"/>
                  </a:lnTo>
                  <a:lnTo>
                    <a:pt x="1064" y="22048"/>
                  </a:lnTo>
                  <a:lnTo>
                    <a:pt x="1206" y="21268"/>
                  </a:lnTo>
                  <a:lnTo>
                    <a:pt x="1489" y="20134"/>
                  </a:lnTo>
                  <a:lnTo>
                    <a:pt x="2482" y="17227"/>
                  </a:lnTo>
                  <a:lnTo>
                    <a:pt x="5105" y="9996"/>
                  </a:lnTo>
                  <a:lnTo>
                    <a:pt x="6452" y="6381"/>
                  </a:lnTo>
                  <a:lnTo>
                    <a:pt x="7444" y="3262"/>
                  </a:lnTo>
                  <a:lnTo>
                    <a:pt x="7799" y="2057"/>
                  </a:lnTo>
                  <a:lnTo>
                    <a:pt x="8082" y="1064"/>
                  </a:lnTo>
                  <a:lnTo>
                    <a:pt x="8082" y="355"/>
                  </a:lnTo>
                  <a:lnTo>
                    <a:pt x="8082" y="143"/>
                  </a:lnTo>
                  <a:lnTo>
                    <a:pt x="8011" y="1"/>
                  </a:lnTo>
                  <a:close/>
                </a:path>
              </a:pathLst>
            </a:custGeom>
            <a:solidFill>
              <a:srgbClr val="46464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91" name="Google Shape;21489;p90">
              <a:extLst>
                <a:ext uri="{FF2B5EF4-FFF2-40B4-BE49-F238E27FC236}">
                  <a16:creationId xmlns:a16="http://schemas.microsoft.com/office/drawing/2014/main" id="{E8839771-34DD-1D5C-E2F9-5662DF496C20}"/>
                </a:ext>
              </a:extLst>
            </p:cNvPr>
            <p:cNvSpPr/>
            <p:nvPr/>
          </p:nvSpPr>
          <p:spPr>
            <a:xfrm>
              <a:off x="3171975" y="3777275"/>
              <a:ext cx="99275" cy="111675"/>
            </a:xfrm>
            <a:custGeom>
              <a:avLst/>
              <a:gdLst/>
              <a:ahLst/>
              <a:cxnLst/>
              <a:rect l="l" t="t" r="r" b="b"/>
              <a:pathLst>
                <a:path w="3971" h="4467" extrusionOk="0">
                  <a:moveTo>
                    <a:pt x="2907" y="1"/>
                  </a:moveTo>
                  <a:lnTo>
                    <a:pt x="2411" y="143"/>
                  </a:lnTo>
                  <a:lnTo>
                    <a:pt x="1773" y="497"/>
                  </a:lnTo>
                  <a:lnTo>
                    <a:pt x="1489" y="639"/>
                  </a:lnTo>
                  <a:lnTo>
                    <a:pt x="1277" y="922"/>
                  </a:lnTo>
                  <a:lnTo>
                    <a:pt x="1064" y="1277"/>
                  </a:lnTo>
                  <a:lnTo>
                    <a:pt x="922" y="1702"/>
                  </a:lnTo>
                  <a:lnTo>
                    <a:pt x="497" y="2836"/>
                  </a:lnTo>
                  <a:lnTo>
                    <a:pt x="1" y="4467"/>
                  </a:lnTo>
                  <a:lnTo>
                    <a:pt x="355" y="4467"/>
                  </a:lnTo>
                  <a:lnTo>
                    <a:pt x="710" y="4396"/>
                  </a:lnTo>
                  <a:lnTo>
                    <a:pt x="1064" y="4325"/>
                  </a:lnTo>
                  <a:lnTo>
                    <a:pt x="1489" y="4183"/>
                  </a:lnTo>
                  <a:lnTo>
                    <a:pt x="1915" y="3971"/>
                  </a:lnTo>
                  <a:lnTo>
                    <a:pt x="2269" y="3687"/>
                  </a:lnTo>
                  <a:lnTo>
                    <a:pt x="2411" y="3474"/>
                  </a:lnTo>
                  <a:lnTo>
                    <a:pt x="2553" y="3191"/>
                  </a:lnTo>
                  <a:lnTo>
                    <a:pt x="2624" y="2907"/>
                  </a:lnTo>
                  <a:lnTo>
                    <a:pt x="2836" y="2340"/>
                  </a:lnTo>
                  <a:lnTo>
                    <a:pt x="3191" y="1702"/>
                  </a:lnTo>
                  <a:lnTo>
                    <a:pt x="3403" y="1348"/>
                  </a:lnTo>
                  <a:lnTo>
                    <a:pt x="3687" y="1064"/>
                  </a:lnTo>
                  <a:lnTo>
                    <a:pt x="3900" y="781"/>
                  </a:lnTo>
                  <a:lnTo>
                    <a:pt x="3971" y="497"/>
                  </a:lnTo>
                  <a:lnTo>
                    <a:pt x="3900" y="213"/>
                  </a:lnTo>
                  <a:lnTo>
                    <a:pt x="3687" y="72"/>
                  </a:lnTo>
                  <a:lnTo>
                    <a:pt x="3333" y="1"/>
                  </a:lnTo>
                  <a:close/>
                </a:path>
              </a:pathLst>
            </a:custGeom>
            <a:solidFill>
              <a:srgbClr val="EFAEA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92" name="Google Shape;21490;p90">
              <a:extLst>
                <a:ext uri="{FF2B5EF4-FFF2-40B4-BE49-F238E27FC236}">
                  <a16:creationId xmlns:a16="http://schemas.microsoft.com/office/drawing/2014/main" id="{689905B0-AFD0-F032-25EF-D1EC23D33A1D}"/>
                </a:ext>
              </a:extLst>
            </p:cNvPr>
            <p:cNvSpPr/>
            <p:nvPr/>
          </p:nvSpPr>
          <p:spPr>
            <a:xfrm>
              <a:off x="3171975" y="3777275"/>
              <a:ext cx="99275" cy="111675"/>
            </a:xfrm>
            <a:custGeom>
              <a:avLst/>
              <a:gdLst/>
              <a:ahLst/>
              <a:cxnLst/>
              <a:rect l="l" t="t" r="r" b="b"/>
              <a:pathLst>
                <a:path w="3971" h="4467" fill="none" extrusionOk="0">
                  <a:moveTo>
                    <a:pt x="1" y="4467"/>
                  </a:moveTo>
                  <a:lnTo>
                    <a:pt x="1" y="4467"/>
                  </a:lnTo>
                  <a:lnTo>
                    <a:pt x="497" y="2836"/>
                  </a:lnTo>
                  <a:lnTo>
                    <a:pt x="922" y="1702"/>
                  </a:lnTo>
                  <a:lnTo>
                    <a:pt x="1064" y="1277"/>
                  </a:lnTo>
                  <a:lnTo>
                    <a:pt x="1277" y="922"/>
                  </a:lnTo>
                  <a:lnTo>
                    <a:pt x="1489" y="639"/>
                  </a:lnTo>
                  <a:lnTo>
                    <a:pt x="1773" y="497"/>
                  </a:lnTo>
                  <a:lnTo>
                    <a:pt x="1773" y="497"/>
                  </a:lnTo>
                  <a:lnTo>
                    <a:pt x="2411" y="143"/>
                  </a:lnTo>
                  <a:lnTo>
                    <a:pt x="2907" y="1"/>
                  </a:lnTo>
                  <a:lnTo>
                    <a:pt x="3333" y="1"/>
                  </a:lnTo>
                  <a:lnTo>
                    <a:pt x="3687" y="72"/>
                  </a:lnTo>
                  <a:lnTo>
                    <a:pt x="3900" y="213"/>
                  </a:lnTo>
                  <a:lnTo>
                    <a:pt x="3971" y="497"/>
                  </a:lnTo>
                  <a:lnTo>
                    <a:pt x="3900" y="781"/>
                  </a:lnTo>
                  <a:lnTo>
                    <a:pt x="3687" y="1064"/>
                  </a:lnTo>
                  <a:lnTo>
                    <a:pt x="3687" y="1064"/>
                  </a:lnTo>
                  <a:lnTo>
                    <a:pt x="3403" y="1348"/>
                  </a:lnTo>
                  <a:lnTo>
                    <a:pt x="3191" y="1702"/>
                  </a:lnTo>
                  <a:lnTo>
                    <a:pt x="2836" y="2340"/>
                  </a:lnTo>
                  <a:lnTo>
                    <a:pt x="2624" y="2907"/>
                  </a:lnTo>
                  <a:lnTo>
                    <a:pt x="2553" y="3191"/>
                  </a:lnTo>
                  <a:lnTo>
                    <a:pt x="2553" y="3191"/>
                  </a:lnTo>
                  <a:lnTo>
                    <a:pt x="2411" y="3474"/>
                  </a:lnTo>
                  <a:lnTo>
                    <a:pt x="2269" y="3687"/>
                  </a:lnTo>
                  <a:lnTo>
                    <a:pt x="1915" y="3971"/>
                  </a:lnTo>
                  <a:lnTo>
                    <a:pt x="1489" y="4183"/>
                  </a:lnTo>
                  <a:lnTo>
                    <a:pt x="1064" y="4325"/>
                  </a:lnTo>
                  <a:lnTo>
                    <a:pt x="710" y="4396"/>
                  </a:lnTo>
                  <a:lnTo>
                    <a:pt x="355" y="4467"/>
                  </a:lnTo>
                  <a:lnTo>
                    <a:pt x="1" y="4467"/>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93" name="Google Shape;21491;p90">
              <a:extLst>
                <a:ext uri="{FF2B5EF4-FFF2-40B4-BE49-F238E27FC236}">
                  <a16:creationId xmlns:a16="http://schemas.microsoft.com/office/drawing/2014/main" id="{E35E2F32-1A51-A3E2-10A2-441CAF75B613}"/>
                </a:ext>
              </a:extLst>
            </p:cNvPr>
            <p:cNvSpPr/>
            <p:nvPr/>
          </p:nvSpPr>
          <p:spPr>
            <a:xfrm>
              <a:off x="2448900" y="4946950"/>
              <a:ext cx="512200" cy="436000"/>
            </a:xfrm>
            <a:custGeom>
              <a:avLst/>
              <a:gdLst/>
              <a:ahLst/>
              <a:cxnLst/>
              <a:rect l="l" t="t" r="r" b="b"/>
              <a:pathLst>
                <a:path w="20488" h="17440" extrusionOk="0">
                  <a:moveTo>
                    <a:pt x="16093" y="1"/>
                  </a:moveTo>
                  <a:lnTo>
                    <a:pt x="15384" y="143"/>
                  </a:lnTo>
                  <a:lnTo>
                    <a:pt x="15100" y="214"/>
                  </a:lnTo>
                  <a:lnTo>
                    <a:pt x="14888" y="285"/>
                  </a:lnTo>
                  <a:lnTo>
                    <a:pt x="14250" y="710"/>
                  </a:lnTo>
                  <a:lnTo>
                    <a:pt x="13328" y="1631"/>
                  </a:lnTo>
                  <a:lnTo>
                    <a:pt x="10918" y="4254"/>
                  </a:lnTo>
                  <a:lnTo>
                    <a:pt x="8437" y="6806"/>
                  </a:lnTo>
                  <a:lnTo>
                    <a:pt x="7090" y="8224"/>
                  </a:lnTo>
                  <a:lnTo>
                    <a:pt x="6168" y="9075"/>
                  </a:lnTo>
                  <a:lnTo>
                    <a:pt x="4609" y="10280"/>
                  </a:lnTo>
                  <a:lnTo>
                    <a:pt x="2978" y="11485"/>
                  </a:lnTo>
                  <a:lnTo>
                    <a:pt x="2340" y="11981"/>
                  </a:lnTo>
                  <a:lnTo>
                    <a:pt x="1773" y="12265"/>
                  </a:lnTo>
                  <a:lnTo>
                    <a:pt x="1064" y="12548"/>
                  </a:lnTo>
                  <a:lnTo>
                    <a:pt x="710" y="12619"/>
                  </a:lnTo>
                  <a:lnTo>
                    <a:pt x="426" y="12690"/>
                  </a:lnTo>
                  <a:lnTo>
                    <a:pt x="142" y="12903"/>
                  </a:lnTo>
                  <a:lnTo>
                    <a:pt x="1" y="13116"/>
                  </a:lnTo>
                  <a:lnTo>
                    <a:pt x="1" y="13328"/>
                  </a:lnTo>
                  <a:lnTo>
                    <a:pt x="72" y="13966"/>
                  </a:lnTo>
                  <a:lnTo>
                    <a:pt x="355" y="14746"/>
                  </a:lnTo>
                  <a:lnTo>
                    <a:pt x="710" y="15526"/>
                  </a:lnTo>
                  <a:lnTo>
                    <a:pt x="1064" y="16377"/>
                  </a:lnTo>
                  <a:lnTo>
                    <a:pt x="1348" y="17015"/>
                  </a:lnTo>
                  <a:lnTo>
                    <a:pt x="1631" y="17369"/>
                  </a:lnTo>
                  <a:lnTo>
                    <a:pt x="1702" y="17440"/>
                  </a:lnTo>
                  <a:lnTo>
                    <a:pt x="1773" y="17440"/>
                  </a:lnTo>
                  <a:lnTo>
                    <a:pt x="2127" y="16093"/>
                  </a:lnTo>
                  <a:lnTo>
                    <a:pt x="2482" y="14746"/>
                  </a:lnTo>
                  <a:lnTo>
                    <a:pt x="2624" y="14604"/>
                  </a:lnTo>
                  <a:lnTo>
                    <a:pt x="2978" y="14250"/>
                  </a:lnTo>
                  <a:lnTo>
                    <a:pt x="4325" y="13328"/>
                  </a:lnTo>
                  <a:lnTo>
                    <a:pt x="8437" y="10493"/>
                  </a:lnTo>
                  <a:lnTo>
                    <a:pt x="15738" y="5672"/>
                  </a:lnTo>
                  <a:lnTo>
                    <a:pt x="16376" y="5176"/>
                  </a:lnTo>
                  <a:lnTo>
                    <a:pt x="17014" y="4609"/>
                  </a:lnTo>
                  <a:lnTo>
                    <a:pt x="17652" y="3971"/>
                  </a:lnTo>
                  <a:lnTo>
                    <a:pt x="18219" y="3333"/>
                  </a:lnTo>
                  <a:lnTo>
                    <a:pt x="18857" y="2624"/>
                  </a:lnTo>
                  <a:lnTo>
                    <a:pt x="19424" y="1844"/>
                  </a:lnTo>
                  <a:lnTo>
                    <a:pt x="20488" y="143"/>
                  </a:lnTo>
                  <a:lnTo>
                    <a:pt x="19779" y="72"/>
                  </a:lnTo>
                  <a:lnTo>
                    <a:pt x="18007" y="1"/>
                  </a:lnTo>
                  <a:close/>
                </a:path>
              </a:pathLst>
            </a:custGeom>
            <a:solidFill>
              <a:srgbClr val="F5B2B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94" name="Google Shape;21492;p90">
              <a:extLst>
                <a:ext uri="{FF2B5EF4-FFF2-40B4-BE49-F238E27FC236}">
                  <a16:creationId xmlns:a16="http://schemas.microsoft.com/office/drawing/2014/main" id="{8D67B027-3716-E677-CCAE-C095D7BDDEBE}"/>
                </a:ext>
              </a:extLst>
            </p:cNvPr>
            <p:cNvSpPr/>
            <p:nvPr/>
          </p:nvSpPr>
          <p:spPr>
            <a:xfrm>
              <a:off x="2448900" y="4946950"/>
              <a:ext cx="512200" cy="436000"/>
            </a:xfrm>
            <a:custGeom>
              <a:avLst/>
              <a:gdLst/>
              <a:ahLst/>
              <a:cxnLst/>
              <a:rect l="l" t="t" r="r" b="b"/>
              <a:pathLst>
                <a:path w="20488" h="17440" fill="none" extrusionOk="0">
                  <a:moveTo>
                    <a:pt x="20488" y="143"/>
                  </a:moveTo>
                  <a:lnTo>
                    <a:pt x="20488" y="143"/>
                  </a:lnTo>
                  <a:lnTo>
                    <a:pt x="19424" y="1844"/>
                  </a:lnTo>
                  <a:lnTo>
                    <a:pt x="18857" y="2624"/>
                  </a:lnTo>
                  <a:lnTo>
                    <a:pt x="18219" y="3333"/>
                  </a:lnTo>
                  <a:lnTo>
                    <a:pt x="17652" y="3971"/>
                  </a:lnTo>
                  <a:lnTo>
                    <a:pt x="17014" y="4609"/>
                  </a:lnTo>
                  <a:lnTo>
                    <a:pt x="16376" y="5176"/>
                  </a:lnTo>
                  <a:lnTo>
                    <a:pt x="15738" y="5672"/>
                  </a:lnTo>
                  <a:lnTo>
                    <a:pt x="15738" y="5672"/>
                  </a:lnTo>
                  <a:lnTo>
                    <a:pt x="8437" y="10493"/>
                  </a:lnTo>
                  <a:lnTo>
                    <a:pt x="4325" y="13328"/>
                  </a:lnTo>
                  <a:lnTo>
                    <a:pt x="2978" y="14250"/>
                  </a:lnTo>
                  <a:lnTo>
                    <a:pt x="2624" y="14604"/>
                  </a:lnTo>
                  <a:lnTo>
                    <a:pt x="2482" y="14746"/>
                  </a:lnTo>
                  <a:lnTo>
                    <a:pt x="2482" y="14746"/>
                  </a:lnTo>
                  <a:lnTo>
                    <a:pt x="2127" y="16093"/>
                  </a:lnTo>
                  <a:lnTo>
                    <a:pt x="1773" y="17440"/>
                  </a:lnTo>
                  <a:lnTo>
                    <a:pt x="1773" y="17440"/>
                  </a:lnTo>
                  <a:lnTo>
                    <a:pt x="1702" y="17440"/>
                  </a:lnTo>
                  <a:lnTo>
                    <a:pt x="1631" y="17369"/>
                  </a:lnTo>
                  <a:lnTo>
                    <a:pt x="1348" y="17015"/>
                  </a:lnTo>
                  <a:lnTo>
                    <a:pt x="1064" y="16377"/>
                  </a:lnTo>
                  <a:lnTo>
                    <a:pt x="710" y="15526"/>
                  </a:lnTo>
                  <a:lnTo>
                    <a:pt x="355" y="14746"/>
                  </a:lnTo>
                  <a:lnTo>
                    <a:pt x="72" y="13966"/>
                  </a:lnTo>
                  <a:lnTo>
                    <a:pt x="1" y="13328"/>
                  </a:lnTo>
                  <a:lnTo>
                    <a:pt x="1" y="13116"/>
                  </a:lnTo>
                  <a:lnTo>
                    <a:pt x="142" y="12903"/>
                  </a:lnTo>
                  <a:lnTo>
                    <a:pt x="142" y="12903"/>
                  </a:lnTo>
                  <a:lnTo>
                    <a:pt x="426" y="12690"/>
                  </a:lnTo>
                  <a:lnTo>
                    <a:pt x="710" y="12619"/>
                  </a:lnTo>
                  <a:lnTo>
                    <a:pt x="1064" y="12548"/>
                  </a:lnTo>
                  <a:lnTo>
                    <a:pt x="1773" y="12265"/>
                  </a:lnTo>
                  <a:lnTo>
                    <a:pt x="1773" y="12265"/>
                  </a:lnTo>
                  <a:lnTo>
                    <a:pt x="2340" y="11981"/>
                  </a:lnTo>
                  <a:lnTo>
                    <a:pt x="2978" y="11485"/>
                  </a:lnTo>
                  <a:lnTo>
                    <a:pt x="4609" y="10280"/>
                  </a:lnTo>
                  <a:lnTo>
                    <a:pt x="6168" y="9075"/>
                  </a:lnTo>
                  <a:lnTo>
                    <a:pt x="7090" y="8224"/>
                  </a:lnTo>
                  <a:lnTo>
                    <a:pt x="7090" y="8224"/>
                  </a:lnTo>
                  <a:lnTo>
                    <a:pt x="8437" y="6806"/>
                  </a:lnTo>
                  <a:lnTo>
                    <a:pt x="10918" y="4254"/>
                  </a:lnTo>
                  <a:lnTo>
                    <a:pt x="13328" y="1631"/>
                  </a:lnTo>
                  <a:lnTo>
                    <a:pt x="14250" y="710"/>
                  </a:lnTo>
                  <a:lnTo>
                    <a:pt x="14888" y="285"/>
                  </a:lnTo>
                  <a:lnTo>
                    <a:pt x="14888" y="285"/>
                  </a:lnTo>
                  <a:lnTo>
                    <a:pt x="15100" y="214"/>
                  </a:lnTo>
                  <a:lnTo>
                    <a:pt x="15384" y="143"/>
                  </a:lnTo>
                  <a:lnTo>
                    <a:pt x="16093" y="1"/>
                  </a:lnTo>
                  <a:lnTo>
                    <a:pt x="17014" y="1"/>
                  </a:lnTo>
                  <a:lnTo>
                    <a:pt x="18007" y="1"/>
                  </a:lnTo>
                  <a:lnTo>
                    <a:pt x="19779" y="72"/>
                  </a:lnTo>
                  <a:lnTo>
                    <a:pt x="20488" y="143"/>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95" name="Google Shape;21493;p90">
              <a:extLst>
                <a:ext uri="{FF2B5EF4-FFF2-40B4-BE49-F238E27FC236}">
                  <a16:creationId xmlns:a16="http://schemas.microsoft.com/office/drawing/2014/main" id="{00C44856-5EE7-D80F-0665-B2EBCD197811}"/>
                </a:ext>
              </a:extLst>
            </p:cNvPr>
            <p:cNvSpPr/>
            <p:nvPr/>
          </p:nvSpPr>
          <p:spPr>
            <a:xfrm>
              <a:off x="2429400" y="5242925"/>
              <a:ext cx="69150" cy="194975"/>
            </a:xfrm>
            <a:custGeom>
              <a:avLst/>
              <a:gdLst/>
              <a:ahLst/>
              <a:cxnLst/>
              <a:rect l="l" t="t" r="r" b="b"/>
              <a:pathLst>
                <a:path w="2766" h="7799" extrusionOk="0">
                  <a:moveTo>
                    <a:pt x="1206" y="1"/>
                  </a:moveTo>
                  <a:lnTo>
                    <a:pt x="852" y="71"/>
                  </a:lnTo>
                  <a:lnTo>
                    <a:pt x="497" y="142"/>
                  </a:lnTo>
                  <a:lnTo>
                    <a:pt x="214" y="284"/>
                  </a:lnTo>
                  <a:lnTo>
                    <a:pt x="1" y="426"/>
                  </a:lnTo>
                  <a:lnTo>
                    <a:pt x="1" y="639"/>
                  </a:lnTo>
                  <a:lnTo>
                    <a:pt x="1" y="1064"/>
                  </a:lnTo>
                  <a:lnTo>
                    <a:pt x="72" y="2127"/>
                  </a:lnTo>
                  <a:lnTo>
                    <a:pt x="72" y="2198"/>
                  </a:lnTo>
                  <a:lnTo>
                    <a:pt x="355" y="2198"/>
                  </a:lnTo>
                  <a:lnTo>
                    <a:pt x="426" y="2553"/>
                  </a:lnTo>
                  <a:lnTo>
                    <a:pt x="497" y="3403"/>
                  </a:lnTo>
                  <a:lnTo>
                    <a:pt x="568" y="5176"/>
                  </a:lnTo>
                  <a:lnTo>
                    <a:pt x="639" y="5530"/>
                  </a:lnTo>
                  <a:lnTo>
                    <a:pt x="781" y="5955"/>
                  </a:lnTo>
                  <a:lnTo>
                    <a:pt x="922" y="6381"/>
                  </a:lnTo>
                  <a:lnTo>
                    <a:pt x="1206" y="6806"/>
                  </a:lnTo>
                  <a:lnTo>
                    <a:pt x="1419" y="7160"/>
                  </a:lnTo>
                  <a:lnTo>
                    <a:pt x="1702" y="7515"/>
                  </a:lnTo>
                  <a:lnTo>
                    <a:pt x="2057" y="7728"/>
                  </a:lnTo>
                  <a:lnTo>
                    <a:pt x="2269" y="7798"/>
                  </a:lnTo>
                  <a:lnTo>
                    <a:pt x="2411" y="7798"/>
                  </a:lnTo>
                  <a:lnTo>
                    <a:pt x="2553" y="7728"/>
                  </a:lnTo>
                  <a:lnTo>
                    <a:pt x="2695" y="7515"/>
                  </a:lnTo>
                  <a:lnTo>
                    <a:pt x="2766" y="7160"/>
                  </a:lnTo>
                  <a:lnTo>
                    <a:pt x="2766" y="6806"/>
                  </a:lnTo>
                  <a:lnTo>
                    <a:pt x="2766" y="6026"/>
                  </a:lnTo>
                  <a:lnTo>
                    <a:pt x="2695" y="5530"/>
                  </a:lnTo>
                  <a:lnTo>
                    <a:pt x="2695" y="5317"/>
                  </a:lnTo>
                  <a:lnTo>
                    <a:pt x="2624" y="5176"/>
                  </a:lnTo>
                  <a:lnTo>
                    <a:pt x="2411" y="4679"/>
                  </a:lnTo>
                  <a:lnTo>
                    <a:pt x="2128" y="4183"/>
                  </a:lnTo>
                  <a:lnTo>
                    <a:pt x="1986" y="3829"/>
                  </a:lnTo>
                  <a:lnTo>
                    <a:pt x="1915" y="3474"/>
                  </a:lnTo>
                  <a:lnTo>
                    <a:pt x="1915" y="3120"/>
                  </a:lnTo>
                  <a:lnTo>
                    <a:pt x="1915" y="2765"/>
                  </a:lnTo>
                  <a:lnTo>
                    <a:pt x="1986" y="2269"/>
                  </a:lnTo>
                  <a:lnTo>
                    <a:pt x="2199" y="1915"/>
                  </a:lnTo>
                  <a:lnTo>
                    <a:pt x="2340" y="1702"/>
                  </a:lnTo>
                  <a:lnTo>
                    <a:pt x="2482" y="1206"/>
                  </a:lnTo>
                  <a:lnTo>
                    <a:pt x="2553" y="851"/>
                  </a:lnTo>
                  <a:lnTo>
                    <a:pt x="2553" y="426"/>
                  </a:lnTo>
                  <a:lnTo>
                    <a:pt x="2482" y="284"/>
                  </a:lnTo>
                  <a:lnTo>
                    <a:pt x="2340" y="142"/>
                  </a:lnTo>
                  <a:lnTo>
                    <a:pt x="1206" y="1"/>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96" name="Google Shape;21494;p90">
              <a:extLst>
                <a:ext uri="{FF2B5EF4-FFF2-40B4-BE49-F238E27FC236}">
                  <a16:creationId xmlns:a16="http://schemas.microsoft.com/office/drawing/2014/main" id="{F598AC09-D421-AC66-B768-43F2CB3974C8}"/>
                </a:ext>
              </a:extLst>
            </p:cNvPr>
            <p:cNvSpPr/>
            <p:nvPr/>
          </p:nvSpPr>
          <p:spPr>
            <a:xfrm>
              <a:off x="3063875" y="4863675"/>
              <a:ext cx="303075" cy="613200"/>
            </a:xfrm>
            <a:custGeom>
              <a:avLst/>
              <a:gdLst/>
              <a:ahLst/>
              <a:cxnLst/>
              <a:rect l="l" t="t" r="r" b="b"/>
              <a:pathLst>
                <a:path w="12123" h="24528" extrusionOk="0">
                  <a:moveTo>
                    <a:pt x="3403" y="0"/>
                  </a:moveTo>
                  <a:lnTo>
                    <a:pt x="2978" y="71"/>
                  </a:lnTo>
                  <a:lnTo>
                    <a:pt x="2482" y="142"/>
                  </a:lnTo>
                  <a:lnTo>
                    <a:pt x="1276" y="355"/>
                  </a:lnTo>
                  <a:lnTo>
                    <a:pt x="568" y="355"/>
                  </a:lnTo>
                  <a:lnTo>
                    <a:pt x="284" y="426"/>
                  </a:lnTo>
                  <a:lnTo>
                    <a:pt x="71" y="567"/>
                  </a:lnTo>
                  <a:lnTo>
                    <a:pt x="0" y="780"/>
                  </a:lnTo>
                  <a:lnTo>
                    <a:pt x="0" y="1134"/>
                  </a:lnTo>
                  <a:lnTo>
                    <a:pt x="426" y="2836"/>
                  </a:lnTo>
                  <a:lnTo>
                    <a:pt x="1347" y="6097"/>
                  </a:lnTo>
                  <a:lnTo>
                    <a:pt x="2056" y="8436"/>
                  </a:lnTo>
                  <a:lnTo>
                    <a:pt x="3545" y="13540"/>
                  </a:lnTo>
                  <a:lnTo>
                    <a:pt x="4396" y="16234"/>
                  </a:lnTo>
                  <a:lnTo>
                    <a:pt x="4892" y="17439"/>
                  </a:lnTo>
                  <a:lnTo>
                    <a:pt x="5530" y="19353"/>
                  </a:lnTo>
                  <a:lnTo>
                    <a:pt x="6097" y="21338"/>
                  </a:lnTo>
                  <a:lnTo>
                    <a:pt x="6310" y="22189"/>
                  </a:lnTo>
                  <a:lnTo>
                    <a:pt x="6451" y="22827"/>
                  </a:lnTo>
                  <a:lnTo>
                    <a:pt x="6451" y="23536"/>
                  </a:lnTo>
                  <a:lnTo>
                    <a:pt x="6381" y="23890"/>
                  </a:lnTo>
                  <a:lnTo>
                    <a:pt x="6310" y="24174"/>
                  </a:lnTo>
                  <a:lnTo>
                    <a:pt x="6451" y="24528"/>
                  </a:lnTo>
                  <a:lnTo>
                    <a:pt x="9500" y="24528"/>
                  </a:lnTo>
                  <a:lnTo>
                    <a:pt x="10492" y="24244"/>
                  </a:lnTo>
                  <a:lnTo>
                    <a:pt x="11414" y="23961"/>
                  </a:lnTo>
                  <a:lnTo>
                    <a:pt x="11981" y="23748"/>
                  </a:lnTo>
                  <a:lnTo>
                    <a:pt x="12123" y="23606"/>
                  </a:lnTo>
                  <a:lnTo>
                    <a:pt x="12123" y="23536"/>
                  </a:lnTo>
                  <a:lnTo>
                    <a:pt x="11910" y="23465"/>
                  </a:lnTo>
                  <a:lnTo>
                    <a:pt x="11555" y="23394"/>
                  </a:lnTo>
                  <a:lnTo>
                    <a:pt x="10634" y="23252"/>
                  </a:lnTo>
                  <a:lnTo>
                    <a:pt x="9641" y="23110"/>
                  </a:lnTo>
                  <a:lnTo>
                    <a:pt x="9287" y="22968"/>
                  </a:lnTo>
                  <a:lnTo>
                    <a:pt x="9074" y="22898"/>
                  </a:lnTo>
                  <a:lnTo>
                    <a:pt x="8933" y="22472"/>
                  </a:lnTo>
                  <a:lnTo>
                    <a:pt x="8649" y="21338"/>
                  </a:lnTo>
                  <a:lnTo>
                    <a:pt x="7798" y="17581"/>
                  </a:lnTo>
                  <a:lnTo>
                    <a:pt x="5813" y="7656"/>
                  </a:lnTo>
                  <a:lnTo>
                    <a:pt x="5388" y="5317"/>
                  </a:lnTo>
                  <a:lnTo>
                    <a:pt x="4537" y="1560"/>
                  </a:lnTo>
                  <a:lnTo>
                    <a:pt x="4325" y="851"/>
                  </a:lnTo>
                  <a:lnTo>
                    <a:pt x="4041" y="426"/>
                  </a:lnTo>
                  <a:lnTo>
                    <a:pt x="3758" y="142"/>
                  </a:lnTo>
                  <a:lnTo>
                    <a:pt x="3403" y="0"/>
                  </a:lnTo>
                  <a:close/>
                </a:path>
              </a:pathLst>
            </a:custGeom>
            <a:solidFill>
              <a:srgbClr val="F5B2B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97" name="Google Shape;21495;p90">
              <a:extLst>
                <a:ext uri="{FF2B5EF4-FFF2-40B4-BE49-F238E27FC236}">
                  <a16:creationId xmlns:a16="http://schemas.microsoft.com/office/drawing/2014/main" id="{8DFF2F16-EFF1-99B7-EF16-F809DFD0BFF0}"/>
                </a:ext>
              </a:extLst>
            </p:cNvPr>
            <p:cNvSpPr/>
            <p:nvPr/>
          </p:nvSpPr>
          <p:spPr>
            <a:xfrm>
              <a:off x="3214525" y="5448500"/>
              <a:ext cx="196725" cy="28375"/>
            </a:xfrm>
            <a:custGeom>
              <a:avLst/>
              <a:gdLst/>
              <a:ahLst/>
              <a:cxnLst/>
              <a:rect l="l" t="t" r="r" b="b"/>
              <a:pathLst>
                <a:path w="7869" h="1135" extrusionOk="0">
                  <a:moveTo>
                    <a:pt x="5671" y="1"/>
                  </a:moveTo>
                  <a:lnTo>
                    <a:pt x="5246" y="72"/>
                  </a:lnTo>
                  <a:lnTo>
                    <a:pt x="4821" y="284"/>
                  </a:lnTo>
                  <a:lnTo>
                    <a:pt x="4253" y="497"/>
                  </a:lnTo>
                  <a:lnTo>
                    <a:pt x="3474" y="710"/>
                  </a:lnTo>
                  <a:lnTo>
                    <a:pt x="3119" y="781"/>
                  </a:lnTo>
                  <a:lnTo>
                    <a:pt x="2836" y="781"/>
                  </a:lnTo>
                  <a:lnTo>
                    <a:pt x="2339" y="639"/>
                  </a:lnTo>
                  <a:lnTo>
                    <a:pt x="1914" y="497"/>
                  </a:lnTo>
                  <a:lnTo>
                    <a:pt x="1631" y="355"/>
                  </a:lnTo>
                  <a:lnTo>
                    <a:pt x="1205" y="213"/>
                  </a:lnTo>
                  <a:lnTo>
                    <a:pt x="780" y="143"/>
                  </a:lnTo>
                  <a:lnTo>
                    <a:pt x="355" y="213"/>
                  </a:lnTo>
                  <a:lnTo>
                    <a:pt x="213" y="284"/>
                  </a:lnTo>
                  <a:lnTo>
                    <a:pt x="142" y="426"/>
                  </a:lnTo>
                  <a:lnTo>
                    <a:pt x="0" y="1135"/>
                  </a:lnTo>
                  <a:lnTo>
                    <a:pt x="7798" y="1135"/>
                  </a:lnTo>
                  <a:lnTo>
                    <a:pt x="7869" y="993"/>
                  </a:lnTo>
                  <a:lnTo>
                    <a:pt x="7869" y="851"/>
                  </a:lnTo>
                  <a:lnTo>
                    <a:pt x="7798" y="568"/>
                  </a:lnTo>
                  <a:lnTo>
                    <a:pt x="7585" y="355"/>
                  </a:lnTo>
                  <a:lnTo>
                    <a:pt x="7302" y="213"/>
                  </a:lnTo>
                  <a:lnTo>
                    <a:pt x="6947" y="72"/>
                  </a:lnTo>
                  <a:lnTo>
                    <a:pt x="6167" y="1"/>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98" name="Google Shape;21496;p90">
              <a:extLst>
                <a:ext uri="{FF2B5EF4-FFF2-40B4-BE49-F238E27FC236}">
                  <a16:creationId xmlns:a16="http://schemas.microsoft.com/office/drawing/2014/main" id="{C1FDE5A4-0CEC-AD6F-59CF-23E83F50D158}"/>
                </a:ext>
              </a:extLst>
            </p:cNvPr>
            <p:cNvSpPr/>
            <p:nvPr/>
          </p:nvSpPr>
          <p:spPr>
            <a:xfrm>
              <a:off x="2840575" y="5071025"/>
              <a:ext cx="17750" cy="17750"/>
            </a:xfrm>
            <a:custGeom>
              <a:avLst/>
              <a:gdLst/>
              <a:ahLst/>
              <a:cxnLst/>
              <a:rect l="l" t="t" r="r" b="b"/>
              <a:pathLst>
                <a:path w="710" h="710" extrusionOk="0">
                  <a:moveTo>
                    <a:pt x="71" y="0"/>
                  </a:moveTo>
                  <a:lnTo>
                    <a:pt x="0" y="709"/>
                  </a:lnTo>
                  <a:lnTo>
                    <a:pt x="71" y="709"/>
                  </a:lnTo>
                  <a:lnTo>
                    <a:pt x="709" y="213"/>
                  </a:lnTo>
                  <a:lnTo>
                    <a:pt x="71" y="0"/>
                  </a:lnTo>
                  <a:close/>
                </a:path>
              </a:pathLst>
            </a:custGeom>
            <a:solidFill>
              <a:srgbClr val="F5B1B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199" name="Google Shape;21497;p90">
              <a:extLst>
                <a:ext uri="{FF2B5EF4-FFF2-40B4-BE49-F238E27FC236}">
                  <a16:creationId xmlns:a16="http://schemas.microsoft.com/office/drawing/2014/main" id="{D62B16AD-E28D-1AFC-8CEF-66586D2EF9CB}"/>
                </a:ext>
              </a:extLst>
            </p:cNvPr>
            <p:cNvSpPr/>
            <p:nvPr/>
          </p:nvSpPr>
          <p:spPr>
            <a:xfrm>
              <a:off x="2840575" y="5071025"/>
              <a:ext cx="17750" cy="17750"/>
            </a:xfrm>
            <a:custGeom>
              <a:avLst/>
              <a:gdLst/>
              <a:ahLst/>
              <a:cxnLst/>
              <a:rect l="l" t="t" r="r" b="b"/>
              <a:pathLst>
                <a:path w="710" h="710" fill="none" extrusionOk="0">
                  <a:moveTo>
                    <a:pt x="71" y="0"/>
                  </a:moveTo>
                  <a:lnTo>
                    <a:pt x="71" y="0"/>
                  </a:lnTo>
                  <a:lnTo>
                    <a:pt x="0" y="709"/>
                  </a:lnTo>
                  <a:lnTo>
                    <a:pt x="0" y="709"/>
                  </a:lnTo>
                  <a:lnTo>
                    <a:pt x="0" y="709"/>
                  </a:lnTo>
                  <a:lnTo>
                    <a:pt x="0" y="709"/>
                  </a:lnTo>
                  <a:lnTo>
                    <a:pt x="71" y="709"/>
                  </a:lnTo>
                  <a:lnTo>
                    <a:pt x="71" y="709"/>
                  </a:lnTo>
                  <a:lnTo>
                    <a:pt x="709" y="213"/>
                  </a:lnTo>
                  <a:lnTo>
                    <a:pt x="709" y="213"/>
                  </a:lnTo>
                  <a:lnTo>
                    <a:pt x="71"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00" name="Google Shape;21498;p90">
              <a:extLst>
                <a:ext uri="{FF2B5EF4-FFF2-40B4-BE49-F238E27FC236}">
                  <a16:creationId xmlns:a16="http://schemas.microsoft.com/office/drawing/2014/main" id="{8FE29E29-CB25-93FF-D38D-6135180874A2}"/>
                </a:ext>
              </a:extLst>
            </p:cNvPr>
            <p:cNvSpPr/>
            <p:nvPr/>
          </p:nvSpPr>
          <p:spPr>
            <a:xfrm>
              <a:off x="2656250" y="4456050"/>
              <a:ext cx="591950" cy="641575"/>
            </a:xfrm>
            <a:custGeom>
              <a:avLst/>
              <a:gdLst/>
              <a:ahLst/>
              <a:cxnLst/>
              <a:rect l="l" t="t" r="r" b="b"/>
              <a:pathLst>
                <a:path w="23678" h="25663" extrusionOk="0">
                  <a:moveTo>
                    <a:pt x="13541" y="1"/>
                  </a:moveTo>
                  <a:lnTo>
                    <a:pt x="12832" y="71"/>
                  </a:lnTo>
                  <a:lnTo>
                    <a:pt x="12194" y="142"/>
                  </a:lnTo>
                  <a:lnTo>
                    <a:pt x="11485" y="284"/>
                  </a:lnTo>
                  <a:lnTo>
                    <a:pt x="10776" y="497"/>
                  </a:lnTo>
                  <a:lnTo>
                    <a:pt x="10776" y="568"/>
                  </a:lnTo>
                  <a:lnTo>
                    <a:pt x="10563" y="639"/>
                  </a:lnTo>
                  <a:lnTo>
                    <a:pt x="10351" y="851"/>
                  </a:lnTo>
                  <a:lnTo>
                    <a:pt x="9925" y="1418"/>
                  </a:lnTo>
                  <a:lnTo>
                    <a:pt x="9571" y="1985"/>
                  </a:lnTo>
                  <a:lnTo>
                    <a:pt x="9358" y="2269"/>
                  </a:lnTo>
                  <a:lnTo>
                    <a:pt x="9146" y="2482"/>
                  </a:lnTo>
                  <a:lnTo>
                    <a:pt x="9075" y="2553"/>
                  </a:lnTo>
                  <a:lnTo>
                    <a:pt x="8366" y="3545"/>
                  </a:lnTo>
                  <a:lnTo>
                    <a:pt x="7799" y="4608"/>
                  </a:lnTo>
                  <a:lnTo>
                    <a:pt x="7302" y="5672"/>
                  </a:lnTo>
                  <a:lnTo>
                    <a:pt x="6877" y="6806"/>
                  </a:lnTo>
                  <a:lnTo>
                    <a:pt x="6594" y="8011"/>
                  </a:lnTo>
                  <a:lnTo>
                    <a:pt x="6239" y="9145"/>
                  </a:lnTo>
                  <a:lnTo>
                    <a:pt x="5672" y="11556"/>
                  </a:lnTo>
                  <a:lnTo>
                    <a:pt x="5388" y="12832"/>
                  </a:lnTo>
                  <a:lnTo>
                    <a:pt x="5034" y="14037"/>
                  </a:lnTo>
                  <a:lnTo>
                    <a:pt x="4538" y="15313"/>
                  </a:lnTo>
                  <a:lnTo>
                    <a:pt x="3971" y="16589"/>
                  </a:lnTo>
                  <a:lnTo>
                    <a:pt x="3333" y="17936"/>
                  </a:lnTo>
                  <a:lnTo>
                    <a:pt x="2482" y="19212"/>
                  </a:lnTo>
                  <a:lnTo>
                    <a:pt x="1489" y="20488"/>
                  </a:lnTo>
                  <a:lnTo>
                    <a:pt x="355" y="21764"/>
                  </a:lnTo>
                  <a:lnTo>
                    <a:pt x="1" y="22118"/>
                  </a:lnTo>
                  <a:lnTo>
                    <a:pt x="213" y="22402"/>
                  </a:lnTo>
                  <a:lnTo>
                    <a:pt x="497" y="22614"/>
                  </a:lnTo>
                  <a:lnTo>
                    <a:pt x="851" y="22827"/>
                  </a:lnTo>
                  <a:lnTo>
                    <a:pt x="1206" y="22969"/>
                  </a:lnTo>
                  <a:lnTo>
                    <a:pt x="2057" y="23181"/>
                  </a:lnTo>
                  <a:lnTo>
                    <a:pt x="2907" y="23323"/>
                  </a:lnTo>
                  <a:lnTo>
                    <a:pt x="4750" y="23536"/>
                  </a:lnTo>
                  <a:lnTo>
                    <a:pt x="5530" y="23678"/>
                  </a:lnTo>
                  <a:lnTo>
                    <a:pt x="5814" y="23819"/>
                  </a:lnTo>
                  <a:lnTo>
                    <a:pt x="6097" y="23961"/>
                  </a:lnTo>
                  <a:lnTo>
                    <a:pt x="6523" y="24174"/>
                  </a:lnTo>
                  <a:lnTo>
                    <a:pt x="7161" y="24457"/>
                  </a:lnTo>
                  <a:lnTo>
                    <a:pt x="7870" y="24741"/>
                  </a:lnTo>
                  <a:lnTo>
                    <a:pt x="8720" y="24954"/>
                  </a:lnTo>
                  <a:lnTo>
                    <a:pt x="9642" y="25237"/>
                  </a:lnTo>
                  <a:lnTo>
                    <a:pt x="10634" y="25450"/>
                  </a:lnTo>
                  <a:lnTo>
                    <a:pt x="11556" y="25592"/>
                  </a:lnTo>
                  <a:lnTo>
                    <a:pt x="12477" y="25663"/>
                  </a:lnTo>
                  <a:lnTo>
                    <a:pt x="13186" y="25592"/>
                  </a:lnTo>
                  <a:lnTo>
                    <a:pt x="13470" y="25521"/>
                  </a:lnTo>
                  <a:lnTo>
                    <a:pt x="13753" y="25450"/>
                  </a:lnTo>
                  <a:lnTo>
                    <a:pt x="14321" y="25237"/>
                  </a:lnTo>
                  <a:lnTo>
                    <a:pt x="14959" y="25025"/>
                  </a:lnTo>
                  <a:lnTo>
                    <a:pt x="15526" y="24883"/>
                  </a:lnTo>
                  <a:lnTo>
                    <a:pt x="16164" y="24812"/>
                  </a:lnTo>
                  <a:lnTo>
                    <a:pt x="17369" y="24670"/>
                  </a:lnTo>
                  <a:lnTo>
                    <a:pt x="19921" y="24670"/>
                  </a:lnTo>
                  <a:lnTo>
                    <a:pt x="21197" y="24599"/>
                  </a:lnTo>
                  <a:lnTo>
                    <a:pt x="21764" y="24457"/>
                  </a:lnTo>
                  <a:lnTo>
                    <a:pt x="22331" y="24316"/>
                  </a:lnTo>
                  <a:lnTo>
                    <a:pt x="22898" y="24032"/>
                  </a:lnTo>
                  <a:lnTo>
                    <a:pt x="23465" y="23678"/>
                  </a:lnTo>
                  <a:lnTo>
                    <a:pt x="23536" y="23607"/>
                  </a:lnTo>
                  <a:lnTo>
                    <a:pt x="23607" y="23394"/>
                  </a:lnTo>
                  <a:lnTo>
                    <a:pt x="23678" y="22756"/>
                  </a:lnTo>
                  <a:lnTo>
                    <a:pt x="23607" y="21905"/>
                  </a:lnTo>
                  <a:lnTo>
                    <a:pt x="23394" y="20771"/>
                  </a:lnTo>
                  <a:lnTo>
                    <a:pt x="22898" y="18007"/>
                  </a:lnTo>
                  <a:lnTo>
                    <a:pt x="22118" y="14816"/>
                  </a:lnTo>
                  <a:lnTo>
                    <a:pt x="21268" y="11485"/>
                  </a:lnTo>
                  <a:lnTo>
                    <a:pt x="20417" y="8224"/>
                  </a:lnTo>
                  <a:lnTo>
                    <a:pt x="18999" y="3474"/>
                  </a:lnTo>
                  <a:lnTo>
                    <a:pt x="18432" y="1631"/>
                  </a:lnTo>
                  <a:lnTo>
                    <a:pt x="18219" y="1064"/>
                  </a:lnTo>
                  <a:lnTo>
                    <a:pt x="17581" y="780"/>
                  </a:lnTo>
                  <a:lnTo>
                    <a:pt x="16873" y="497"/>
                  </a:lnTo>
                  <a:lnTo>
                    <a:pt x="15880" y="284"/>
                  </a:lnTo>
                  <a:lnTo>
                    <a:pt x="14817" y="71"/>
                  </a:lnTo>
                  <a:lnTo>
                    <a:pt x="14179" y="1"/>
                  </a:lnTo>
                  <a:close/>
                </a:path>
              </a:pathLst>
            </a:custGeom>
            <a:solidFill>
              <a:srgbClr val="46464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01" name="Google Shape;21499;p90">
              <a:extLst>
                <a:ext uri="{FF2B5EF4-FFF2-40B4-BE49-F238E27FC236}">
                  <a16:creationId xmlns:a16="http://schemas.microsoft.com/office/drawing/2014/main" id="{053A8F06-25CD-47E1-8D0B-E4AE60568A7A}"/>
                </a:ext>
              </a:extLst>
            </p:cNvPr>
            <p:cNvSpPr/>
            <p:nvPr/>
          </p:nvSpPr>
          <p:spPr>
            <a:xfrm>
              <a:off x="2656250" y="4456050"/>
              <a:ext cx="591950" cy="641575"/>
            </a:xfrm>
            <a:custGeom>
              <a:avLst/>
              <a:gdLst/>
              <a:ahLst/>
              <a:cxnLst/>
              <a:rect l="l" t="t" r="r" b="b"/>
              <a:pathLst>
                <a:path w="23678" h="25663" fill="none" extrusionOk="0">
                  <a:moveTo>
                    <a:pt x="23465" y="23678"/>
                  </a:moveTo>
                  <a:lnTo>
                    <a:pt x="23465" y="23678"/>
                  </a:lnTo>
                  <a:lnTo>
                    <a:pt x="22898" y="24032"/>
                  </a:lnTo>
                  <a:lnTo>
                    <a:pt x="22331" y="24316"/>
                  </a:lnTo>
                  <a:lnTo>
                    <a:pt x="21764" y="24457"/>
                  </a:lnTo>
                  <a:lnTo>
                    <a:pt x="21197" y="24599"/>
                  </a:lnTo>
                  <a:lnTo>
                    <a:pt x="19921" y="24670"/>
                  </a:lnTo>
                  <a:lnTo>
                    <a:pt x="18645" y="24670"/>
                  </a:lnTo>
                  <a:lnTo>
                    <a:pt x="18645" y="24670"/>
                  </a:lnTo>
                  <a:lnTo>
                    <a:pt x="17369" y="24670"/>
                  </a:lnTo>
                  <a:lnTo>
                    <a:pt x="16164" y="24812"/>
                  </a:lnTo>
                  <a:lnTo>
                    <a:pt x="15526" y="24883"/>
                  </a:lnTo>
                  <a:lnTo>
                    <a:pt x="14959" y="25025"/>
                  </a:lnTo>
                  <a:lnTo>
                    <a:pt x="14321" y="25237"/>
                  </a:lnTo>
                  <a:lnTo>
                    <a:pt x="13753" y="25450"/>
                  </a:lnTo>
                  <a:lnTo>
                    <a:pt x="13753" y="25450"/>
                  </a:lnTo>
                  <a:lnTo>
                    <a:pt x="13470" y="25521"/>
                  </a:lnTo>
                  <a:lnTo>
                    <a:pt x="13186" y="25592"/>
                  </a:lnTo>
                  <a:lnTo>
                    <a:pt x="12477" y="25663"/>
                  </a:lnTo>
                  <a:lnTo>
                    <a:pt x="11556" y="25592"/>
                  </a:lnTo>
                  <a:lnTo>
                    <a:pt x="10634" y="25450"/>
                  </a:lnTo>
                  <a:lnTo>
                    <a:pt x="9642" y="25237"/>
                  </a:lnTo>
                  <a:lnTo>
                    <a:pt x="8720" y="24954"/>
                  </a:lnTo>
                  <a:lnTo>
                    <a:pt x="7870" y="24741"/>
                  </a:lnTo>
                  <a:lnTo>
                    <a:pt x="7161" y="24457"/>
                  </a:lnTo>
                  <a:lnTo>
                    <a:pt x="7161" y="24457"/>
                  </a:lnTo>
                  <a:lnTo>
                    <a:pt x="6523" y="24174"/>
                  </a:lnTo>
                  <a:lnTo>
                    <a:pt x="6097" y="23961"/>
                  </a:lnTo>
                  <a:lnTo>
                    <a:pt x="6097" y="23961"/>
                  </a:lnTo>
                  <a:lnTo>
                    <a:pt x="5814" y="23819"/>
                  </a:lnTo>
                  <a:lnTo>
                    <a:pt x="5530" y="23678"/>
                  </a:lnTo>
                  <a:lnTo>
                    <a:pt x="4750" y="23536"/>
                  </a:lnTo>
                  <a:lnTo>
                    <a:pt x="2907" y="23323"/>
                  </a:lnTo>
                  <a:lnTo>
                    <a:pt x="2057" y="23181"/>
                  </a:lnTo>
                  <a:lnTo>
                    <a:pt x="1206" y="22969"/>
                  </a:lnTo>
                  <a:lnTo>
                    <a:pt x="851" y="22827"/>
                  </a:lnTo>
                  <a:lnTo>
                    <a:pt x="497" y="22614"/>
                  </a:lnTo>
                  <a:lnTo>
                    <a:pt x="213" y="22402"/>
                  </a:lnTo>
                  <a:lnTo>
                    <a:pt x="1" y="22118"/>
                  </a:lnTo>
                  <a:lnTo>
                    <a:pt x="1" y="22118"/>
                  </a:lnTo>
                  <a:lnTo>
                    <a:pt x="355" y="21764"/>
                  </a:lnTo>
                  <a:lnTo>
                    <a:pt x="355" y="21764"/>
                  </a:lnTo>
                  <a:lnTo>
                    <a:pt x="1489" y="20488"/>
                  </a:lnTo>
                  <a:lnTo>
                    <a:pt x="2482" y="19212"/>
                  </a:lnTo>
                  <a:lnTo>
                    <a:pt x="3333" y="17936"/>
                  </a:lnTo>
                  <a:lnTo>
                    <a:pt x="3971" y="16589"/>
                  </a:lnTo>
                  <a:lnTo>
                    <a:pt x="4538" y="15313"/>
                  </a:lnTo>
                  <a:lnTo>
                    <a:pt x="5034" y="14037"/>
                  </a:lnTo>
                  <a:lnTo>
                    <a:pt x="5388" y="12832"/>
                  </a:lnTo>
                  <a:lnTo>
                    <a:pt x="5672" y="11556"/>
                  </a:lnTo>
                  <a:lnTo>
                    <a:pt x="6239" y="9145"/>
                  </a:lnTo>
                  <a:lnTo>
                    <a:pt x="6594" y="8011"/>
                  </a:lnTo>
                  <a:lnTo>
                    <a:pt x="6877" y="6806"/>
                  </a:lnTo>
                  <a:lnTo>
                    <a:pt x="7302" y="5672"/>
                  </a:lnTo>
                  <a:lnTo>
                    <a:pt x="7799" y="4608"/>
                  </a:lnTo>
                  <a:lnTo>
                    <a:pt x="8366" y="3545"/>
                  </a:lnTo>
                  <a:lnTo>
                    <a:pt x="9075" y="2553"/>
                  </a:lnTo>
                  <a:lnTo>
                    <a:pt x="9146" y="2482"/>
                  </a:lnTo>
                  <a:lnTo>
                    <a:pt x="9146" y="2482"/>
                  </a:lnTo>
                  <a:lnTo>
                    <a:pt x="9146" y="2482"/>
                  </a:lnTo>
                  <a:lnTo>
                    <a:pt x="9358" y="2269"/>
                  </a:lnTo>
                  <a:lnTo>
                    <a:pt x="9571" y="1985"/>
                  </a:lnTo>
                  <a:lnTo>
                    <a:pt x="9925" y="1418"/>
                  </a:lnTo>
                  <a:lnTo>
                    <a:pt x="10351" y="851"/>
                  </a:lnTo>
                  <a:lnTo>
                    <a:pt x="10563" y="639"/>
                  </a:lnTo>
                  <a:lnTo>
                    <a:pt x="10776" y="568"/>
                  </a:lnTo>
                  <a:lnTo>
                    <a:pt x="10776" y="497"/>
                  </a:lnTo>
                  <a:lnTo>
                    <a:pt x="10776" y="497"/>
                  </a:lnTo>
                  <a:lnTo>
                    <a:pt x="11485" y="284"/>
                  </a:lnTo>
                  <a:lnTo>
                    <a:pt x="12194" y="142"/>
                  </a:lnTo>
                  <a:lnTo>
                    <a:pt x="12832" y="71"/>
                  </a:lnTo>
                  <a:lnTo>
                    <a:pt x="13541" y="1"/>
                  </a:lnTo>
                  <a:lnTo>
                    <a:pt x="14179" y="1"/>
                  </a:lnTo>
                  <a:lnTo>
                    <a:pt x="14817" y="71"/>
                  </a:lnTo>
                  <a:lnTo>
                    <a:pt x="15880" y="284"/>
                  </a:lnTo>
                  <a:lnTo>
                    <a:pt x="16873" y="497"/>
                  </a:lnTo>
                  <a:lnTo>
                    <a:pt x="17581" y="780"/>
                  </a:lnTo>
                  <a:lnTo>
                    <a:pt x="18219" y="1064"/>
                  </a:lnTo>
                  <a:lnTo>
                    <a:pt x="18219" y="1064"/>
                  </a:lnTo>
                  <a:lnTo>
                    <a:pt x="18432" y="1631"/>
                  </a:lnTo>
                  <a:lnTo>
                    <a:pt x="18432" y="1631"/>
                  </a:lnTo>
                  <a:lnTo>
                    <a:pt x="18999" y="3474"/>
                  </a:lnTo>
                  <a:lnTo>
                    <a:pt x="18999" y="3474"/>
                  </a:lnTo>
                  <a:lnTo>
                    <a:pt x="18999" y="3474"/>
                  </a:lnTo>
                  <a:lnTo>
                    <a:pt x="20417" y="8224"/>
                  </a:lnTo>
                  <a:lnTo>
                    <a:pt x="21268" y="11485"/>
                  </a:lnTo>
                  <a:lnTo>
                    <a:pt x="22118" y="14816"/>
                  </a:lnTo>
                  <a:lnTo>
                    <a:pt x="22898" y="18007"/>
                  </a:lnTo>
                  <a:lnTo>
                    <a:pt x="23394" y="20771"/>
                  </a:lnTo>
                  <a:lnTo>
                    <a:pt x="23607" y="21905"/>
                  </a:lnTo>
                  <a:lnTo>
                    <a:pt x="23678" y="22756"/>
                  </a:lnTo>
                  <a:lnTo>
                    <a:pt x="23607" y="23394"/>
                  </a:lnTo>
                  <a:lnTo>
                    <a:pt x="23536" y="23607"/>
                  </a:lnTo>
                  <a:lnTo>
                    <a:pt x="23465" y="23678"/>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02" name="Google Shape;21500;p90">
              <a:extLst>
                <a:ext uri="{FF2B5EF4-FFF2-40B4-BE49-F238E27FC236}">
                  <a16:creationId xmlns:a16="http://schemas.microsoft.com/office/drawing/2014/main" id="{6D9FBC79-8272-048F-5E26-2209F27AD154}"/>
                </a:ext>
              </a:extLst>
            </p:cNvPr>
            <p:cNvSpPr/>
            <p:nvPr/>
          </p:nvSpPr>
          <p:spPr>
            <a:xfrm>
              <a:off x="2828175" y="3832225"/>
              <a:ext cx="418275" cy="691200"/>
            </a:xfrm>
            <a:custGeom>
              <a:avLst/>
              <a:gdLst/>
              <a:ahLst/>
              <a:cxnLst/>
              <a:rect l="l" t="t" r="r" b="b"/>
              <a:pathLst>
                <a:path w="16731" h="27648" extrusionOk="0">
                  <a:moveTo>
                    <a:pt x="13965" y="0"/>
                  </a:moveTo>
                  <a:lnTo>
                    <a:pt x="13894" y="71"/>
                  </a:lnTo>
                  <a:lnTo>
                    <a:pt x="13824" y="142"/>
                  </a:lnTo>
                  <a:lnTo>
                    <a:pt x="13540" y="1276"/>
                  </a:lnTo>
                  <a:lnTo>
                    <a:pt x="12760" y="3332"/>
                  </a:lnTo>
                  <a:lnTo>
                    <a:pt x="12264" y="4396"/>
                  </a:lnTo>
                  <a:lnTo>
                    <a:pt x="11839" y="5388"/>
                  </a:lnTo>
                  <a:lnTo>
                    <a:pt x="11413" y="6239"/>
                  </a:lnTo>
                  <a:lnTo>
                    <a:pt x="10988" y="6735"/>
                  </a:lnTo>
                  <a:lnTo>
                    <a:pt x="9925" y="7727"/>
                  </a:lnTo>
                  <a:lnTo>
                    <a:pt x="8294" y="9074"/>
                  </a:lnTo>
                  <a:lnTo>
                    <a:pt x="6664" y="10421"/>
                  </a:lnTo>
                  <a:lnTo>
                    <a:pt x="6097" y="10846"/>
                  </a:lnTo>
                  <a:lnTo>
                    <a:pt x="5742" y="11059"/>
                  </a:lnTo>
                  <a:lnTo>
                    <a:pt x="5246" y="11130"/>
                  </a:lnTo>
                  <a:lnTo>
                    <a:pt x="3970" y="11130"/>
                  </a:lnTo>
                  <a:lnTo>
                    <a:pt x="3261" y="11272"/>
                  </a:lnTo>
                  <a:lnTo>
                    <a:pt x="2977" y="11414"/>
                  </a:lnTo>
                  <a:lnTo>
                    <a:pt x="2552" y="11697"/>
                  </a:lnTo>
                  <a:lnTo>
                    <a:pt x="1560" y="12690"/>
                  </a:lnTo>
                  <a:lnTo>
                    <a:pt x="709" y="13682"/>
                  </a:lnTo>
                  <a:lnTo>
                    <a:pt x="142" y="14533"/>
                  </a:lnTo>
                  <a:lnTo>
                    <a:pt x="0" y="14887"/>
                  </a:lnTo>
                  <a:lnTo>
                    <a:pt x="71" y="15383"/>
                  </a:lnTo>
                  <a:lnTo>
                    <a:pt x="213" y="15880"/>
                  </a:lnTo>
                  <a:lnTo>
                    <a:pt x="496" y="16518"/>
                  </a:lnTo>
                  <a:lnTo>
                    <a:pt x="922" y="17227"/>
                  </a:lnTo>
                  <a:lnTo>
                    <a:pt x="1489" y="17935"/>
                  </a:lnTo>
                  <a:lnTo>
                    <a:pt x="2127" y="18644"/>
                  </a:lnTo>
                  <a:lnTo>
                    <a:pt x="2907" y="19424"/>
                  </a:lnTo>
                  <a:lnTo>
                    <a:pt x="3119" y="20487"/>
                  </a:lnTo>
                  <a:lnTo>
                    <a:pt x="3261" y="21409"/>
                  </a:lnTo>
                  <a:lnTo>
                    <a:pt x="3403" y="22827"/>
                  </a:lnTo>
                  <a:lnTo>
                    <a:pt x="3403" y="23394"/>
                  </a:lnTo>
                  <a:lnTo>
                    <a:pt x="3403" y="23890"/>
                  </a:lnTo>
                  <a:lnTo>
                    <a:pt x="3332" y="24316"/>
                  </a:lnTo>
                  <a:lnTo>
                    <a:pt x="3119" y="25237"/>
                  </a:lnTo>
                  <a:lnTo>
                    <a:pt x="2765" y="26088"/>
                  </a:lnTo>
                  <a:lnTo>
                    <a:pt x="2410" y="26868"/>
                  </a:lnTo>
                  <a:lnTo>
                    <a:pt x="2198" y="27293"/>
                  </a:lnTo>
                  <a:lnTo>
                    <a:pt x="2198" y="27364"/>
                  </a:lnTo>
                  <a:lnTo>
                    <a:pt x="2269" y="27435"/>
                  </a:lnTo>
                  <a:lnTo>
                    <a:pt x="2552" y="27576"/>
                  </a:lnTo>
                  <a:lnTo>
                    <a:pt x="3048" y="27647"/>
                  </a:lnTo>
                  <a:lnTo>
                    <a:pt x="4324" y="27647"/>
                  </a:lnTo>
                  <a:lnTo>
                    <a:pt x="5955" y="27506"/>
                  </a:lnTo>
                  <a:lnTo>
                    <a:pt x="7514" y="27364"/>
                  </a:lnTo>
                  <a:lnTo>
                    <a:pt x="10066" y="27009"/>
                  </a:lnTo>
                  <a:lnTo>
                    <a:pt x="10917" y="26797"/>
                  </a:lnTo>
                  <a:lnTo>
                    <a:pt x="11555" y="26584"/>
                  </a:lnTo>
                  <a:lnTo>
                    <a:pt x="11768" y="26442"/>
                  </a:lnTo>
                  <a:lnTo>
                    <a:pt x="11768" y="26300"/>
                  </a:lnTo>
                  <a:lnTo>
                    <a:pt x="11768" y="26159"/>
                  </a:lnTo>
                  <a:lnTo>
                    <a:pt x="10704" y="23110"/>
                  </a:lnTo>
                  <a:lnTo>
                    <a:pt x="10279" y="21693"/>
                  </a:lnTo>
                  <a:lnTo>
                    <a:pt x="9996" y="20487"/>
                  </a:lnTo>
                  <a:lnTo>
                    <a:pt x="12264" y="20204"/>
                  </a:lnTo>
                  <a:lnTo>
                    <a:pt x="14391" y="19920"/>
                  </a:lnTo>
                  <a:lnTo>
                    <a:pt x="16021" y="19637"/>
                  </a:lnTo>
                  <a:lnTo>
                    <a:pt x="16730" y="19424"/>
                  </a:lnTo>
                  <a:lnTo>
                    <a:pt x="16730" y="19211"/>
                  </a:lnTo>
                  <a:lnTo>
                    <a:pt x="16730" y="18928"/>
                  </a:lnTo>
                  <a:lnTo>
                    <a:pt x="16447" y="18148"/>
                  </a:lnTo>
                  <a:lnTo>
                    <a:pt x="16092" y="17439"/>
                  </a:lnTo>
                  <a:lnTo>
                    <a:pt x="15950" y="17227"/>
                  </a:lnTo>
                  <a:lnTo>
                    <a:pt x="15809" y="17156"/>
                  </a:lnTo>
                  <a:lnTo>
                    <a:pt x="13327" y="17510"/>
                  </a:lnTo>
                  <a:lnTo>
                    <a:pt x="10137" y="17794"/>
                  </a:lnTo>
                  <a:lnTo>
                    <a:pt x="10208" y="17156"/>
                  </a:lnTo>
                  <a:lnTo>
                    <a:pt x="10208" y="16659"/>
                  </a:lnTo>
                  <a:lnTo>
                    <a:pt x="10208" y="16163"/>
                  </a:lnTo>
                  <a:lnTo>
                    <a:pt x="10066" y="15880"/>
                  </a:lnTo>
                  <a:lnTo>
                    <a:pt x="9925" y="15596"/>
                  </a:lnTo>
                  <a:lnTo>
                    <a:pt x="9287" y="15029"/>
                  </a:lnTo>
                  <a:lnTo>
                    <a:pt x="9074" y="14675"/>
                  </a:lnTo>
                  <a:lnTo>
                    <a:pt x="8861" y="14391"/>
                  </a:lnTo>
                  <a:lnTo>
                    <a:pt x="8720" y="14037"/>
                  </a:lnTo>
                  <a:lnTo>
                    <a:pt x="8720" y="13824"/>
                  </a:lnTo>
                  <a:lnTo>
                    <a:pt x="8790" y="13611"/>
                  </a:lnTo>
                  <a:lnTo>
                    <a:pt x="9216" y="12831"/>
                  </a:lnTo>
                  <a:lnTo>
                    <a:pt x="9712" y="12052"/>
                  </a:lnTo>
                  <a:lnTo>
                    <a:pt x="10350" y="11272"/>
                  </a:lnTo>
                  <a:lnTo>
                    <a:pt x="10988" y="10634"/>
                  </a:lnTo>
                  <a:lnTo>
                    <a:pt x="12193" y="9358"/>
                  </a:lnTo>
                  <a:lnTo>
                    <a:pt x="13044" y="8507"/>
                  </a:lnTo>
                  <a:lnTo>
                    <a:pt x="13469" y="7869"/>
                  </a:lnTo>
                  <a:lnTo>
                    <a:pt x="13965" y="6877"/>
                  </a:lnTo>
                  <a:lnTo>
                    <a:pt x="14958" y="4466"/>
                  </a:lnTo>
                  <a:lnTo>
                    <a:pt x="15879" y="2198"/>
                  </a:lnTo>
                  <a:lnTo>
                    <a:pt x="16234" y="1064"/>
                  </a:lnTo>
                  <a:lnTo>
                    <a:pt x="16163" y="851"/>
                  </a:lnTo>
                  <a:lnTo>
                    <a:pt x="15879" y="638"/>
                  </a:lnTo>
                  <a:lnTo>
                    <a:pt x="15100" y="213"/>
                  </a:lnTo>
                  <a:lnTo>
                    <a:pt x="14674" y="71"/>
                  </a:lnTo>
                  <a:lnTo>
                    <a:pt x="14249" y="0"/>
                  </a:lnTo>
                  <a:close/>
                </a:path>
              </a:pathLst>
            </a:custGeom>
            <a:solidFill>
              <a:srgbClr val="DF332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03" name="Google Shape;21501;p90">
              <a:extLst>
                <a:ext uri="{FF2B5EF4-FFF2-40B4-BE49-F238E27FC236}">
                  <a16:creationId xmlns:a16="http://schemas.microsoft.com/office/drawing/2014/main" id="{1B261FE2-374C-8C95-0BC6-260A154C678E}"/>
                </a:ext>
              </a:extLst>
            </p:cNvPr>
            <p:cNvSpPr/>
            <p:nvPr/>
          </p:nvSpPr>
          <p:spPr>
            <a:xfrm>
              <a:off x="2828175" y="3832225"/>
              <a:ext cx="418275" cy="691200"/>
            </a:xfrm>
            <a:custGeom>
              <a:avLst/>
              <a:gdLst/>
              <a:ahLst/>
              <a:cxnLst/>
              <a:rect l="l" t="t" r="r" b="b"/>
              <a:pathLst>
                <a:path w="16731" h="27648" fill="none" extrusionOk="0">
                  <a:moveTo>
                    <a:pt x="16730" y="19424"/>
                  </a:moveTo>
                  <a:lnTo>
                    <a:pt x="16730" y="19424"/>
                  </a:lnTo>
                  <a:lnTo>
                    <a:pt x="16021" y="19637"/>
                  </a:lnTo>
                  <a:lnTo>
                    <a:pt x="14391" y="19920"/>
                  </a:lnTo>
                  <a:lnTo>
                    <a:pt x="12264" y="20204"/>
                  </a:lnTo>
                  <a:lnTo>
                    <a:pt x="9996" y="20487"/>
                  </a:lnTo>
                  <a:lnTo>
                    <a:pt x="9996" y="20487"/>
                  </a:lnTo>
                  <a:lnTo>
                    <a:pt x="10279" y="21693"/>
                  </a:lnTo>
                  <a:lnTo>
                    <a:pt x="10704" y="23110"/>
                  </a:lnTo>
                  <a:lnTo>
                    <a:pt x="11768" y="26159"/>
                  </a:lnTo>
                  <a:lnTo>
                    <a:pt x="11768" y="26159"/>
                  </a:lnTo>
                  <a:lnTo>
                    <a:pt x="11768" y="26300"/>
                  </a:lnTo>
                  <a:lnTo>
                    <a:pt x="11768" y="26442"/>
                  </a:lnTo>
                  <a:lnTo>
                    <a:pt x="11555" y="26584"/>
                  </a:lnTo>
                  <a:lnTo>
                    <a:pt x="11555" y="26584"/>
                  </a:lnTo>
                  <a:lnTo>
                    <a:pt x="10917" y="26797"/>
                  </a:lnTo>
                  <a:lnTo>
                    <a:pt x="10066" y="27009"/>
                  </a:lnTo>
                  <a:lnTo>
                    <a:pt x="7514" y="27364"/>
                  </a:lnTo>
                  <a:lnTo>
                    <a:pt x="7514" y="27364"/>
                  </a:lnTo>
                  <a:lnTo>
                    <a:pt x="5955" y="27506"/>
                  </a:lnTo>
                  <a:lnTo>
                    <a:pt x="4324" y="27647"/>
                  </a:lnTo>
                  <a:lnTo>
                    <a:pt x="4324" y="27647"/>
                  </a:lnTo>
                  <a:lnTo>
                    <a:pt x="3686" y="27647"/>
                  </a:lnTo>
                  <a:lnTo>
                    <a:pt x="3048" y="27647"/>
                  </a:lnTo>
                  <a:lnTo>
                    <a:pt x="2552" y="27576"/>
                  </a:lnTo>
                  <a:lnTo>
                    <a:pt x="2269" y="27435"/>
                  </a:lnTo>
                  <a:lnTo>
                    <a:pt x="2269" y="27435"/>
                  </a:lnTo>
                  <a:lnTo>
                    <a:pt x="2198" y="27364"/>
                  </a:lnTo>
                  <a:lnTo>
                    <a:pt x="2198" y="27293"/>
                  </a:lnTo>
                  <a:lnTo>
                    <a:pt x="2410" y="26868"/>
                  </a:lnTo>
                  <a:lnTo>
                    <a:pt x="2410" y="26868"/>
                  </a:lnTo>
                  <a:lnTo>
                    <a:pt x="2765" y="26088"/>
                  </a:lnTo>
                  <a:lnTo>
                    <a:pt x="3119" y="25237"/>
                  </a:lnTo>
                  <a:lnTo>
                    <a:pt x="3332" y="24316"/>
                  </a:lnTo>
                  <a:lnTo>
                    <a:pt x="3403" y="23890"/>
                  </a:lnTo>
                  <a:lnTo>
                    <a:pt x="3403" y="23394"/>
                  </a:lnTo>
                  <a:lnTo>
                    <a:pt x="3403" y="23394"/>
                  </a:lnTo>
                  <a:lnTo>
                    <a:pt x="3403" y="22827"/>
                  </a:lnTo>
                  <a:lnTo>
                    <a:pt x="3403" y="22827"/>
                  </a:lnTo>
                  <a:lnTo>
                    <a:pt x="3261" y="21409"/>
                  </a:lnTo>
                  <a:lnTo>
                    <a:pt x="3119" y="20487"/>
                  </a:lnTo>
                  <a:lnTo>
                    <a:pt x="2907" y="19424"/>
                  </a:lnTo>
                  <a:lnTo>
                    <a:pt x="2907" y="19424"/>
                  </a:lnTo>
                  <a:lnTo>
                    <a:pt x="2127" y="18644"/>
                  </a:lnTo>
                  <a:lnTo>
                    <a:pt x="1489" y="17935"/>
                  </a:lnTo>
                  <a:lnTo>
                    <a:pt x="922" y="17227"/>
                  </a:lnTo>
                  <a:lnTo>
                    <a:pt x="496" y="16518"/>
                  </a:lnTo>
                  <a:lnTo>
                    <a:pt x="213" y="15880"/>
                  </a:lnTo>
                  <a:lnTo>
                    <a:pt x="71" y="15383"/>
                  </a:lnTo>
                  <a:lnTo>
                    <a:pt x="0" y="14887"/>
                  </a:lnTo>
                  <a:lnTo>
                    <a:pt x="142" y="14533"/>
                  </a:lnTo>
                  <a:lnTo>
                    <a:pt x="142" y="14533"/>
                  </a:lnTo>
                  <a:lnTo>
                    <a:pt x="709" y="13682"/>
                  </a:lnTo>
                  <a:lnTo>
                    <a:pt x="1560" y="12690"/>
                  </a:lnTo>
                  <a:lnTo>
                    <a:pt x="2552" y="11697"/>
                  </a:lnTo>
                  <a:lnTo>
                    <a:pt x="2977" y="11414"/>
                  </a:lnTo>
                  <a:lnTo>
                    <a:pt x="3261" y="11272"/>
                  </a:lnTo>
                  <a:lnTo>
                    <a:pt x="3261" y="11272"/>
                  </a:lnTo>
                  <a:lnTo>
                    <a:pt x="3970" y="11130"/>
                  </a:lnTo>
                  <a:lnTo>
                    <a:pt x="4608" y="11130"/>
                  </a:lnTo>
                  <a:lnTo>
                    <a:pt x="5246" y="11130"/>
                  </a:lnTo>
                  <a:lnTo>
                    <a:pt x="5742" y="11059"/>
                  </a:lnTo>
                  <a:lnTo>
                    <a:pt x="5742" y="11059"/>
                  </a:lnTo>
                  <a:lnTo>
                    <a:pt x="6097" y="10846"/>
                  </a:lnTo>
                  <a:lnTo>
                    <a:pt x="6664" y="10421"/>
                  </a:lnTo>
                  <a:lnTo>
                    <a:pt x="8294" y="9074"/>
                  </a:lnTo>
                  <a:lnTo>
                    <a:pt x="9925" y="7727"/>
                  </a:lnTo>
                  <a:lnTo>
                    <a:pt x="10988" y="6735"/>
                  </a:lnTo>
                  <a:lnTo>
                    <a:pt x="10988" y="6735"/>
                  </a:lnTo>
                  <a:lnTo>
                    <a:pt x="11413" y="6239"/>
                  </a:lnTo>
                  <a:lnTo>
                    <a:pt x="11839" y="5388"/>
                  </a:lnTo>
                  <a:lnTo>
                    <a:pt x="12264" y="4396"/>
                  </a:lnTo>
                  <a:lnTo>
                    <a:pt x="12760" y="3332"/>
                  </a:lnTo>
                  <a:lnTo>
                    <a:pt x="13540" y="1276"/>
                  </a:lnTo>
                  <a:lnTo>
                    <a:pt x="13824" y="142"/>
                  </a:lnTo>
                  <a:lnTo>
                    <a:pt x="13824" y="142"/>
                  </a:lnTo>
                  <a:lnTo>
                    <a:pt x="13894" y="71"/>
                  </a:lnTo>
                  <a:lnTo>
                    <a:pt x="13965" y="0"/>
                  </a:lnTo>
                  <a:lnTo>
                    <a:pt x="14249" y="0"/>
                  </a:lnTo>
                  <a:lnTo>
                    <a:pt x="14674" y="71"/>
                  </a:lnTo>
                  <a:lnTo>
                    <a:pt x="15100" y="213"/>
                  </a:lnTo>
                  <a:lnTo>
                    <a:pt x="15879" y="638"/>
                  </a:lnTo>
                  <a:lnTo>
                    <a:pt x="16163" y="851"/>
                  </a:lnTo>
                  <a:lnTo>
                    <a:pt x="16234" y="1064"/>
                  </a:lnTo>
                  <a:lnTo>
                    <a:pt x="16234" y="1064"/>
                  </a:lnTo>
                  <a:lnTo>
                    <a:pt x="15879" y="2198"/>
                  </a:lnTo>
                  <a:lnTo>
                    <a:pt x="14958" y="4466"/>
                  </a:lnTo>
                  <a:lnTo>
                    <a:pt x="13965" y="6877"/>
                  </a:lnTo>
                  <a:lnTo>
                    <a:pt x="13469" y="7869"/>
                  </a:lnTo>
                  <a:lnTo>
                    <a:pt x="13044" y="8507"/>
                  </a:lnTo>
                  <a:lnTo>
                    <a:pt x="13044" y="8507"/>
                  </a:lnTo>
                  <a:lnTo>
                    <a:pt x="12193" y="9358"/>
                  </a:lnTo>
                  <a:lnTo>
                    <a:pt x="10988" y="10634"/>
                  </a:lnTo>
                  <a:lnTo>
                    <a:pt x="10350" y="11272"/>
                  </a:lnTo>
                  <a:lnTo>
                    <a:pt x="9712" y="12052"/>
                  </a:lnTo>
                  <a:lnTo>
                    <a:pt x="9216" y="12831"/>
                  </a:lnTo>
                  <a:lnTo>
                    <a:pt x="8790" y="13611"/>
                  </a:lnTo>
                  <a:lnTo>
                    <a:pt x="8790" y="13611"/>
                  </a:lnTo>
                  <a:lnTo>
                    <a:pt x="8720" y="13824"/>
                  </a:lnTo>
                  <a:lnTo>
                    <a:pt x="8720" y="14037"/>
                  </a:lnTo>
                  <a:lnTo>
                    <a:pt x="8861" y="14391"/>
                  </a:lnTo>
                  <a:lnTo>
                    <a:pt x="9074" y="14675"/>
                  </a:lnTo>
                  <a:lnTo>
                    <a:pt x="9287" y="15029"/>
                  </a:lnTo>
                  <a:lnTo>
                    <a:pt x="9925" y="15596"/>
                  </a:lnTo>
                  <a:lnTo>
                    <a:pt x="10066" y="15880"/>
                  </a:lnTo>
                  <a:lnTo>
                    <a:pt x="10208" y="16163"/>
                  </a:lnTo>
                  <a:lnTo>
                    <a:pt x="10208" y="16163"/>
                  </a:lnTo>
                  <a:lnTo>
                    <a:pt x="10208" y="16659"/>
                  </a:lnTo>
                  <a:lnTo>
                    <a:pt x="10208" y="17156"/>
                  </a:lnTo>
                  <a:lnTo>
                    <a:pt x="10137" y="17794"/>
                  </a:lnTo>
                  <a:lnTo>
                    <a:pt x="10137" y="17794"/>
                  </a:lnTo>
                  <a:lnTo>
                    <a:pt x="13327" y="17510"/>
                  </a:lnTo>
                  <a:lnTo>
                    <a:pt x="15809" y="17156"/>
                  </a:lnTo>
                  <a:lnTo>
                    <a:pt x="15809" y="17156"/>
                  </a:lnTo>
                  <a:lnTo>
                    <a:pt x="15950" y="17227"/>
                  </a:lnTo>
                  <a:lnTo>
                    <a:pt x="16092" y="17439"/>
                  </a:lnTo>
                  <a:lnTo>
                    <a:pt x="16447" y="18148"/>
                  </a:lnTo>
                  <a:lnTo>
                    <a:pt x="16730" y="18928"/>
                  </a:lnTo>
                  <a:lnTo>
                    <a:pt x="16730" y="19211"/>
                  </a:lnTo>
                  <a:lnTo>
                    <a:pt x="16730" y="19424"/>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04" name="Google Shape;21502;p90">
              <a:extLst>
                <a:ext uri="{FF2B5EF4-FFF2-40B4-BE49-F238E27FC236}">
                  <a16:creationId xmlns:a16="http://schemas.microsoft.com/office/drawing/2014/main" id="{478F0509-86CE-151E-AB49-B0CED34AD05A}"/>
                </a:ext>
              </a:extLst>
            </p:cNvPr>
            <p:cNvSpPr/>
            <p:nvPr/>
          </p:nvSpPr>
          <p:spPr>
            <a:xfrm>
              <a:off x="2890200" y="4023625"/>
              <a:ext cx="79775" cy="138250"/>
            </a:xfrm>
            <a:custGeom>
              <a:avLst/>
              <a:gdLst/>
              <a:ahLst/>
              <a:cxnLst/>
              <a:rect l="l" t="t" r="r" b="b"/>
              <a:pathLst>
                <a:path w="3191" h="5530" extrusionOk="0">
                  <a:moveTo>
                    <a:pt x="1418" y="0"/>
                  </a:moveTo>
                  <a:lnTo>
                    <a:pt x="1347" y="142"/>
                  </a:lnTo>
                  <a:lnTo>
                    <a:pt x="1276" y="284"/>
                  </a:lnTo>
                  <a:lnTo>
                    <a:pt x="1134" y="497"/>
                  </a:lnTo>
                  <a:lnTo>
                    <a:pt x="426" y="2836"/>
                  </a:lnTo>
                  <a:lnTo>
                    <a:pt x="0" y="4041"/>
                  </a:lnTo>
                  <a:lnTo>
                    <a:pt x="213" y="4396"/>
                  </a:lnTo>
                  <a:lnTo>
                    <a:pt x="496" y="4679"/>
                  </a:lnTo>
                  <a:lnTo>
                    <a:pt x="922" y="4892"/>
                  </a:lnTo>
                  <a:lnTo>
                    <a:pt x="1418" y="5105"/>
                  </a:lnTo>
                  <a:lnTo>
                    <a:pt x="2056" y="5317"/>
                  </a:lnTo>
                  <a:lnTo>
                    <a:pt x="2694" y="5459"/>
                  </a:lnTo>
                  <a:lnTo>
                    <a:pt x="2978" y="5530"/>
                  </a:lnTo>
                  <a:lnTo>
                    <a:pt x="3119" y="5459"/>
                  </a:lnTo>
                  <a:lnTo>
                    <a:pt x="3190" y="5388"/>
                  </a:lnTo>
                  <a:lnTo>
                    <a:pt x="3190" y="5175"/>
                  </a:lnTo>
                  <a:lnTo>
                    <a:pt x="3190" y="4963"/>
                  </a:lnTo>
                  <a:lnTo>
                    <a:pt x="2978" y="4537"/>
                  </a:lnTo>
                  <a:lnTo>
                    <a:pt x="2765" y="4254"/>
                  </a:lnTo>
                  <a:lnTo>
                    <a:pt x="2552" y="3899"/>
                  </a:lnTo>
                  <a:lnTo>
                    <a:pt x="2410" y="3403"/>
                  </a:lnTo>
                  <a:lnTo>
                    <a:pt x="2340" y="2694"/>
                  </a:lnTo>
                  <a:lnTo>
                    <a:pt x="2340" y="1702"/>
                  </a:lnTo>
                  <a:lnTo>
                    <a:pt x="2269" y="1276"/>
                  </a:lnTo>
                  <a:lnTo>
                    <a:pt x="1914" y="497"/>
                  </a:lnTo>
                  <a:lnTo>
                    <a:pt x="1772" y="213"/>
                  </a:lnTo>
                  <a:lnTo>
                    <a:pt x="1560" y="0"/>
                  </a:lnTo>
                  <a:close/>
                </a:path>
              </a:pathLst>
            </a:custGeom>
            <a:solidFill>
              <a:srgbClr val="F5B2B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05" name="Google Shape;21503;p90">
              <a:extLst>
                <a:ext uri="{FF2B5EF4-FFF2-40B4-BE49-F238E27FC236}">
                  <a16:creationId xmlns:a16="http://schemas.microsoft.com/office/drawing/2014/main" id="{EFB3EC98-6ECA-E7A0-32E3-833B2AD73953}"/>
                </a:ext>
              </a:extLst>
            </p:cNvPr>
            <p:cNvSpPr/>
            <p:nvPr/>
          </p:nvSpPr>
          <p:spPr>
            <a:xfrm>
              <a:off x="2890200" y="4023625"/>
              <a:ext cx="79775" cy="138250"/>
            </a:xfrm>
            <a:custGeom>
              <a:avLst/>
              <a:gdLst/>
              <a:ahLst/>
              <a:cxnLst/>
              <a:rect l="l" t="t" r="r" b="b"/>
              <a:pathLst>
                <a:path w="3191" h="5530" fill="none" extrusionOk="0">
                  <a:moveTo>
                    <a:pt x="2340" y="1702"/>
                  </a:moveTo>
                  <a:lnTo>
                    <a:pt x="2340" y="1702"/>
                  </a:lnTo>
                  <a:lnTo>
                    <a:pt x="2340" y="2694"/>
                  </a:lnTo>
                  <a:lnTo>
                    <a:pt x="2410" y="3403"/>
                  </a:lnTo>
                  <a:lnTo>
                    <a:pt x="2552" y="3899"/>
                  </a:lnTo>
                  <a:lnTo>
                    <a:pt x="2765" y="4254"/>
                  </a:lnTo>
                  <a:lnTo>
                    <a:pt x="2765" y="4254"/>
                  </a:lnTo>
                  <a:lnTo>
                    <a:pt x="2978" y="4537"/>
                  </a:lnTo>
                  <a:lnTo>
                    <a:pt x="3190" y="4963"/>
                  </a:lnTo>
                  <a:lnTo>
                    <a:pt x="3190" y="5175"/>
                  </a:lnTo>
                  <a:lnTo>
                    <a:pt x="3190" y="5388"/>
                  </a:lnTo>
                  <a:lnTo>
                    <a:pt x="3119" y="5459"/>
                  </a:lnTo>
                  <a:lnTo>
                    <a:pt x="2978" y="5530"/>
                  </a:lnTo>
                  <a:lnTo>
                    <a:pt x="2978" y="5530"/>
                  </a:lnTo>
                  <a:lnTo>
                    <a:pt x="2694" y="5459"/>
                  </a:lnTo>
                  <a:lnTo>
                    <a:pt x="2056" y="5317"/>
                  </a:lnTo>
                  <a:lnTo>
                    <a:pt x="1418" y="5105"/>
                  </a:lnTo>
                  <a:lnTo>
                    <a:pt x="922" y="4892"/>
                  </a:lnTo>
                  <a:lnTo>
                    <a:pt x="922" y="4892"/>
                  </a:lnTo>
                  <a:lnTo>
                    <a:pt x="496" y="4679"/>
                  </a:lnTo>
                  <a:lnTo>
                    <a:pt x="213" y="4396"/>
                  </a:lnTo>
                  <a:lnTo>
                    <a:pt x="0" y="4041"/>
                  </a:lnTo>
                  <a:lnTo>
                    <a:pt x="0" y="4041"/>
                  </a:lnTo>
                  <a:lnTo>
                    <a:pt x="426" y="2836"/>
                  </a:lnTo>
                  <a:lnTo>
                    <a:pt x="1134" y="497"/>
                  </a:lnTo>
                  <a:lnTo>
                    <a:pt x="1134" y="497"/>
                  </a:lnTo>
                  <a:lnTo>
                    <a:pt x="1276" y="284"/>
                  </a:lnTo>
                  <a:lnTo>
                    <a:pt x="1347" y="142"/>
                  </a:lnTo>
                  <a:lnTo>
                    <a:pt x="1418" y="0"/>
                  </a:lnTo>
                  <a:lnTo>
                    <a:pt x="1560" y="0"/>
                  </a:lnTo>
                  <a:lnTo>
                    <a:pt x="1772" y="213"/>
                  </a:lnTo>
                  <a:lnTo>
                    <a:pt x="1914" y="497"/>
                  </a:lnTo>
                  <a:lnTo>
                    <a:pt x="2269" y="1276"/>
                  </a:lnTo>
                  <a:lnTo>
                    <a:pt x="2340" y="1702"/>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06" name="Google Shape;21504;p90">
              <a:extLst>
                <a:ext uri="{FF2B5EF4-FFF2-40B4-BE49-F238E27FC236}">
                  <a16:creationId xmlns:a16="http://schemas.microsoft.com/office/drawing/2014/main" id="{A71AAF0A-EBFE-CD14-EE38-AC1E4EB3CCAB}"/>
                </a:ext>
              </a:extLst>
            </p:cNvPr>
            <p:cNvSpPr/>
            <p:nvPr/>
          </p:nvSpPr>
          <p:spPr>
            <a:xfrm>
              <a:off x="2948675" y="4083875"/>
              <a:ext cx="1800" cy="15975"/>
            </a:xfrm>
            <a:custGeom>
              <a:avLst/>
              <a:gdLst/>
              <a:ahLst/>
              <a:cxnLst/>
              <a:rect l="l" t="t" r="r" b="b"/>
              <a:pathLst>
                <a:path w="72" h="639" extrusionOk="0">
                  <a:moveTo>
                    <a:pt x="1" y="1"/>
                  </a:moveTo>
                  <a:lnTo>
                    <a:pt x="1" y="72"/>
                  </a:lnTo>
                  <a:lnTo>
                    <a:pt x="71" y="639"/>
                  </a:lnTo>
                  <a:lnTo>
                    <a:pt x="1" y="1"/>
                  </a:lnTo>
                  <a:close/>
                </a:path>
              </a:pathLst>
            </a:custGeom>
            <a:solidFill>
              <a:srgbClr val="A7A2AE"/>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07" name="Google Shape;21505;p90">
              <a:extLst>
                <a:ext uri="{FF2B5EF4-FFF2-40B4-BE49-F238E27FC236}">
                  <a16:creationId xmlns:a16="http://schemas.microsoft.com/office/drawing/2014/main" id="{7FD93532-8170-B7B0-FC10-3092E37EB67D}"/>
                </a:ext>
              </a:extLst>
            </p:cNvPr>
            <p:cNvSpPr/>
            <p:nvPr/>
          </p:nvSpPr>
          <p:spPr>
            <a:xfrm>
              <a:off x="2948675" y="4066150"/>
              <a:ext cx="1800" cy="33700"/>
            </a:xfrm>
            <a:custGeom>
              <a:avLst/>
              <a:gdLst/>
              <a:ahLst/>
              <a:cxnLst/>
              <a:rect l="l" t="t" r="r" b="b"/>
              <a:pathLst>
                <a:path w="72" h="1348" fill="none" extrusionOk="0">
                  <a:moveTo>
                    <a:pt x="1" y="1"/>
                  </a:moveTo>
                  <a:lnTo>
                    <a:pt x="1" y="1"/>
                  </a:lnTo>
                  <a:lnTo>
                    <a:pt x="1" y="781"/>
                  </a:lnTo>
                  <a:lnTo>
                    <a:pt x="71" y="1348"/>
                  </a:lnTo>
                  <a:lnTo>
                    <a:pt x="71" y="1348"/>
                  </a:lnTo>
                  <a:lnTo>
                    <a:pt x="71" y="1348"/>
                  </a:lnTo>
                  <a:lnTo>
                    <a:pt x="71" y="1348"/>
                  </a:lnTo>
                  <a:lnTo>
                    <a:pt x="1" y="710"/>
                  </a:lnTo>
                  <a:lnTo>
                    <a:pt x="1" y="710"/>
                  </a:lnTo>
                  <a:lnTo>
                    <a:pt x="1"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08" name="Google Shape;21506;p90">
              <a:extLst>
                <a:ext uri="{FF2B5EF4-FFF2-40B4-BE49-F238E27FC236}">
                  <a16:creationId xmlns:a16="http://schemas.microsoft.com/office/drawing/2014/main" id="{2692538B-94DF-5818-4255-13F40A8A1C64}"/>
                </a:ext>
              </a:extLst>
            </p:cNvPr>
            <p:cNvSpPr/>
            <p:nvPr/>
          </p:nvSpPr>
          <p:spPr>
            <a:xfrm>
              <a:off x="2922100" y="4060850"/>
              <a:ext cx="28375" cy="39000"/>
            </a:xfrm>
            <a:custGeom>
              <a:avLst/>
              <a:gdLst/>
              <a:ahLst/>
              <a:cxnLst/>
              <a:rect l="l" t="t" r="r" b="b"/>
              <a:pathLst>
                <a:path w="1135" h="1560" extrusionOk="0">
                  <a:moveTo>
                    <a:pt x="284" y="0"/>
                  </a:moveTo>
                  <a:lnTo>
                    <a:pt x="142" y="71"/>
                  </a:lnTo>
                  <a:lnTo>
                    <a:pt x="71" y="284"/>
                  </a:lnTo>
                  <a:lnTo>
                    <a:pt x="0" y="567"/>
                  </a:lnTo>
                  <a:lnTo>
                    <a:pt x="71" y="851"/>
                  </a:lnTo>
                  <a:lnTo>
                    <a:pt x="426" y="1205"/>
                  </a:lnTo>
                  <a:lnTo>
                    <a:pt x="780" y="1418"/>
                  </a:lnTo>
                  <a:lnTo>
                    <a:pt x="1134" y="1560"/>
                  </a:lnTo>
                  <a:lnTo>
                    <a:pt x="1064" y="993"/>
                  </a:lnTo>
                  <a:lnTo>
                    <a:pt x="1064" y="213"/>
                  </a:lnTo>
                  <a:lnTo>
                    <a:pt x="922" y="142"/>
                  </a:lnTo>
                  <a:lnTo>
                    <a:pt x="780" y="71"/>
                  </a:lnTo>
                  <a:lnTo>
                    <a:pt x="426" y="71"/>
                  </a:lnTo>
                  <a:lnTo>
                    <a:pt x="355" y="0"/>
                  </a:lnTo>
                  <a:close/>
                </a:path>
              </a:pathLst>
            </a:custGeom>
            <a:solidFill>
              <a:srgbClr val="A67A8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09" name="Google Shape;21507;p90">
              <a:extLst>
                <a:ext uri="{FF2B5EF4-FFF2-40B4-BE49-F238E27FC236}">
                  <a16:creationId xmlns:a16="http://schemas.microsoft.com/office/drawing/2014/main" id="{D00A52FB-2B6F-F2E4-3F2B-21D93D3E32A0}"/>
                </a:ext>
              </a:extLst>
            </p:cNvPr>
            <p:cNvSpPr/>
            <p:nvPr/>
          </p:nvSpPr>
          <p:spPr>
            <a:xfrm>
              <a:off x="2922100" y="4060850"/>
              <a:ext cx="28375" cy="39000"/>
            </a:xfrm>
            <a:custGeom>
              <a:avLst/>
              <a:gdLst/>
              <a:ahLst/>
              <a:cxnLst/>
              <a:rect l="l" t="t" r="r" b="b"/>
              <a:pathLst>
                <a:path w="1135" h="1560" fill="none" extrusionOk="0">
                  <a:moveTo>
                    <a:pt x="284" y="0"/>
                  </a:moveTo>
                  <a:lnTo>
                    <a:pt x="284" y="0"/>
                  </a:lnTo>
                  <a:lnTo>
                    <a:pt x="142" y="71"/>
                  </a:lnTo>
                  <a:lnTo>
                    <a:pt x="71" y="284"/>
                  </a:lnTo>
                  <a:lnTo>
                    <a:pt x="0" y="567"/>
                  </a:lnTo>
                  <a:lnTo>
                    <a:pt x="71" y="851"/>
                  </a:lnTo>
                  <a:lnTo>
                    <a:pt x="71" y="851"/>
                  </a:lnTo>
                  <a:lnTo>
                    <a:pt x="426" y="1205"/>
                  </a:lnTo>
                  <a:lnTo>
                    <a:pt x="780" y="1418"/>
                  </a:lnTo>
                  <a:lnTo>
                    <a:pt x="1134" y="1560"/>
                  </a:lnTo>
                  <a:lnTo>
                    <a:pt x="1134" y="1560"/>
                  </a:lnTo>
                  <a:lnTo>
                    <a:pt x="1064" y="993"/>
                  </a:lnTo>
                  <a:lnTo>
                    <a:pt x="1064" y="213"/>
                  </a:lnTo>
                  <a:lnTo>
                    <a:pt x="1064" y="213"/>
                  </a:lnTo>
                  <a:lnTo>
                    <a:pt x="1064" y="213"/>
                  </a:lnTo>
                  <a:lnTo>
                    <a:pt x="1064" y="213"/>
                  </a:lnTo>
                  <a:lnTo>
                    <a:pt x="922" y="142"/>
                  </a:lnTo>
                  <a:lnTo>
                    <a:pt x="780" y="71"/>
                  </a:lnTo>
                  <a:lnTo>
                    <a:pt x="780" y="71"/>
                  </a:lnTo>
                  <a:lnTo>
                    <a:pt x="780" y="71"/>
                  </a:lnTo>
                  <a:lnTo>
                    <a:pt x="780" y="71"/>
                  </a:lnTo>
                  <a:lnTo>
                    <a:pt x="638" y="71"/>
                  </a:lnTo>
                  <a:lnTo>
                    <a:pt x="638" y="71"/>
                  </a:lnTo>
                  <a:lnTo>
                    <a:pt x="567" y="71"/>
                  </a:lnTo>
                  <a:lnTo>
                    <a:pt x="567" y="71"/>
                  </a:lnTo>
                  <a:lnTo>
                    <a:pt x="426" y="71"/>
                  </a:lnTo>
                  <a:lnTo>
                    <a:pt x="355" y="0"/>
                  </a:lnTo>
                  <a:lnTo>
                    <a:pt x="355" y="0"/>
                  </a:lnTo>
                  <a:lnTo>
                    <a:pt x="284"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10" name="Google Shape;21508;p90">
              <a:extLst>
                <a:ext uri="{FF2B5EF4-FFF2-40B4-BE49-F238E27FC236}">
                  <a16:creationId xmlns:a16="http://schemas.microsoft.com/office/drawing/2014/main" id="{63A7D059-8D71-C5F8-2E56-CA17D06D0657}"/>
                </a:ext>
              </a:extLst>
            </p:cNvPr>
            <p:cNvSpPr/>
            <p:nvPr/>
          </p:nvSpPr>
          <p:spPr>
            <a:xfrm>
              <a:off x="2656250" y="4518075"/>
              <a:ext cx="281825" cy="549425"/>
            </a:xfrm>
            <a:custGeom>
              <a:avLst/>
              <a:gdLst/>
              <a:ahLst/>
              <a:cxnLst/>
              <a:rect l="l" t="t" r="r" b="b"/>
              <a:pathLst>
                <a:path w="11273" h="21977" extrusionOk="0">
                  <a:moveTo>
                    <a:pt x="9146" y="1"/>
                  </a:moveTo>
                  <a:lnTo>
                    <a:pt x="9075" y="72"/>
                  </a:lnTo>
                  <a:lnTo>
                    <a:pt x="8366" y="1064"/>
                  </a:lnTo>
                  <a:lnTo>
                    <a:pt x="7799" y="2127"/>
                  </a:lnTo>
                  <a:lnTo>
                    <a:pt x="7302" y="3191"/>
                  </a:lnTo>
                  <a:lnTo>
                    <a:pt x="6877" y="4325"/>
                  </a:lnTo>
                  <a:lnTo>
                    <a:pt x="6594" y="5530"/>
                  </a:lnTo>
                  <a:lnTo>
                    <a:pt x="6239" y="6664"/>
                  </a:lnTo>
                  <a:lnTo>
                    <a:pt x="5672" y="9075"/>
                  </a:lnTo>
                  <a:lnTo>
                    <a:pt x="5388" y="10351"/>
                  </a:lnTo>
                  <a:lnTo>
                    <a:pt x="5034" y="11556"/>
                  </a:lnTo>
                  <a:lnTo>
                    <a:pt x="4538" y="12832"/>
                  </a:lnTo>
                  <a:lnTo>
                    <a:pt x="3971" y="14108"/>
                  </a:lnTo>
                  <a:lnTo>
                    <a:pt x="3333" y="15455"/>
                  </a:lnTo>
                  <a:lnTo>
                    <a:pt x="2482" y="16731"/>
                  </a:lnTo>
                  <a:lnTo>
                    <a:pt x="1489" y="18007"/>
                  </a:lnTo>
                  <a:lnTo>
                    <a:pt x="355" y="19283"/>
                  </a:lnTo>
                  <a:lnTo>
                    <a:pt x="1" y="19637"/>
                  </a:lnTo>
                  <a:lnTo>
                    <a:pt x="213" y="19921"/>
                  </a:lnTo>
                  <a:lnTo>
                    <a:pt x="497" y="20133"/>
                  </a:lnTo>
                  <a:lnTo>
                    <a:pt x="851" y="20346"/>
                  </a:lnTo>
                  <a:lnTo>
                    <a:pt x="1206" y="20488"/>
                  </a:lnTo>
                  <a:lnTo>
                    <a:pt x="2057" y="20700"/>
                  </a:lnTo>
                  <a:lnTo>
                    <a:pt x="2907" y="20842"/>
                  </a:lnTo>
                  <a:lnTo>
                    <a:pt x="4750" y="21055"/>
                  </a:lnTo>
                  <a:lnTo>
                    <a:pt x="5530" y="21197"/>
                  </a:lnTo>
                  <a:lnTo>
                    <a:pt x="5814" y="21338"/>
                  </a:lnTo>
                  <a:lnTo>
                    <a:pt x="6097" y="21480"/>
                  </a:lnTo>
                  <a:lnTo>
                    <a:pt x="6523" y="21693"/>
                  </a:lnTo>
                  <a:lnTo>
                    <a:pt x="7161" y="21976"/>
                  </a:lnTo>
                  <a:lnTo>
                    <a:pt x="7728" y="20913"/>
                  </a:lnTo>
                  <a:lnTo>
                    <a:pt x="8224" y="19779"/>
                  </a:lnTo>
                  <a:lnTo>
                    <a:pt x="8720" y="18574"/>
                  </a:lnTo>
                  <a:lnTo>
                    <a:pt x="9146" y="17298"/>
                  </a:lnTo>
                  <a:lnTo>
                    <a:pt x="9571" y="16022"/>
                  </a:lnTo>
                  <a:lnTo>
                    <a:pt x="9925" y="14604"/>
                  </a:lnTo>
                  <a:lnTo>
                    <a:pt x="10209" y="13257"/>
                  </a:lnTo>
                  <a:lnTo>
                    <a:pt x="10492" y="11839"/>
                  </a:lnTo>
                  <a:lnTo>
                    <a:pt x="10918" y="9004"/>
                  </a:lnTo>
                  <a:lnTo>
                    <a:pt x="11201" y="6168"/>
                  </a:lnTo>
                  <a:lnTo>
                    <a:pt x="11272" y="3474"/>
                  </a:lnTo>
                  <a:lnTo>
                    <a:pt x="11272" y="993"/>
                  </a:lnTo>
                  <a:lnTo>
                    <a:pt x="11201" y="213"/>
                  </a:lnTo>
                  <a:lnTo>
                    <a:pt x="10847" y="213"/>
                  </a:lnTo>
                  <a:lnTo>
                    <a:pt x="9784" y="142"/>
                  </a:lnTo>
                  <a:lnTo>
                    <a:pt x="9358" y="72"/>
                  </a:lnTo>
                  <a:lnTo>
                    <a:pt x="9146" y="1"/>
                  </a:lnTo>
                  <a:close/>
                </a:path>
              </a:pathLst>
            </a:custGeom>
            <a:solidFill>
              <a:srgbClr val="3F3F4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11" name="Google Shape;21509;p90">
              <a:extLst>
                <a:ext uri="{FF2B5EF4-FFF2-40B4-BE49-F238E27FC236}">
                  <a16:creationId xmlns:a16="http://schemas.microsoft.com/office/drawing/2014/main" id="{E22AC4DA-E867-93C9-E905-A6C9138DB35D}"/>
                </a:ext>
              </a:extLst>
            </p:cNvPr>
            <p:cNvSpPr/>
            <p:nvPr/>
          </p:nvSpPr>
          <p:spPr>
            <a:xfrm>
              <a:off x="2656250" y="4518075"/>
              <a:ext cx="281825" cy="549425"/>
            </a:xfrm>
            <a:custGeom>
              <a:avLst/>
              <a:gdLst/>
              <a:ahLst/>
              <a:cxnLst/>
              <a:rect l="l" t="t" r="r" b="b"/>
              <a:pathLst>
                <a:path w="11273" h="21977" fill="none" extrusionOk="0">
                  <a:moveTo>
                    <a:pt x="9146" y="1"/>
                  </a:moveTo>
                  <a:lnTo>
                    <a:pt x="9146" y="1"/>
                  </a:lnTo>
                  <a:lnTo>
                    <a:pt x="9075" y="72"/>
                  </a:lnTo>
                  <a:lnTo>
                    <a:pt x="9075" y="72"/>
                  </a:lnTo>
                  <a:lnTo>
                    <a:pt x="8366" y="1064"/>
                  </a:lnTo>
                  <a:lnTo>
                    <a:pt x="7799" y="2127"/>
                  </a:lnTo>
                  <a:lnTo>
                    <a:pt x="7302" y="3191"/>
                  </a:lnTo>
                  <a:lnTo>
                    <a:pt x="6877" y="4325"/>
                  </a:lnTo>
                  <a:lnTo>
                    <a:pt x="6594" y="5530"/>
                  </a:lnTo>
                  <a:lnTo>
                    <a:pt x="6239" y="6664"/>
                  </a:lnTo>
                  <a:lnTo>
                    <a:pt x="5672" y="9075"/>
                  </a:lnTo>
                  <a:lnTo>
                    <a:pt x="5388" y="10351"/>
                  </a:lnTo>
                  <a:lnTo>
                    <a:pt x="5034" y="11556"/>
                  </a:lnTo>
                  <a:lnTo>
                    <a:pt x="4538" y="12832"/>
                  </a:lnTo>
                  <a:lnTo>
                    <a:pt x="3971" y="14108"/>
                  </a:lnTo>
                  <a:lnTo>
                    <a:pt x="3333" y="15455"/>
                  </a:lnTo>
                  <a:lnTo>
                    <a:pt x="2482" y="16731"/>
                  </a:lnTo>
                  <a:lnTo>
                    <a:pt x="1489" y="18007"/>
                  </a:lnTo>
                  <a:lnTo>
                    <a:pt x="355" y="19283"/>
                  </a:lnTo>
                  <a:lnTo>
                    <a:pt x="355" y="19283"/>
                  </a:lnTo>
                  <a:lnTo>
                    <a:pt x="1" y="19637"/>
                  </a:lnTo>
                  <a:lnTo>
                    <a:pt x="1" y="19637"/>
                  </a:lnTo>
                  <a:lnTo>
                    <a:pt x="213" y="19921"/>
                  </a:lnTo>
                  <a:lnTo>
                    <a:pt x="497" y="20133"/>
                  </a:lnTo>
                  <a:lnTo>
                    <a:pt x="851" y="20346"/>
                  </a:lnTo>
                  <a:lnTo>
                    <a:pt x="1206" y="20488"/>
                  </a:lnTo>
                  <a:lnTo>
                    <a:pt x="2057" y="20700"/>
                  </a:lnTo>
                  <a:lnTo>
                    <a:pt x="2907" y="20842"/>
                  </a:lnTo>
                  <a:lnTo>
                    <a:pt x="4750" y="21055"/>
                  </a:lnTo>
                  <a:lnTo>
                    <a:pt x="5530" y="21197"/>
                  </a:lnTo>
                  <a:lnTo>
                    <a:pt x="5814" y="21338"/>
                  </a:lnTo>
                  <a:lnTo>
                    <a:pt x="6097" y="21480"/>
                  </a:lnTo>
                  <a:lnTo>
                    <a:pt x="6097" y="21480"/>
                  </a:lnTo>
                  <a:lnTo>
                    <a:pt x="6523" y="21693"/>
                  </a:lnTo>
                  <a:lnTo>
                    <a:pt x="7161" y="21976"/>
                  </a:lnTo>
                  <a:lnTo>
                    <a:pt x="7161" y="21976"/>
                  </a:lnTo>
                  <a:lnTo>
                    <a:pt x="7728" y="20913"/>
                  </a:lnTo>
                  <a:lnTo>
                    <a:pt x="8224" y="19779"/>
                  </a:lnTo>
                  <a:lnTo>
                    <a:pt x="8720" y="18574"/>
                  </a:lnTo>
                  <a:lnTo>
                    <a:pt x="9146" y="17298"/>
                  </a:lnTo>
                  <a:lnTo>
                    <a:pt x="9571" y="16022"/>
                  </a:lnTo>
                  <a:lnTo>
                    <a:pt x="9925" y="14604"/>
                  </a:lnTo>
                  <a:lnTo>
                    <a:pt x="10209" y="13257"/>
                  </a:lnTo>
                  <a:lnTo>
                    <a:pt x="10492" y="11839"/>
                  </a:lnTo>
                  <a:lnTo>
                    <a:pt x="10918" y="9004"/>
                  </a:lnTo>
                  <a:lnTo>
                    <a:pt x="11201" y="6168"/>
                  </a:lnTo>
                  <a:lnTo>
                    <a:pt x="11272" y="3474"/>
                  </a:lnTo>
                  <a:lnTo>
                    <a:pt x="11272" y="993"/>
                  </a:lnTo>
                  <a:lnTo>
                    <a:pt x="11272" y="993"/>
                  </a:lnTo>
                  <a:lnTo>
                    <a:pt x="11201" y="213"/>
                  </a:lnTo>
                  <a:lnTo>
                    <a:pt x="11201" y="213"/>
                  </a:lnTo>
                  <a:lnTo>
                    <a:pt x="11201" y="213"/>
                  </a:lnTo>
                  <a:lnTo>
                    <a:pt x="10847" y="213"/>
                  </a:lnTo>
                  <a:lnTo>
                    <a:pt x="10847" y="213"/>
                  </a:lnTo>
                  <a:lnTo>
                    <a:pt x="9784" y="142"/>
                  </a:lnTo>
                  <a:lnTo>
                    <a:pt x="9358" y="72"/>
                  </a:lnTo>
                  <a:lnTo>
                    <a:pt x="9146"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12" name="Google Shape;21510;p90">
              <a:extLst>
                <a:ext uri="{FF2B5EF4-FFF2-40B4-BE49-F238E27FC236}">
                  <a16:creationId xmlns:a16="http://schemas.microsoft.com/office/drawing/2014/main" id="{C524927E-7004-C7C9-3E42-5F8843327811}"/>
                </a:ext>
              </a:extLst>
            </p:cNvPr>
            <p:cNvSpPr/>
            <p:nvPr/>
          </p:nvSpPr>
          <p:spPr>
            <a:xfrm>
              <a:off x="2883100" y="4417050"/>
              <a:ext cx="53200" cy="106375"/>
            </a:xfrm>
            <a:custGeom>
              <a:avLst/>
              <a:gdLst/>
              <a:ahLst/>
              <a:cxnLst/>
              <a:rect l="l" t="t" r="r" b="b"/>
              <a:pathLst>
                <a:path w="2128" h="4255" extrusionOk="0">
                  <a:moveTo>
                    <a:pt x="1206" y="1"/>
                  </a:moveTo>
                  <a:lnTo>
                    <a:pt x="1206" y="497"/>
                  </a:lnTo>
                  <a:lnTo>
                    <a:pt x="1135" y="993"/>
                  </a:lnTo>
                  <a:lnTo>
                    <a:pt x="851" y="1844"/>
                  </a:lnTo>
                  <a:lnTo>
                    <a:pt x="568" y="2695"/>
                  </a:lnTo>
                  <a:lnTo>
                    <a:pt x="213" y="3475"/>
                  </a:lnTo>
                  <a:lnTo>
                    <a:pt x="1" y="3900"/>
                  </a:lnTo>
                  <a:lnTo>
                    <a:pt x="1" y="3971"/>
                  </a:lnTo>
                  <a:lnTo>
                    <a:pt x="72" y="4042"/>
                  </a:lnTo>
                  <a:lnTo>
                    <a:pt x="284" y="4113"/>
                  </a:lnTo>
                  <a:lnTo>
                    <a:pt x="710" y="4183"/>
                  </a:lnTo>
                  <a:lnTo>
                    <a:pt x="1773" y="4254"/>
                  </a:lnTo>
                  <a:lnTo>
                    <a:pt x="2127" y="4254"/>
                  </a:lnTo>
                  <a:lnTo>
                    <a:pt x="1702" y="2057"/>
                  </a:lnTo>
                  <a:lnTo>
                    <a:pt x="1206" y="1"/>
                  </a:lnTo>
                  <a:close/>
                </a:path>
              </a:pathLst>
            </a:custGeom>
            <a:solidFill>
              <a:srgbClr val="B3352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13" name="Google Shape;21511;p90">
              <a:extLst>
                <a:ext uri="{FF2B5EF4-FFF2-40B4-BE49-F238E27FC236}">
                  <a16:creationId xmlns:a16="http://schemas.microsoft.com/office/drawing/2014/main" id="{58D49FAA-C531-D31E-8002-BF9138AD0883}"/>
                </a:ext>
              </a:extLst>
            </p:cNvPr>
            <p:cNvSpPr/>
            <p:nvPr/>
          </p:nvSpPr>
          <p:spPr>
            <a:xfrm>
              <a:off x="2883100" y="4417050"/>
              <a:ext cx="53200" cy="106375"/>
            </a:xfrm>
            <a:custGeom>
              <a:avLst/>
              <a:gdLst/>
              <a:ahLst/>
              <a:cxnLst/>
              <a:rect l="l" t="t" r="r" b="b"/>
              <a:pathLst>
                <a:path w="2128" h="4255" fill="none" extrusionOk="0">
                  <a:moveTo>
                    <a:pt x="1206" y="1"/>
                  </a:moveTo>
                  <a:lnTo>
                    <a:pt x="1206" y="1"/>
                  </a:lnTo>
                  <a:lnTo>
                    <a:pt x="1206" y="1"/>
                  </a:lnTo>
                  <a:lnTo>
                    <a:pt x="1206" y="1"/>
                  </a:lnTo>
                  <a:lnTo>
                    <a:pt x="1206" y="497"/>
                  </a:lnTo>
                  <a:lnTo>
                    <a:pt x="1135" y="993"/>
                  </a:lnTo>
                  <a:lnTo>
                    <a:pt x="851" y="1844"/>
                  </a:lnTo>
                  <a:lnTo>
                    <a:pt x="568" y="2695"/>
                  </a:lnTo>
                  <a:lnTo>
                    <a:pt x="213" y="3475"/>
                  </a:lnTo>
                  <a:lnTo>
                    <a:pt x="1" y="3900"/>
                  </a:lnTo>
                  <a:lnTo>
                    <a:pt x="1" y="3900"/>
                  </a:lnTo>
                  <a:lnTo>
                    <a:pt x="1" y="3971"/>
                  </a:lnTo>
                  <a:lnTo>
                    <a:pt x="1" y="3971"/>
                  </a:lnTo>
                  <a:lnTo>
                    <a:pt x="72" y="4042"/>
                  </a:lnTo>
                  <a:lnTo>
                    <a:pt x="72" y="4042"/>
                  </a:lnTo>
                  <a:lnTo>
                    <a:pt x="72" y="4042"/>
                  </a:lnTo>
                  <a:lnTo>
                    <a:pt x="72" y="4042"/>
                  </a:lnTo>
                  <a:lnTo>
                    <a:pt x="72" y="4042"/>
                  </a:lnTo>
                  <a:lnTo>
                    <a:pt x="284" y="4113"/>
                  </a:lnTo>
                  <a:lnTo>
                    <a:pt x="710" y="4183"/>
                  </a:lnTo>
                  <a:lnTo>
                    <a:pt x="1773" y="4254"/>
                  </a:lnTo>
                  <a:lnTo>
                    <a:pt x="1773" y="4254"/>
                  </a:lnTo>
                  <a:lnTo>
                    <a:pt x="2127" y="4254"/>
                  </a:lnTo>
                  <a:lnTo>
                    <a:pt x="2127" y="4254"/>
                  </a:lnTo>
                  <a:lnTo>
                    <a:pt x="2127" y="4254"/>
                  </a:lnTo>
                  <a:lnTo>
                    <a:pt x="2127" y="4254"/>
                  </a:lnTo>
                  <a:lnTo>
                    <a:pt x="1702" y="2057"/>
                  </a:lnTo>
                  <a:lnTo>
                    <a:pt x="1702" y="2057"/>
                  </a:lnTo>
                  <a:lnTo>
                    <a:pt x="1206"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14" name="Google Shape;21512;p90">
              <a:extLst>
                <a:ext uri="{FF2B5EF4-FFF2-40B4-BE49-F238E27FC236}">
                  <a16:creationId xmlns:a16="http://schemas.microsoft.com/office/drawing/2014/main" id="{05C1EE1F-3FB1-58A6-2C63-F01F6CCD8384}"/>
                </a:ext>
              </a:extLst>
            </p:cNvPr>
            <p:cNvSpPr/>
            <p:nvPr/>
          </p:nvSpPr>
          <p:spPr>
            <a:xfrm>
              <a:off x="2868925" y="3975775"/>
              <a:ext cx="118775" cy="95725"/>
            </a:xfrm>
            <a:custGeom>
              <a:avLst/>
              <a:gdLst/>
              <a:ahLst/>
              <a:cxnLst/>
              <a:rect l="l" t="t" r="r" b="b"/>
              <a:pathLst>
                <a:path w="4751" h="3829" extrusionOk="0">
                  <a:moveTo>
                    <a:pt x="2482" y="0"/>
                  </a:moveTo>
                  <a:lnTo>
                    <a:pt x="1" y="1135"/>
                  </a:lnTo>
                  <a:lnTo>
                    <a:pt x="1206" y="2907"/>
                  </a:lnTo>
                  <a:lnTo>
                    <a:pt x="1489" y="3261"/>
                  </a:lnTo>
                  <a:lnTo>
                    <a:pt x="1773" y="3545"/>
                  </a:lnTo>
                  <a:lnTo>
                    <a:pt x="2198" y="3687"/>
                  </a:lnTo>
                  <a:lnTo>
                    <a:pt x="2553" y="3828"/>
                  </a:lnTo>
                  <a:lnTo>
                    <a:pt x="3403" y="3828"/>
                  </a:lnTo>
                  <a:lnTo>
                    <a:pt x="3900" y="3758"/>
                  </a:lnTo>
                  <a:lnTo>
                    <a:pt x="4325" y="3687"/>
                  </a:lnTo>
                  <a:lnTo>
                    <a:pt x="4538" y="3616"/>
                  </a:lnTo>
                  <a:lnTo>
                    <a:pt x="4608" y="3474"/>
                  </a:lnTo>
                  <a:lnTo>
                    <a:pt x="4679" y="3332"/>
                  </a:lnTo>
                  <a:lnTo>
                    <a:pt x="4750" y="3190"/>
                  </a:lnTo>
                  <a:lnTo>
                    <a:pt x="4679" y="2836"/>
                  </a:lnTo>
                  <a:lnTo>
                    <a:pt x="4467" y="2482"/>
                  </a:lnTo>
                  <a:lnTo>
                    <a:pt x="4041" y="1702"/>
                  </a:lnTo>
                  <a:lnTo>
                    <a:pt x="3900" y="1489"/>
                  </a:lnTo>
                  <a:lnTo>
                    <a:pt x="3900" y="1347"/>
                  </a:lnTo>
                  <a:lnTo>
                    <a:pt x="3900" y="1276"/>
                  </a:lnTo>
                  <a:lnTo>
                    <a:pt x="3970" y="1206"/>
                  </a:lnTo>
                  <a:lnTo>
                    <a:pt x="3970" y="1064"/>
                  </a:lnTo>
                  <a:lnTo>
                    <a:pt x="3687" y="851"/>
                  </a:lnTo>
                  <a:lnTo>
                    <a:pt x="3120" y="497"/>
                  </a:lnTo>
                  <a:lnTo>
                    <a:pt x="2482" y="0"/>
                  </a:lnTo>
                  <a:close/>
                </a:path>
              </a:pathLst>
            </a:custGeom>
            <a:solidFill>
              <a:srgbClr val="F5B2B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15" name="Google Shape;21513;p90">
              <a:extLst>
                <a:ext uri="{FF2B5EF4-FFF2-40B4-BE49-F238E27FC236}">
                  <a16:creationId xmlns:a16="http://schemas.microsoft.com/office/drawing/2014/main" id="{D9B0160D-46A6-68C6-711D-B1EAB7DDB689}"/>
                </a:ext>
              </a:extLst>
            </p:cNvPr>
            <p:cNvSpPr/>
            <p:nvPr/>
          </p:nvSpPr>
          <p:spPr>
            <a:xfrm>
              <a:off x="2665125" y="3949200"/>
              <a:ext cx="272950" cy="290650"/>
            </a:xfrm>
            <a:custGeom>
              <a:avLst/>
              <a:gdLst/>
              <a:ahLst/>
              <a:cxnLst/>
              <a:rect l="l" t="t" r="r" b="b"/>
              <a:pathLst>
                <a:path w="10918" h="11626" extrusionOk="0">
                  <a:moveTo>
                    <a:pt x="9074" y="0"/>
                  </a:moveTo>
                  <a:lnTo>
                    <a:pt x="8649" y="71"/>
                  </a:lnTo>
                  <a:lnTo>
                    <a:pt x="8153" y="142"/>
                  </a:lnTo>
                  <a:lnTo>
                    <a:pt x="7656" y="355"/>
                  </a:lnTo>
                  <a:lnTo>
                    <a:pt x="7231" y="496"/>
                  </a:lnTo>
                  <a:lnTo>
                    <a:pt x="6947" y="780"/>
                  </a:lnTo>
                  <a:lnTo>
                    <a:pt x="6664" y="1063"/>
                  </a:lnTo>
                  <a:lnTo>
                    <a:pt x="6451" y="1347"/>
                  </a:lnTo>
                  <a:lnTo>
                    <a:pt x="6309" y="1701"/>
                  </a:lnTo>
                  <a:lnTo>
                    <a:pt x="6168" y="2056"/>
                  </a:lnTo>
                  <a:lnTo>
                    <a:pt x="6026" y="2836"/>
                  </a:lnTo>
                  <a:lnTo>
                    <a:pt x="5884" y="3615"/>
                  </a:lnTo>
                  <a:lnTo>
                    <a:pt x="5884" y="4253"/>
                  </a:lnTo>
                  <a:lnTo>
                    <a:pt x="5813" y="4821"/>
                  </a:lnTo>
                  <a:lnTo>
                    <a:pt x="5671" y="5104"/>
                  </a:lnTo>
                  <a:lnTo>
                    <a:pt x="5530" y="5246"/>
                  </a:lnTo>
                  <a:lnTo>
                    <a:pt x="5317" y="5388"/>
                  </a:lnTo>
                  <a:lnTo>
                    <a:pt x="4963" y="5529"/>
                  </a:lnTo>
                  <a:lnTo>
                    <a:pt x="4254" y="5671"/>
                  </a:lnTo>
                  <a:lnTo>
                    <a:pt x="3261" y="6167"/>
                  </a:lnTo>
                  <a:lnTo>
                    <a:pt x="2765" y="6451"/>
                  </a:lnTo>
                  <a:lnTo>
                    <a:pt x="2623" y="6664"/>
                  </a:lnTo>
                  <a:lnTo>
                    <a:pt x="2481" y="6805"/>
                  </a:lnTo>
                  <a:lnTo>
                    <a:pt x="2411" y="7160"/>
                  </a:lnTo>
                  <a:lnTo>
                    <a:pt x="2411" y="7514"/>
                  </a:lnTo>
                  <a:lnTo>
                    <a:pt x="2552" y="8082"/>
                  </a:lnTo>
                  <a:lnTo>
                    <a:pt x="2552" y="8365"/>
                  </a:lnTo>
                  <a:lnTo>
                    <a:pt x="2481" y="8578"/>
                  </a:lnTo>
                  <a:lnTo>
                    <a:pt x="2269" y="8720"/>
                  </a:lnTo>
                  <a:lnTo>
                    <a:pt x="2127" y="8790"/>
                  </a:lnTo>
                  <a:lnTo>
                    <a:pt x="1772" y="8861"/>
                  </a:lnTo>
                  <a:lnTo>
                    <a:pt x="1418" y="8932"/>
                  </a:lnTo>
                  <a:lnTo>
                    <a:pt x="1205" y="9003"/>
                  </a:lnTo>
                  <a:lnTo>
                    <a:pt x="993" y="9216"/>
                  </a:lnTo>
                  <a:lnTo>
                    <a:pt x="567" y="9641"/>
                  </a:lnTo>
                  <a:lnTo>
                    <a:pt x="213" y="10279"/>
                  </a:lnTo>
                  <a:lnTo>
                    <a:pt x="0" y="10775"/>
                  </a:lnTo>
                  <a:lnTo>
                    <a:pt x="0" y="11059"/>
                  </a:lnTo>
                  <a:lnTo>
                    <a:pt x="71" y="11201"/>
                  </a:lnTo>
                  <a:lnTo>
                    <a:pt x="284" y="11413"/>
                  </a:lnTo>
                  <a:lnTo>
                    <a:pt x="638" y="11555"/>
                  </a:lnTo>
                  <a:lnTo>
                    <a:pt x="1064" y="11626"/>
                  </a:lnTo>
                  <a:lnTo>
                    <a:pt x="1631" y="11626"/>
                  </a:lnTo>
                  <a:lnTo>
                    <a:pt x="2269" y="11555"/>
                  </a:lnTo>
                  <a:lnTo>
                    <a:pt x="2978" y="11484"/>
                  </a:lnTo>
                  <a:lnTo>
                    <a:pt x="3687" y="11272"/>
                  </a:lnTo>
                  <a:lnTo>
                    <a:pt x="4537" y="11059"/>
                  </a:lnTo>
                  <a:lnTo>
                    <a:pt x="5317" y="10775"/>
                  </a:lnTo>
                  <a:lnTo>
                    <a:pt x="6097" y="10421"/>
                  </a:lnTo>
                  <a:lnTo>
                    <a:pt x="6877" y="9996"/>
                  </a:lnTo>
                  <a:lnTo>
                    <a:pt x="7656" y="9499"/>
                  </a:lnTo>
                  <a:lnTo>
                    <a:pt x="8294" y="9003"/>
                  </a:lnTo>
                  <a:lnTo>
                    <a:pt x="8861" y="8507"/>
                  </a:lnTo>
                  <a:lnTo>
                    <a:pt x="9287" y="8082"/>
                  </a:lnTo>
                  <a:lnTo>
                    <a:pt x="9570" y="7656"/>
                  </a:lnTo>
                  <a:lnTo>
                    <a:pt x="9854" y="7302"/>
                  </a:lnTo>
                  <a:lnTo>
                    <a:pt x="9996" y="6947"/>
                  </a:lnTo>
                  <a:lnTo>
                    <a:pt x="10137" y="6593"/>
                  </a:lnTo>
                  <a:lnTo>
                    <a:pt x="10208" y="6309"/>
                  </a:lnTo>
                  <a:lnTo>
                    <a:pt x="10137" y="5742"/>
                  </a:lnTo>
                  <a:lnTo>
                    <a:pt x="10067" y="5317"/>
                  </a:lnTo>
                  <a:lnTo>
                    <a:pt x="9925" y="4891"/>
                  </a:lnTo>
                  <a:lnTo>
                    <a:pt x="9925" y="4537"/>
                  </a:lnTo>
                  <a:lnTo>
                    <a:pt x="9925" y="4324"/>
                  </a:lnTo>
                  <a:lnTo>
                    <a:pt x="9925" y="4183"/>
                  </a:lnTo>
                  <a:lnTo>
                    <a:pt x="9783" y="3970"/>
                  </a:lnTo>
                  <a:lnTo>
                    <a:pt x="9712" y="3828"/>
                  </a:lnTo>
                  <a:lnTo>
                    <a:pt x="9216" y="3545"/>
                  </a:lnTo>
                  <a:lnTo>
                    <a:pt x="9145" y="3332"/>
                  </a:lnTo>
                  <a:lnTo>
                    <a:pt x="9145" y="3261"/>
                  </a:lnTo>
                  <a:lnTo>
                    <a:pt x="9145" y="3119"/>
                  </a:lnTo>
                  <a:lnTo>
                    <a:pt x="9287" y="2977"/>
                  </a:lnTo>
                  <a:lnTo>
                    <a:pt x="9499" y="2907"/>
                  </a:lnTo>
                  <a:lnTo>
                    <a:pt x="9641" y="2836"/>
                  </a:lnTo>
                  <a:lnTo>
                    <a:pt x="9783" y="2907"/>
                  </a:lnTo>
                  <a:lnTo>
                    <a:pt x="9925" y="2977"/>
                  </a:lnTo>
                  <a:lnTo>
                    <a:pt x="10137" y="2907"/>
                  </a:lnTo>
                  <a:lnTo>
                    <a:pt x="10279" y="2836"/>
                  </a:lnTo>
                  <a:lnTo>
                    <a:pt x="10350" y="2694"/>
                  </a:lnTo>
                  <a:lnTo>
                    <a:pt x="10634" y="2127"/>
                  </a:lnTo>
                  <a:lnTo>
                    <a:pt x="10846" y="1631"/>
                  </a:lnTo>
                  <a:lnTo>
                    <a:pt x="10917" y="1134"/>
                  </a:lnTo>
                  <a:lnTo>
                    <a:pt x="10917" y="993"/>
                  </a:lnTo>
                  <a:lnTo>
                    <a:pt x="10775" y="780"/>
                  </a:lnTo>
                  <a:lnTo>
                    <a:pt x="10421" y="425"/>
                  </a:lnTo>
                  <a:lnTo>
                    <a:pt x="9996" y="213"/>
                  </a:lnTo>
                  <a:lnTo>
                    <a:pt x="9783" y="142"/>
                  </a:lnTo>
                  <a:lnTo>
                    <a:pt x="9429" y="71"/>
                  </a:lnTo>
                  <a:lnTo>
                    <a:pt x="9074" y="0"/>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16" name="Google Shape;21514;p90">
              <a:extLst>
                <a:ext uri="{FF2B5EF4-FFF2-40B4-BE49-F238E27FC236}">
                  <a16:creationId xmlns:a16="http://schemas.microsoft.com/office/drawing/2014/main" id="{E291192F-3EDD-6756-7A56-81F03B9054E7}"/>
                </a:ext>
              </a:extLst>
            </p:cNvPr>
            <p:cNvSpPr/>
            <p:nvPr/>
          </p:nvSpPr>
          <p:spPr>
            <a:xfrm>
              <a:off x="3081600" y="4277050"/>
              <a:ext cx="25" cy="25"/>
            </a:xfrm>
            <a:custGeom>
              <a:avLst/>
              <a:gdLst/>
              <a:ahLst/>
              <a:cxnLst/>
              <a:rect l="l" t="t" r="r" b="b"/>
              <a:pathLst>
                <a:path w="1" h="1" extrusionOk="0">
                  <a:moveTo>
                    <a:pt x="0" y="1"/>
                  </a:moveTo>
                  <a:lnTo>
                    <a:pt x="0" y="1"/>
                  </a:lnTo>
                  <a:lnTo>
                    <a:pt x="0" y="1"/>
                  </a:lnTo>
                  <a:lnTo>
                    <a:pt x="0" y="1"/>
                  </a:lnTo>
                  <a:lnTo>
                    <a:pt x="0" y="1"/>
                  </a:lnTo>
                  <a:lnTo>
                    <a:pt x="0" y="1"/>
                  </a:lnTo>
                  <a:lnTo>
                    <a:pt x="0" y="1"/>
                  </a:lnTo>
                  <a:close/>
                </a:path>
              </a:pathLst>
            </a:custGeom>
            <a:solidFill>
              <a:srgbClr val="CBC9C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17" name="Google Shape;21515;p90">
              <a:extLst>
                <a:ext uri="{FF2B5EF4-FFF2-40B4-BE49-F238E27FC236}">
                  <a16:creationId xmlns:a16="http://schemas.microsoft.com/office/drawing/2014/main" id="{63881191-51CE-2124-A0E2-5D7B68CADF4E}"/>
                </a:ext>
              </a:extLst>
            </p:cNvPr>
            <p:cNvSpPr/>
            <p:nvPr/>
          </p:nvSpPr>
          <p:spPr>
            <a:xfrm>
              <a:off x="3081600" y="4277050"/>
              <a:ext cx="25" cy="25"/>
            </a:xfrm>
            <a:custGeom>
              <a:avLst/>
              <a:gdLst/>
              <a:ahLst/>
              <a:cxnLst/>
              <a:rect l="l" t="t" r="r" b="b"/>
              <a:pathLst>
                <a:path w="1" h="1" fill="none" extrusionOk="0">
                  <a:moveTo>
                    <a:pt x="0" y="1"/>
                  </a:moveTo>
                  <a:lnTo>
                    <a:pt x="0" y="1"/>
                  </a:lnTo>
                  <a:lnTo>
                    <a:pt x="0" y="1"/>
                  </a:lnTo>
                  <a:lnTo>
                    <a:pt x="0" y="1"/>
                  </a:lnTo>
                  <a:lnTo>
                    <a:pt x="0" y="1"/>
                  </a:lnTo>
                  <a:lnTo>
                    <a:pt x="0" y="1"/>
                  </a:lnTo>
                  <a:lnTo>
                    <a:pt x="0"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18" name="Google Shape;21516;p90">
              <a:extLst>
                <a:ext uri="{FF2B5EF4-FFF2-40B4-BE49-F238E27FC236}">
                  <a16:creationId xmlns:a16="http://schemas.microsoft.com/office/drawing/2014/main" id="{194EB243-7BC5-7C7C-413B-E4DAEDCC7DBB}"/>
                </a:ext>
              </a:extLst>
            </p:cNvPr>
            <p:cNvSpPr/>
            <p:nvPr/>
          </p:nvSpPr>
          <p:spPr>
            <a:xfrm>
              <a:off x="2932725" y="4246925"/>
              <a:ext cx="148900" cy="40775"/>
            </a:xfrm>
            <a:custGeom>
              <a:avLst/>
              <a:gdLst/>
              <a:ahLst/>
              <a:cxnLst/>
              <a:rect l="l" t="t" r="r" b="b"/>
              <a:pathLst>
                <a:path w="5956" h="1631" extrusionOk="0">
                  <a:moveTo>
                    <a:pt x="1" y="1"/>
                  </a:moveTo>
                  <a:lnTo>
                    <a:pt x="142" y="213"/>
                  </a:lnTo>
                  <a:lnTo>
                    <a:pt x="497" y="426"/>
                  </a:lnTo>
                  <a:lnTo>
                    <a:pt x="1489" y="993"/>
                  </a:lnTo>
                  <a:lnTo>
                    <a:pt x="2553" y="1418"/>
                  </a:lnTo>
                  <a:lnTo>
                    <a:pt x="3049" y="1560"/>
                  </a:lnTo>
                  <a:lnTo>
                    <a:pt x="3332" y="1631"/>
                  </a:lnTo>
                  <a:lnTo>
                    <a:pt x="3403" y="1631"/>
                  </a:lnTo>
                  <a:lnTo>
                    <a:pt x="3970" y="1560"/>
                  </a:lnTo>
                  <a:lnTo>
                    <a:pt x="4750" y="1418"/>
                  </a:lnTo>
                  <a:lnTo>
                    <a:pt x="5955" y="1206"/>
                  </a:lnTo>
                  <a:lnTo>
                    <a:pt x="5955" y="1206"/>
                  </a:lnTo>
                  <a:lnTo>
                    <a:pt x="3970" y="1277"/>
                  </a:lnTo>
                  <a:lnTo>
                    <a:pt x="3403" y="1277"/>
                  </a:lnTo>
                  <a:lnTo>
                    <a:pt x="1489" y="568"/>
                  </a:lnTo>
                  <a:lnTo>
                    <a:pt x="1" y="1"/>
                  </a:lnTo>
                  <a:close/>
                </a:path>
              </a:pathLst>
            </a:custGeom>
            <a:solidFill>
              <a:srgbClr val="BE352D"/>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19" name="Google Shape;21517;p90">
              <a:extLst>
                <a:ext uri="{FF2B5EF4-FFF2-40B4-BE49-F238E27FC236}">
                  <a16:creationId xmlns:a16="http://schemas.microsoft.com/office/drawing/2014/main" id="{9CB83989-6BDA-6495-DEDD-E78607B77C9E}"/>
                </a:ext>
              </a:extLst>
            </p:cNvPr>
            <p:cNvSpPr/>
            <p:nvPr/>
          </p:nvSpPr>
          <p:spPr>
            <a:xfrm>
              <a:off x="2932725" y="4246925"/>
              <a:ext cx="148900" cy="40775"/>
            </a:xfrm>
            <a:custGeom>
              <a:avLst/>
              <a:gdLst/>
              <a:ahLst/>
              <a:cxnLst/>
              <a:rect l="l" t="t" r="r" b="b"/>
              <a:pathLst>
                <a:path w="5956" h="1631" fill="none" extrusionOk="0">
                  <a:moveTo>
                    <a:pt x="1" y="1"/>
                  </a:moveTo>
                  <a:lnTo>
                    <a:pt x="1" y="1"/>
                  </a:lnTo>
                  <a:lnTo>
                    <a:pt x="142" y="213"/>
                  </a:lnTo>
                  <a:lnTo>
                    <a:pt x="497" y="426"/>
                  </a:lnTo>
                  <a:lnTo>
                    <a:pt x="1489" y="993"/>
                  </a:lnTo>
                  <a:lnTo>
                    <a:pt x="2553" y="1418"/>
                  </a:lnTo>
                  <a:lnTo>
                    <a:pt x="3049" y="1560"/>
                  </a:lnTo>
                  <a:lnTo>
                    <a:pt x="3332" y="1631"/>
                  </a:lnTo>
                  <a:lnTo>
                    <a:pt x="3332" y="1631"/>
                  </a:lnTo>
                  <a:lnTo>
                    <a:pt x="3403" y="1631"/>
                  </a:lnTo>
                  <a:lnTo>
                    <a:pt x="3403" y="1631"/>
                  </a:lnTo>
                  <a:lnTo>
                    <a:pt x="3970" y="1560"/>
                  </a:lnTo>
                  <a:lnTo>
                    <a:pt x="4750" y="1418"/>
                  </a:lnTo>
                  <a:lnTo>
                    <a:pt x="5955" y="1206"/>
                  </a:lnTo>
                  <a:lnTo>
                    <a:pt x="5955" y="1206"/>
                  </a:lnTo>
                  <a:lnTo>
                    <a:pt x="5955" y="1206"/>
                  </a:lnTo>
                  <a:lnTo>
                    <a:pt x="5955" y="1206"/>
                  </a:lnTo>
                  <a:lnTo>
                    <a:pt x="3970" y="1277"/>
                  </a:lnTo>
                  <a:lnTo>
                    <a:pt x="3970" y="1277"/>
                  </a:lnTo>
                  <a:lnTo>
                    <a:pt x="3403" y="1277"/>
                  </a:lnTo>
                  <a:lnTo>
                    <a:pt x="3403" y="1277"/>
                  </a:lnTo>
                  <a:lnTo>
                    <a:pt x="1489" y="568"/>
                  </a:lnTo>
                  <a:lnTo>
                    <a:pt x="1"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20" name="Google Shape;21518;p90">
              <a:extLst>
                <a:ext uri="{FF2B5EF4-FFF2-40B4-BE49-F238E27FC236}">
                  <a16:creationId xmlns:a16="http://schemas.microsoft.com/office/drawing/2014/main" id="{B8AE58DF-8B84-1549-3F3C-2C917603647D}"/>
                </a:ext>
              </a:extLst>
            </p:cNvPr>
            <p:cNvSpPr/>
            <p:nvPr/>
          </p:nvSpPr>
          <p:spPr>
            <a:xfrm>
              <a:off x="3078050" y="4344400"/>
              <a:ext cx="5350" cy="1800"/>
            </a:xfrm>
            <a:custGeom>
              <a:avLst/>
              <a:gdLst/>
              <a:ahLst/>
              <a:cxnLst/>
              <a:rect l="l" t="t" r="r" b="b"/>
              <a:pathLst>
                <a:path w="214" h="72" extrusionOk="0">
                  <a:moveTo>
                    <a:pt x="213" y="0"/>
                  </a:moveTo>
                  <a:lnTo>
                    <a:pt x="213" y="0"/>
                  </a:lnTo>
                  <a:lnTo>
                    <a:pt x="1" y="71"/>
                  </a:lnTo>
                  <a:lnTo>
                    <a:pt x="1" y="71"/>
                  </a:lnTo>
                  <a:lnTo>
                    <a:pt x="1" y="71"/>
                  </a:lnTo>
                  <a:lnTo>
                    <a:pt x="1" y="71"/>
                  </a:lnTo>
                  <a:lnTo>
                    <a:pt x="213" y="0"/>
                  </a:lnTo>
                  <a:close/>
                </a:path>
              </a:pathLst>
            </a:custGeom>
            <a:solidFill>
              <a:srgbClr val="CBC9C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21" name="Google Shape;21519;p90">
              <a:extLst>
                <a:ext uri="{FF2B5EF4-FFF2-40B4-BE49-F238E27FC236}">
                  <a16:creationId xmlns:a16="http://schemas.microsoft.com/office/drawing/2014/main" id="{A8980AE4-8715-0778-4AB0-67E26C1B045F}"/>
                </a:ext>
              </a:extLst>
            </p:cNvPr>
            <p:cNvSpPr/>
            <p:nvPr/>
          </p:nvSpPr>
          <p:spPr>
            <a:xfrm>
              <a:off x="3078050" y="4344400"/>
              <a:ext cx="5350" cy="1800"/>
            </a:xfrm>
            <a:custGeom>
              <a:avLst/>
              <a:gdLst/>
              <a:ahLst/>
              <a:cxnLst/>
              <a:rect l="l" t="t" r="r" b="b"/>
              <a:pathLst>
                <a:path w="214" h="72" fill="none" extrusionOk="0">
                  <a:moveTo>
                    <a:pt x="213" y="0"/>
                  </a:moveTo>
                  <a:lnTo>
                    <a:pt x="213" y="0"/>
                  </a:lnTo>
                  <a:lnTo>
                    <a:pt x="1" y="71"/>
                  </a:lnTo>
                  <a:lnTo>
                    <a:pt x="1" y="71"/>
                  </a:lnTo>
                  <a:lnTo>
                    <a:pt x="1" y="71"/>
                  </a:lnTo>
                  <a:lnTo>
                    <a:pt x="1" y="71"/>
                  </a:lnTo>
                  <a:lnTo>
                    <a:pt x="213"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22" name="Google Shape;21520;p90">
              <a:extLst>
                <a:ext uri="{FF2B5EF4-FFF2-40B4-BE49-F238E27FC236}">
                  <a16:creationId xmlns:a16="http://schemas.microsoft.com/office/drawing/2014/main" id="{7F532681-8903-356B-82CB-A5604CC92044}"/>
                </a:ext>
              </a:extLst>
            </p:cNvPr>
            <p:cNvSpPr/>
            <p:nvPr/>
          </p:nvSpPr>
          <p:spPr>
            <a:xfrm>
              <a:off x="2906150" y="4316050"/>
              <a:ext cx="171925" cy="51425"/>
            </a:xfrm>
            <a:custGeom>
              <a:avLst/>
              <a:gdLst/>
              <a:ahLst/>
              <a:cxnLst/>
              <a:rect l="l" t="t" r="r" b="b"/>
              <a:pathLst>
                <a:path w="6877" h="2057" extrusionOk="0">
                  <a:moveTo>
                    <a:pt x="0" y="0"/>
                  </a:moveTo>
                  <a:lnTo>
                    <a:pt x="567" y="496"/>
                  </a:lnTo>
                  <a:lnTo>
                    <a:pt x="1347" y="1134"/>
                  </a:lnTo>
                  <a:lnTo>
                    <a:pt x="1843" y="1418"/>
                  </a:lnTo>
                  <a:lnTo>
                    <a:pt x="2340" y="1702"/>
                  </a:lnTo>
                  <a:lnTo>
                    <a:pt x="2907" y="1914"/>
                  </a:lnTo>
                  <a:lnTo>
                    <a:pt x="3545" y="2056"/>
                  </a:lnTo>
                  <a:lnTo>
                    <a:pt x="3687" y="2056"/>
                  </a:lnTo>
                  <a:lnTo>
                    <a:pt x="4325" y="1985"/>
                  </a:lnTo>
                  <a:lnTo>
                    <a:pt x="5317" y="1702"/>
                  </a:lnTo>
                  <a:lnTo>
                    <a:pt x="6877" y="1205"/>
                  </a:lnTo>
                  <a:lnTo>
                    <a:pt x="5246" y="1418"/>
                  </a:lnTo>
                  <a:lnTo>
                    <a:pt x="3616" y="1560"/>
                  </a:lnTo>
                  <a:lnTo>
                    <a:pt x="3474" y="1560"/>
                  </a:lnTo>
                  <a:lnTo>
                    <a:pt x="2694" y="1205"/>
                  </a:lnTo>
                  <a:lnTo>
                    <a:pt x="1560" y="709"/>
                  </a:lnTo>
                  <a:lnTo>
                    <a:pt x="0" y="0"/>
                  </a:lnTo>
                  <a:close/>
                </a:path>
              </a:pathLst>
            </a:custGeom>
            <a:solidFill>
              <a:srgbClr val="BE352D"/>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23" name="Google Shape;21521;p90">
              <a:extLst>
                <a:ext uri="{FF2B5EF4-FFF2-40B4-BE49-F238E27FC236}">
                  <a16:creationId xmlns:a16="http://schemas.microsoft.com/office/drawing/2014/main" id="{01280C89-D795-A891-E096-2B346705495A}"/>
                </a:ext>
              </a:extLst>
            </p:cNvPr>
            <p:cNvSpPr/>
            <p:nvPr/>
          </p:nvSpPr>
          <p:spPr>
            <a:xfrm>
              <a:off x="2906150" y="4316050"/>
              <a:ext cx="171925" cy="51425"/>
            </a:xfrm>
            <a:custGeom>
              <a:avLst/>
              <a:gdLst/>
              <a:ahLst/>
              <a:cxnLst/>
              <a:rect l="l" t="t" r="r" b="b"/>
              <a:pathLst>
                <a:path w="6877" h="2057" fill="none" extrusionOk="0">
                  <a:moveTo>
                    <a:pt x="0" y="0"/>
                  </a:moveTo>
                  <a:lnTo>
                    <a:pt x="0" y="0"/>
                  </a:lnTo>
                  <a:lnTo>
                    <a:pt x="567" y="496"/>
                  </a:lnTo>
                  <a:lnTo>
                    <a:pt x="1347" y="1134"/>
                  </a:lnTo>
                  <a:lnTo>
                    <a:pt x="1843" y="1418"/>
                  </a:lnTo>
                  <a:lnTo>
                    <a:pt x="2340" y="1702"/>
                  </a:lnTo>
                  <a:lnTo>
                    <a:pt x="2907" y="1914"/>
                  </a:lnTo>
                  <a:lnTo>
                    <a:pt x="3545" y="2056"/>
                  </a:lnTo>
                  <a:lnTo>
                    <a:pt x="3545" y="2056"/>
                  </a:lnTo>
                  <a:lnTo>
                    <a:pt x="3687" y="2056"/>
                  </a:lnTo>
                  <a:lnTo>
                    <a:pt x="3687" y="2056"/>
                  </a:lnTo>
                  <a:lnTo>
                    <a:pt x="4325" y="1985"/>
                  </a:lnTo>
                  <a:lnTo>
                    <a:pt x="5317" y="1702"/>
                  </a:lnTo>
                  <a:lnTo>
                    <a:pt x="6877" y="1205"/>
                  </a:lnTo>
                  <a:lnTo>
                    <a:pt x="6877" y="1205"/>
                  </a:lnTo>
                  <a:lnTo>
                    <a:pt x="6877" y="1205"/>
                  </a:lnTo>
                  <a:lnTo>
                    <a:pt x="6877" y="1205"/>
                  </a:lnTo>
                  <a:lnTo>
                    <a:pt x="5246" y="1418"/>
                  </a:lnTo>
                  <a:lnTo>
                    <a:pt x="3616" y="1560"/>
                  </a:lnTo>
                  <a:lnTo>
                    <a:pt x="3616" y="1560"/>
                  </a:lnTo>
                  <a:lnTo>
                    <a:pt x="3474" y="1560"/>
                  </a:lnTo>
                  <a:lnTo>
                    <a:pt x="3474" y="1560"/>
                  </a:lnTo>
                  <a:lnTo>
                    <a:pt x="2694" y="1205"/>
                  </a:lnTo>
                  <a:lnTo>
                    <a:pt x="1560" y="709"/>
                  </a:lnTo>
                  <a:lnTo>
                    <a:pt x="0"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24" name="Google Shape;21522;p90">
              <a:extLst>
                <a:ext uri="{FF2B5EF4-FFF2-40B4-BE49-F238E27FC236}">
                  <a16:creationId xmlns:a16="http://schemas.microsoft.com/office/drawing/2014/main" id="{3A92D3FF-F99A-F4B0-EB18-AF914A74F413}"/>
                </a:ext>
              </a:extLst>
            </p:cNvPr>
            <p:cNvSpPr/>
            <p:nvPr/>
          </p:nvSpPr>
          <p:spPr>
            <a:xfrm>
              <a:off x="3221600" y="3805650"/>
              <a:ext cx="40800" cy="31925"/>
            </a:xfrm>
            <a:custGeom>
              <a:avLst/>
              <a:gdLst/>
              <a:ahLst/>
              <a:cxnLst/>
              <a:rect l="l" t="t" r="r" b="b"/>
              <a:pathLst>
                <a:path w="1632" h="1277" extrusionOk="0">
                  <a:moveTo>
                    <a:pt x="1277" y="0"/>
                  </a:moveTo>
                  <a:lnTo>
                    <a:pt x="1135" y="71"/>
                  </a:lnTo>
                  <a:lnTo>
                    <a:pt x="780" y="213"/>
                  </a:lnTo>
                  <a:lnTo>
                    <a:pt x="355" y="425"/>
                  </a:lnTo>
                  <a:lnTo>
                    <a:pt x="142" y="922"/>
                  </a:lnTo>
                  <a:lnTo>
                    <a:pt x="1" y="1205"/>
                  </a:lnTo>
                  <a:lnTo>
                    <a:pt x="72" y="1276"/>
                  </a:lnTo>
                  <a:lnTo>
                    <a:pt x="213" y="1205"/>
                  </a:lnTo>
                  <a:lnTo>
                    <a:pt x="1206" y="709"/>
                  </a:lnTo>
                  <a:lnTo>
                    <a:pt x="1489" y="496"/>
                  </a:lnTo>
                  <a:lnTo>
                    <a:pt x="1631" y="354"/>
                  </a:lnTo>
                  <a:lnTo>
                    <a:pt x="1631" y="284"/>
                  </a:lnTo>
                  <a:lnTo>
                    <a:pt x="1489" y="142"/>
                  </a:lnTo>
                  <a:lnTo>
                    <a:pt x="1418" y="71"/>
                  </a:lnTo>
                  <a:lnTo>
                    <a:pt x="1277" y="0"/>
                  </a:lnTo>
                  <a:close/>
                </a:path>
              </a:pathLst>
            </a:custGeom>
            <a:solidFill>
              <a:srgbClr val="EFAEA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25" name="Google Shape;21523;p90">
              <a:extLst>
                <a:ext uri="{FF2B5EF4-FFF2-40B4-BE49-F238E27FC236}">
                  <a16:creationId xmlns:a16="http://schemas.microsoft.com/office/drawing/2014/main" id="{6A42B5B8-1B4C-38A2-01A6-428FE26978E9}"/>
                </a:ext>
              </a:extLst>
            </p:cNvPr>
            <p:cNvSpPr/>
            <p:nvPr/>
          </p:nvSpPr>
          <p:spPr>
            <a:xfrm>
              <a:off x="3221600" y="3805650"/>
              <a:ext cx="40800" cy="31925"/>
            </a:xfrm>
            <a:custGeom>
              <a:avLst/>
              <a:gdLst/>
              <a:ahLst/>
              <a:cxnLst/>
              <a:rect l="l" t="t" r="r" b="b"/>
              <a:pathLst>
                <a:path w="1632" h="1277" fill="none" extrusionOk="0">
                  <a:moveTo>
                    <a:pt x="355" y="425"/>
                  </a:moveTo>
                  <a:lnTo>
                    <a:pt x="355" y="425"/>
                  </a:lnTo>
                  <a:lnTo>
                    <a:pt x="780" y="213"/>
                  </a:lnTo>
                  <a:lnTo>
                    <a:pt x="1135" y="71"/>
                  </a:lnTo>
                  <a:lnTo>
                    <a:pt x="1277" y="0"/>
                  </a:lnTo>
                  <a:lnTo>
                    <a:pt x="1418" y="71"/>
                  </a:lnTo>
                  <a:lnTo>
                    <a:pt x="1489" y="142"/>
                  </a:lnTo>
                  <a:lnTo>
                    <a:pt x="1631" y="284"/>
                  </a:lnTo>
                  <a:lnTo>
                    <a:pt x="1631" y="284"/>
                  </a:lnTo>
                  <a:lnTo>
                    <a:pt x="1631" y="354"/>
                  </a:lnTo>
                  <a:lnTo>
                    <a:pt x="1489" y="496"/>
                  </a:lnTo>
                  <a:lnTo>
                    <a:pt x="1206" y="709"/>
                  </a:lnTo>
                  <a:lnTo>
                    <a:pt x="213" y="1205"/>
                  </a:lnTo>
                  <a:lnTo>
                    <a:pt x="213" y="1205"/>
                  </a:lnTo>
                  <a:lnTo>
                    <a:pt x="72" y="1276"/>
                  </a:lnTo>
                  <a:lnTo>
                    <a:pt x="1" y="1205"/>
                  </a:lnTo>
                  <a:lnTo>
                    <a:pt x="142" y="922"/>
                  </a:lnTo>
                  <a:lnTo>
                    <a:pt x="355" y="425"/>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26" name="Google Shape;21524;p90">
              <a:extLst>
                <a:ext uri="{FF2B5EF4-FFF2-40B4-BE49-F238E27FC236}">
                  <a16:creationId xmlns:a16="http://schemas.microsoft.com/office/drawing/2014/main" id="{4A74EDCB-6F97-E21B-856B-DE49E571BA1B}"/>
                </a:ext>
              </a:extLst>
            </p:cNvPr>
            <p:cNvSpPr/>
            <p:nvPr/>
          </p:nvSpPr>
          <p:spPr>
            <a:xfrm>
              <a:off x="2845900" y="2784825"/>
              <a:ext cx="104575" cy="134725"/>
            </a:xfrm>
            <a:custGeom>
              <a:avLst/>
              <a:gdLst/>
              <a:ahLst/>
              <a:cxnLst/>
              <a:rect l="l" t="t" r="r" b="b"/>
              <a:pathLst>
                <a:path w="4183" h="5389" extrusionOk="0">
                  <a:moveTo>
                    <a:pt x="992" y="1"/>
                  </a:moveTo>
                  <a:lnTo>
                    <a:pt x="567" y="993"/>
                  </a:lnTo>
                  <a:lnTo>
                    <a:pt x="213" y="1773"/>
                  </a:lnTo>
                  <a:lnTo>
                    <a:pt x="0" y="2482"/>
                  </a:lnTo>
                  <a:lnTo>
                    <a:pt x="0" y="2836"/>
                  </a:lnTo>
                  <a:lnTo>
                    <a:pt x="71" y="3191"/>
                  </a:lnTo>
                  <a:lnTo>
                    <a:pt x="284" y="3545"/>
                  </a:lnTo>
                  <a:lnTo>
                    <a:pt x="638" y="3970"/>
                  </a:lnTo>
                  <a:lnTo>
                    <a:pt x="992" y="4396"/>
                  </a:lnTo>
                  <a:lnTo>
                    <a:pt x="1418" y="4750"/>
                  </a:lnTo>
                  <a:lnTo>
                    <a:pt x="1843" y="5105"/>
                  </a:lnTo>
                  <a:lnTo>
                    <a:pt x="2339" y="5388"/>
                  </a:lnTo>
                  <a:lnTo>
                    <a:pt x="2552" y="5388"/>
                  </a:lnTo>
                  <a:lnTo>
                    <a:pt x="2694" y="5175"/>
                  </a:lnTo>
                  <a:lnTo>
                    <a:pt x="2977" y="4608"/>
                  </a:lnTo>
                  <a:lnTo>
                    <a:pt x="3190" y="4041"/>
                  </a:lnTo>
                  <a:lnTo>
                    <a:pt x="3403" y="3899"/>
                  </a:lnTo>
                  <a:lnTo>
                    <a:pt x="3686" y="3899"/>
                  </a:lnTo>
                  <a:lnTo>
                    <a:pt x="3828" y="3758"/>
                  </a:lnTo>
                  <a:lnTo>
                    <a:pt x="3899" y="3474"/>
                  </a:lnTo>
                  <a:lnTo>
                    <a:pt x="3970" y="3049"/>
                  </a:lnTo>
                  <a:lnTo>
                    <a:pt x="4041" y="2198"/>
                  </a:lnTo>
                  <a:lnTo>
                    <a:pt x="4112" y="1844"/>
                  </a:lnTo>
                  <a:lnTo>
                    <a:pt x="4182" y="1489"/>
                  </a:lnTo>
                  <a:lnTo>
                    <a:pt x="992" y="1"/>
                  </a:lnTo>
                  <a:close/>
                </a:path>
              </a:pathLst>
            </a:custGeom>
            <a:solidFill>
              <a:srgbClr val="EFAEA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27" name="Google Shape;21525;p90">
              <a:extLst>
                <a:ext uri="{FF2B5EF4-FFF2-40B4-BE49-F238E27FC236}">
                  <a16:creationId xmlns:a16="http://schemas.microsoft.com/office/drawing/2014/main" id="{026A936B-F01A-5CE6-3D82-1A71D6A720F8}"/>
                </a:ext>
              </a:extLst>
            </p:cNvPr>
            <p:cNvSpPr/>
            <p:nvPr/>
          </p:nvSpPr>
          <p:spPr>
            <a:xfrm>
              <a:off x="2828175" y="2744075"/>
              <a:ext cx="147100" cy="175475"/>
            </a:xfrm>
            <a:custGeom>
              <a:avLst/>
              <a:gdLst/>
              <a:ahLst/>
              <a:cxnLst/>
              <a:rect l="l" t="t" r="r" b="b"/>
              <a:pathLst>
                <a:path w="5884" h="7019" extrusionOk="0">
                  <a:moveTo>
                    <a:pt x="2127" y="0"/>
                  </a:moveTo>
                  <a:lnTo>
                    <a:pt x="1914" y="71"/>
                  </a:lnTo>
                  <a:lnTo>
                    <a:pt x="1560" y="142"/>
                  </a:lnTo>
                  <a:lnTo>
                    <a:pt x="1347" y="355"/>
                  </a:lnTo>
                  <a:lnTo>
                    <a:pt x="1205" y="496"/>
                  </a:lnTo>
                  <a:lnTo>
                    <a:pt x="1134" y="709"/>
                  </a:lnTo>
                  <a:lnTo>
                    <a:pt x="1063" y="922"/>
                  </a:lnTo>
                  <a:lnTo>
                    <a:pt x="922" y="1134"/>
                  </a:lnTo>
                  <a:lnTo>
                    <a:pt x="709" y="1347"/>
                  </a:lnTo>
                  <a:lnTo>
                    <a:pt x="425" y="1489"/>
                  </a:lnTo>
                  <a:lnTo>
                    <a:pt x="284" y="1560"/>
                  </a:lnTo>
                  <a:lnTo>
                    <a:pt x="142" y="1701"/>
                  </a:lnTo>
                  <a:lnTo>
                    <a:pt x="0" y="1914"/>
                  </a:lnTo>
                  <a:lnTo>
                    <a:pt x="0" y="2056"/>
                  </a:lnTo>
                  <a:lnTo>
                    <a:pt x="0" y="2552"/>
                  </a:lnTo>
                  <a:lnTo>
                    <a:pt x="71" y="3048"/>
                  </a:lnTo>
                  <a:lnTo>
                    <a:pt x="213" y="3545"/>
                  </a:lnTo>
                  <a:lnTo>
                    <a:pt x="355" y="3970"/>
                  </a:lnTo>
                  <a:lnTo>
                    <a:pt x="567" y="4253"/>
                  </a:lnTo>
                  <a:lnTo>
                    <a:pt x="709" y="4395"/>
                  </a:lnTo>
                  <a:lnTo>
                    <a:pt x="780" y="4466"/>
                  </a:lnTo>
                  <a:lnTo>
                    <a:pt x="922" y="4395"/>
                  </a:lnTo>
                  <a:lnTo>
                    <a:pt x="1063" y="4183"/>
                  </a:lnTo>
                  <a:lnTo>
                    <a:pt x="1063" y="3899"/>
                  </a:lnTo>
                  <a:lnTo>
                    <a:pt x="1063" y="3686"/>
                  </a:lnTo>
                  <a:lnTo>
                    <a:pt x="1134" y="3403"/>
                  </a:lnTo>
                  <a:lnTo>
                    <a:pt x="1205" y="3190"/>
                  </a:lnTo>
                  <a:lnTo>
                    <a:pt x="1347" y="3048"/>
                  </a:lnTo>
                  <a:lnTo>
                    <a:pt x="1631" y="3048"/>
                  </a:lnTo>
                  <a:lnTo>
                    <a:pt x="1843" y="2977"/>
                  </a:lnTo>
                  <a:lnTo>
                    <a:pt x="1985" y="2977"/>
                  </a:lnTo>
                  <a:lnTo>
                    <a:pt x="2056" y="3048"/>
                  </a:lnTo>
                  <a:lnTo>
                    <a:pt x="2056" y="3190"/>
                  </a:lnTo>
                  <a:lnTo>
                    <a:pt x="2056" y="3403"/>
                  </a:lnTo>
                  <a:lnTo>
                    <a:pt x="1843" y="3899"/>
                  </a:lnTo>
                  <a:lnTo>
                    <a:pt x="1560" y="4537"/>
                  </a:lnTo>
                  <a:lnTo>
                    <a:pt x="1276" y="5104"/>
                  </a:lnTo>
                  <a:lnTo>
                    <a:pt x="1205" y="5317"/>
                  </a:lnTo>
                  <a:lnTo>
                    <a:pt x="1134" y="5388"/>
                  </a:lnTo>
                  <a:lnTo>
                    <a:pt x="1276" y="5671"/>
                  </a:lnTo>
                  <a:lnTo>
                    <a:pt x="1560" y="5884"/>
                  </a:lnTo>
                  <a:lnTo>
                    <a:pt x="2198" y="6522"/>
                  </a:lnTo>
                  <a:lnTo>
                    <a:pt x="2623" y="6805"/>
                  </a:lnTo>
                  <a:lnTo>
                    <a:pt x="2907" y="6947"/>
                  </a:lnTo>
                  <a:lnTo>
                    <a:pt x="3190" y="7018"/>
                  </a:lnTo>
                  <a:lnTo>
                    <a:pt x="3261" y="6947"/>
                  </a:lnTo>
                  <a:lnTo>
                    <a:pt x="3332" y="6876"/>
                  </a:lnTo>
                  <a:lnTo>
                    <a:pt x="3403" y="6805"/>
                  </a:lnTo>
                  <a:lnTo>
                    <a:pt x="3403" y="6664"/>
                  </a:lnTo>
                  <a:lnTo>
                    <a:pt x="3261" y="6522"/>
                  </a:lnTo>
                  <a:lnTo>
                    <a:pt x="3048" y="6309"/>
                  </a:lnTo>
                  <a:lnTo>
                    <a:pt x="2694" y="6167"/>
                  </a:lnTo>
                  <a:lnTo>
                    <a:pt x="2410" y="6026"/>
                  </a:lnTo>
                  <a:lnTo>
                    <a:pt x="2198" y="5813"/>
                  </a:lnTo>
                  <a:lnTo>
                    <a:pt x="2056" y="5671"/>
                  </a:lnTo>
                  <a:lnTo>
                    <a:pt x="2056" y="5529"/>
                  </a:lnTo>
                  <a:lnTo>
                    <a:pt x="2127" y="5388"/>
                  </a:lnTo>
                  <a:lnTo>
                    <a:pt x="2269" y="5317"/>
                  </a:lnTo>
                  <a:lnTo>
                    <a:pt x="2481" y="5317"/>
                  </a:lnTo>
                  <a:lnTo>
                    <a:pt x="3048" y="5529"/>
                  </a:lnTo>
                  <a:lnTo>
                    <a:pt x="3615" y="5813"/>
                  </a:lnTo>
                  <a:lnTo>
                    <a:pt x="3828" y="5813"/>
                  </a:lnTo>
                  <a:lnTo>
                    <a:pt x="3970" y="5742"/>
                  </a:lnTo>
                  <a:lnTo>
                    <a:pt x="3970" y="5671"/>
                  </a:lnTo>
                  <a:lnTo>
                    <a:pt x="3970" y="5600"/>
                  </a:lnTo>
                  <a:lnTo>
                    <a:pt x="3828" y="5459"/>
                  </a:lnTo>
                  <a:lnTo>
                    <a:pt x="3190" y="5246"/>
                  </a:lnTo>
                  <a:lnTo>
                    <a:pt x="2481" y="4962"/>
                  </a:lnTo>
                  <a:lnTo>
                    <a:pt x="2269" y="4750"/>
                  </a:lnTo>
                  <a:lnTo>
                    <a:pt x="2269" y="4679"/>
                  </a:lnTo>
                  <a:lnTo>
                    <a:pt x="2198" y="4608"/>
                  </a:lnTo>
                  <a:lnTo>
                    <a:pt x="2410" y="4183"/>
                  </a:lnTo>
                  <a:lnTo>
                    <a:pt x="2623" y="3757"/>
                  </a:lnTo>
                  <a:lnTo>
                    <a:pt x="2907" y="3474"/>
                  </a:lnTo>
                  <a:lnTo>
                    <a:pt x="3190" y="3403"/>
                  </a:lnTo>
                  <a:lnTo>
                    <a:pt x="3474" y="3403"/>
                  </a:lnTo>
                  <a:lnTo>
                    <a:pt x="3615" y="3474"/>
                  </a:lnTo>
                  <a:lnTo>
                    <a:pt x="3686" y="3545"/>
                  </a:lnTo>
                  <a:lnTo>
                    <a:pt x="4041" y="3545"/>
                  </a:lnTo>
                  <a:lnTo>
                    <a:pt x="4041" y="3474"/>
                  </a:lnTo>
                  <a:lnTo>
                    <a:pt x="4112" y="3261"/>
                  </a:lnTo>
                  <a:lnTo>
                    <a:pt x="4183" y="3119"/>
                  </a:lnTo>
                  <a:lnTo>
                    <a:pt x="4253" y="3048"/>
                  </a:lnTo>
                  <a:lnTo>
                    <a:pt x="4537" y="3048"/>
                  </a:lnTo>
                  <a:lnTo>
                    <a:pt x="4962" y="3119"/>
                  </a:lnTo>
                  <a:lnTo>
                    <a:pt x="5317" y="3119"/>
                  </a:lnTo>
                  <a:lnTo>
                    <a:pt x="5459" y="3048"/>
                  </a:lnTo>
                  <a:lnTo>
                    <a:pt x="5600" y="2977"/>
                  </a:lnTo>
                  <a:lnTo>
                    <a:pt x="5813" y="2623"/>
                  </a:lnTo>
                  <a:lnTo>
                    <a:pt x="5884" y="2269"/>
                  </a:lnTo>
                  <a:lnTo>
                    <a:pt x="5813" y="1914"/>
                  </a:lnTo>
                  <a:lnTo>
                    <a:pt x="5742" y="1772"/>
                  </a:lnTo>
                  <a:lnTo>
                    <a:pt x="5671" y="1701"/>
                  </a:lnTo>
                  <a:lnTo>
                    <a:pt x="5530" y="1560"/>
                  </a:lnTo>
                  <a:lnTo>
                    <a:pt x="5317" y="1489"/>
                  </a:lnTo>
                  <a:lnTo>
                    <a:pt x="5175" y="1489"/>
                  </a:lnTo>
                  <a:lnTo>
                    <a:pt x="5175" y="1347"/>
                  </a:lnTo>
                  <a:lnTo>
                    <a:pt x="5104" y="1134"/>
                  </a:lnTo>
                  <a:lnTo>
                    <a:pt x="4962" y="851"/>
                  </a:lnTo>
                  <a:lnTo>
                    <a:pt x="4821" y="638"/>
                  </a:lnTo>
                  <a:lnTo>
                    <a:pt x="4679" y="567"/>
                  </a:lnTo>
                  <a:lnTo>
                    <a:pt x="4324" y="425"/>
                  </a:lnTo>
                  <a:lnTo>
                    <a:pt x="3970" y="425"/>
                  </a:lnTo>
                  <a:lnTo>
                    <a:pt x="3686" y="496"/>
                  </a:lnTo>
                  <a:lnTo>
                    <a:pt x="3261" y="496"/>
                  </a:lnTo>
                  <a:lnTo>
                    <a:pt x="3048" y="425"/>
                  </a:lnTo>
                  <a:lnTo>
                    <a:pt x="2694" y="213"/>
                  </a:lnTo>
                  <a:lnTo>
                    <a:pt x="2339" y="71"/>
                  </a:lnTo>
                  <a:lnTo>
                    <a:pt x="2127" y="0"/>
                  </a:lnTo>
                  <a:close/>
                </a:path>
              </a:pathLst>
            </a:custGeom>
            <a:solidFill>
              <a:srgbClr val="201F39"/>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28" name="Google Shape;21526;p90">
              <a:extLst>
                <a:ext uri="{FF2B5EF4-FFF2-40B4-BE49-F238E27FC236}">
                  <a16:creationId xmlns:a16="http://schemas.microsoft.com/office/drawing/2014/main" id="{78558D54-E70D-A3DC-0268-4847A9C0385C}"/>
                </a:ext>
              </a:extLst>
            </p:cNvPr>
            <p:cNvSpPr/>
            <p:nvPr/>
          </p:nvSpPr>
          <p:spPr>
            <a:xfrm>
              <a:off x="3092225" y="3139275"/>
              <a:ext cx="23075" cy="26600"/>
            </a:xfrm>
            <a:custGeom>
              <a:avLst/>
              <a:gdLst/>
              <a:ahLst/>
              <a:cxnLst/>
              <a:rect l="l" t="t" r="r" b="b"/>
              <a:pathLst>
                <a:path w="923" h="1064" extrusionOk="0">
                  <a:moveTo>
                    <a:pt x="1" y="0"/>
                  </a:moveTo>
                  <a:lnTo>
                    <a:pt x="72" y="922"/>
                  </a:lnTo>
                  <a:lnTo>
                    <a:pt x="639" y="1064"/>
                  </a:lnTo>
                  <a:lnTo>
                    <a:pt x="922" y="71"/>
                  </a:lnTo>
                  <a:lnTo>
                    <a:pt x="1" y="0"/>
                  </a:lnTo>
                  <a:close/>
                </a:path>
              </a:pathLst>
            </a:custGeom>
            <a:solidFill>
              <a:srgbClr val="8A859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29" name="Google Shape;21527;p90">
              <a:extLst>
                <a:ext uri="{FF2B5EF4-FFF2-40B4-BE49-F238E27FC236}">
                  <a16:creationId xmlns:a16="http://schemas.microsoft.com/office/drawing/2014/main" id="{50FCB5A6-1B12-C06A-730D-A6D915133FAA}"/>
                </a:ext>
              </a:extLst>
            </p:cNvPr>
            <p:cNvSpPr/>
            <p:nvPr/>
          </p:nvSpPr>
          <p:spPr>
            <a:xfrm>
              <a:off x="3092225" y="3139275"/>
              <a:ext cx="23075" cy="26600"/>
            </a:xfrm>
            <a:custGeom>
              <a:avLst/>
              <a:gdLst/>
              <a:ahLst/>
              <a:cxnLst/>
              <a:rect l="l" t="t" r="r" b="b"/>
              <a:pathLst>
                <a:path w="923" h="1064" fill="none" extrusionOk="0">
                  <a:moveTo>
                    <a:pt x="1" y="0"/>
                  </a:moveTo>
                  <a:lnTo>
                    <a:pt x="1" y="0"/>
                  </a:lnTo>
                  <a:lnTo>
                    <a:pt x="72" y="922"/>
                  </a:lnTo>
                  <a:lnTo>
                    <a:pt x="72" y="922"/>
                  </a:lnTo>
                  <a:lnTo>
                    <a:pt x="639" y="1064"/>
                  </a:lnTo>
                  <a:lnTo>
                    <a:pt x="639" y="1064"/>
                  </a:lnTo>
                  <a:lnTo>
                    <a:pt x="922" y="71"/>
                  </a:lnTo>
                  <a:lnTo>
                    <a:pt x="1"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30" name="Google Shape;21528;p90">
              <a:extLst>
                <a:ext uri="{FF2B5EF4-FFF2-40B4-BE49-F238E27FC236}">
                  <a16:creationId xmlns:a16="http://schemas.microsoft.com/office/drawing/2014/main" id="{AD8FBD33-4BA8-2130-84ED-001DF213E7D7}"/>
                </a:ext>
              </a:extLst>
            </p:cNvPr>
            <p:cNvSpPr/>
            <p:nvPr/>
          </p:nvSpPr>
          <p:spPr>
            <a:xfrm>
              <a:off x="4747500" y="3780825"/>
              <a:ext cx="106375" cy="168400"/>
            </a:xfrm>
            <a:custGeom>
              <a:avLst/>
              <a:gdLst/>
              <a:ahLst/>
              <a:cxnLst/>
              <a:rect l="l" t="t" r="r" b="b"/>
              <a:pathLst>
                <a:path w="4255" h="6736" extrusionOk="0">
                  <a:moveTo>
                    <a:pt x="1418" y="1"/>
                  </a:moveTo>
                  <a:lnTo>
                    <a:pt x="922" y="71"/>
                  </a:lnTo>
                  <a:lnTo>
                    <a:pt x="497" y="284"/>
                  </a:lnTo>
                  <a:lnTo>
                    <a:pt x="142" y="497"/>
                  </a:lnTo>
                  <a:lnTo>
                    <a:pt x="72" y="709"/>
                  </a:lnTo>
                  <a:lnTo>
                    <a:pt x="1" y="851"/>
                  </a:lnTo>
                  <a:lnTo>
                    <a:pt x="1" y="1064"/>
                  </a:lnTo>
                  <a:lnTo>
                    <a:pt x="1" y="1347"/>
                  </a:lnTo>
                  <a:lnTo>
                    <a:pt x="426" y="2340"/>
                  </a:lnTo>
                  <a:lnTo>
                    <a:pt x="922" y="3261"/>
                  </a:lnTo>
                  <a:lnTo>
                    <a:pt x="1418" y="4467"/>
                  </a:lnTo>
                  <a:lnTo>
                    <a:pt x="1631" y="5246"/>
                  </a:lnTo>
                  <a:lnTo>
                    <a:pt x="1844" y="6097"/>
                  </a:lnTo>
                  <a:lnTo>
                    <a:pt x="1915" y="6310"/>
                  </a:lnTo>
                  <a:lnTo>
                    <a:pt x="1986" y="6522"/>
                  </a:lnTo>
                  <a:lnTo>
                    <a:pt x="2127" y="6664"/>
                  </a:lnTo>
                  <a:lnTo>
                    <a:pt x="2340" y="6735"/>
                  </a:lnTo>
                  <a:lnTo>
                    <a:pt x="2694" y="6735"/>
                  </a:lnTo>
                  <a:lnTo>
                    <a:pt x="3049" y="6664"/>
                  </a:lnTo>
                  <a:lnTo>
                    <a:pt x="3403" y="6522"/>
                  </a:lnTo>
                  <a:lnTo>
                    <a:pt x="3687" y="6381"/>
                  </a:lnTo>
                  <a:lnTo>
                    <a:pt x="4041" y="6168"/>
                  </a:lnTo>
                  <a:lnTo>
                    <a:pt x="3900" y="5743"/>
                  </a:lnTo>
                  <a:lnTo>
                    <a:pt x="3829" y="5246"/>
                  </a:lnTo>
                  <a:lnTo>
                    <a:pt x="3829" y="4396"/>
                  </a:lnTo>
                  <a:lnTo>
                    <a:pt x="3970" y="3616"/>
                  </a:lnTo>
                  <a:lnTo>
                    <a:pt x="4112" y="3120"/>
                  </a:lnTo>
                  <a:lnTo>
                    <a:pt x="4183" y="2978"/>
                  </a:lnTo>
                  <a:lnTo>
                    <a:pt x="4254" y="2765"/>
                  </a:lnTo>
                  <a:lnTo>
                    <a:pt x="4183" y="2411"/>
                  </a:lnTo>
                  <a:lnTo>
                    <a:pt x="4112" y="2340"/>
                  </a:lnTo>
                  <a:lnTo>
                    <a:pt x="4041" y="2269"/>
                  </a:lnTo>
                  <a:lnTo>
                    <a:pt x="3900" y="2269"/>
                  </a:lnTo>
                  <a:lnTo>
                    <a:pt x="3758" y="2340"/>
                  </a:lnTo>
                  <a:lnTo>
                    <a:pt x="3616" y="2482"/>
                  </a:lnTo>
                  <a:lnTo>
                    <a:pt x="3474" y="2553"/>
                  </a:lnTo>
                  <a:lnTo>
                    <a:pt x="3332" y="2553"/>
                  </a:lnTo>
                  <a:lnTo>
                    <a:pt x="3191" y="2482"/>
                  </a:lnTo>
                  <a:lnTo>
                    <a:pt x="3049" y="2411"/>
                  </a:lnTo>
                  <a:lnTo>
                    <a:pt x="2907" y="2198"/>
                  </a:lnTo>
                  <a:lnTo>
                    <a:pt x="2765" y="1915"/>
                  </a:lnTo>
                  <a:lnTo>
                    <a:pt x="2694" y="1560"/>
                  </a:lnTo>
                  <a:lnTo>
                    <a:pt x="2624" y="780"/>
                  </a:lnTo>
                  <a:lnTo>
                    <a:pt x="2553" y="497"/>
                  </a:lnTo>
                  <a:lnTo>
                    <a:pt x="2411" y="213"/>
                  </a:lnTo>
                  <a:lnTo>
                    <a:pt x="2198" y="71"/>
                  </a:lnTo>
                  <a:lnTo>
                    <a:pt x="1844" y="1"/>
                  </a:lnTo>
                  <a:close/>
                </a:path>
              </a:pathLst>
            </a:custGeom>
            <a:solidFill>
              <a:srgbClr val="EFAEA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31" name="Google Shape;21529;p90">
              <a:extLst>
                <a:ext uri="{FF2B5EF4-FFF2-40B4-BE49-F238E27FC236}">
                  <a16:creationId xmlns:a16="http://schemas.microsoft.com/office/drawing/2014/main" id="{37D1B40A-0B07-4721-E2C1-24C1DEC9B90F}"/>
                </a:ext>
              </a:extLst>
            </p:cNvPr>
            <p:cNvSpPr/>
            <p:nvPr/>
          </p:nvSpPr>
          <p:spPr>
            <a:xfrm>
              <a:off x="4747500" y="3780825"/>
              <a:ext cx="106375" cy="168400"/>
            </a:xfrm>
            <a:custGeom>
              <a:avLst/>
              <a:gdLst/>
              <a:ahLst/>
              <a:cxnLst/>
              <a:rect l="l" t="t" r="r" b="b"/>
              <a:pathLst>
                <a:path w="4255" h="6736" fill="none" extrusionOk="0">
                  <a:moveTo>
                    <a:pt x="4041" y="6168"/>
                  </a:moveTo>
                  <a:lnTo>
                    <a:pt x="4041" y="6168"/>
                  </a:lnTo>
                  <a:lnTo>
                    <a:pt x="3900" y="5743"/>
                  </a:lnTo>
                  <a:lnTo>
                    <a:pt x="3829" y="5246"/>
                  </a:lnTo>
                  <a:lnTo>
                    <a:pt x="3829" y="4396"/>
                  </a:lnTo>
                  <a:lnTo>
                    <a:pt x="3970" y="3616"/>
                  </a:lnTo>
                  <a:lnTo>
                    <a:pt x="4112" y="3120"/>
                  </a:lnTo>
                  <a:lnTo>
                    <a:pt x="4112" y="3120"/>
                  </a:lnTo>
                  <a:lnTo>
                    <a:pt x="4183" y="2978"/>
                  </a:lnTo>
                  <a:lnTo>
                    <a:pt x="4254" y="2765"/>
                  </a:lnTo>
                  <a:lnTo>
                    <a:pt x="4183" y="2411"/>
                  </a:lnTo>
                  <a:lnTo>
                    <a:pt x="4112" y="2340"/>
                  </a:lnTo>
                  <a:lnTo>
                    <a:pt x="4041" y="2269"/>
                  </a:lnTo>
                  <a:lnTo>
                    <a:pt x="3900" y="2269"/>
                  </a:lnTo>
                  <a:lnTo>
                    <a:pt x="3758" y="2340"/>
                  </a:lnTo>
                  <a:lnTo>
                    <a:pt x="3758" y="2340"/>
                  </a:lnTo>
                  <a:lnTo>
                    <a:pt x="3616" y="2482"/>
                  </a:lnTo>
                  <a:lnTo>
                    <a:pt x="3474" y="2553"/>
                  </a:lnTo>
                  <a:lnTo>
                    <a:pt x="3332" y="2553"/>
                  </a:lnTo>
                  <a:lnTo>
                    <a:pt x="3191" y="2482"/>
                  </a:lnTo>
                  <a:lnTo>
                    <a:pt x="3049" y="2411"/>
                  </a:lnTo>
                  <a:lnTo>
                    <a:pt x="2907" y="2198"/>
                  </a:lnTo>
                  <a:lnTo>
                    <a:pt x="2765" y="1915"/>
                  </a:lnTo>
                  <a:lnTo>
                    <a:pt x="2694" y="1560"/>
                  </a:lnTo>
                  <a:lnTo>
                    <a:pt x="2694" y="1560"/>
                  </a:lnTo>
                  <a:lnTo>
                    <a:pt x="2624" y="780"/>
                  </a:lnTo>
                  <a:lnTo>
                    <a:pt x="2553" y="497"/>
                  </a:lnTo>
                  <a:lnTo>
                    <a:pt x="2411" y="213"/>
                  </a:lnTo>
                  <a:lnTo>
                    <a:pt x="2411" y="213"/>
                  </a:lnTo>
                  <a:lnTo>
                    <a:pt x="2198" y="71"/>
                  </a:lnTo>
                  <a:lnTo>
                    <a:pt x="1844" y="1"/>
                  </a:lnTo>
                  <a:lnTo>
                    <a:pt x="1418" y="1"/>
                  </a:lnTo>
                  <a:lnTo>
                    <a:pt x="922" y="71"/>
                  </a:lnTo>
                  <a:lnTo>
                    <a:pt x="497" y="284"/>
                  </a:lnTo>
                  <a:lnTo>
                    <a:pt x="142" y="497"/>
                  </a:lnTo>
                  <a:lnTo>
                    <a:pt x="72" y="709"/>
                  </a:lnTo>
                  <a:lnTo>
                    <a:pt x="1" y="851"/>
                  </a:lnTo>
                  <a:lnTo>
                    <a:pt x="1" y="1064"/>
                  </a:lnTo>
                  <a:lnTo>
                    <a:pt x="1" y="1347"/>
                  </a:lnTo>
                  <a:lnTo>
                    <a:pt x="1" y="1347"/>
                  </a:lnTo>
                  <a:lnTo>
                    <a:pt x="426" y="2340"/>
                  </a:lnTo>
                  <a:lnTo>
                    <a:pt x="922" y="3261"/>
                  </a:lnTo>
                  <a:lnTo>
                    <a:pt x="1418" y="4467"/>
                  </a:lnTo>
                  <a:lnTo>
                    <a:pt x="1631" y="5246"/>
                  </a:lnTo>
                  <a:lnTo>
                    <a:pt x="1844" y="6097"/>
                  </a:lnTo>
                  <a:lnTo>
                    <a:pt x="1844" y="6097"/>
                  </a:lnTo>
                  <a:lnTo>
                    <a:pt x="1915" y="6310"/>
                  </a:lnTo>
                  <a:lnTo>
                    <a:pt x="1986" y="6522"/>
                  </a:lnTo>
                  <a:lnTo>
                    <a:pt x="2127" y="6664"/>
                  </a:lnTo>
                  <a:lnTo>
                    <a:pt x="2340" y="6735"/>
                  </a:lnTo>
                  <a:lnTo>
                    <a:pt x="2694" y="6735"/>
                  </a:lnTo>
                  <a:lnTo>
                    <a:pt x="3049" y="6664"/>
                  </a:lnTo>
                  <a:lnTo>
                    <a:pt x="3403" y="6522"/>
                  </a:lnTo>
                  <a:lnTo>
                    <a:pt x="3687" y="6381"/>
                  </a:lnTo>
                  <a:lnTo>
                    <a:pt x="4041" y="6168"/>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32" name="Google Shape;21530;p90">
              <a:extLst>
                <a:ext uri="{FF2B5EF4-FFF2-40B4-BE49-F238E27FC236}">
                  <a16:creationId xmlns:a16="http://schemas.microsoft.com/office/drawing/2014/main" id="{71CDC0AD-C103-8CF7-3214-FFF3A6CA9CBC}"/>
                </a:ext>
              </a:extLst>
            </p:cNvPr>
            <p:cNvSpPr/>
            <p:nvPr/>
          </p:nvSpPr>
          <p:spPr>
            <a:xfrm>
              <a:off x="4782950" y="3888925"/>
              <a:ext cx="331425" cy="356250"/>
            </a:xfrm>
            <a:custGeom>
              <a:avLst/>
              <a:gdLst/>
              <a:ahLst/>
              <a:cxnLst/>
              <a:rect l="l" t="t" r="r" b="b"/>
              <a:pathLst>
                <a:path w="13257" h="14250" extrusionOk="0">
                  <a:moveTo>
                    <a:pt x="2836" y="1"/>
                  </a:moveTo>
                  <a:lnTo>
                    <a:pt x="2482" y="72"/>
                  </a:lnTo>
                  <a:lnTo>
                    <a:pt x="1985" y="143"/>
                  </a:lnTo>
                  <a:lnTo>
                    <a:pt x="1418" y="355"/>
                  </a:lnTo>
                  <a:lnTo>
                    <a:pt x="922" y="639"/>
                  </a:lnTo>
                  <a:lnTo>
                    <a:pt x="426" y="922"/>
                  </a:lnTo>
                  <a:lnTo>
                    <a:pt x="142" y="1277"/>
                  </a:lnTo>
                  <a:lnTo>
                    <a:pt x="0" y="1490"/>
                  </a:lnTo>
                  <a:lnTo>
                    <a:pt x="0" y="1631"/>
                  </a:lnTo>
                  <a:lnTo>
                    <a:pt x="0" y="2836"/>
                  </a:lnTo>
                  <a:lnTo>
                    <a:pt x="213" y="4750"/>
                  </a:lnTo>
                  <a:lnTo>
                    <a:pt x="355" y="5743"/>
                  </a:lnTo>
                  <a:lnTo>
                    <a:pt x="568" y="6664"/>
                  </a:lnTo>
                  <a:lnTo>
                    <a:pt x="709" y="7515"/>
                  </a:lnTo>
                  <a:lnTo>
                    <a:pt x="993" y="8153"/>
                  </a:lnTo>
                  <a:lnTo>
                    <a:pt x="1206" y="8508"/>
                  </a:lnTo>
                  <a:lnTo>
                    <a:pt x="1631" y="9004"/>
                  </a:lnTo>
                  <a:lnTo>
                    <a:pt x="2198" y="9429"/>
                  </a:lnTo>
                  <a:lnTo>
                    <a:pt x="2836" y="9996"/>
                  </a:lnTo>
                  <a:lnTo>
                    <a:pt x="4396" y="11060"/>
                  </a:lnTo>
                  <a:lnTo>
                    <a:pt x="6097" y="12123"/>
                  </a:lnTo>
                  <a:lnTo>
                    <a:pt x="7869" y="13045"/>
                  </a:lnTo>
                  <a:lnTo>
                    <a:pt x="9429" y="13824"/>
                  </a:lnTo>
                  <a:lnTo>
                    <a:pt x="10138" y="14037"/>
                  </a:lnTo>
                  <a:lnTo>
                    <a:pt x="10705" y="14179"/>
                  </a:lnTo>
                  <a:lnTo>
                    <a:pt x="11130" y="14250"/>
                  </a:lnTo>
                  <a:lnTo>
                    <a:pt x="11414" y="14179"/>
                  </a:lnTo>
                  <a:lnTo>
                    <a:pt x="11839" y="13824"/>
                  </a:lnTo>
                  <a:lnTo>
                    <a:pt x="12264" y="13399"/>
                  </a:lnTo>
                  <a:lnTo>
                    <a:pt x="12690" y="12903"/>
                  </a:lnTo>
                  <a:lnTo>
                    <a:pt x="12973" y="12407"/>
                  </a:lnTo>
                  <a:lnTo>
                    <a:pt x="13186" y="11910"/>
                  </a:lnTo>
                  <a:lnTo>
                    <a:pt x="13257" y="11414"/>
                  </a:lnTo>
                  <a:lnTo>
                    <a:pt x="13257" y="11272"/>
                  </a:lnTo>
                  <a:lnTo>
                    <a:pt x="13186" y="11060"/>
                  </a:lnTo>
                  <a:lnTo>
                    <a:pt x="13115" y="10918"/>
                  </a:lnTo>
                  <a:lnTo>
                    <a:pt x="12973" y="10776"/>
                  </a:lnTo>
                  <a:lnTo>
                    <a:pt x="12548" y="10493"/>
                  </a:lnTo>
                  <a:lnTo>
                    <a:pt x="11981" y="10280"/>
                  </a:lnTo>
                  <a:lnTo>
                    <a:pt x="10705" y="9713"/>
                  </a:lnTo>
                  <a:lnTo>
                    <a:pt x="7727" y="8649"/>
                  </a:lnTo>
                  <a:lnTo>
                    <a:pt x="6310" y="8153"/>
                  </a:lnTo>
                  <a:lnTo>
                    <a:pt x="5034" y="7586"/>
                  </a:lnTo>
                  <a:lnTo>
                    <a:pt x="4537" y="7302"/>
                  </a:lnTo>
                  <a:lnTo>
                    <a:pt x="4183" y="7019"/>
                  </a:lnTo>
                  <a:lnTo>
                    <a:pt x="3829" y="6735"/>
                  </a:lnTo>
                  <a:lnTo>
                    <a:pt x="3687" y="6523"/>
                  </a:lnTo>
                  <a:lnTo>
                    <a:pt x="3474" y="5814"/>
                  </a:lnTo>
                  <a:lnTo>
                    <a:pt x="3332" y="4963"/>
                  </a:lnTo>
                  <a:lnTo>
                    <a:pt x="3190" y="3049"/>
                  </a:lnTo>
                  <a:lnTo>
                    <a:pt x="3049" y="1277"/>
                  </a:lnTo>
                  <a:lnTo>
                    <a:pt x="2978" y="143"/>
                  </a:lnTo>
                  <a:lnTo>
                    <a:pt x="2907" y="72"/>
                  </a:lnTo>
                  <a:lnTo>
                    <a:pt x="2836" y="1"/>
                  </a:lnTo>
                  <a:close/>
                </a:path>
              </a:pathLst>
            </a:custGeom>
            <a:solidFill>
              <a:srgbClr val="EA8C2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33" name="Google Shape;21531;p90">
              <a:extLst>
                <a:ext uri="{FF2B5EF4-FFF2-40B4-BE49-F238E27FC236}">
                  <a16:creationId xmlns:a16="http://schemas.microsoft.com/office/drawing/2014/main" id="{24951AC3-275D-5963-E1B5-B671CC7DE96D}"/>
                </a:ext>
              </a:extLst>
            </p:cNvPr>
            <p:cNvSpPr/>
            <p:nvPr/>
          </p:nvSpPr>
          <p:spPr>
            <a:xfrm>
              <a:off x="4782950" y="3888925"/>
              <a:ext cx="331425" cy="356250"/>
            </a:xfrm>
            <a:custGeom>
              <a:avLst/>
              <a:gdLst/>
              <a:ahLst/>
              <a:cxnLst/>
              <a:rect l="l" t="t" r="r" b="b"/>
              <a:pathLst>
                <a:path w="13257" h="14250" fill="none" extrusionOk="0">
                  <a:moveTo>
                    <a:pt x="12973" y="10776"/>
                  </a:moveTo>
                  <a:lnTo>
                    <a:pt x="12973" y="10776"/>
                  </a:lnTo>
                  <a:lnTo>
                    <a:pt x="12548" y="10493"/>
                  </a:lnTo>
                  <a:lnTo>
                    <a:pt x="11981" y="10280"/>
                  </a:lnTo>
                  <a:lnTo>
                    <a:pt x="10705" y="9713"/>
                  </a:lnTo>
                  <a:lnTo>
                    <a:pt x="7727" y="8649"/>
                  </a:lnTo>
                  <a:lnTo>
                    <a:pt x="6310" y="8153"/>
                  </a:lnTo>
                  <a:lnTo>
                    <a:pt x="5034" y="7586"/>
                  </a:lnTo>
                  <a:lnTo>
                    <a:pt x="4537" y="7302"/>
                  </a:lnTo>
                  <a:lnTo>
                    <a:pt x="4183" y="7019"/>
                  </a:lnTo>
                  <a:lnTo>
                    <a:pt x="3829" y="6735"/>
                  </a:lnTo>
                  <a:lnTo>
                    <a:pt x="3687" y="6523"/>
                  </a:lnTo>
                  <a:lnTo>
                    <a:pt x="3687" y="6523"/>
                  </a:lnTo>
                  <a:lnTo>
                    <a:pt x="3474" y="5814"/>
                  </a:lnTo>
                  <a:lnTo>
                    <a:pt x="3332" y="4963"/>
                  </a:lnTo>
                  <a:lnTo>
                    <a:pt x="3190" y="3049"/>
                  </a:lnTo>
                  <a:lnTo>
                    <a:pt x="3049" y="1277"/>
                  </a:lnTo>
                  <a:lnTo>
                    <a:pt x="2978" y="143"/>
                  </a:lnTo>
                  <a:lnTo>
                    <a:pt x="2978" y="143"/>
                  </a:lnTo>
                  <a:lnTo>
                    <a:pt x="2907" y="72"/>
                  </a:lnTo>
                  <a:lnTo>
                    <a:pt x="2836" y="1"/>
                  </a:lnTo>
                  <a:lnTo>
                    <a:pt x="2482" y="72"/>
                  </a:lnTo>
                  <a:lnTo>
                    <a:pt x="1985" y="143"/>
                  </a:lnTo>
                  <a:lnTo>
                    <a:pt x="1418" y="355"/>
                  </a:lnTo>
                  <a:lnTo>
                    <a:pt x="922" y="639"/>
                  </a:lnTo>
                  <a:lnTo>
                    <a:pt x="426" y="922"/>
                  </a:lnTo>
                  <a:lnTo>
                    <a:pt x="142" y="1277"/>
                  </a:lnTo>
                  <a:lnTo>
                    <a:pt x="0" y="1490"/>
                  </a:lnTo>
                  <a:lnTo>
                    <a:pt x="0" y="1631"/>
                  </a:lnTo>
                  <a:lnTo>
                    <a:pt x="0" y="1631"/>
                  </a:lnTo>
                  <a:lnTo>
                    <a:pt x="0" y="2836"/>
                  </a:lnTo>
                  <a:lnTo>
                    <a:pt x="213" y="4750"/>
                  </a:lnTo>
                  <a:lnTo>
                    <a:pt x="355" y="5743"/>
                  </a:lnTo>
                  <a:lnTo>
                    <a:pt x="568" y="6664"/>
                  </a:lnTo>
                  <a:lnTo>
                    <a:pt x="709" y="7515"/>
                  </a:lnTo>
                  <a:lnTo>
                    <a:pt x="993" y="8153"/>
                  </a:lnTo>
                  <a:lnTo>
                    <a:pt x="993" y="8153"/>
                  </a:lnTo>
                  <a:lnTo>
                    <a:pt x="1206" y="8508"/>
                  </a:lnTo>
                  <a:lnTo>
                    <a:pt x="1631" y="9004"/>
                  </a:lnTo>
                  <a:lnTo>
                    <a:pt x="2198" y="9429"/>
                  </a:lnTo>
                  <a:lnTo>
                    <a:pt x="2836" y="9996"/>
                  </a:lnTo>
                  <a:lnTo>
                    <a:pt x="4396" y="11060"/>
                  </a:lnTo>
                  <a:lnTo>
                    <a:pt x="6097" y="12123"/>
                  </a:lnTo>
                  <a:lnTo>
                    <a:pt x="7869" y="13045"/>
                  </a:lnTo>
                  <a:lnTo>
                    <a:pt x="9429" y="13824"/>
                  </a:lnTo>
                  <a:lnTo>
                    <a:pt x="10138" y="14037"/>
                  </a:lnTo>
                  <a:lnTo>
                    <a:pt x="10705" y="14179"/>
                  </a:lnTo>
                  <a:lnTo>
                    <a:pt x="11130" y="14250"/>
                  </a:lnTo>
                  <a:lnTo>
                    <a:pt x="11414" y="14179"/>
                  </a:lnTo>
                  <a:lnTo>
                    <a:pt x="11414" y="14179"/>
                  </a:lnTo>
                  <a:lnTo>
                    <a:pt x="11839" y="13824"/>
                  </a:lnTo>
                  <a:lnTo>
                    <a:pt x="12264" y="13399"/>
                  </a:lnTo>
                  <a:lnTo>
                    <a:pt x="12690" y="12903"/>
                  </a:lnTo>
                  <a:lnTo>
                    <a:pt x="12973" y="12407"/>
                  </a:lnTo>
                  <a:lnTo>
                    <a:pt x="13186" y="11910"/>
                  </a:lnTo>
                  <a:lnTo>
                    <a:pt x="13257" y="11414"/>
                  </a:lnTo>
                  <a:lnTo>
                    <a:pt x="13257" y="11272"/>
                  </a:lnTo>
                  <a:lnTo>
                    <a:pt x="13186" y="11060"/>
                  </a:lnTo>
                  <a:lnTo>
                    <a:pt x="13115" y="10918"/>
                  </a:lnTo>
                  <a:lnTo>
                    <a:pt x="12973" y="10776"/>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34" name="Google Shape;21532;p90">
              <a:extLst>
                <a:ext uri="{FF2B5EF4-FFF2-40B4-BE49-F238E27FC236}">
                  <a16:creationId xmlns:a16="http://schemas.microsoft.com/office/drawing/2014/main" id="{AC3C7D82-6E9D-91D6-928F-8BD75005753B}"/>
                </a:ext>
              </a:extLst>
            </p:cNvPr>
            <p:cNvSpPr/>
            <p:nvPr/>
          </p:nvSpPr>
          <p:spPr>
            <a:xfrm>
              <a:off x="4782950" y="3888925"/>
              <a:ext cx="303075" cy="297775"/>
            </a:xfrm>
            <a:custGeom>
              <a:avLst/>
              <a:gdLst/>
              <a:ahLst/>
              <a:cxnLst/>
              <a:rect l="l" t="t" r="r" b="b"/>
              <a:pathLst>
                <a:path w="12123" h="11911" extrusionOk="0">
                  <a:moveTo>
                    <a:pt x="9216" y="9216"/>
                  </a:moveTo>
                  <a:lnTo>
                    <a:pt x="9003" y="10138"/>
                  </a:lnTo>
                  <a:lnTo>
                    <a:pt x="9003" y="10138"/>
                  </a:lnTo>
                  <a:lnTo>
                    <a:pt x="9287" y="10067"/>
                  </a:lnTo>
                  <a:lnTo>
                    <a:pt x="9783" y="9996"/>
                  </a:lnTo>
                  <a:lnTo>
                    <a:pt x="10350" y="9996"/>
                  </a:lnTo>
                  <a:lnTo>
                    <a:pt x="11272" y="10067"/>
                  </a:lnTo>
                  <a:lnTo>
                    <a:pt x="12123" y="10280"/>
                  </a:lnTo>
                  <a:lnTo>
                    <a:pt x="10776" y="9784"/>
                  </a:lnTo>
                  <a:lnTo>
                    <a:pt x="9216" y="9216"/>
                  </a:lnTo>
                  <a:close/>
                  <a:moveTo>
                    <a:pt x="2694" y="1"/>
                  </a:moveTo>
                  <a:lnTo>
                    <a:pt x="2411" y="72"/>
                  </a:lnTo>
                  <a:lnTo>
                    <a:pt x="1914" y="213"/>
                  </a:lnTo>
                  <a:lnTo>
                    <a:pt x="1276" y="426"/>
                  </a:lnTo>
                  <a:lnTo>
                    <a:pt x="709" y="781"/>
                  </a:lnTo>
                  <a:lnTo>
                    <a:pt x="284" y="1135"/>
                  </a:lnTo>
                  <a:lnTo>
                    <a:pt x="71" y="1348"/>
                  </a:lnTo>
                  <a:lnTo>
                    <a:pt x="0" y="1631"/>
                  </a:lnTo>
                  <a:lnTo>
                    <a:pt x="0" y="1773"/>
                  </a:lnTo>
                  <a:lnTo>
                    <a:pt x="71" y="3049"/>
                  </a:lnTo>
                  <a:lnTo>
                    <a:pt x="213" y="4892"/>
                  </a:lnTo>
                  <a:lnTo>
                    <a:pt x="568" y="6735"/>
                  </a:lnTo>
                  <a:lnTo>
                    <a:pt x="780" y="7515"/>
                  </a:lnTo>
                  <a:lnTo>
                    <a:pt x="993" y="8153"/>
                  </a:lnTo>
                  <a:lnTo>
                    <a:pt x="1206" y="8508"/>
                  </a:lnTo>
                  <a:lnTo>
                    <a:pt x="1560" y="8933"/>
                  </a:lnTo>
                  <a:lnTo>
                    <a:pt x="2127" y="9358"/>
                  </a:lnTo>
                  <a:lnTo>
                    <a:pt x="2694" y="9854"/>
                  </a:lnTo>
                  <a:lnTo>
                    <a:pt x="4112" y="10918"/>
                  </a:lnTo>
                  <a:lnTo>
                    <a:pt x="5743" y="11910"/>
                  </a:lnTo>
                  <a:lnTo>
                    <a:pt x="6381" y="11485"/>
                  </a:lnTo>
                  <a:lnTo>
                    <a:pt x="6310" y="10776"/>
                  </a:lnTo>
                  <a:lnTo>
                    <a:pt x="6310" y="10634"/>
                  </a:lnTo>
                  <a:lnTo>
                    <a:pt x="6310" y="10493"/>
                  </a:lnTo>
                  <a:lnTo>
                    <a:pt x="6310" y="10280"/>
                  </a:lnTo>
                  <a:lnTo>
                    <a:pt x="6664" y="9075"/>
                  </a:lnTo>
                  <a:lnTo>
                    <a:pt x="6664" y="9075"/>
                  </a:lnTo>
                  <a:lnTo>
                    <a:pt x="6168" y="9216"/>
                  </a:lnTo>
                  <a:lnTo>
                    <a:pt x="5813" y="9287"/>
                  </a:lnTo>
                  <a:lnTo>
                    <a:pt x="5601" y="9287"/>
                  </a:lnTo>
                  <a:lnTo>
                    <a:pt x="5459" y="9146"/>
                  </a:lnTo>
                  <a:lnTo>
                    <a:pt x="5317" y="9004"/>
                  </a:lnTo>
                  <a:lnTo>
                    <a:pt x="5317" y="8862"/>
                  </a:lnTo>
                  <a:lnTo>
                    <a:pt x="5317" y="8366"/>
                  </a:lnTo>
                  <a:lnTo>
                    <a:pt x="5388" y="7728"/>
                  </a:lnTo>
                  <a:lnTo>
                    <a:pt x="4750" y="7444"/>
                  </a:lnTo>
                  <a:lnTo>
                    <a:pt x="4254" y="7161"/>
                  </a:lnTo>
                  <a:lnTo>
                    <a:pt x="3899" y="6806"/>
                  </a:lnTo>
                  <a:lnTo>
                    <a:pt x="3687" y="6523"/>
                  </a:lnTo>
                  <a:lnTo>
                    <a:pt x="3474" y="5814"/>
                  </a:lnTo>
                  <a:lnTo>
                    <a:pt x="3332" y="4963"/>
                  </a:lnTo>
                  <a:lnTo>
                    <a:pt x="3190" y="3049"/>
                  </a:lnTo>
                  <a:lnTo>
                    <a:pt x="3049" y="1277"/>
                  </a:lnTo>
                  <a:lnTo>
                    <a:pt x="2978" y="143"/>
                  </a:lnTo>
                  <a:lnTo>
                    <a:pt x="2907" y="72"/>
                  </a:lnTo>
                  <a:lnTo>
                    <a:pt x="2694" y="1"/>
                  </a:lnTo>
                  <a:close/>
                </a:path>
              </a:pathLst>
            </a:custGeom>
            <a:solidFill>
              <a:srgbClr val="C87A3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35" name="Google Shape;21533;p90">
              <a:extLst>
                <a:ext uri="{FF2B5EF4-FFF2-40B4-BE49-F238E27FC236}">
                  <a16:creationId xmlns:a16="http://schemas.microsoft.com/office/drawing/2014/main" id="{B3E1531E-2D87-D5A9-A87B-4C18DC064670}"/>
                </a:ext>
              </a:extLst>
            </p:cNvPr>
            <p:cNvSpPr/>
            <p:nvPr/>
          </p:nvSpPr>
          <p:spPr>
            <a:xfrm>
              <a:off x="5008025" y="4119325"/>
              <a:ext cx="78000" cy="26600"/>
            </a:xfrm>
            <a:custGeom>
              <a:avLst/>
              <a:gdLst/>
              <a:ahLst/>
              <a:cxnLst/>
              <a:rect l="l" t="t" r="r" b="b"/>
              <a:pathLst>
                <a:path w="3120" h="1064" fill="none" extrusionOk="0">
                  <a:moveTo>
                    <a:pt x="213" y="0"/>
                  </a:moveTo>
                  <a:lnTo>
                    <a:pt x="213" y="0"/>
                  </a:lnTo>
                  <a:lnTo>
                    <a:pt x="0" y="922"/>
                  </a:lnTo>
                  <a:lnTo>
                    <a:pt x="0" y="922"/>
                  </a:lnTo>
                  <a:lnTo>
                    <a:pt x="284" y="851"/>
                  </a:lnTo>
                  <a:lnTo>
                    <a:pt x="284" y="851"/>
                  </a:lnTo>
                  <a:lnTo>
                    <a:pt x="780" y="780"/>
                  </a:lnTo>
                  <a:lnTo>
                    <a:pt x="1347" y="780"/>
                  </a:lnTo>
                  <a:lnTo>
                    <a:pt x="1347" y="780"/>
                  </a:lnTo>
                  <a:lnTo>
                    <a:pt x="2269" y="851"/>
                  </a:lnTo>
                  <a:lnTo>
                    <a:pt x="3120" y="1064"/>
                  </a:lnTo>
                  <a:lnTo>
                    <a:pt x="3120" y="1064"/>
                  </a:lnTo>
                  <a:lnTo>
                    <a:pt x="1773" y="568"/>
                  </a:lnTo>
                  <a:lnTo>
                    <a:pt x="213"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36" name="Google Shape;21534;p90">
              <a:extLst>
                <a:ext uri="{FF2B5EF4-FFF2-40B4-BE49-F238E27FC236}">
                  <a16:creationId xmlns:a16="http://schemas.microsoft.com/office/drawing/2014/main" id="{D94D6282-422B-253B-FD6C-D87AFD6C4CB3}"/>
                </a:ext>
              </a:extLst>
            </p:cNvPr>
            <p:cNvSpPr/>
            <p:nvPr/>
          </p:nvSpPr>
          <p:spPr>
            <a:xfrm>
              <a:off x="4782950" y="3888925"/>
              <a:ext cx="166625" cy="297775"/>
            </a:xfrm>
            <a:custGeom>
              <a:avLst/>
              <a:gdLst/>
              <a:ahLst/>
              <a:cxnLst/>
              <a:rect l="l" t="t" r="r" b="b"/>
              <a:pathLst>
                <a:path w="6665" h="11911" fill="none" extrusionOk="0">
                  <a:moveTo>
                    <a:pt x="2694" y="1"/>
                  </a:moveTo>
                  <a:lnTo>
                    <a:pt x="2694" y="1"/>
                  </a:lnTo>
                  <a:lnTo>
                    <a:pt x="2411" y="72"/>
                  </a:lnTo>
                  <a:lnTo>
                    <a:pt x="2411" y="72"/>
                  </a:lnTo>
                  <a:lnTo>
                    <a:pt x="1914" y="213"/>
                  </a:lnTo>
                  <a:lnTo>
                    <a:pt x="1276" y="426"/>
                  </a:lnTo>
                  <a:lnTo>
                    <a:pt x="709" y="781"/>
                  </a:lnTo>
                  <a:lnTo>
                    <a:pt x="284" y="1135"/>
                  </a:lnTo>
                  <a:lnTo>
                    <a:pt x="284" y="1135"/>
                  </a:lnTo>
                  <a:lnTo>
                    <a:pt x="71" y="1348"/>
                  </a:lnTo>
                  <a:lnTo>
                    <a:pt x="0" y="1631"/>
                  </a:lnTo>
                  <a:lnTo>
                    <a:pt x="0" y="1631"/>
                  </a:lnTo>
                  <a:lnTo>
                    <a:pt x="0" y="1773"/>
                  </a:lnTo>
                  <a:lnTo>
                    <a:pt x="0" y="1773"/>
                  </a:lnTo>
                  <a:lnTo>
                    <a:pt x="71" y="3049"/>
                  </a:lnTo>
                  <a:lnTo>
                    <a:pt x="213" y="4892"/>
                  </a:lnTo>
                  <a:lnTo>
                    <a:pt x="568" y="6735"/>
                  </a:lnTo>
                  <a:lnTo>
                    <a:pt x="780" y="7515"/>
                  </a:lnTo>
                  <a:lnTo>
                    <a:pt x="993" y="8153"/>
                  </a:lnTo>
                  <a:lnTo>
                    <a:pt x="993" y="8153"/>
                  </a:lnTo>
                  <a:lnTo>
                    <a:pt x="1206" y="8508"/>
                  </a:lnTo>
                  <a:lnTo>
                    <a:pt x="1560" y="8933"/>
                  </a:lnTo>
                  <a:lnTo>
                    <a:pt x="2127" y="9358"/>
                  </a:lnTo>
                  <a:lnTo>
                    <a:pt x="2694" y="9854"/>
                  </a:lnTo>
                  <a:lnTo>
                    <a:pt x="4112" y="10918"/>
                  </a:lnTo>
                  <a:lnTo>
                    <a:pt x="5743" y="11910"/>
                  </a:lnTo>
                  <a:lnTo>
                    <a:pt x="5743" y="11910"/>
                  </a:lnTo>
                  <a:lnTo>
                    <a:pt x="6381" y="11485"/>
                  </a:lnTo>
                  <a:lnTo>
                    <a:pt x="6310" y="10776"/>
                  </a:lnTo>
                  <a:lnTo>
                    <a:pt x="6310" y="10776"/>
                  </a:lnTo>
                  <a:lnTo>
                    <a:pt x="6310" y="10634"/>
                  </a:lnTo>
                  <a:lnTo>
                    <a:pt x="6310" y="10493"/>
                  </a:lnTo>
                  <a:lnTo>
                    <a:pt x="6310" y="10280"/>
                  </a:lnTo>
                  <a:lnTo>
                    <a:pt x="6664" y="9075"/>
                  </a:lnTo>
                  <a:lnTo>
                    <a:pt x="6664" y="9075"/>
                  </a:lnTo>
                  <a:lnTo>
                    <a:pt x="6168" y="9216"/>
                  </a:lnTo>
                  <a:lnTo>
                    <a:pt x="5813" y="9287"/>
                  </a:lnTo>
                  <a:lnTo>
                    <a:pt x="5813" y="9287"/>
                  </a:lnTo>
                  <a:lnTo>
                    <a:pt x="5601" y="9287"/>
                  </a:lnTo>
                  <a:lnTo>
                    <a:pt x="5459" y="9146"/>
                  </a:lnTo>
                  <a:lnTo>
                    <a:pt x="5317" y="9004"/>
                  </a:lnTo>
                  <a:lnTo>
                    <a:pt x="5317" y="8862"/>
                  </a:lnTo>
                  <a:lnTo>
                    <a:pt x="5317" y="8366"/>
                  </a:lnTo>
                  <a:lnTo>
                    <a:pt x="5388" y="7728"/>
                  </a:lnTo>
                  <a:lnTo>
                    <a:pt x="5388" y="7728"/>
                  </a:lnTo>
                  <a:lnTo>
                    <a:pt x="4750" y="7444"/>
                  </a:lnTo>
                  <a:lnTo>
                    <a:pt x="4254" y="7161"/>
                  </a:lnTo>
                  <a:lnTo>
                    <a:pt x="3899" y="6806"/>
                  </a:lnTo>
                  <a:lnTo>
                    <a:pt x="3687" y="6523"/>
                  </a:lnTo>
                  <a:lnTo>
                    <a:pt x="3687" y="6523"/>
                  </a:lnTo>
                  <a:lnTo>
                    <a:pt x="3474" y="5814"/>
                  </a:lnTo>
                  <a:lnTo>
                    <a:pt x="3332" y="4963"/>
                  </a:lnTo>
                  <a:lnTo>
                    <a:pt x="3190" y="3049"/>
                  </a:lnTo>
                  <a:lnTo>
                    <a:pt x="3049" y="1277"/>
                  </a:lnTo>
                  <a:lnTo>
                    <a:pt x="2978" y="143"/>
                  </a:lnTo>
                  <a:lnTo>
                    <a:pt x="2978" y="143"/>
                  </a:lnTo>
                  <a:lnTo>
                    <a:pt x="2907" y="72"/>
                  </a:lnTo>
                  <a:lnTo>
                    <a:pt x="2694"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37" name="Google Shape;21535;p90">
              <a:extLst>
                <a:ext uri="{FF2B5EF4-FFF2-40B4-BE49-F238E27FC236}">
                  <a16:creationId xmlns:a16="http://schemas.microsoft.com/office/drawing/2014/main" id="{EB6A6094-7153-0F17-DBC3-6394AD7D7CF4}"/>
                </a:ext>
              </a:extLst>
            </p:cNvPr>
            <p:cNvSpPr/>
            <p:nvPr/>
          </p:nvSpPr>
          <p:spPr>
            <a:xfrm>
              <a:off x="4035075" y="3408650"/>
              <a:ext cx="887900" cy="1276050"/>
            </a:xfrm>
            <a:custGeom>
              <a:avLst/>
              <a:gdLst/>
              <a:ahLst/>
              <a:cxnLst/>
              <a:rect l="l" t="t" r="r" b="b"/>
              <a:pathLst>
                <a:path w="35516" h="51042" extrusionOk="0">
                  <a:moveTo>
                    <a:pt x="21621" y="1"/>
                  </a:moveTo>
                  <a:lnTo>
                    <a:pt x="20912" y="142"/>
                  </a:lnTo>
                  <a:lnTo>
                    <a:pt x="20204" y="355"/>
                  </a:lnTo>
                  <a:lnTo>
                    <a:pt x="19495" y="639"/>
                  </a:lnTo>
                  <a:lnTo>
                    <a:pt x="18786" y="1064"/>
                  </a:lnTo>
                  <a:lnTo>
                    <a:pt x="18148" y="1560"/>
                  </a:lnTo>
                  <a:lnTo>
                    <a:pt x="17510" y="2057"/>
                  </a:lnTo>
                  <a:lnTo>
                    <a:pt x="16943" y="2695"/>
                  </a:lnTo>
                  <a:lnTo>
                    <a:pt x="16446" y="3403"/>
                  </a:lnTo>
                  <a:lnTo>
                    <a:pt x="15950" y="4183"/>
                  </a:lnTo>
                  <a:lnTo>
                    <a:pt x="15454" y="5034"/>
                  </a:lnTo>
                  <a:lnTo>
                    <a:pt x="15100" y="5955"/>
                  </a:lnTo>
                  <a:lnTo>
                    <a:pt x="14745" y="6877"/>
                  </a:lnTo>
                  <a:lnTo>
                    <a:pt x="14462" y="7869"/>
                  </a:lnTo>
                  <a:lnTo>
                    <a:pt x="14249" y="8862"/>
                  </a:lnTo>
                  <a:lnTo>
                    <a:pt x="14107" y="9996"/>
                  </a:lnTo>
                  <a:lnTo>
                    <a:pt x="3686" y="9287"/>
                  </a:lnTo>
                  <a:lnTo>
                    <a:pt x="3261" y="9358"/>
                  </a:lnTo>
                  <a:lnTo>
                    <a:pt x="2906" y="9500"/>
                  </a:lnTo>
                  <a:lnTo>
                    <a:pt x="2694" y="9783"/>
                  </a:lnTo>
                  <a:lnTo>
                    <a:pt x="2623" y="9925"/>
                  </a:lnTo>
                  <a:lnTo>
                    <a:pt x="2552" y="10138"/>
                  </a:lnTo>
                  <a:lnTo>
                    <a:pt x="1772" y="22331"/>
                  </a:lnTo>
                  <a:lnTo>
                    <a:pt x="1843" y="22615"/>
                  </a:lnTo>
                  <a:lnTo>
                    <a:pt x="1985" y="22827"/>
                  </a:lnTo>
                  <a:lnTo>
                    <a:pt x="2198" y="22969"/>
                  </a:lnTo>
                  <a:lnTo>
                    <a:pt x="2481" y="23040"/>
                  </a:lnTo>
                  <a:lnTo>
                    <a:pt x="3757" y="23253"/>
                  </a:lnTo>
                  <a:lnTo>
                    <a:pt x="4962" y="23465"/>
                  </a:lnTo>
                  <a:lnTo>
                    <a:pt x="6097" y="23749"/>
                  </a:lnTo>
                  <a:lnTo>
                    <a:pt x="7231" y="24103"/>
                  </a:lnTo>
                  <a:lnTo>
                    <a:pt x="8294" y="24529"/>
                  </a:lnTo>
                  <a:lnTo>
                    <a:pt x="9216" y="24954"/>
                  </a:lnTo>
                  <a:lnTo>
                    <a:pt x="10137" y="25379"/>
                  </a:lnTo>
                  <a:lnTo>
                    <a:pt x="10988" y="25875"/>
                  </a:lnTo>
                  <a:lnTo>
                    <a:pt x="11697" y="26443"/>
                  </a:lnTo>
                  <a:lnTo>
                    <a:pt x="12335" y="27010"/>
                  </a:lnTo>
                  <a:lnTo>
                    <a:pt x="12902" y="27577"/>
                  </a:lnTo>
                  <a:lnTo>
                    <a:pt x="13398" y="28144"/>
                  </a:lnTo>
                  <a:lnTo>
                    <a:pt x="13753" y="28782"/>
                  </a:lnTo>
                  <a:lnTo>
                    <a:pt x="14036" y="29420"/>
                  </a:lnTo>
                  <a:lnTo>
                    <a:pt x="14178" y="30058"/>
                  </a:lnTo>
                  <a:lnTo>
                    <a:pt x="14178" y="30625"/>
                  </a:lnTo>
                  <a:lnTo>
                    <a:pt x="14036" y="31263"/>
                  </a:lnTo>
                  <a:lnTo>
                    <a:pt x="13823" y="31901"/>
                  </a:lnTo>
                  <a:lnTo>
                    <a:pt x="13469" y="32539"/>
                  </a:lnTo>
                  <a:lnTo>
                    <a:pt x="13044" y="33177"/>
                  </a:lnTo>
                  <a:lnTo>
                    <a:pt x="12477" y="33815"/>
                  </a:lnTo>
                  <a:lnTo>
                    <a:pt x="11768" y="34453"/>
                  </a:lnTo>
                  <a:lnTo>
                    <a:pt x="10988" y="35020"/>
                  </a:lnTo>
                  <a:lnTo>
                    <a:pt x="10137" y="35516"/>
                  </a:lnTo>
                  <a:lnTo>
                    <a:pt x="9216" y="36013"/>
                  </a:lnTo>
                  <a:lnTo>
                    <a:pt x="8223" y="36509"/>
                  </a:lnTo>
                  <a:lnTo>
                    <a:pt x="7160" y="36934"/>
                  </a:lnTo>
                  <a:lnTo>
                    <a:pt x="6097" y="37218"/>
                  </a:lnTo>
                  <a:lnTo>
                    <a:pt x="4891" y="37501"/>
                  </a:lnTo>
                  <a:lnTo>
                    <a:pt x="3686" y="37714"/>
                  </a:lnTo>
                  <a:lnTo>
                    <a:pt x="2481" y="37856"/>
                  </a:lnTo>
                  <a:lnTo>
                    <a:pt x="922" y="37856"/>
                  </a:lnTo>
                  <a:lnTo>
                    <a:pt x="709" y="37998"/>
                  </a:lnTo>
                  <a:lnTo>
                    <a:pt x="496" y="38210"/>
                  </a:lnTo>
                  <a:lnTo>
                    <a:pt x="425" y="38423"/>
                  </a:lnTo>
                  <a:lnTo>
                    <a:pt x="284" y="41542"/>
                  </a:lnTo>
                  <a:lnTo>
                    <a:pt x="213" y="44236"/>
                  </a:lnTo>
                  <a:lnTo>
                    <a:pt x="142" y="46646"/>
                  </a:lnTo>
                  <a:lnTo>
                    <a:pt x="0" y="48986"/>
                  </a:lnTo>
                  <a:lnTo>
                    <a:pt x="0" y="49269"/>
                  </a:lnTo>
                  <a:lnTo>
                    <a:pt x="71" y="49482"/>
                  </a:lnTo>
                  <a:lnTo>
                    <a:pt x="213" y="49765"/>
                  </a:lnTo>
                  <a:lnTo>
                    <a:pt x="354" y="49907"/>
                  </a:lnTo>
                  <a:lnTo>
                    <a:pt x="567" y="50120"/>
                  </a:lnTo>
                  <a:lnTo>
                    <a:pt x="851" y="50262"/>
                  </a:lnTo>
                  <a:lnTo>
                    <a:pt x="1134" y="50332"/>
                  </a:lnTo>
                  <a:lnTo>
                    <a:pt x="1418" y="50332"/>
                  </a:lnTo>
                  <a:lnTo>
                    <a:pt x="12618" y="51041"/>
                  </a:lnTo>
                  <a:lnTo>
                    <a:pt x="14036" y="49269"/>
                  </a:lnTo>
                  <a:lnTo>
                    <a:pt x="15525" y="47426"/>
                  </a:lnTo>
                  <a:lnTo>
                    <a:pt x="18715" y="43527"/>
                  </a:lnTo>
                  <a:lnTo>
                    <a:pt x="20416" y="41400"/>
                  </a:lnTo>
                  <a:lnTo>
                    <a:pt x="22188" y="39274"/>
                  </a:lnTo>
                  <a:lnTo>
                    <a:pt x="23890" y="37005"/>
                  </a:lnTo>
                  <a:lnTo>
                    <a:pt x="25591" y="34595"/>
                  </a:lnTo>
                  <a:lnTo>
                    <a:pt x="27222" y="32114"/>
                  </a:lnTo>
                  <a:lnTo>
                    <a:pt x="28852" y="29562"/>
                  </a:lnTo>
                  <a:lnTo>
                    <a:pt x="30341" y="26868"/>
                  </a:lnTo>
                  <a:lnTo>
                    <a:pt x="31050" y="25521"/>
                  </a:lnTo>
                  <a:lnTo>
                    <a:pt x="31688" y="24103"/>
                  </a:lnTo>
                  <a:lnTo>
                    <a:pt x="32326" y="22615"/>
                  </a:lnTo>
                  <a:lnTo>
                    <a:pt x="32893" y="21126"/>
                  </a:lnTo>
                  <a:lnTo>
                    <a:pt x="33460" y="19637"/>
                  </a:lnTo>
                  <a:lnTo>
                    <a:pt x="34027" y="18078"/>
                  </a:lnTo>
                  <a:lnTo>
                    <a:pt x="34452" y="16518"/>
                  </a:lnTo>
                  <a:lnTo>
                    <a:pt x="34878" y="14888"/>
                  </a:lnTo>
                  <a:lnTo>
                    <a:pt x="35232" y="13257"/>
                  </a:lnTo>
                  <a:lnTo>
                    <a:pt x="35516" y="11556"/>
                  </a:lnTo>
                  <a:lnTo>
                    <a:pt x="29348" y="11060"/>
                  </a:lnTo>
                  <a:lnTo>
                    <a:pt x="29348" y="9925"/>
                  </a:lnTo>
                  <a:lnTo>
                    <a:pt x="29277" y="8862"/>
                  </a:lnTo>
                  <a:lnTo>
                    <a:pt x="29136" y="7869"/>
                  </a:lnTo>
                  <a:lnTo>
                    <a:pt x="28923" y="6877"/>
                  </a:lnTo>
                  <a:lnTo>
                    <a:pt x="28639" y="5955"/>
                  </a:lnTo>
                  <a:lnTo>
                    <a:pt x="28285" y="5034"/>
                  </a:lnTo>
                  <a:lnTo>
                    <a:pt x="27931" y="4183"/>
                  </a:lnTo>
                  <a:lnTo>
                    <a:pt x="27505" y="3403"/>
                  </a:lnTo>
                  <a:lnTo>
                    <a:pt x="27009" y="2695"/>
                  </a:lnTo>
                  <a:lnTo>
                    <a:pt x="26442" y="2057"/>
                  </a:lnTo>
                  <a:lnTo>
                    <a:pt x="25875" y="1489"/>
                  </a:lnTo>
                  <a:lnTo>
                    <a:pt x="25237" y="1064"/>
                  </a:lnTo>
                  <a:lnTo>
                    <a:pt x="24599" y="639"/>
                  </a:lnTo>
                  <a:lnTo>
                    <a:pt x="23890" y="355"/>
                  </a:lnTo>
                  <a:lnTo>
                    <a:pt x="23181" y="142"/>
                  </a:lnTo>
                  <a:lnTo>
                    <a:pt x="22401" y="1"/>
                  </a:lnTo>
                  <a:close/>
                </a:path>
              </a:pathLst>
            </a:custGeom>
            <a:solidFill>
              <a:srgbClr val="FDB61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38" name="Google Shape;21536;p90">
              <a:extLst>
                <a:ext uri="{FF2B5EF4-FFF2-40B4-BE49-F238E27FC236}">
                  <a16:creationId xmlns:a16="http://schemas.microsoft.com/office/drawing/2014/main" id="{49CE1B04-DAB3-0602-9CA8-0A0795D7F071}"/>
                </a:ext>
              </a:extLst>
            </p:cNvPr>
            <p:cNvSpPr/>
            <p:nvPr/>
          </p:nvSpPr>
          <p:spPr>
            <a:xfrm>
              <a:off x="4531300" y="3910200"/>
              <a:ext cx="106350" cy="170150"/>
            </a:xfrm>
            <a:custGeom>
              <a:avLst/>
              <a:gdLst/>
              <a:ahLst/>
              <a:cxnLst/>
              <a:rect l="l" t="t" r="r" b="b"/>
              <a:pathLst>
                <a:path w="4254" h="6806" extrusionOk="0">
                  <a:moveTo>
                    <a:pt x="1418" y="0"/>
                  </a:moveTo>
                  <a:lnTo>
                    <a:pt x="922" y="142"/>
                  </a:lnTo>
                  <a:lnTo>
                    <a:pt x="496" y="284"/>
                  </a:lnTo>
                  <a:lnTo>
                    <a:pt x="213" y="497"/>
                  </a:lnTo>
                  <a:lnTo>
                    <a:pt x="71" y="709"/>
                  </a:lnTo>
                  <a:lnTo>
                    <a:pt x="0" y="851"/>
                  </a:lnTo>
                  <a:lnTo>
                    <a:pt x="0" y="1064"/>
                  </a:lnTo>
                  <a:lnTo>
                    <a:pt x="71" y="1347"/>
                  </a:lnTo>
                  <a:lnTo>
                    <a:pt x="425" y="2340"/>
                  </a:lnTo>
                  <a:lnTo>
                    <a:pt x="922" y="3332"/>
                  </a:lnTo>
                  <a:lnTo>
                    <a:pt x="1418" y="4467"/>
                  </a:lnTo>
                  <a:lnTo>
                    <a:pt x="1631" y="5246"/>
                  </a:lnTo>
                  <a:lnTo>
                    <a:pt x="1843" y="6097"/>
                  </a:lnTo>
                  <a:lnTo>
                    <a:pt x="1914" y="6310"/>
                  </a:lnTo>
                  <a:lnTo>
                    <a:pt x="2056" y="6522"/>
                  </a:lnTo>
                  <a:lnTo>
                    <a:pt x="2198" y="6664"/>
                  </a:lnTo>
                  <a:lnTo>
                    <a:pt x="2339" y="6735"/>
                  </a:lnTo>
                  <a:lnTo>
                    <a:pt x="2694" y="6806"/>
                  </a:lnTo>
                  <a:lnTo>
                    <a:pt x="3048" y="6664"/>
                  </a:lnTo>
                  <a:lnTo>
                    <a:pt x="3403" y="6522"/>
                  </a:lnTo>
                  <a:lnTo>
                    <a:pt x="3757" y="6381"/>
                  </a:lnTo>
                  <a:lnTo>
                    <a:pt x="4041" y="6168"/>
                  </a:lnTo>
                  <a:lnTo>
                    <a:pt x="3899" y="5743"/>
                  </a:lnTo>
                  <a:lnTo>
                    <a:pt x="3828" y="5317"/>
                  </a:lnTo>
                  <a:lnTo>
                    <a:pt x="3899" y="4396"/>
                  </a:lnTo>
                  <a:lnTo>
                    <a:pt x="3970" y="3616"/>
                  </a:lnTo>
                  <a:lnTo>
                    <a:pt x="4183" y="3120"/>
                  </a:lnTo>
                  <a:lnTo>
                    <a:pt x="4254" y="2978"/>
                  </a:lnTo>
                  <a:lnTo>
                    <a:pt x="4254" y="2765"/>
                  </a:lnTo>
                  <a:lnTo>
                    <a:pt x="4254" y="2411"/>
                  </a:lnTo>
                  <a:lnTo>
                    <a:pt x="4183" y="2340"/>
                  </a:lnTo>
                  <a:lnTo>
                    <a:pt x="4041" y="2269"/>
                  </a:lnTo>
                  <a:lnTo>
                    <a:pt x="3899" y="2269"/>
                  </a:lnTo>
                  <a:lnTo>
                    <a:pt x="3757" y="2411"/>
                  </a:lnTo>
                  <a:lnTo>
                    <a:pt x="3615" y="2482"/>
                  </a:lnTo>
                  <a:lnTo>
                    <a:pt x="3474" y="2553"/>
                  </a:lnTo>
                  <a:lnTo>
                    <a:pt x="3332" y="2553"/>
                  </a:lnTo>
                  <a:lnTo>
                    <a:pt x="3190" y="2482"/>
                  </a:lnTo>
                  <a:lnTo>
                    <a:pt x="3048" y="2411"/>
                  </a:lnTo>
                  <a:lnTo>
                    <a:pt x="2907" y="2198"/>
                  </a:lnTo>
                  <a:lnTo>
                    <a:pt x="2836" y="1915"/>
                  </a:lnTo>
                  <a:lnTo>
                    <a:pt x="2694" y="1560"/>
                  </a:lnTo>
                  <a:lnTo>
                    <a:pt x="2623" y="780"/>
                  </a:lnTo>
                  <a:lnTo>
                    <a:pt x="2552" y="497"/>
                  </a:lnTo>
                  <a:lnTo>
                    <a:pt x="2410" y="213"/>
                  </a:lnTo>
                  <a:lnTo>
                    <a:pt x="2198" y="71"/>
                  </a:lnTo>
                  <a:lnTo>
                    <a:pt x="1843" y="0"/>
                  </a:lnTo>
                  <a:close/>
                </a:path>
              </a:pathLst>
            </a:custGeom>
            <a:solidFill>
              <a:srgbClr val="EFAEA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39" name="Google Shape;21537;p90">
              <a:extLst>
                <a:ext uri="{FF2B5EF4-FFF2-40B4-BE49-F238E27FC236}">
                  <a16:creationId xmlns:a16="http://schemas.microsoft.com/office/drawing/2014/main" id="{33FAED33-1624-5C96-DB1C-A49B715DABD7}"/>
                </a:ext>
              </a:extLst>
            </p:cNvPr>
            <p:cNvSpPr/>
            <p:nvPr/>
          </p:nvSpPr>
          <p:spPr>
            <a:xfrm>
              <a:off x="4878650" y="5335075"/>
              <a:ext cx="69150" cy="136500"/>
            </a:xfrm>
            <a:custGeom>
              <a:avLst/>
              <a:gdLst/>
              <a:ahLst/>
              <a:cxnLst/>
              <a:rect l="l" t="t" r="r" b="b"/>
              <a:pathLst>
                <a:path w="2766" h="5460" extrusionOk="0">
                  <a:moveTo>
                    <a:pt x="2765" y="1"/>
                  </a:moveTo>
                  <a:lnTo>
                    <a:pt x="1" y="72"/>
                  </a:lnTo>
                  <a:lnTo>
                    <a:pt x="1" y="1631"/>
                  </a:lnTo>
                  <a:lnTo>
                    <a:pt x="1" y="2907"/>
                  </a:lnTo>
                  <a:lnTo>
                    <a:pt x="1" y="3971"/>
                  </a:lnTo>
                  <a:lnTo>
                    <a:pt x="780" y="5459"/>
                  </a:lnTo>
                  <a:lnTo>
                    <a:pt x="2553" y="4112"/>
                  </a:lnTo>
                  <a:lnTo>
                    <a:pt x="2765" y="1"/>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40" name="Google Shape;21538;p90">
              <a:extLst>
                <a:ext uri="{FF2B5EF4-FFF2-40B4-BE49-F238E27FC236}">
                  <a16:creationId xmlns:a16="http://schemas.microsoft.com/office/drawing/2014/main" id="{5D485175-A618-0823-ADBF-97616FF221C2}"/>
                </a:ext>
              </a:extLst>
            </p:cNvPr>
            <p:cNvSpPr/>
            <p:nvPr/>
          </p:nvSpPr>
          <p:spPr>
            <a:xfrm>
              <a:off x="4774100" y="5427250"/>
              <a:ext cx="177225" cy="49625"/>
            </a:xfrm>
            <a:custGeom>
              <a:avLst/>
              <a:gdLst/>
              <a:ahLst/>
              <a:cxnLst/>
              <a:rect l="l" t="t" r="r" b="b"/>
              <a:pathLst>
                <a:path w="7089" h="1985" extrusionOk="0">
                  <a:moveTo>
                    <a:pt x="4112" y="0"/>
                  </a:moveTo>
                  <a:lnTo>
                    <a:pt x="4041" y="71"/>
                  </a:lnTo>
                  <a:lnTo>
                    <a:pt x="3970" y="567"/>
                  </a:lnTo>
                  <a:lnTo>
                    <a:pt x="3899" y="780"/>
                  </a:lnTo>
                  <a:lnTo>
                    <a:pt x="3828" y="922"/>
                  </a:lnTo>
                  <a:lnTo>
                    <a:pt x="3403" y="1134"/>
                  </a:lnTo>
                  <a:lnTo>
                    <a:pt x="2836" y="1347"/>
                  </a:lnTo>
                  <a:lnTo>
                    <a:pt x="2198" y="1489"/>
                  </a:lnTo>
                  <a:lnTo>
                    <a:pt x="922" y="1701"/>
                  </a:lnTo>
                  <a:lnTo>
                    <a:pt x="142" y="1843"/>
                  </a:lnTo>
                  <a:lnTo>
                    <a:pt x="0" y="1985"/>
                  </a:lnTo>
                  <a:lnTo>
                    <a:pt x="7018" y="1985"/>
                  </a:lnTo>
                  <a:lnTo>
                    <a:pt x="7089" y="1347"/>
                  </a:lnTo>
                  <a:lnTo>
                    <a:pt x="7018" y="709"/>
                  </a:lnTo>
                  <a:lnTo>
                    <a:pt x="6876" y="284"/>
                  </a:lnTo>
                  <a:lnTo>
                    <a:pt x="6805" y="142"/>
                  </a:lnTo>
                  <a:lnTo>
                    <a:pt x="6735" y="142"/>
                  </a:lnTo>
                  <a:lnTo>
                    <a:pt x="6238" y="71"/>
                  </a:lnTo>
                  <a:lnTo>
                    <a:pt x="4962" y="71"/>
                  </a:lnTo>
                  <a:lnTo>
                    <a:pt x="4253" y="0"/>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41" name="Google Shape;21539;p90">
              <a:extLst>
                <a:ext uri="{FF2B5EF4-FFF2-40B4-BE49-F238E27FC236}">
                  <a16:creationId xmlns:a16="http://schemas.microsoft.com/office/drawing/2014/main" id="{9156166D-1A44-137E-523E-D07400DD9360}"/>
                </a:ext>
              </a:extLst>
            </p:cNvPr>
            <p:cNvSpPr/>
            <p:nvPr/>
          </p:nvSpPr>
          <p:spPr>
            <a:xfrm>
              <a:off x="5571600" y="5072800"/>
              <a:ext cx="118750" cy="70900"/>
            </a:xfrm>
            <a:custGeom>
              <a:avLst/>
              <a:gdLst/>
              <a:ahLst/>
              <a:cxnLst/>
              <a:rect l="l" t="t" r="r" b="b"/>
              <a:pathLst>
                <a:path w="4750" h="2836" extrusionOk="0">
                  <a:moveTo>
                    <a:pt x="0" y="0"/>
                  </a:moveTo>
                  <a:lnTo>
                    <a:pt x="0" y="2765"/>
                  </a:lnTo>
                  <a:lnTo>
                    <a:pt x="1347" y="2765"/>
                  </a:lnTo>
                  <a:lnTo>
                    <a:pt x="2482" y="2836"/>
                  </a:lnTo>
                  <a:lnTo>
                    <a:pt x="3403" y="2765"/>
                  </a:lnTo>
                  <a:lnTo>
                    <a:pt x="4750" y="2056"/>
                  </a:lnTo>
                  <a:lnTo>
                    <a:pt x="3616" y="213"/>
                  </a:lnTo>
                  <a:lnTo>
                    <a:pt x="0"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42" name="Google Shape;21540;p90">
              <a:extLst>
                <a:ext uri="{FF2B5EF4-FFF2-40B4-BE49-F238E27FC236}">
                  <a16:creationId xmlns:a16="http://schemas.microsoft.com/office/drawing/2014/main" id="{7249276E-FA64-25BD-425E-C7EF9E9A7507}"/>
                </a:ext>
              </a:extLst>
            </p:cNvPr>
            <p:cNvSpPr/>
            <p:nvPr/>
          </p:nvSpPr>
          <p:spPr>
            <a:xfrm>
              <a:off x="5646025" y="5067475"/>
              <a:ext cx="78000" cy="203825"/>
            </a:xfrm>
            <a:custGeom>
              <a:avLst/>
              <a:gdLst/>
              <a:ahLst/>
              <a:cxnLst/>
              <a:rect l="l" t="t" r="r" b="b"/>
              <a:pathLst>
                <a:path w="3120" h="8153" extrusionOk="0">
                  <a:moveTo>
                    <a:pt x="1064" y="0"/>
                  </a:moveTo>
                  <a:lnTo>
                    <a:pt x="497" y="142"/>
                  </a:lnTo>
                  <a:lnTo>
                    <a:pt x="284" y="284"/>
                  </a:lnTo>
                  <a:lnTo>
                    <a:pt x="213" y="355"/>
                  </a:lnTo>
                  <a:lnTo>
                    <a:pt x="143" y="922"/>
                  </a:lnTo>
                  <a:lnTo>
                    <a:pt x="143" y="1560"/>
                  </a:lnTo>
                  <a:lnTo>
                    <a:pt x="143" y="2340"/>
                  </a:lnTo>
                  <a:lnTo>
                    <a:pt x="1" y="3191"/>
                  </a:lnTo>
                  <a:lnTo>
                    <a:pt x="72" y="3332"/>
                  </a:lnTo>
                  <a:lnTo>
                    <a:pt x="143" y="3403"/>
                  </a:lnTo>
                  <a:lnTo>
                    <a:pt x="639" y="3474"/>
                  </a:lnTo>
                  <a:lnTo>
                    <a:pt x="781" y="3545"/>
                  </a:lnTo>
                  <a:lnTo>
                    <a:pt x="922" y="3687"/>
                  </a:lnTo>
                  <a:lnTo>
                    <a:pt x="1206" y="4183"/>
                  </a:lnTo>
                  <a:lnTo>
                    <a:pt x="1348" y="4821"/>
                  </a:lnTo>
                  <a:lnTo>
                    <a:pt x="1489" y="5530"/>
                  </a:lnTo>
                  <a:lnTo>
                    <a:pt x="1631" y="6948"/>
                  </a:lnTo>
                  <a:lnTo>
                    <a:pt x="1773" y="7869"/>
                  </a:lnTo>
                  <a:lnTo>
                    <a:pt x="1844" y="7940"/>
                  </a:lnTo>
                  <a:lnTo>
                    <a:pt x="1986" y="8082"/>
                  </a:lnTo>
                  <a:lnTo>
                    <a:pt x="2198" y="8153"/>
                  </a:lnTo>
                  <a:lnTo>
                    <a:pt x="2482" y="8153"/>
                  </a:lnTo>
                  <a:lnTo>
                    <a:pt x="2695" y="8082"/>
                  </a:lnTo>
                  <a:lnTo>
                    <a:pt x="2907" y="7869"/>
                  </a:lnTo>
                  <a:lnTo>
                    <a:pt x="3049" y="7586"/>
                  </a:lnTo>
                  <a:lnTo>
                    <a:pt x="3120" y="7160"/>
                  </a:lnTo>
                  <a:lnTo>
                    <a:pt x="2978" y="709"/>
                  </a:lnTo>
                  <a:lnTo>
                    <a:pt x="2907" y="497"/>
                  </a:lnTo>
                  <a:lnTo>
                    <a:pt x="2836" y="355"/>
                  </a:lnTo>
                  <a:lnTo>
                    <a:pt x="2695" y="213"/>
                  </a:lnTo>
                  <a:lnTo>
                    <a:pt x="2553" y="142"/>
                  </a:lnTo>
                  <a:lnTo>
                    <a:pt x="1773" y="0"/>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43" name="Google Shape;21541;p90">
              <a:extLst>
                <a:ext uri="{FF2B5EF4-FFF2-40B4-BE49-F238E27FC236}">
                  <a16:creationId xmlns:a16="http://schemas.microsoft.com/office/drawing/2014/main" id="{690CDF78-8F53-B7CD-9BA3-E1C88E9856D9}"/>
                </a:ext>
              </a:extLst>
            </p:cNvPr>
            <p:cNvSpPr/>
            <p:nvPr/>
          </p:nvSpPr>
          <p:spPr>
            <a:xfrm>
              <a:off x="4853850" y="4521625"/>
              <a:ext cx="765625" cy="886150"/>
            </a:xfrm>
            <a:custGeom>
              <a:avLst/>
              <a:gdLst/>
              <a:ahLst/>
              <a:cxnLst/>
              <a:rect l="l" t="t" r="r" b="b"/>
              <a:pathLst>
                <a:path w="30625" h="35446" extrusionOk="0">
                  <a:moveTo>
                    <a:pt x="17722" y="0"/>
                  </a:moveTo>
                  <a:lnTo>
                    <a:pt x="16021" y="71"/>
                  </a:lnTo>
                  <a:lnTo>
                    <a:pt x="14320" y="213"/>
                  </a:lnTo>
                  <a:lnTo>
                    <a:pt x="12902" y="355"/>
                  </a:lnTo>
                  <a:lnTo>
                    <a:pt x="11484" y="497"/>
                  </a:lnTo>
                  <a:lnTo>
                    <a:pt x="9995" y="1560"/>
                  </a:lnTo>
                  <a:lnTo>
                    <a:pt x="7798" y="5388"/>
                  </a:lnTo>
                  <a:lnTo>
                    <a:pt x="4891" y="10279"/>
                  </a:lnTo>
                  <a:lnTo>
                    <a:pt x="2269" y="14887"/>
                  </a:lnTo>
                  <a:lnTo>
                    <a:pt x="1276" y="16660"/>
                  </a:lnTo>
                  <a:lnTo>
                    <a:pt x="709" y="17794"/>
                  </a:lnTo>
                  <a:lnTo>
                    <a:pt x="567" y="18361"/>
                  </a:lnTo>
                  <a:lnTo>
                    <a:pt x="425" y="19070"/>
                  </a:lnTo>
                  <a:lnTo>
                    <a:pt x="142" y="21196"/>
                  </a:lnTo>
                  <a:lnTo>
                    <a:pt x="71" y="23749"/>
                  </a:lnTo>
                  <a:lnTo>
                    <a:pt x="0" y="26584"/>
                  </a:lnTo>
                  <a:lnTo>
                    <a:pt x="0" y="31901"/>
                  </a:lnTo>
                  <a:lnTo>
                    <a:pt x="71" y="34949"/>
                  </a:lnTo>
                  <a:lnTo>
                    <a:pt x="142" y="35020"/>
                  </a:lnTo>
                  <a:lnTo>
                    <a:pt x="213" y="35091"/>
                  </a:lnTo>
                  <a:lnTo>
                    <a:pt x="709" y="35233"/>
                  </a:lnTo>
                  <a:lnTo>
                    <a:pt x="1276" y="35374"/>
                  </a:lnTo>
                  <a:lnTo>
                    <a:pt x="2056" y="35445"/>
                  </a:lnTo>
                  <a:lnTo>
                    <a:pt x="2765" y="35445"/>
                  </a:lnTo>
                  <a:lnTo>
                    <a:pt x="3474" y="35374"/>
                  </a:lnTo>
                  <a:lnTo>
                    <a:pt x="3970" y="35233"/>
                  </a:lnTo>
                  <a:lnTo>
                    <a:pt x="4112" y="35091"/>
                  </a:lnTo>
                  <a:lnTo>
                    <a:pt x="4253" y="34949"/>
                  </a:lnTo>
                  <a:lnTo>
                    <a:pt x="4253" y="34666"/>
                  </a:lnTo>
                  <a:lnTo>
                    <a:pt x="4324" y="34169"/>
                  </a:lnTo>
                  <a:lnTo>
                    <a:pt x="4324" y="32468"/>
                  </a:lnTo>
                  <a:lnTo>
                    <a:pt x="4324" y="30199"/>
                  </a:lnTo>
                  <a:lnTo>
                    <a:pt x="4395" y="27577"/>
                  </a:lnTo>
                  <a:lnTo>
                    <a:pt x="4537" y="24812"/>
                  </a:lnTo>
                  <a:lnTo>
                    <a:pt x="4679" y="23536"/>
                  </a:lnTo>
                  <a:lnTo>
                    <a:pt x="4821" y="22260"/>
                  </a:lnTo>
                  <a:lnTo>
                    <a:pt x="5033" y="21126"/>
                  </a:lnTo>
                  <a:lnTo>
                    <a:pt x="5317" y="20133"/>
                  </a:lnTo>
                  <a:lnTo>
                    <a:pt x="5600" y="19282"/>
                  </a:lnTo>
                  <a:lnTo>
                    <a:pt x="5813" y="18928"/>
                  </a:lnTo>
                  <a:lnTo>
                    <a:pt x="6026" y="18644"/>
                  </a:lnTo>
                  <a:lnTo>
                    <a:pt x="8081" y="16163"/>
                  </a:lnTo>
                  <a:lnTo>
                    <a:pt x="10563" y="13399"/>
                  </a:lnTo>
                  <a:lnTo>
                    <a:pt x="13398" y="10279"/>
                  </a:lnTo>
                  <a:lnTo>
                    <a:pt x="13327" y="12264"/>
                  </a:lnTo>
                  <a:lnTo>
                    <a:pt x="13327" y="14320"/>
                  </a:lnTo>
                  <a:lnTo>
                    <a:pt x="13327" y="16305"/>
                  </a:lnTo>
                  <a:lnTo>
                    <a:pt x="13469" y="18219"/>
                  </a:lnTo>
                  <a:lnTo>
                    <a:pt x="13611" y="19991"/>
                  </a:lnTo>
                  <a:lnTo>
                    <a:pt x="13824" y="21480"/>
                  </a:lnTo>
                  <a:lnTo>
                    <a:pt x="14036" y="22685"/>
                  </a:lnTo>
                  <a:lnTo>
                    <a:pt x="14320" y="23536"/>
                  </a:lnTo>
                  <a:lnTo>
                    <a:pt x="14462" y="23819"/>
                  </a:lnTo>
                  <a:lnTo>
                    <a:pt x="14745" y="24174"/>
                  </a:lnTo>
                  <a:lnTo>
                    <a:pt x="15029" y="24457"/>
                  </a:lnTo>
                  <a:lnTo>
                    <a:pt x="15454" y="24670"/>
                  </a:lnTo>
                  <a:lnTo>
                    <a:pt x="15879" y="24883"/>
                  </a:lnTo>
                  <a:lnTo>
                    <a:pt x="16305" y="25095"/>
                  </a:lnTo>
                  <a:lnTo>
                    <a:pt x="17368" y="25450"/>
                  </a:lnTo>
                  <a:lnTo>
                    <a:pt x="18644" y="25663"/>
                  </a:lnTo>
                  <a:lnTo>
                    <a:pt x="19920" y="25875"/>
                  </a:lnTo>
                  <a:lnTo>
                    <a:pt x="21267" y="25946"/>
                  </a:lnTo>
                  <a:lnTo>
                    <a:pt x="22685" y="26017"/>
                  </a:lnTo>
                  <a:lnTo>
                    <a:pt x="25379" y="26017"/>
                  </a:lnTo>
                  <a:lnTo>
                    <a:pt x="27718" y="25875"/>
                  </a:lnTo>
                  <a:lnTo>
                    <a:pt x="29986" y="25733"/>
                  </a:lnTo>
                  <a:lnTo>
                    <a:pt x="30128" y="25663"/>
                  </a:lnTo>
                  <a:lnTo>
                    <a:pt x="30270" y="25521"/>
                  </a:lnTo>
                  <a:lnTo>
                    <a:pt x="30341" y="25237"/>
                  </a:lnTo>
                  <a:lnTo>
                    <a:pt x="30412" y="24954"/>
                  </a:lnTo>
                  <a:lnTo>
                    <a:pt x="30554" y="24245"/>
                  </a:lnTo>
                  <a:lnTo>
                    <a:pt x="30624" y="23465"/>
                  </a:lnTo>
                  <a:lnTo>
                    <a:pt x="30624" y="22685"/>
                  </a:lnTo>
                  <a:lnTo>
                    <a:pt x="30554" y="21976"/>
                  </a:lnTo>
                  <a:lnTo>
                    <a:pt x="30483" y="21551"/>
                  </a:lnTo>
                  <a:lnTo>
                    <a:pt x="30483" y="21480"/>
                  </a:lnTo>
                  <a:lnTo>
                    <a:pt x="28639" y="21480"/>
                  </a:lnTo>
                  <a:lnTo>
                    <a:pt x="26229" y="21551"/>
                  </a:lnTo>
                  <a:lnTo>
                    <a:pt x="23677" y="21693"/>
                  </a:lnTo>
                  <a:lnTo>
                    <a:pt x="21409" y="21693"/>
                  </a:lnTo>
                  <a:lnTo>
                    <a:pt x="20487" y="21622"/>
                  </a:lnTo>
                  <a:lnTo>
                    <a:pt x="19707" y="21551"/>
                  </a:lnTo>
                  <a:lnTo>
                    <a:pt x="19140" y="21409"/>
                  </a:lnTo>
                  <a:lnTo>
                    <a:pt x="18998" y="21267"/>
                  </a:lnTo>
                  <a:lnTo>
                    <a:pt x="18928" y="21126"/>
                  </a:lnTo>
                  <a:lnTo>
                    <a:pt x="18857" y="20558"/>
                  </a:lnTo>
                  <a:lnTo>
                    <a:pt x="18857" y="19708"/>
                  </a:lnTo>
                  <a:lnTo>
                    <a:pt x="18998" y="18715"/>
                  </a:lnTo>
                  <a:lnTo>
                    <a:pt x="19140" y="17510"/>
                  </a:lnTo>
                  <a:lnTo>
                    <a:pt x="19636" y="14746"/>
                  </a:lnTo>
                  <a:lnTo>
                    <a:pt x="20204" y="11626"/>
                  </a:lnTo>
                  <a:lnTo>
                    <a:pt x="20700" y="8436"/>
                  </a:lnTo>
                  <a:lnTo>
                    <a:pt x="20913" y="6877"/>
                  </a:lnTo>
                  <a:lnTo>
                    <a:pt x="21054" y="5388"/>
                  </a:lnTo>
                  <a:lnTo>
                    <a:pt x="21196" y="3970"/>
                  </a:lnTo>
                  <a:lnTo>
                    <a:pt x="21196" y="2694"/>
                  </a:lnTo>
                  <a:lnTo>
                    <a:pt x="21054" y="1560"/>
                  </a:lnTo>
                  <a:lnTo>
                    <a:pt x="20842" y="568"/>
                  </a:lnTo>
                  <a:lnTo>
                    <a:pt x="20842" y="497"/>
                  </a:lnTo>
                  <a:lnTo>
                    <a:pt x="20700" y="355"/>
                  </a:lnTo>
                  <a:lnTo>
                    <a:pt x="20345" y="213"/>
                  </a:lnTo>
                  <a:lnTo>
                    <a:pt x="19849" y="142"/>
                  </a:lnTo>
                  <a:lnTo>
                    <a:pt x="19211" y="71"/>
                  </a:lnTo>
                  <a:lnTo>
                    <a:pt x="17722" y="0"/>
                  </a:lnTo>
                  <a:close/>
                </a:path>
              </a:pathLst>
            </a:custGeom>
            <a:solidFill>
              <a:srgbClr val="46464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44" name="Google Shape;21542;p90">
              <a:extLst>
                <a:ext uri="{FF2B5EF4-FFF2-40B4-BE49-F238E27FC236}">
                  <a16:creationId xmlns:a16="http://schemas.microsoft.com/office/drawing/2014/main" id="{2DEB535A-45CC-52D2-9227-241E1BFB86C6}"/>
                </a:ext>
              </a:extLst>
            </p:cNvPr>
            <p:cNvSpPr/>
            <p:nvPr/>
          </p:nvSpPr>
          <p:spPr>
            <a:xfrm>
              <a:off x="4853850" y="4521625"/>
              <a:ext cx="765625" cy="886150"/>
            </a:xfrm>
            <a:custGeom>
              <a:avLst/>
              <a:gdLst/>
              <a:ahLst/>
              <a:cxnLst/>
              <a:rect l="l" t="t" r="r" b="b"/>
              <a:pathLst>
                <a:path w="30625" h="35446" fill="none" extrusionOk="0">
                  <a:moveTo>
                    <a:pt x="9995" y="1560"/>
                  </a:moveTo>
                  <a:lnTo>
                    <a:pt x="9995" y="1560"/>
                  </a:lnTo>
                  <a:lnTo>
                    <a:pt x="7798" y="5388"/>
                  </a:lnTo>
                  <a:lnTo>
                    <a:pt x="4891" y="10279"/>
                  </a:lnTo>
                  <a:lnTo>
                    <a:pt x="2269" y="14887"/>
                  </a:lnTo>
                  <a:lnTo>
                    <a:pt x="1276" y="16660"/>
                  </a:lnTo>
                  <a:lnTo>
                    <a:pt x="709" y="17794"/>
                  </a:lnTo>
                  <a:lnTo>
                    <a:pt x="709" y="17794"/>
                  </a:lnTo>
                  <a:lnTo>
                    <a:pt x="567" y="18361"/>
                  </a:lnTo>
                  <a:lnTo>
                    <a:pt x="425" y="19070"/>
                  </a:lnTo>
                  <a:lnTo>
                    <a:pt x="142" y="21196"/>
                  </a:lnTo>
                  <a:lnTo>
                    <a:pt x="71" y="23749"/>
                  </a:lnTo>
                  <a:lnTo>
                    <a:pt x="0" y="26584"/>
                  </a:lnTo>
                  <a:lnTo>
                    <a:pt x="0" y="31901"/>
                  </a:lnTo>
                  <a:lnTo>
                    <a:pt x="71" y="34949"/>
                  </a:lnTo>
                  <a:lnTo>
                    <a:pt x="71" y="34949"/>
                  </a:lnTo>
                  <a:lnTo>
                    <a:pt x="142" y="35020"/>
                  </a:lnTo>
                  <a:lnTo>
                    <a:pt x="213" y="35091"/>
                  </a:lnTo>
                  <a:lnTo>
                    <a:pt x="709" y="35233"/>
                  </a:lnTo>
                  <a:lnTo>
                    <a:pt x="1276" y="35374"/>
                  </a:lnTo>
                  <a:lnTo>
                    <a:pt x="2056" y="35445"/>
                  </a:lnTo>
                  <a:lnTo>
                    <a:pt x="2765" y="35445"/>
                  </a:lnTo>
                  <a:lnTo>
                    <a:pt x="3474" y="35374"/>
                  </a:lnTo>
                  <a:lnTo>
                    <a:pt x="3970" y="35233"/>
                  </a:lnTo>
                  <a:lnTo>
                    <a:pt x="4112" y="35091"/>
                  </a:lnTo>
                  <a:lnTo>
                    <a:pt x="4253" y="34949"/>
                  </a:lnTo>
                  <a:lnTo>
                    <a:pt x="4253" y="34949"/>
                  </a:lnTo>
                  <a:lnTo>
                    <a:pt x="4253" y="34666"/>
                  </a:lnTo>
                  <a:lnTo>
                    <a:pt x="4324" y="34169"/>
                  </a:lnTo>
                  <a:lnTo>
                    <a:pt x="4324" y="32468"/>
                  </a:lnTo>
                  <a:lnTo>
                    <a:pt x="4324" y="30199"/>
                  </a:lnTo>
                  <a:lnTo>
                    <a:pt x="4395" y="27577"/>
                  </a:lnTo>
                  <a:lnTo>
                    <a:pt x="4537" y="24812"/>
                  </a:lnTo>
                  <a:lnTo>
                    <a:pt x="4679" y="23536"/>
                  </a:lnTo>
                  <a:lnTo>
                    <a:pt x="4821" y="22260"/>
                  </a:lnTo>
                  <a:lnTo>
                    <a:pt x="5033" y="21126"/>
                  </a:lnTo>
                  <a:lnTo>
                    <a:pt x="5317" y="20133"/>
                  </a:lnTo>
                  <a:lnTo>
                    <a:pt x="5600" y="19282"/>
                  </a:lnTo>
                  <a:lnTo>
                    <a:pt x="5813" y="18928"/>
                  </a:lnTo>
                  <a:lnTo>
                    <a:pt x="6026" y="18644"/>
                  </a:lnTo>
                  <a:lnTo>
                    <a:pt x="6026" y="18644"/>
                  </a:lnTo>
                  <a:lnTo>
                    <a:pt x="8081" y="16163"/>
                  </a:lnTo>
                  <a:lnTo>
                    <a:pt x="10563" y="13399"/>
                  </a:lnTo>
                  <a:lnTo>
                    <a:pt x="13398" y="10279"/>
                  </a:lnTo>
                  <a:lnTo>
                    <a:pt x="13398" y="10279"/>
                  </a:lnTo>
                  <a:lnTo>
                    <a:pt x="13327" y="12264"/>
                  </a:lnTo>
                  <a:lnTo>
                    <a:pt x="13327" y="14320"/>
                  </a:lnTo>
                  <a:lnTo>
                    <a:pt x="13327" y="16305"/>
                  </a:lnTo>
                  <a:lnTo>
                    <a:pt x="13469" y="18219"/>
                  </a:lnTo>
                  <a:lnTo>
                    <a:pt x="13611" y="19991"/>
                  </a:lnTo>
                  <a:lnTo>
                    <a:pt x="13824" y="21480"/>
                  </a:lnTo>
                  <a:lnTo>
                    <a:pt x="14036" y="22685"/>
                  </a:lnTo>
                  <a:lnTo>
                    <a:pt x="14320" y="23536"/>
                  </a:lnTo>
                  <a:lnTo>
                    <a:pt x="14320" y="23536"/>
                  </a:lnTo>
                  <a:lnTo>
                    <a:pt x="14462" y="23819"/>
                  </a:lnTo>
                  <a:lnTo>
                    <a:pt x="14745" y="24174"/>
                  </a:lnTo>
                  <a:lnTo>
                    <a:pt x="15029" y="24457"/>
                  </a:lnTo>
                  <a:lnTo>
                    <a:pt x="15454" y="24670"/>
                  </a:lnTo>
                  <a:lnTo>
                    <a:pt x="15879" y="24883"/>
                  </a:lnTo>
                  <a:lnTo>
                    <a:pt x="16305" y="25095"/>
                  </a:lnTo>
                  <a:lnTo>
                    <a:pt x="17368" y="25450"/>
                  </a:lnTo>
                  <a:lnTo>
                    <a:pt x="18644" y="25663"/>
                  </a:lnTo>
                  <a:lnTo>
                    <a:pt x="19920" y="25875"/>
                  </a:lnTo>
                  <a:lnTo>
                    <a:pt x="21267" y="25946"/>
                  </a:lnTo>
                  <a:lnTo>
                    <a:pt x="22685" y="26017"/>
                  </a:lnTo>
                  <a:lnTo>
                    <a:pt x="25379" y="26017"/>
                  </a:lnTo>
                  <a:lnTo>
                    <a:pt x="27718" y="25875"/>
                  </a:lnTo>
                  <a:lnTo>
                    <a:pt x="29986" y="25733"/>
                  </a:lnTo>
                  <a:lnTo>
                    <a:pt x="29986" y="25733"/>
                  </a:lnTo>
                  <a:lnTo>
                    <a:pt x="30128" y="25663"/>
                  </a:lnTo>
                  <a:lnTo>
                    <a:pt x="30270" y="25521"/>
                  </a:lnTo>
                  <a:lnTo>
                    <a:pt x="30341" y="25237"/>
                  </a:lnTo>
                  <a:lnTo>
                    <a:pt x="30412" y="24954"/>
                  </a:lnTo>
                  <a:lnTo>
                    <a:pt x="30554" y="24245"/>
                  </a:lnTo>
                  <a:lnTo>
                    <a:pt x="30624" y="23465"/>
                  </a:lnTo>
                  <a:lnTo>
                    <a:pt x="30624" y="22685"/>
                  </a:lnTo>
                  <a:lnTo>
                    <a:pt x="30554" y="21976"/>
                  </a:lnTo>
                  <a:lnTo>
                    <a:pt x="30483" y="21551"/>
                  </a:lnTo>
                  <a:lnTo>
                    <a:pt x="30483" y="21480"/>
                  </a:lnTo>
                  <a:lnTo>
                    <a:pt x="30412" y="21480"/>
                  </a:lnTo>
                  <a:lnTo>
                    <a:pt x="30412" y="21480"/>
                  </a:lnTo>
                  <a:lnTo>
                    <a:pt x="28639" y="21480"/>
                  </a:lnTo>
                  <a:lnTo>
                    <a:pt x="26229" y="21551"/>
                  </a:lnTo>
                  <a:lnTo>
                    <a:pt x="26229" y="21551"/>
                  </a:lnTo>
                  <a:lnTo>
                    <a:pt x="23677" y="21693"/>
                  </a:lnTo>
                  <a:lnTo>
                    <a:pt x="21409" y="21693"/>
                  </a:lnTo>
                  <a:lnTo>
                    <a:pt x="20487" y="21622"/>
                  </a:lnTo>
                  <a:lnTo>
                    <a:pt x="19707" y="21551"/>
                  </a:lnTo>
                  <a:lnTo>
                    <a:pt x="19140" y="21409"/>
                  </a:lnTo>
                  <a:lnTo>
                    <a:pt x="18998" y="21267"/>
                  </a:lnTo>
                  <a:lnTo>
                    <a:pt x="18928" y="21126"/>
                  </a:lnTo>
                  <a:lnTo>
                    <a:pt x="18928" y="21126"/>
                  </a:lnTo>
                  <a:lnTo>
                    <a:pt x="18857" y="20558"/>
                  </a:lnTo>
                  <a:lnTo>
                    <a:pt x="18857" y="19708"/>
                  </a:lnTo>
                  <a:lnTo>
                    <a:pt x="18998" y="18715"/>
                  </a:lnTo>
                  <a:lnTo>
                    <a:pt x="19140" y="17510"/>
                  </a:lnTo>
                  <a:lnTo>
                    <a:pt x="19636" y="14746"/>
                  </a:lnTo>
                  <a:lnTo>
                    <a:pt x="20204" y="11626"/>
                  </a:lnTo>
                  <a:lnTo>
                    <a:pt x="20700" y="8436"/>
                  </a:lnTo>
                  <a:lnTo>
                    <a:pt x="20913" y="6877"/>
                  </a:lnTo>
                  <a:lnTo>
                    <a:pt x="21054" y="5388"/>
                  </a:lnTo>
                  <a:lnTo>
                    <a:pt x="21196" y="3970"/>
                  </a:lnTo>
                  <a:lnTo>
                    <a:pt x="21196" y="2694"/>
                  </a:lnTo>
                  <a:lnTo>
                    <a:pt x="21054" y="1560"/>
                  </a:lnTo>
                  <a:lnTo>
                    <a:pt x="20842" y="568"/>
                  </a:lnTo>
                  <a:lnTo>
                    <a:pt x="20842" y="568"/>
                  </a:lnTo>
                  <a:lnTo>
                    <a:pt x="20842" y="497"/>
                  </a:lnTo>
                  <a:lnTo>
                    <a:pt x="20700" y="355"/>
                  </a:lnTo>
                  <a:lnTo>
                    <a:pt x="20345" y="213"/>
                  </a:lnTo>
                  <a:lnTo>
                    <a:pt x="19849" y="142"/>
                  </a:lnTo>
                  <a:lnTo>
                    <a:pt x="19211" y="71"/>
                  </a:lnTo>
                  <a:lnTo>
                    <a:pt x="17722" y="0"/>
                  </a:lnTo>
                  <a:lnTo>
                    <a:pt x="16021" y="71"/>
                  </a:lnTo>
                  <a:lnTo>
                    <a:pt x="14320" y="213"/>
                  </a:lnTo>
                  <a:lnTo>
                    <a:pt x="12902" y="355"/>
                  </a:lnTo>
                  <a:lnTo>
                    <a:pt x="11484" y="497"/>
                  </a:lnTo>
                  <a:lnTo>
                    <a:pt x="9995" y="156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45" name="Google Shape;21543;p90">
              <a:extLst>
                <a:ext uri="{FF2B5EF4-FFF2-40B4-BE49-F238E27FC236}">
                  <a16:creationId xmlns:a16="http://schemas.microsoft.com/office/drawing/2014/main" id="{F71044A4-F883-B9EC-09CE-D616D2F48B43}"/>
                </a:ext>
              </a:extLst>
            </p:cNvPr>
            <p:cNvSpPr/>
            <p:nvPr/>
          </p:nvSpPr>
          <p:spPr>
            <a:xfrm>
              <a:off x="5187025" y="4720125"/>
              <a:ext cx="42550" cy="157750"/>
            </a:xfrm>
            <a:custGeom>
              <a:avLst/>
              <a:gdLst/>
              <a:ahLst/>
              <a:cxnLst/>
              <a:rect l="l" t="t" r="r" b="b"/>
              <a:pathLst>
                <a:path w="1702" h="6310" extrusionOk="0">
                  <a:moveTo>
                    <a:pt x="1702" y="0"/>
                  </a:moveTo>
                  <a:lnTo>
                    <a:pt x="71" y="2339"/>
                  </a:lnTo>
                  <a:lnTo>
                    <a:pt x="0" y="6309"/>
                  </a:lnTo>
                  <a:lnTo>
                    <a:pt x="1702" y="0"/>
                  </a:lnTo>
                  <a:close/>
                </a:path>
              </a:pathLst>
            </a:custGeom>
            <a:solidFill>
              <a:srgbClr val="36373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46" name="Google Shape;21544;p90">
              <a:extLst>
                <a:ext uri="{FF2B5EF4-FFF2-40B4-BE49-F238E27FC236}">
                  <a16:creationId xmlns:a16="http://schemas.microsoft.com/office/drawing/2014/main" id="{38B2F779-CC3B-BC4D-5EF0-4B0E5C66D477}"/>
                </a:ext>
              </a:extLst>
            </p:cNvPr>
            <p:cNvSpPr/>
            <p:nvPr/>
          </p:nvSpPr>
          <p:spPr>
            <a:xfrm>
              <a:off x="5187025" y="4720125"/>
              <a:ext cx="42550" cy="157750"/>
            </a:xfrm>
            <a:custGeom>
              <a:avLst/>
              <a:gdLst/>
              <a:ahLst/>
              <a:cxnLst/>
              <a:rect l="l" t="t" r="r" b="b"/>
              <a:pathLst>
                <a:path w="1702" h="6310" fill="none" extrusionOk="0">
                  <a:moveTo>
                    <a:pt x="1702" y="0"/>
                  </a:moveTo>
                  <a:lnTo>
                    <a:pt x="71" y="2339"/>
                  </a:lnTo>
                  <a:lnTo>
                    <a:pt x="71" y="2339"/>
                  </a:lnTo>
                  <a:lnTo>
                    <a:pt x="71" y="2339"/>
                  </a:lnTo>
                  <a:lnTo>
                    <a:pt x="0" y="6309"/>
                  </a:lnTo>
                  <a:lnTo>
                    <a:pt x="1702"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47" name="Google Shape;21545;p90">
              <a:extLst>
                <a:ext uri="{FF2B5EF4-FFF2-40B4-BE49-F238E27FC236}">
                  <a16:creationId xmlns:a16="http://schemas.microsoft.com/office/drawing/2014/main" id="{FF865BB3-2878-C0B3-37D1-377EBF6229EF}"/>
                </a:ext>
              </a:extLst>
            </p:cNvPr>
            <p:cNvSpPr/>
            <p:nvPr/>
          </p:nvSpPr>
          <p:spPr>
            <a:xfrm>
              <a:off x="4910550" y="3995275"/>
              <a:ext cx="120525" cy="200275"/>
            </a:xfrm>
            <a:custGeom>
              <a:avLst/>
              <a:gdLst/>
              <a:ahLst/>
              <a:cxnLst/>
              <a:rect l="l" t="t" r="r" b="b"/>
              <a:pathLst>
                <a:path w="4821" h="8011" extrusionOk="0">
                  <a:moveTo>
                    <a:pt x="2836" y="0"/>
                  </a:moveTo>
                  <a:lnTo>
                    <a:pt x="2340" y="71"/>
                  </a:lnTo>
                  <a:lnTo>
                    <a:pt x="1915" y="213"/>
                  </a:lnTo>
                  <a:lnTo>
                    <a:pt x="1631" y="355"/>
                  </a:lnTo>
                  <a:lnTo>
                    <a:pt x="1418" y="496"/>
                  </a:lnTo>
                  <a:lnTo>
                    <a:pt x="1206" y="1064"/>
                  </a:lnTo>
                  <a:lnTo>
                    <a:pt x="922" y="1418"/>
                  </a:lnTo>
                  <a:lnTo>
                    <a:pt x="709" y="1772"/>
                  </a:lnTo>
                  <a:lnTo>
                    <a:pt x="426" y="1985"/>
                  </a:lnTo>
                  <a:lnTo>
                    <a:pt x="142" y="2269"/>
                  </a:lnTo>
                  <a:lnTo>
                    <a:pt x="71" y="2340"/>
                  </a:lnTo>
                  <a:lnTo>
                    <a:pt x="1" y="2481"/>
                  </a:lnTo>
                  <a:lnTo>
                    <a:pt x="213" y="2623"/>
                  </a:lnTo>
                  <a:lnTo>
                    <a:pt x="426" y="2623"/>
                  </a:lnTo>
                  <a:lnTo>
                    <a:pt x="426" y="2694"/>
                  </a:lnTo>
                  <a:lnTo>
                    <a:pt x="426" y="2836"/>
                  </a:lnTo>
                  <a:lnTo>
                    <a:pt x="355" y="3261"/>
                  </a:lnTo>
                  <a:lnTo>
                    <a:pt x="213" y="4112"/>
                  </a:lnTo>
                  <a:lnTo>
                    <a:pt x="142" y="4466"/>
                  </a:lnTo>
                  <a:lnTo>
                    <a:pt x="213" y="4750"/>
                  </a:lnTo>
                  <a:lnTo>
                    <a:pt x="355" y="4962"/>
                  </a:lnTo>
                  <a:lnTo>
                    <a:pt x="639" y="5033"/>
                  </a:lnTo>
                  <a:lnTo>
                    <a:pt x="993" y="4962"/>
                  </a:lnTo>
                  <a:lnTo>
                    <a:pt x="1560" y="4821"/>
                  </a:lnTo>
                  <a:lnTo>
                    <a:pt x="1560" y="4821"/>
                  </a:lnTo>
                  <a:lnTo>
                    <a:pt x="1206" y="6026"/>
                  </a:lnTo>
                  <a:lnTo>
                    <a:pt x="1277" y="7869"/>
                  </a:lnTo>
                  <a:lnTo>
                    <a:pt x="3616" y="8011"/>
                  </a:lnTo>
                  <a:lnTo>
                    <a:pt x="3616" y="7656"/>
                  </a:lnTo>
                  <a:lnTo>
                    <a:pt x="3616" y="7302"/>
                  </a:lnTo>
                  <a:lnTo>
                    <a:pt x="3758" y="6380"/>
                  </a:lnTo>
                  <a:lnTo>
                    <a:pt x="4325" y="4183"/>
                  </a:lnTo>
                  <a:lnTo>
                    <a:pt x="4608" y="3119"/>
                  </a:lnTo>
                  <a:lnTo>
                    <a:pt x="4750" y="2127"/>
                  </a:lnTo>
                  <a:lnTo>
                    <a:pt x="4821" y="1276"/>
                  </a:lnTo>
                  <a:lnTo>
                    <a:pt x="4750" y="993"/>
                  </a:lnTo>
                  <a:lnTo>
                    <a:pt x="4679" y="709"/>
                  </a:lnTo>
                  <a:lnTo>
                    <a:pt x="4537" y="567"/>
                  </a:lnTo>
                  <a:lnTo>
                    <a:pt x="4325" y="355"/>
                  </a:lnTo>
                  <a:lnTo>
                    <a:pt x="3899" y="142"/>
                  </a:lnTo>
                  <a:lnTo>
                    <a:pt x="3403" y="71"/>
                  </a:lnTo>
                  <a:lnTo>
                    <a:pt x="2836" y="0"/>
                  </a:lnTo>
                  <a:close/>
                </a:path>
              </a:pathLst>
            </a:custGeom>
            <a:solidFill>
              <a:srgbClr val="EFAEA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48" name="Google Shape;21546;p90">
              <a:extLst>
                <a:ext uri="{FF2B5EF4-FFF2-40B4-BE49-F238E27FC236}">
                  <a16:creationId xmlns:a16="http://schemas.microsoft.com/office/drawing/2014/main" id="{00DD4E3B-689F-ACE0-0521-49040AF5B2CC}"/>
                </a:ext>
              </a:extLst>
            </p:cNvPr>
            <p:cNvSpPr/>
            <p:nvPr/>
          </p:nvSpPr>
          <p:spPr>
            <a:xfrm>
              <a:off x="4910550" y="3995275"/>
              <a:ext cx="120525" cy="200275"/>
            </a:xfrm>
            <a:custGeom>
              <a:avLst/>
              <a:gdLst/>
              <a:ahLst/>
              <a:cxnLst/>
              <a:rect l="l" t="t" r="r" b="b"/>
              <a:pathLst>
                <a:path w="4821" h="8011" fill="none" extrusionOk="0">
                  <a:moveTo>
                    <a:pt x="1418" y="496"/>
                  </a:moveTo>
                  <a:lnTo>
                    <a:pt x="1418" y="496"/>
                  </a:lnTo>
                  <a:lnTo>
                    <a:pt x="1206" y="1064"/>
                  </a:lnTo>
                  <a:lnTo>
                    <a:pt x="922" y="1418"/>
                  </a:lnTo>
                  <a:lnTo>
                    <a:pt x="709" y="1772"/>
                  </a:lnTo>
                  <a:lnTo>
                    <a:pt x="426" y="1985"/>
                  </a:lnTo>
                  <a:lnTo>
                    <a:pt x="142" y="2269"/>
                  </a:lnTo>
                  <a:lnTo>
                    <a:pt x="71" y="2340"/>
                  </a:lnTo>
                  <a:lnTo>
                    <a:pt x="1" y="2481"/>
                  </a:lnTo>
                  <a:lnTo>
                    <a:pt x="1" y="2481"/>
                  </a:lnTo>
                  <a:lnTo>
                    <a:pt x="213" y="2623"/>
                  </a:lnTo>
                  <a:lnTo>
                    <a:pt x="426" y="2623"/>
                  </a:lnTo>
                  <a:lnTo>
                    <a:pt x="426" y="2694"/>
                  </a:lnTo>
                  <a:lnTo>
                    <a:pt x="426" y="2836"/>
                  </a:lnTo>
                  <a:lnTo>
                    <a:pt x="355" y="3261"/>
                  </a:lnTo>
                  <a:lnTo>
                    <a:pt x="355" y="3261"/>
                  </a:lnTo>
                  <a:lnTo>
                    <a:pt x="213" y="4112"/>
                  </a:lnTo>
                  <a:lnTo>
                    <a:pt x="142" y="4466"/>
                  </a:lnTo>
                  <a:lnTo>
                    <a:pt x="213" y="4750"/>
                  </a:lnTo>
                  <a:lnTo>
                    <a:pt x="355" y="4962"/>
                  </a:lnTo>
                  <a:lnTo>
                    <a:pt x="639" y="5033"/>
                  </a:lnTo>
                  <a:lnTo>
                    <a:pt x="993" y="4962"/>
                  </a:lnTo>
                  <a:lnTo>
                    <a:pt x="1560" y="4821"/>
                  </a:lnTo>
                  <a:lnTo>
                    <a:pt x="1560" y="4821"/>
                  </a:lnTo>
                  <a:lnTo>
                    <a:pt x="1206" y="6026"/>
                  </a:lnTo>
                  <a:lnTo>
                    <a:pt x="1277" y="7869"/>
                  </a:lnTo>
                  <a:lnTo>
                    <a:pt x="3616" y="8011"/>
                  </a:lnTo>
                  <a:lnTo>
                    <a:pt x="3616" y="8011"/>
                  </a:lnTo>
                  <a:lnTo>
                    <a:pt x="3616" y="7656"/>
                  </a:lnTo>
                  <a:lnTo>
                    <a:pt x="3616" y="7302"/>
                  </a:lnTo>
                  <a:lnTo>
                    <a:pt x="3758" y="6380"/>
                  </a:lnTo>
                  <a:lnTo>
                    <a:pt x="4325" y="4183"/>
                  </a:lnTo>
                  <a:lnTo>
                    <a:pt x="4608" y="3119"/>
                  </a:lnTo>
                  <a:lnTo>
                    <a:pt x="4750" y="2127"/>
                  </a:lnTo>
                  <a:lnTo>
                    <a:pt x="4821" y="1276"/>
                  </a:lnTo>
                  <a:lnTo>
                    <a:pt x="4750" y="993"/>
                  </a:lnTo>
                  <a:lnTo>
                    <a:pt x="4679" y="709"/>
                  </a:lnTo>
                  <a:lnTo>
                    <a:pt x="4679" y="709"/>
                  </a:lnTo>
                  <a:lnTo>
                    <a:pt x="4537" y="567"/>
                  </a:lnTo>
                  <a:lnTo>
                    <a:pt x="4325" y="355"/>
                  </a:lnTo>
                  <a:lnTo>
                    <a:pt x="3899" y="142"/>
                  </a:lnTo>
                  <a:lnTo>
                    <a:pt x="3403" y="71"/>
                  </a:lnTo>
                  <a:lnTo>
                    <a:pt x="2836" y="0"/>
                  </a:lnTo>
                  <a:lnTo>
                    <a:pt x="2340" y="71"/>
                  </a:lnTo>
                  <a:lnTo>
                    <a:pt x="1915" y="213"/>
                  </a:lnTo>
                  <a:lnTo>
                    <a:pt x="1631" y="355"/>
                  </a:lnTo>
                  <a:lnTo>
                    <a:pt x="1418" y="496"/>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49" name="Google Shape;21547;p90">
              <a:extLst>
                <a:ext uri="{FF2B5EF4-FFF2-40B4-BE49-F238E27FC236}">
                  <a16:creationId xmlns:a16="http://schemas.microsoft.com/office/drawing/2014/main" id="{67DE0693-A08B-77D5-9927-7207B2AB345E}"/>
                </a:ext>
              </a:extLst>
            </p:cNvPr>
            <p:cNvSpPr/>
            <p:nvPr/>
          </p:nvSpPr>
          <p:spPr>
            <a:xfrm>
              <a:off x="4935350" y="3961600"/>
              <a:ext cx="117000" cy="166600"/>
            </a:xfrm>
            <a:custGeom>
              <a:avLst/>
              <a:gdLst/>
              <a:ahLst/>
              <a:cxnLst/>
              <a:rect l="l" t="t" r="r" b="b"/>
              <a:pathLst>
                <a:path w="4680" h="6664" extrusionOk="0">
                  <a:moveTo>
                    <a:pt x="1064" y="0"/>
                  </a:moveTo>
                  <a:lnTo>
                    <a:pt x="852" y="71"/>
                  </a:lnTo>
                  <a:lnTo>
                    <a:pt x="497" y="213"/>
                  </a:lnTo>
                  <a:lnTo>
                    <a:pt x="285" y="426"/>
                  </a:lnTo>
                  <a:lnTo>
                    <a:pt x="214" y="638"/>
                  </a:lnTo>
                  <a:lnTo>
                    <a:pt x="143" y="851"/>
                  </a:lnTo>
                  <a:lnTo>
                    <a:pt x="214" y="1064"/>
                  </a:lnTo>
                  <a:lnTo>
                    <a:pt x="72" y="1205"/>
                  </a:lnTo>
                  <a:lnTo>
                    <a:pt x="1" y="1418"/>
                  </a:lnTo>
                  <a:lnTo>
                    <a:pt x="1" y="1560"/>
                  </a:lnTo>
                  <a:lnTo>
                    <a:pt x="1" y="1702"/>
                  </a:lnTo>
                  <a:lnTo>
                    <a:pt x="214" y="1985"/>
                  </a:lnTo>
                  <a:lnTo>
                    <a:pt x="426" y="2340"/>
                  </a:lnTo>
                  <a:lnTo>
                    <a:pt x="710" y="2552"/>
                  </a:lnTo>
                  <a:lnTo>
                    <a:pt x="923" y="2694"/>
                  </a:lnTo>
                  <a:lnTo>
                    <a:pt x="1064" y="2907"/>
                  </a:lnTo>
                  <a:lnTo>
                    <a:pt x="1064" y="2978"/>
                  </a:lnTo>
                  <a:lnTo>
                    <a:pt x="1064" y="3190"/>
                  </a:lnTo>
                  <a:lnTo>
                    <a:pt x="923" y="3474"/>
                  </a:lnTo>
                  <a:lnTo>
                    <a:pt x="923" y="3687"/>
                  </a:lnTo>
                  <a:lnTo>
                    <a:pt x="1064" y="3757"/>
                  </a:lnTo>
                  <a:lnTo>
                    <a:pt x="1348" y="3899"/>
                  </a:lnTo>
                  <a:lnTo>
                    <a:pt x="1631" y="3757"/>
                  </a:lnTo>
                  <a:lnTo>
                    <a:pt x="1844" y="3757"/>
                  </a:lnTo>
                  <a:lnTo>
                    <a:pt x="1986" y="3899"/>
                  </a:lnTo>
                  <a:lnTo>
                    <a:pt x="2057" y="4041"/>
                  </a:lnTo>
                  <a:lnTo>
                    <a:pt x="2057" y="4254"/>
                  </a:lnTo>
                  <a:lnTo>
                    <a:pt x="1986" y="4466"/>
                  </a:lnTo>
                  <a:lnTo>
                    <a:pt x="1844" y="4679"/>
                  </a:lnTo>
                  <a:lnTo>
                    <a:pt x="1631" y="4821"/>
                  </a:lnTo>
                  <a:lnTo>
                    <a:pt x="1631" y="5246"/>
                  </a:lnTo>
                  <a:lnTo>
                    <a:pt x="1702" y="5813"/>
                  </a:lnTo>
                  <a:lnTo>
                    <a:pt x="1844" y="6097"/>
                  </a:lnTo>
                  <a:lnTo>
                    <a:pt x="1986" y="6380"/>
                  </a:lnTo>
                  <a:lnTo>
                    <a:pt x="2128" y="6522"/>
                  </a:lnTo>
                  <a:lnTo>
                    <a:pt x="2411" y="6664"/>
                  </a:lnTo>
                  <a:lnTo>
                    <a:pt x="2837" y="6664"/>
                  </a:lnTo>
                  <a:lnTo>
                    <a:pt x="3049" y="6522"/>
                  </a:lnTo>
                  <a:lnTo>
                    <a:pt x="3262" y="6309"/>
                  </a:lnTo>
                  <a:lnTo>
                    <a:pt x="3404" y="6026"/>
                  </a:lnTo>
                  <a:lnTo>
                    <a:pt x="3545" y="5742"/>
                  </a:lnTo>
                  <a:lnTo>
                    <a:pt x="3758" y="5033"/>
                  </a:lnTo>
                  <a:lnTo>
                    <a:pt x="3829" y="4679"/>
                  </a:lnTo>
                  <a:lnTo>
                    <a:pt x="3971" y="4466"/>
                  </a:lnTo>
                  <a:lnTo>
                    <a:pt x="4325" y="4112"/>
                  </a:lnTo>
                  <a:lnTo>
                    <a:pt x="4538" y="3899"/>
                  </a:lnTo>
                  <a:lnTo>
                    <a:pt x="4680" y="3545"/>
                  </a:lnTo>
                  <a:lnTo>
                    <a:pt x="4680" y="3119"/>
                  </a:lnTo>
                  <a:lnTo>
                    <a:pt x="4680" y="2552"/>
                  </a:lnTo>
                  <a:lnTo>
                    <a:pt x="4609" y="2269"/>
                  </a:lnTo>
                  <a:lnTo>
                    <a:pt x="4467" y="2056"/>
                  </a:lnTo>
                  <a:lnTo>
                    <a:pt x="4396" y="1985"/>
                  </a:lnTo>
                  <a:lnTo>
                    <a:pt x="4254" y="1914"/>
                  </a:lnTo>
                  <a:lnTo>
                    <a:pt x="4183" y="1843"/>
                  </a:lnTo>
                  <a:lnTo>
                    <a:pt x="4042" y="1773"/>
                  </a:lnTo>
                  <a:lnTo>
                    <a:pt x="3971" y="1560"/>
                  </a:lnTo>
                  <a:lnTo>
                    <a:pt x="3971" y="1205"/>
                  </a:lnTo>
                  <a:lnTo>
                    <a:pt x="3900" y="922"/>
                  </a:lnTo>
                  <a:lnTo>
                    <a:pt x="3829" y="709"/>
                  </a:lnTo>
                  <a:lnTo>
                    <a:pt x="3687" y="497"/>
                  </a:lnTo>
                  <a:lnTo>
                    <a:pt x="3475" y="426"/>
                  </a:lnTo>
                  <a:lnTo>
                    <a:pt x="3262" y="355"/>
                  </a:lnTo>
                  <a:lnTo>
                    <a:pt x="3049" y="355"/>
                  </a:lnTo>
                  <a:lnTo>
                    <a:pt x="2766" y="497"/>
                  </a:lnTo>
                  <a:lnTo>
                    <a:pt x="2482" y="567"/>
                  </a:lnTo>
                  <a:lnTo>
                    <a:pt x="2057" y="780"/>
                  </a:lnTo>
                  <a:lnTo>
                    <a:pt x="1986" y="780"/>
                  </a:lnTo>
                  <a:lnTo>
                    <a:pt x="1915" y="709"/>
                  </a:lnTo>
                  <a:lnTo>
                    <a:pt x="1773" y="497"/>
                  </a:lnTo>
                  <a:lnTo>
                    <a:pt x="1561" y="213"/>
                  </a:lnTo>
                  <a:lnTo>
                    <a:pt x="1419" y="71"/>
                  </a:lnTo>
                  <a:lnTo>
                    <a:pt x="1277" y="0"/>
                  </a:lnTo>
                  <a:close/>
                </a:path>
              </a:pathLst>
            </a:custGeom>
            <a:solidFill>
              <a:srgbClr val="6E3622"/>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50" name="Google Shape;21548;p90">
              <a:extLst>
                <a:ext uri="{FF2B5EF4-FFF2-40B4-BE49-F238E27FC236}">
                  <a16:creationId xmlns:a16="http://schemas.microsoft.com/office/drawing/2014/main" id="{294357A6-11B9-D95E-51E3-B72CEB94ECC6}"/>
                </a:ext>
              </a:extLst>
            </p:cNvPr>
            <p:cNvSpPr/>
            <p:nvPr/>
          </p:nvSpPr>
          <p:spPr>
            <a:xfrm>
              <a:off x="4940675" y="4115775"/>
              <a:ext cx="8900" cy="42575"/>
            </a:xfrm>
            <a:custGeom>
              <a:avLst/>
              <a:gdLst/>
              <a:ahLst/>
              <a:cxnLst/>
              <a:rect l="l" t="t" r="r" b="b"/>
              <a:pathLst>
                <a:path w="356" h="1703" extrusionOk="0">
                  <a:moveTo>
                    <a:pt x="355" y="1"/>
                  </a:moveTo>
                  <a:lnTo>
                    <a:pt x="355" y="1"/>
                  </a:lnTo>
                  <a:lnTo>
                    <a:pt x="1" y="1206"/>
                  </a:lnTo>
                  <a:lnTo>
                    <a:pt x="1" y="1206"/>
                  </a:lnTo>
                  <a:lnTo>
                    <a:pt x="1" y="1419"/>
                  </a:lnTo>
                  <a:lnTo>
                    <a:pt x="1" y="1560"/>
                  </a:lnTo>
                  <a:lnTo>
                    <a:pt x="1" y="1702"/>
                  </a:lnTo>
                  <a:lnTo>
                    <a:pt x="1" y="1206"/>
                  </a:lnTo>
                  <a:lnTo>
                    <a:pt x="1" y="1206"/>
                  </a:lnTo>
                  <a:lnTo>
                    <a:pt x="355" y="1"/>
                  </a:lnTo>
                  <a:close/>
                </a:path>
              </a:pathLst>
            </a:custGeom>
            <a:solidFill>
              <a:srgbClr val="A66939"/>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51" name="Google Shape;21549;p90">
              <a:extLst>
                <a:ext uri="{FF2B5EF4-FFF2-40B4-BE49-F238E27FC236}">
                  <a16:creationId xmlns:a16="http://schemas.microsoft.com/office/drawing/2014/main" id="{69157D07-7583-159D-994C-114B195D1A2F}"/>
                </a:ext>
              </a:extLst>
            </p:cNvPr>
            <p:cNvSpPr/>
            <p:nvPr/>
          </p:nvSpPr>
          <p:spPr>
            <a:xfrm>
              <a:off x="4940675" y="4115775"/>
              <a:ext cx="8900" cy="42575"/>
            </a:xfrm>
            <a:custGeom>
              <a:avLst/>
              <a:gdLst/>
              <a:ahLst/>
              <a:cxnLst/>
              <a:rect l="l" t="t" r="r" b="b"/>
              <a:pathLst>
                <a:path w="356" h="1703" fill="none" extrusionOk="0">
                  <a:moveTo>
                    <a:pt x="355" y="1"/>
                  </a:moveTo>
                  <a:lnTo>
                    <a:pt x="355" y="1"/>
                  </a:lnTo>
                  <a:lnTo>
                    <a:pt x="1" y="1206"/>
                  </a:lnTo>
                  <a:lnTo>
                    <a:pt x="1" y="1206"/>
                  </a:lnTo>
                  <a:lnTo>
                    <a:pt x="1" y="1419"/>
                  </a:lnTo>
                  <a:lnTo>
                    <a:pt x="1" y="1560"/>
                  </a:lnTo>
                  <a:lnTo>
                    <a:pt x="1" y="1702"/>
                  </a:lnTo>
                  <a:lnTo>
                    <a:pt x="1" y="1206"/>
                  </a:lnTo>
                  <a:lnTo>
                    <a:pt x="1" y="1206"/>
                  </a:lnTo>
                  <a:lnTo>
                    <a:pt x="355"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52" name="Google Shape;21550;p90">
              <a:extLst>
                <a:ext uri="{FF2B5EF4-FFF2-40B4-BE49-F238E27FC236}">
                  <a16:creationId xmlns:a16="http://schemas.microsoft.com/office/drawing/2014/main" id="{4BA2B5A8-50A3-A15D-3219-FAD3BFF8BAC7}"/>
                </a:ext>
              </a:extLst>
            </p:cNvPr>
            <p:cNvSpPr/>
            <p:nvPr/>
          </p:nvSpPr>
          <p:spPr>
            <a:xfrm>
              <a:off x="4940675" y="4108700"/>
              <a:ext cx="35475" cy="51400"/>
            </a:xfrm>
            <a:custGeom>
              <a:avLst/>
              <a:gdLst/>
              <a:ahLst/>
              <a:cxnLst/>
              <a:rect l="l" t="t" r="r" b="b"/>
              <a:pathLst>
                <a:path w="1419" h="2056" extrusionOk="0">
                  <a:moveTo>
                    <a:pt x="922" y="0"/>
                  </a:moveTo>
                  <a:lnTo>
                    <a:pt x="710" y="71"/>
                  </a:lnTo>
                  <a:lnTo>
                    <a:pt x="355" y="284"/>
                  </a:lnTo>
                  <a:lnTo>
                    <a:pt x="1" y="1489"/>
                  </a:lnTo>
                  <a:lnTo>
                    <a:pt x="1" y="1985"/>
                  </a:lnTo>
                  <a:lnTo>
                    <a:pt x="72" y="2056"/>
                  </a:lnTo>
                  <a:lnTo>
                    <a:pt x="213" y="1985"/>
                  </a:lnTo>
                  <a:lnTo>
                    <a:pt x="355" y="1843"/>
                  </a:lnTo>
                  <a:lnTo>
                    <a:pt x="568" y="1702"/>
                  </a:lnTo>
                  <a:lnTo>
                    <a:pt x="780" y="1560"/>
                  </a:lnTo>
                  <a:lnTo>
                    <a:pt x="1206" y="1205"/>
                  </a:lnTo>
                  <a:lnTo>
                    <a:pt x="1348" y="1063"/>
                  </a:lnTo>
                  <a:lnTo>
                    <a:pt x="1418" y="851"/>
                  </a:lnTo>
                  <a:lnTo>
                    <a:pt x="1348" y="567"/>
                  </a:lnTo>
                  <a:lnTo>
                    <a:pt x="1135" y="142"/>
                  </a:lnTo>
                  <a:lnTo>
                    <a:pt x="1064" y="71"/>
                  </a:lnTo>
                  <a:lnTo>
                    <a:pt x="922" y="0"/>
                  </a:lnTo>
                  <a:close/>
                </a:path>
              </a:pathLst>
            </a:custGeom>
            <a:solidFill>
              <a:srgbClr val="C08C8E"/>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53" name="Google Shape;21551;p90">
              <a:extLst>
                <a:ext uri="{FF2B5EF4-FFF2-40B4-BE49-F238E27FC236}">
                  <a16:creationId xmlns:a16="http://schemas.microsoft.com/office/drawing/2014/main" id="{CCAD0DC9-1659-579B-0E7C-7112B2C977EF}"/>
                </a:ext>
              </a:extLst>
            </p:cNvPr>
            <p:cNvSpPr/>
            <p:nvPr/>
          </p:nvSpPr>
          <p:spPr>
            <a:xfrm>
              <a:off x="4940675" y="4108700"/>
              <a:ext cx="35475" cy="51400"/>
            </a:xfrm>
            <a:custGeom>
              <a:avLst/>
              <a:gdLst/>
              <a:ahLst/>
              <a:cxnLst/>
              <a:rect l="l" t="t" r="r" b="b"/>
              <a:pathLst>
                <a:path w="1419" h="2056" fill="none" extrusionOk="0">
                  <a:moveTo>
                    <a:pt x="922" y="0"/>
                  </a:moveTo>
                  <a:lnTo>
                    <a:pt x="922" y="0"/>
                  </a:lnTo>
                  <a:lnTo>
                    <a:pt x="710" y="71"/>
                  </a:lnTo>
                  <a:lnTo>
                    <a:pt x="355" y="284"/>
                  </a:lnTo>
                  <a:lnTo>
                    <a:pt x="355" y="284"/>
                  </a:lnTo>
                  <a:lnTo>
                    <a:pt x="355" y="284"/>
                  </a:lnTo>
                  <a:lnTo>
                    <a:pt x="355" y="284"/>
                  </a:lnTo>
                  <a:lnTo>
                    <a:pt x="1" y="1489"/>
                  </a:lnTo>
                  <a:lnTo>
                    <a:pt x="1" y="1985"/>
                  </a:lnTo>
                  <a:lnTo>
                    <a:pt x="1" y="1985"/>
                  </a:lnTo>
                  <a:lnTo>
                    <a:pt x="72" y="2056"/>
                  </a:lnTo>
                  <a:lnTo>
                    <a:pt x="72" y="2056"/>
                  </a:lnTo>
                  <a:lnTo>
                    <a:pt x="213" y="1985"/>
                  </a:lnTo>
                  <a:lnTo>
                    <a:pt x="355" y="1843"/>
                  </a:lnTo>
                  <a:lnTo>
                    <a:pt x="355" y="1843"/>
                  </a:lnTo>
                  <a:lnTo>
                    <a:pt x="568" y="1702"/>
                  </a:lnTo>
                  <a:lnTo>
                    <a:pt x="780" y="1560"/>
                  </a:lnTo>
                  <a:lnTo>
                    <a:pt x="1206" y="1205"/>
                  </a:lnTo>
                  <a:lnTo>
                    <a:pt x="1348" y="1063"/>
                  </a:lnTo>
                  <a:lnTo>
                    <a:pt x="1418" y="851"/>
                  </a:lnTo>
                  <a:lnTo>
                    <a:pt x="1348" y="567"/>
                  </a:lnTo>
                  <a:lnTo>
                    <a:pt x="1135" y="142"/>
                  </a:lnTo>
                  <a:lnTo>
                    <a:pt x="1135" y="142"/>
                  </a:lnTo>
                  <a:lnTo>
                    <a:pt x="1064" y="71"/>
                  </a:lnTo>
                  <a:lnTo>
                    <a:pt x="922"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54" name="Google Shape;21552;p90">
              <a:extLst>
                <a:ext uri="{FF2B5EF4-FFF2-40B4-BE49-F238E27FC236}">
                  <a16:creationId xmlns:a16="http://schemas.microsoft.com/office/drawing/2014/main" id="{626E6C42-788B-4AC5-FD67-CF49E7E1A13F}"/>
                </a:ext>
              </a:extLst>
            </p:cNvPr>
            <p:cNvSpPr/>
            <p:nvPr/>
          </p:nvSpPr>
          <p:spPr>
            <a:xfrm>
              <a:off x="4561425" y="4025400"/>
              <a:ext cx="813475" cy="560050"/>
            </a:xfrm>
            <a:custGeom>
              <a:avLst/>
              <a:gdLst/>
              <a:ahLst/>
              <a:cxnLst/>
              <a:rect l="l" t="t" r="r" b="b"/>
              <a:pathLst>
                <a:path w="32539" h="22402" extrusionOk="0">
                  <a:moveTo>
                    <a:pt x="1347" y="0"/>
                  </a:moveTo>
                  <a:lnTo>
                    <a:pt x="851" y="142"/>
                  </a:lnTo>
                  <a:lnTo>
                    <a:pt x="426" y="284"/>
                  </a:lnTo>
                  <a:lnTo>
                    <a:pt x="71" y="426"/>
                  </a:lnTo>
                  <a:lnTo>
                    <a:pt x="0" y="567"/>
                  </a:lnTo>
                  <a:lnTo>
                    <a:pt x="0" y="638"/>
                  </a:lnTo>
                  <a:lnTo>
                    <a:pt x="496" y="2340"/>
                  </a:lnTo>
                  <a:lnTo>
                    <a:pt x="1347" y="5104"/>
                  </a:lnTo>
                  <a:lnTo>
                    <a:pt x="1843" y="6593"/>
                  </a:lnTo>
                  <a:lnTo>
                    <a:pt x="2340" y="7940"/>
                  </a:lnTo>
                  <a:lnTo>
                    <a:pt x="2907" y="9003"/>
                  </a:lnTo>
                  <a:lnTo>
                    <a:pt x="3190" y="9429"/>
                  </a:lnTo>
                  <a:lnTo>
                    <a:pt x="3474" y="9712"/>
                  </a:lnTo>
                  <a:lnTo>
                    <a:pt x="3899" y="10067"/>
                  </a:lnTo>
                  <a:lnTo>
                    <a:pt x="4395" y="10279"/>
                  </a:lnTo>
                  <a:lnTo>
                    <a:pt x="5033" y="10563"/>
                  </a:lnTo>
                  <a:lnTo>
                    <a:pt x="5742" y="10776"/>
                  </a:lnTo>
                  <a:lnTo>
                    <a:pt x="7302" y="11130"/>
                  </a:lnTo>
                  <a:lnTo>
                    <a:pt x="8932" y="11484"/>
                  </a:lnTo>
                  <a:lnTo>
                    <a:pt x="10634" y="11768"/>
                  </a:lnTo>
                  <a:lnTo>
                    <a:pt x="12264" y="12052"/>
                  </a:lnTo>
                  <a:lnTo>
                    <a:pt x="13682" y="12406"/>
                  </a:lnTo>
                  <a:lnTo>
                    <a:pt x="14249" y="12619"/>
                  </a:lnTo>
                  <a:lnTo>
                    <a:pt x="14816" y="12831"/>
                  </a:lnTo>
                  <a:lnTo>
                    <a:pt x="15596" y="13257"/>
                  </a:lnTo>
                  <a:lnTo>
                    <a:pt x="16021" y="13540"/>
                  </a:lnTo>
                  <a:lnTo>
                    <a:pt x="16943" y="14887"/>
                  </a:lnTo>
                  <a:lnTo>
                    <a:pt x="17864" y="16163"/>
                  </a:lnTo>
                  <a:lnTo>
                    <a:pt x="18361" y="16872"/>
                  </a:lnTo>
                  <a:lnTo>
                    <a:pt x="18857" y="17723"/>
                  </a:lnTo>
                  <a:lnTo>
                    <a:pt x="19424" y="18715"/>
                  </a:lnTo>
                  <a:lnTo>
                    <a:pt x="19920" y="19849"/>
                  </a:lnTo>
                  <a:lnTo>
                    <a:pt x="19920" y="19920"/>
                  </a:lnTo>
                  <a:lnTo>
                    <a:pt x="20416" y="21055"/>
                  </a:lnTo>
                  <a:lnTo>
                    <a:pt x="20842" y="22118"/>
                  </a:lnTo>
                  <a:lnTo>
                    <a:pt x="21692" y="22260"/>
                  </a:lnTo>
                  <a:lnTo>
                    <a:pt x="22543" y="22331"/>
                  </a:lnTo>
                  <a:lnTo>
                    <a:pt x="24457" y="22401"/>
                  </a:lnTo>
                  <a:lnTo>
                    <a:pt x="26442" y="22401"/>
                  </a:lnTo>
                  <a:lnTo>
                    <a:pt x="28356" y="22189"/>
                  </a:lnTo>
                  <a:lnTo>
                    <a:pt x="30057" y="21905"/>
                  </a:lnTo>
                  <a:lnTo>
                    <a:pt x="30837" y="21763"/>
                  </a:lnTo>
                  <a:lnTo>
                    <a:pt x="31404" y="21551"/>
                  </a:lnTo>
                  <a:lnTo>
                    <a:pt x="31972" y="21267"/>
                  </a:lnTo>
                  <a:lnTo>
                    <a:pt x="32326" y="21055"/>
                  </a:lnTo>
                  <a:lnTo>
                    <a:pt x="32468" y="20771"/>
                  </a:lnTo>
                  <a:lnTo>
                    <a:pt x="32539" y="20629"/>
                  </a:lnTo>
                  <a:lnTo>
                    <a:pt x="32539" y="20417"/>
                  </a:lnTo>
                  <a:lnTo>
                    <a:pt x="32184" y="19353"/>
                  </a:lnTo>
                  <a:lnTo>
                    <a:pt x="31759" y="18148"/>
                  </a:lnTo>
                  <a:lnTo>
                    <a:pt x="31263" y="17014"/>
                  </a:lnTo>
                  <a:lnTo>
                    <a:pt x="30625" y="15809"/>
                  </a:lnTo>
                  <a:lnTo>
                    <a:pt x="29916" y="14675"/>
                  </a:lnTo>
                  <a:lnTo>
                    <a:pt x="29136" y="13469"/>
                  </a:lnTo>
                  <a:lnTo>
                    <a:pt x="27576" y="11272"/>
                  </a:lnTo>
                  <a:lnTo>
                    <a:pt x="26017" y="9287"/>
                  </a:lnTo>
                  <a:lnTo>
                    <a:pt x="24599" y="7656"/>
                  </a:lnTo>
                  <a:lnTo>
                    <a:pt x="23465" y="6522"/>
                  </a:lnTo>
                  <a:lnTo>
                    <a:pt x="22827" y="5884"/>
                  </a:lnTo>
                  <a:lnTo>
                    <a:pt x="22331" y="5530"/>
                  </a:lnTo>
                  <a:lnTo>
                    <a:pt x="21834" y="5246"/>
                  </a:lnTo>
                  <a:lnTo>
                    <a:pt x="21267" y="4963"/>
                  </a:lnTo>
                  <a:lnTo>
                    <a:pt x="20700" y="4750"/>
                  </a:lnTo>
                  <a:lnTo>
                    <a:pt x="20062" y="4608"/>
                  </a:lnTo>
                  <a:lnTo>
                    <a:pt x="19424" y="4537"/>
                  </a:lnTo>
                  <a:lnTo>
                    <a:pt x="18786" y="4537"/>
                  </a:lnTo>
                  <a:lnTo>
                    <a:pt x="18148" y="4608"/>
                  </a:lnTo>
                  <a:lnTo>
                    <a:pt x="17297" y="4892"/>
                  </a:lnTo>
                  <a:lnTo>
                    <a:pt x="16588" y="5175"/>
                  </a:lnTo>
                  <a:lnTo>
                    <a:pt x="16021" y="5459"/>
                  </a:lnTo>
                  <a:lnTo>
                    <a:pt x="15525" y="5813"/>
                  </a:lnTo>
                  <a:lnTo>
                    <a:pt x="14604" y="6451"/>
                  </a:lnTo>
                  <a:lnTo>
                    <a:pt x="14178" y="6735"/>
                  </a:lnTo>
                  <a:lnTo>
                    <a:pt x="13611" y="6948"/>
                  </a:lnTo>
                  <a:lnTo>
                    <a:pt x="11839" y="7373"/>
                  </a:lnTo>
                  <a:lnTo>
                    <a:pt x="10775" y="7586"/>
                  </a:lnTo>
                  <a:lnTo>
                    <a:pt x="9641" y="7727"/>
                  </a:lnTo>
                  <a:lnTo>
                    <a:pt x="8436" y="7798"/>
                  </a:lnTo>
                  <a:lnTo>
                    <a:pt x="7373" y="7798"/>
                  </a:lnTo>
                  <a:lnTo>
                    <a:pt x="6947" y="7727"/>
                  </a:lnTo>
                  <a:lnTo>
                    <a:pt x="6451" y="7656"/>
                  </a:lnTo>
                  <a:lnTo>
                    <a:pt x="6097" y="7515"/>
                  </a:lnTo>
                  <a:lnTo>
                    <a:pt x="5742" y="7302"/>
                  </a:lnTo>
                  <a:lnTo>
                    <a:pt x="5601" y="7160"/>
                  </a:lnTo>
                  <a:lnTo>
                    <a:pt x="5459" y="6877"/>
                  </a:lnTo>
                  <a:lnTo>
                    <a:pt x="5033" y="6026"/>
                  </a:lnTo>
                  <a:lnTo>
                    <a:pt x="4679" y="4963"/>
                  </a:lnTo>
                  <a:lnTo>
                    <a:pt x="4254" y="3757"/>
                  </a:lnTo>
                  <a:lnTo>
                    <a:pt x="3545" y="1489"/>
                  </a:lnTo>
                  <a:lnTo>
                    <a:pt x="3261" y="638"/>
                  </a:lnTo>
                  <a:lnTo>
                    <a:pt x="3049" y="213"/>
                  </a:lnTo>
                  <a:lnTo>
                    <a:pt x="2978" y="142"/>
                  </a:lnTo>
                  <a:lnTo>
                    <a:pt x="2836" y="71"/>
                  </a:lnTo>
                  <a:lnTo>
                    <a:pt x="2481" y="0"/>
                  </a:lnTo>
                  <a:close/>
                </a:path>
              </a:pathLst>
            </a:custGeom>
            <a:solidFill>
              <a:srgbClr val="EA8C23"/>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55" name="Google Shape;21553;p90">
              <a:extLst>
                <a:ext uri="{FF2B5EF4-FFF2-40B4-BE49-F238E27FC236}">
                  <a16:creationId xmlns:a16="http://schemas.microsoft.com/office/drawing/2014/main" id="{EE888330-6D61-77A1-DF07-F6012425E893}"/>
                </a:ext>
              </a:extLst>
            </p:cNvPr>
            <p:cNvSpPr/>
            <p:nvPr/>
          </p:nvSpPr>
          <p:spPr>
            <a:xfrm>
              <a:off x="4561425" y="4025400"/>
              <a:ext cx="813475" cy="560050"/>
            </a:xfrm>
            <a:custGeom>
              <a:avLst/>
              <a:gdLst/>
              <a:ahLst/>
              <a:cxnLst/>
              <a:rect l="l" t="t" r="r" b="b"/>
              <a:pathLst>
                <a:path w="32539" h="22402" fill="none" extrusionOk="0">
                  <a:moveTo>
                    <a:pt x="14816" y="12831"/>
                  </a:moveTo>
                  <a:lnTo>
                    <a:pt x="14816" y="12831"/>
                  </a:lnTo>
                  <a:lnTo>
                    <a:pt x="15596" y="13257"/>
                  </a:lnTo>
                  <a:lnTo>
                    <a:pt x="16021" y="13540"/>
                  </a:lnTo>
                  <a:lnTo>
                    <a:pt x="16021" y="13540"/>
                  </a:lnTo>
                  <a:lnTo>
                    <a:pt x="16943" y="14887"/>
                  </a:lnTo>
                  <a:lnTo>
                    <a:pt x="17864" y="16163"/>
                  </a:lnTo>
                  <a:lnTo>
                    <a:pt x="18361" y="16872"/>
                  </a:lnTo>
                  <a:lnTo>
                    <a:pt x="18857" y="17723"/>
                  </a:lnTo>
                  <a:lnTo>
                    <a:pt x="19424" y="18715"/>
                  </a:lnTo>
                  <a:lnTo>
                    <a:pt x="19920" y="19849"/>
                  </a:lnTo>
                  <a:lnTo>
                    <a:pt x="19920" y="19920"/>
                  </a:lnTo>
                  <a:lnTo>
                    <a:pt x="19920" y="19920"/>
                  </a:lnTo>
                  <a:lnTo>
                    <a:pt x="20416" y="21055"/>
                  </a:lnTo>
                  <a:lnTo>
                    <a:pt x="20416" y="21055"/>
                  </a:lnTo>
                  <a:lnTo>
                    <a:pt x="20416" y="21055"/>
                  </a:lnTo>
                  <a:lnTo>
                    <a:pt x="20842" y="22118"/>
                  </a:lnTo>
                  <a:lnTo>
                    <a:pt x="20842" y="22118"/>
                  </a:lnTo>
                  <a:lnTo>
                    <a:pt x="21692" y="22260"/>
                  </a:lnTo>
                  <a:lnTo>
                    <a:pt x="22543" y="22331"/>
                  </a:lnTo>
                  <a:lnTo>
                    <a:pt x="24457" y="22401"/>
                  </a:lnTo>
                  <a:lnTo>
                    <a:pt x="26442" y="22401"/>
                  </a:lnTo>
                  <a:lnTo>
                    <a:pt x="28356" y="22189"/>
                  </a:lnTo>
                  <a:lnTo>
                    <a:pt x="30057" y="21905"/>
                  </a:lnTo>
                  <a:lnTo>
                    <a:pt x="30837" y="21763"/>
                  </a:lnTo>
                  <a:lnTo>
                    <a:pt x="31404" y="21551"/>
                  </a:lnTo>
                  <a:lnTo>
                    <a:pt x="31972" y="21267"/>
                  </a:lnTo>
                  <a:lnTo>
                    <a:pt x="32326" y="21055"/>
                  </a:lnTo>
                  <a:lnTo>
                    <a:pt x="32468" y="20771"/>
                  </a:lnTo>
                  <a:lnTo>
                    <a:pt x="32539" y="20629"/>
                  </a:lnTo>
                  <a:lnTo>
                    <a:pt x="32539" y="20417"/>
                  </a:lnTo>
                  <a:lnTo>
                    <a:pt x="32539" y="20417"/>
                  </a:lnTo>
                  <a:lnTo>
                    <a:pt x="32184" y="19353"/>
                  </a:lnTo>
                  <a:lnTo>
                    <a:pt x="31759" y="18148"/>
                  </a:lnTo>
                  <a:lnTo>
                    <a:pt x="31263" y="17014"/>
                  </a:lnTo>
                  <a:lnTo>
                    <a:pt x="30625" y="15809"/>
                  </a:lnTo>
                  <a:lnTo>
                    <a:pt x="29916" y="14675"/>
                  </a:lnTo>
                  <a:lnTo>
                    <a:pt x="29136" y="13469"/>
                  </a:lnTo>
                  <a:lnTo>
                    <a:pt x="27576" y="11272"/>
                  </a:lnTo>
                  <a:lnTo>
                    <a:pt x="26017" y="9287"/>
                  </a:lnTo>
                  <a:lnTo>
                    <a:pt x="24599" y="7656"/>
                  </a:lnTo>
                  <a:lnTo>
                    <a:pt x="23465" y="6522"/>
                  </a:lnTo>
                  <a:lnTo>
                    <a:pt x="22827" y="5884"/>
                  </a:lnTo>
                  <a:lnTo>
                    <a:pt x="22827" y="5884"/>
                  </a:lnTo>
                  <a:lnTo>
                    <a:pt x="22331" y="5530"/>
                  </a:lnTo>
                  <a:lnTo>
                    <a:pt x="21834" y="5246"/>
                  </a:lnTo>
                  <a:lnTo>
                    <a:pt x="21267" y="4963"/>
                  </a:lnTo>
                  <a:lnTo>
                    <a:pt x="20700" y="4750"/>
                  </a:lnTo>
                  <a:lnTo>
                    <a:pt x="20062" y="4608"/>
                  </a:lnTo>
                  <a:lnTo>
                    <a:pt x="19424" y="4537"/>
                  </a:lnTo>
                  <a:lnTo>
                    <a:pt x="18786" y="4537"/>
                  </a:lnTo>
                  <a:lnTo>
                    <a:pt x="18148" y="4608"/>
                  </a:lnTo>
                  <a:lnTo>
                    <a:pt x="18148" y="4608"/>
                  </a:lnTo>
                  <a:lnTo>
                    <a:pt x="17297" y="4892"/>
                  </a:lnTo>
                  <a:lnTo>
                    <a:pt x="16588" y="5175"/>
                  </a:lnTo>
                  <a:lnTo>
                    <a:pt x="16021" y="5459"/>
                  </a:lnTo>
                  <a:lnTo>
                    <a:pt x="15525" y="5813"/>
                  </a:lnTo>
                  <a:lnTo>
                    <a:pt x="14604" y="6451"/>
                  </a:lnTo>
                  <a:lnTo>
                    <a:pt x="14178" y="6735"/>
                  </a:lnTo>
                  <a:lnTo>
                    <a:pt x="13611" y="6948"/>
                  </a:lnTo>
                  <a:lnTo>
                    <a:pt x="13611" y="6948"/>
                  </a:lnTo>
                  <a:lnTo>
                    <a:pt x="11839" y="7373"/>
                  </a:lnTo>
                  <a:lnTo>
                    <a:pt x="10775" y="7586"/>
                  </a:lnTo>
                  <a:lnTo>
                    <a:pt x="9641" y="7727"/>
                  </a:lnTo>
                  <a:lnTo>
                    <a:pt x="8436" y="7798"/>
                  </a:lnTo>
                  <a:lnTo>
                    <a:pt x="7373" y="7798"/>
                  </a:lnTo>
                  <a:lnTo>
                    <a:pt x="6947" y="7727"/>
                  </a:lnTo>
                  <a:lnTo>
                    <a:pt x="6451" y="7656"/>
                  </a:lnTo>
                  <a:lnTo>
                    <a:pt x="6097" y="7515"/>
                  </a:lnTo>
                  <a:lnTo>
                    <a:pt x="5742" y="7302"/>
                  </a:lnTo>
                  <a:lnTo>
                    <a:pt x="5742" y="7302"/>
                  </a:lnTo>
                  <a:lnTo>
                    <a:pt x="5601" y="7160"/>
                  </a:lnTo>
                  <a:lnTo>
                    <a:pt x="5459" y="6877"/>
                  </a:lnTo>
                  <a:lnTo>
                    <a:pt x="5033" y="6026"/>
                  </a:lnTo>
                  <a:lnTo>
                    <a:pt x="4679" y="4963"/>
                  </a:lnTo>
                  <a:lnTo>
                    <a:pt x="4254" y="3757"/>
                  </a:lnTo>
                  <a:lnTo>
                    <a:pt x="3545" y="1489"/>
                  </a:lnTo>
                  <a:lnTo>
                    <a:pt x="3261" y="638"/>
                  </a:lnTo>
                  <a:lnTo>
                    <a:pt x="3049" y="213"/>
                  </a:lnTo>
                  <a:lnTo>
                    <a:pt x="3049" y="213"/>
                  </a:lnTo>
                  <a:lnTo>
                    <a:pt x="2978" y="142"/>
                  </a:lnTo>
                  <a:lnTo>
                    <a:pt x="2836" y="71"/>
                  </a:lnTo>
                  <a:lnTo>
                    <a:pt x="2481" y="0"/>
                  </a:lnTo>
                  <a:lnTo>
                    <a:pt x="1914" y="0"/>
                  </a:lnTo>
                  <a:lnTo>
                    <a:pt x="1347" y="0"/>
                  </a:lnTo>
                  <a:lnTo>
                    <a:pt x="851" y="142"/>
                  </a:lnTo>
                  <a:lnTo>
                    <a:pt x="426" y="284"/>
                  </a:lnTo>
                  <a:lnTo>
                    <a:pt x="71" y="426"/>
                  </a:lnTo>
                  <a:lnTo>
                    <a:pt x="0" y="567"/>
                  </a:lnTo>
                  <a:lnTo>
                    <a:pt x="0" y="638"/>
                  </a:lnTo>
                  <a:lnTo>
                    <a:pt x="0" y="638"/>
                  </a:lnTo>
                  <a:lnTo>
                    <a:pt x="496" y="2340"/>
                  </a:lnTo>
                  <a:lnTo>
                    <a:pt x="1347" y="5104"/>
                  </a:lnTo>
                  <a:lnTo>
                    <a:pt x="1843" y="6593"/>
                  </a:lnTo>
                  <a:lnTo>
                    <a:pt x="2340" y="7940"/>
                  </a:lnTo>
                  <a:lnTo>
                    <a:pt x="2907" y="9003"/>
                  </a:lnTo>
                  <a:lnTo>
                    <a:pt x="3190" y="9429"/>
                  </a:lnTo>
                  <a:lnTo>
                    <a:pt x="3474" y="9712"/>
                  </a:lnTo>
                  <a:lnTo>
                    <a:pt x="3474" y="9712"/>
                  </a:lnTo>
                  <a:lnTo>
                    <a:pt x="3899" y="10067"/>
                  </a:lnTo>
                  <a:lnTo>
                    <a:pt x="4395" y="10279"/>
                  </a:lnTo>
                  <a:lnTo>
                    <a:pt x="5033" y="10563"/>
                  </a:lnTo>
                  <a:lnTo>
                    <a:pt x="5742" y="10776"/>
                  </a:lnTo>
                  <a:lnTo>
                    <a:pt x="7302" y="11130"/>
                  </a:lnTo>
                  <a:lnTo>
                    <a:pt x="8932" y="11484"/>
                  </a:lnTo>
                  <a:lnTo>
                    <a:pt x="10634" y="11768"/>
                  </a:lnTo>
                  <a:lnTo>
                    <a:pt x="12264" y="12052"/>
                  </a:lnTo>
                  <a:lnTo>
                    <a:pt x="13682" y="12406"/>
                  </a:lnTo>
                  <a:lnTo>
                    <a:pt x="14249" y="12619"/>
                  </a:lnTo>
                  <a:lnTo>
                    <a:pt x="14816" y="12831"/>
                  </a:lnTo>
                  <a:lnTo>
                    <a:pt x="14816" y="1283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56" name="Google Shape;21554;p90">
              <a:extLst>
                <a:ext uri="{FF2B5EF4-FFF2-40B4-BE49-F238E27FC236}">
                  <a16:creationId xmlns:a16="http://schemas.microsoft.com/office/drawing/2014/main" id="{A156B46C-69F5-91A5-92EB-6D51F24C8688}"/>
                </a:ext>
              </a:extLst>
            </p:cNvPr>
            <p:cNvSpPr/>
            <p:nvPr/>
          </p:nvSpPr>
          <p:spPr>
            <a:xfrm>
              <a:off x="4930050" y="4344400"/>
              <a:ext cx="143575" cy="207375"/>
            </a:xfrm>
            <a:custGeom>
              <a:avLst/>
              <a:gdLst/>
              <a:ahLst/>
              <a:cxnLst/>
              <a:rect l="l" t="t" r="r" b="b"/>
              <a:pathLst>
                <a:path w="5743" h="8295" extrusionOk="0">
                  <a:moveTo>
                    <a:pt x="567" y="0"/>
                  </a:moveTo>
                  <a:lnTo>
                    <a:pt x="0" y="71"/>
                  </a:lnTo>
                  <a:lnTo>
                    <a:pt x="71" y="71"/>
                  </a:lnTo>
                  <a:lnTo>
                    <a:pt x="851" y="497"/>
                  </a:lnTo>
                  <a:lnTo>
                    <a:pt x="1276" y="780"/>
                  </a:lnTo>
                  <a:lnTo>
                    <a:pt x="2198" y="2127"/>
                  </a:lnTo>
                  <a:lnTo>
                    <a:pt x="3119" y="3403"/>
                  </a:lnTo>
                  <a:lnTo>
                    <a:pt x="3616" y="4112"/>
                  </a:lnTo>
                  <a:lnTo>
                    <a:pt x="4112" y="4963"/>
                  </a:lnTo>
                  <a:lnTo>
                    <a:pt x="4679" y="5955"/>
                  </a:lnTo>
                  <a:lnTo>
                    <a:pt x="5175" y="7089"/>
                  </a:lnTo>
                  <a:lnTo>
                    <a:pt x="5175" y="7160"/>
                  </a:lnTo>
                  <a:lnTo>
                    <a:pt x="5671" y="8295"/>
                  </a:lnTo>
                  <a:lnTo>
                    <a:pt x="5742" y="8153"/>
                  </a:lnTo>
                  <a:lnTo>
                    <a:pt x="5742" y="7869"/>
                  </a:lnTo>
                  <a:lnTo>
                    <a:pt x="5671" y="7231"/>
                  </a:lnTo>
                  <a:lnTo>
                    <a:pt x="5530" y="6593"/>
                  </a:lnTo>
                  <a:lnTo>
                    <a:pt x="5317" y="5743"/>
                  </a:lnTo>
                  <a:lnTo>
                    <a:pt x="4963" y="4679"/>
                  </a:lnTo>
                  <a:lnTo>
                    <a:pt x="4537" y="3616"/>
                  </a:lnTo>
                  <a:lnTo>
                    <a:pt x="3616" y="1702"/>
                  </a:lnTo>
                  <a:lnTo>
                    <a:pt x="3261" y="1064"/>
                  </a:lnTo>
                  <a:lnTo>
                    <a:pt x="3049" y="709"/>
                  </a:lnTo>
                  <a:lnTo>
                    <a:pt x="2694" y="497"/>
                  </a:lnTo>
                  <a:lnTo>
                    <a:pt x="2127" y="284"/>
                  </a:lnTo>
                  <a:lnTo>
                    <a:pt x="1418" y="71"/>
                  </a:lnTo>
                  <a:lnTo>
                    <a:pt x="567" y="0"/>
                  </a:lnTo>
                  <a:close/>
                </a:path>
              </a:pathLst>
            </a:custGeom>
            <a:solidFill>
              <a:srgbClr val="A36739"/>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57" name="Google Shape;21555;p90">
              <a:extLst>
                <a:ext uri="{FF2B5EF4-FFF2-40B4-BE49-F238E27FC236}">
                  <a16:creationId xmlns:a16="http://schemas.microsoft.com/office/drawing/2014/main" id="{CB843D01-8B6D-7045-17A4-0D2DCFAFE5DE}"/>
                </a:ext>
              </a:extLst>
            </p:cNvPr>
            <p:cNvSpPr/>
            <p:nvPr/>
          </p:nvSpPr>
          <p:spPr>
            <a:xfrm>
              <a:off x="4930050" y="4344400"/>
              <a:ext cx="143575" cy="207375"/>
            </a:xfrm>
            <a:custGeom>
              <a:avLst/>
              <a:gdLst/>
              <a:ahLst/>
              <a:cxnLst/>
              <a:rect l="l" t="t" r="r" b="b"/>
              <a:pathLst>
                <a:path w="5743" h="8295" fill="none" extrusionOk="0">
                  <a:moveTo>
                    <a:pt x="567" y="0"/>
                  </a:moveTo>
                  <a:lnTo>
                    <a:pt x="567" y="0"/>
                  </a:lnTo>
                  <a:lnTo>
                    <a:pt x="0" y="71"/>
                  </a:lnTo>
                  <a:lnTo>
                    <a:pt x="71" y="71"/>
                  </a:lnTo>
                  <a:lnTo>
                    <a:pt x="71" y="71"/>
                  </a:lnTo>
                  <a:lnTo>
                    <a:pt x="71" y="71"/>
                  </a:lnTo>
                  <a:lnTo>
                    <a:pt x="851" y="497"/>
                  </a:lnTo>
                  <a:lnTo>
                    <a:pt x="1276" y="780"/>
                  </a:lnTo>
                  <a:lnTo>
                    <a:pt x="1276" y="780"/>
                  </a:lnTo>
                  <a:lnTo>
                    <a:pt x="2198" y="2127"/>
                  </a:lnTo>
                  <a:lnTo>
                    <a:pt x="3119" y="3403"/>
                  </a:lnTo>
                  <a:lnTo>
                    <a:pt x="3616" y="4112"/>
                  </a:lnTo>
                  <a:lnTo>
                    <a:pt x="4112" y="4963"/>
                  </a:lnTo>
                  <a:lnTo>
                    <a:pt x="4679" y="5955"/>
                  </a:lnTo>
                  <a:lnTo>
                    <a:pt x="5175" y="7089"/>
                  </a:lnTo>
                  <a:lnTo>
                    <a:pt x="5175" y="7160"/>
                  </a:lnTo>
                  <a:lnTo>
                    <a:pt x="5175" y="7160"/>
                  </a:lnTo>
                  <a:lnTo>
                    <a:pt x="5671" y="8295"/>
                  </a:lnTo>
                  <a:lnTo>
                    <a:pt x="5671" y="8295"/>
                  </a:lnTo>
                  <a:lnTo>
                    <a:pt x="5671" y="8295"/>
                  </a:lnTo>
                  <a:lnTo>
                    <a:pt x="5742" y="8153"/>
                  </a:lnTo>
                  <a:lnTo>
                    <a:pt x="5742" y="7869"/>
                  </a:lnTo>
                  <a:lnTo>
                    <a:pt x="5671" y="7231"/>
                  </a:lnTo>
                  <a:lnTo>
                    <a:pt x="5671" y="7231"/>
                  </a:lnTo>
                  <a:lnTo>
                    <a:pt x="5530" y="6593"/>
                  </a:lnTo>
                  <a:lnTo>
                    <a:pt x="5317" y="5743"/>
                  </a:lnTo>
                  <a:lnTo>
                    <a:pt x="4963" y="4679"/>
                  </a:lnTo>
                  <a:lnTo>
                    <a:pt x="4537" y="3616"/>
                  </a:lnTo>
                  <a:lnTo>
                    <a:pt x="3616" y="1702"/>
                  </a:lnTo>
                  <a:lnTo>
                    <a:pt x="3261" y="1064"/>
                  </a:lnTo>
                  <a:lnTo>
                    <a:pt x="3049" y="709"/>
                  </a:lnTo>
                  <a:lnTo>
                    <a:pt x="3049" y="709"/>
                  </a:lnTo>
                  <a:lnTo>
                    <a:pt x="2694" y="497"/>
                  </a:lnTo>
                  <a:lnTo>
                    <a:pt x="2127" y="284"/>
                  </a:lnTo>
                  <a:lnTo>
                    <a:pt x="1418" y="71"/>
                  </a:lnTo>
                  <a:lnTo>
                    <a:pt x="567"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58" name="Google Shape;21556;p90">
              <a:extLst>
                <a:ext uri="{FF2B5EF4-FFF2-40B4-BE49-F238E27FC236}">
                  <a16:creationId xmlns:a16="http://schemas.microsoft.com/office/drawing/2014/main" id="{5CEF9159-2513-EED4-335B-A34035638FDB}"/>
                </a:ext>
              </a:extLst>
            </p:cNvPr>
            <p:cNvSpPr/>
            <p:nvPr/>
          </p:nvSpPr>
          <p:spPr>
            <a:xfrm>
              <a:off x="3063875" y="2513675"/>
              <a:ext cx="875500" cy="1300850"/>
            </a:xfrm>
            <a:custGeom>
              <a:avLst/>
              <a:gdLst/>
              <a:ahLst/>
              <a:cxnLst/>
              <a:rect l="l" t="t" r="r" b="b"/>
              <a:pathLst>
                <a:path w="35020" h="52034" extrusionOk="0">
                  <a:moveTo>
                    <a:pt x="33319" y="0"/>
                  </a:moveTo>
                  <a:lnTo>
                    <a:pt x="32113" y="71"/>
                  </a:lnTo>
                  <a:lnTo>
                    <a:pt x="31617" y="71"/>
                  </a:lnTo>
                  <a:lnTo>
                    <a:pt x="29349" y="213"/>
                  </a:lnTo>
                  <a:lnTo>
                    <a:pt x="27151" y="497"/>
                  </a:lnTo>
                  <a:lnTo>
                    <a:pt x="25450" y="851"/>
                  </a:lnTo>
                  <a:lnTo>
                    <a:pt x="23748" y="1276"/>
                  </a:lnTo>
                  <a:lnTo>
                    <a:pt x="22118" y="1773"/>
                  </a:lnTo>
                  <a:lnTo>
                    <a:pt x="20558" y="2340"/>
                  </a:lnTo>
                  <a:lnTo>
                    <a:pt x="19070" y="3049"/>
                  </a:lnTo>
                  <a:lnTo>
                    <a:pt x="17652" y="3828"/>
                  </a:lnTo>
                  <a:lnTo>
                    <a:pt x="16234" y="4608"/>
                  </a:lnTo>
                  <a:lnTo>
                    <a:pt x="14958" y="5530"/>
                  </a:lnTo>
                  <a:lnTo>
                    <a:pt x="13682" y="6522"/>
                  </a:lnTo>
                  <a:lnTo>
                    <a:pt x="12477" y="7515"/>
                  </a:lnTo>
                  <a:lnTo>
                    <a:pt x="11343" y="8649"/>
                  </a:lnTo>
                  <a:lnTo>
                    <a:pt x="10279" y="9783"/>
                  </a:lnTo>
                  <a:lnTo>
                    <a:pt x="9216" y="10988"/>
                  </a:lnTo>
                  <a:lnTo>
                    <a:pt x="8295" y="12193"/>
                  </a:lnTo>
                  <a:lnTo>
                    <a:pt x="7373" y="13540"/>
                  </a:lnTo>
                  <a:lnTo>
                    <a:pt x="6522" y="14887"/>
                  </a:lnTo>
                  <a:lnTo>
                    <a:pt x="5743" y="16234"/>
                  </a:lnTo>
                  <a:lnTo>
                    <a:pt x="4963" y="17652"/>
                  </a:lnTo>
                  <a:lnTo>
                    <a:pt x="4325" y="19070"/>
                  </a:lnTo>
                  <a:lnTo>
                    <a:pt x="3687" y="20558"/>
                  </a:lnTo>
                  <a:lnTo>
                    <a:pt x="3049" y="22047"/>
                  </a:lnTo>
                  <a:lnTo>
                    <a:pt x="2552" y="23536"/>
                  </a:lnTo>
                  <a:lnTo>
                    <a:pt x="2056" y="25095"/>
                  </a:lnTo>
                  <a:lnTo>
                    <a:pt x="1631" y="26655"/>
                  </a:lnTo>
                  <a:lnTo>
                    <a:pt x="1276" y="28215"/>
                  </a:lnTo>
                  <a:lnTo>
                    <a:pt x="922" y="29774"/>
                  </a:lnTo>
                  <a:lnTo>
                    <a:pt x="638" y="31334"/>
                  </a:lnTo>
                  <a:lnTo>
                    <a:pt x="426" y="32964"/>
                  </a:lnTo>
                  <a:lnTo>
                    <a:pt x="284" y="34524"/>
                  </a:lnTo>
                  <a:lnTo>
                    <a:pt x="142" y="36083"/>
                  </a:lnTo>
                  <a:lnTo>
                    <a:pt x="71" y="37643"/>
                  </a:lnTo>
                  <a:lnTo>
                    <a:pt x="0" y="39132"/>
                  </a:lnTo>
                  <a:lnTo>
                    <a:pt x="71" y="41967"/>
                  </a:lnTo>
                  <a:lnTo>
                    <a:pt x="8720" y="41967"/>
                  </a:lnTo>
                  <a:lnTo>
                    <a:pt x="8791" y="43030"/>
                  </a:lnTo>
                  <a:lnTo>
                    <a:pt x="8933" y="44023"/>
                  </a:lnTo>
                  <a:lnTo>
                    <a:pt x="9074" y="45015"/>
                  </a:lnTo>
                  <a:lnTo>
                    <a:pt x="9287" y="45937"/>
                  </a:lnTo>
                  <a:lnTo>
                    <a:pt x="9571" y="46859"/>
                  </a:lnTo>
                  <a:lnTo>
                    <a:pt x="9854" y="47638"/>
                  </a:lnTo>
                  <a:lnTo>
                    <a:pt x="10209" y="48418"/>
                  </a:lnTo>
                  <a:lnTo>
                    <a:pt x="10563" y="49127"/>
                  </a:lnTo>
                  <a:lnTo>
                    <a:pt x="10988" y="49765"/>
                  </a:lnTo>
                  <a:lnTo>
                    <a:pt x="11485" y="50403"/>
                  </a:lnTo>
                  <a:lnTo>
                    <a:pt x="11981" y="50899"/>
                  </a:lnTo>
                  <a:lnTo>
                    <a:pt x="12548" y="51254"/>
                  </a:lnTo>
                  <a:lnTo>
                    <a:pt x="13186" y="51608"/>
                  </a:lnTo>
                  <a:lnTo>
                    <a:pt x="13824" y="51892"/>
                  </a:lnTo>
                  <a:lnTo>
                    <a:pt x="14462" y="52033"/>
                  </a:lnTo>
                  <a:lnTo>
                    <a:pt x="15951" y="52033"/>
                  </a:lnTo>
                  <a:lnTo>
                    <a:pt x="16660" y="51892"/>
                  </a:lnTo>
                  <a:lnTo>
                    <a:pt x="17368" y="51608"/>
                  </a:lnTo>
                  <a:lnTo>
                    <a:pt x="18006" y="51325"/>
                  </a:lnTo>
                  <a:lnTo>
                    <a:pt x="18644" y="50899"/>
                  </a:lnTo>
                  <a:lnTo>
                    <a:pt x="19212" y="50403"/>
                  </a:lnTo>
                  <a:lnTo>
                    <a:pt x="19708" y="49836"/>
                  </a:lnTo>
                  <a:lnTo>
                    <a:pt x="20204" y="49198"/>
                  </a:lnTo>
                  <a:lnTo>
                    <a:pt x="20629" y="48489"/>
                  </a:lnTo>
                  <a:lnTo>
                    <a:pt x="21055" y="47709"/>
                  </a:lnTo>
                  <a:lnTo>
                    <a:pt x="21409" y="46859"/>
                  </a:lnTo>
                  <a:lnTo>
                    <a:pt x="21693" y="46008"/>
                  </a:lnTo>
                  <a:lnTo>
                    <a:pt x="21905" y="45015"/>
                  </a:lnTo>
                  <a:lnTo>
                    <a:pt x="22118" y="44023"/>
                  </a:lnTo>
                  <a:lnTo>
                    <a:pt x="22260" y="43030"/>
                  </a:lnTo>
                  <a:lnTo>
                    <a:pt x="22331" y="41967"/>
                  </a:lnTo>
                  <a:lnTo>
                    <a:pt x="25592" y="41967"/>
                  </a:lnTo>
                  <a:lnTo>
                    <a:pt x="29065" y="42038"/>
                  </a:lnTo>
                  <a:lnTo>
                    <a:pt x="34595" y="42109"/>
                  </a:lnTo>
                  <a:lnTo>
                    <a:pt x="34736" y="42038"/>
                  </a:lnTo>
                  <a:lnTo>
                    <a:pt x="34878" y="41967"/>
                  </a:lnTo>
                  <a:lnTo>
                    <a:pt x="34949" y="41825"/>
                  </a:lnTo>
                  <a:lnTo>
                    <a:pt x="35020" y="41613"/>
                  </a:lnTo>
                  <a:lnTo>
                    <a:pt x="35020" y="41187"/>
                  </a:lnTo>
                  <a:lnTo>
                    <a:pt x="35020" y="40762"/>
                  </a:lnTo>
                  <a:lnTo>
                    <a:pt x="34878" y="35729"/>
                  </a:lnTo>
                  <a:lnTo>
                    <a:pt x="34878" y="33177"/>
                  </a:lnTo>
                  <a:lnTo>
                    <a:pt x="34807" y="30058"/>
                  </a:lnTo>
                  <a:lnTo>
                    <a:pt x="34736" y="29845"/>
                  </a:lnTo>
                  <a:lnTo>
                    <a:pt x="34595" y="29632"/>
                  </a:lnTo>
                  <a:lnTo>
                    <a:pt x="34382" y="29491"/>
                  </a:lnTo>
                  <a:lnTo>
                    <a:pt x="34028" y="29420"/>
                  </a:lnTo>
                  <a:lnTo>
                    <a:pt x="32822" y="29278"/>
                  </a:lnTo>
                  <a:lnTo>
                    <a:pt x="31546" y="29136"/>
                  </a:lnTo>
                  <a:lnTo>
                    <a:pt x="30341" y="28853"/>
                  </a:lnTo>
                  <a:lnTo>
                    <a:pt x="29207" y="28498"/>
                  </a:lnTo>
                  <a:lnTo>
                    <a:pt x="28073" y="28144"/>
                  </a:lnTo>
                  <a:lnTo>
                    <a:pt x="27009" y="27647"/>
                  </a:lnTo>
                  <a:lnTo>
                    <a:pt x="26017" y="27151"/>
                  </a:lnTo>
                  <a:lnTo>
                    <a:pt x="25095" y="26584"/>
                  </a:lnTo>
                  <a:lnTo>
                    <a:pt x="24245" y="26017"/>
                  </a:lnTo>
                  <a:lnTo>
                    <a:pt x="23465" y="25450"/>
                  </a:lnTo>
                  <a:lnTo>
                    <a:pt x="22827" y="24812"/>
                  </a:lnTo>
                  <a:lnTo>
                    <a:pt x="22260" y="24174"/>
                  </a:lnTo>
                  <a:lnTo>
                    <a:pt x="21834" y="23536"/>
                  </a:lnTo>
                  <a:lnTo>
                    <a:pt x="21480" y="22827"/>
                  </a:lnTo>
                  <a:lnTo>
                    <a:pt x="21267" y="22189"/>
                  </a:lnTo>
                  <a:lnTo>
                    <a:pt x="21267" y="21551"/>
                  </a:lnTo>
                  <a:lnTo>
                    <a:pt x="21338" y="20913"/>
                  </a:lnTo>
                  <a:lnTo>
                    <a:pt x="21480" y="20346"/>
                  </a:lnTo>
                  <a:lnTo>
                    <a:pt x="21834" y="19708"/>
                  </a:lnTo>
                  <a:lnTo>
                    <a:pt x="22331" y="19070"/>
                  </a:lnTo>
                  <a:lnTo>
                    <a:pt x="22898" y="18432"/>
                  </a:lnTo>
                  <a:lnTo>
                    <a:pt x="23536" y="17865"/>
                  </a:lnTo>
                  <a:lnTo>
                    <a:pt x="24316" y="17297"/>
                  </a:lnTo>
                  <a:lnTo>
                    <a:pt x="25166" y="16730"/>
                  </a:lnTo>
                  <a:lnTo>
                    <a:pt x="26088" y="16234"/>
                  </a:lnTo>
                  <a:lnTo>
                    <a:pt x="27151" y="15738"/>
                  </a:lnTo>
                  <a:lnTo>
                    <a:pt x="28215" y="15383"/>
                  </a:lnTo>
                  <a:lnTo>
                    <a:pt x="29349" y="14958"/>
                  </a:lnTo>
                  <a:lnTo>
                    <a:pt x="30554" y="14675"/>
                  </a:lnTo>
                  <a:lnTo>
                    <a:pt x="31759" y="14462"/>
                  </a:lnTo>
                  <a:lnTo>
                    <a:pt x="32964" y="14249"/>
                  </a:lnTo>
                  <a:lnTo>
                    <a:pt x="34240" y="14178"/>
                  </a:lnTo>
                  <a:lnTo>
                    <a:pt x="34524" y="14107"/>
                  </a:lnTo>
                  <a:lnTo>
                    <a:pt x="34736" y="13966"/>
                  </a:lnTo>
                  <a:lnTo>
                    <a:pt x="34878" y="13753"/>
                  </a:lnTo>
                  <a:lnTo>
                    <a:pt x="34949" y="13540"/>
                  </a:lnTo>
                  <a:lnTo>
                    <a:pt x="34949" y="1702"/>
                  </a:lnTo>
                  <a:lnTo>
                    <a:pt x="34949" y="1206"/>
                  </a:lnTo>
                  <a:lnTo>
                    <a:pt x="34949" y="638"/>
                  </a:lnTo>
                  <a:lnTo>
                    <a:pt x="34878" y="284"/>
                  </a:lnTo>
                  <a:lnTo>
                    <a:pt x="34736" y="142"/>
                  </a:lnTo>
                  <a:lnTo>
                    <a:pt x="34595" y="71"/>
                  </a:lnTo>
                  <a:lnTo>
                    <a:pt x="34028" y="0"/>
                  </a:lnTo>
                  <a:close/>
                </a:path>
              </a:pathLst>
            </a:custGeom>
            <a:solidFill>
              <a:srgbClr val="FDB61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59" name="Google Shape;21557;p90">
              <a:extLst>
                <a:ext uri="{FF2B5EF4-FFF2-40B4-BE49-F238E27FC236}">
                  <a16:creationId xmlns:a16="http://schemas.microsoft.com/office/drawing/2014/main" id="{5A84300F-CA9C-6403-1A85-57CD991631D4}"/>
                </a:ext>
              </a:extLst>
            </p:cNvPr>
            <p:cNvSpPr/>
            <p:nvPr/>
          </p:nvSpPr>
          <p:spPr>
            <a:xfrm>
              <a:off x="3063875" y="2513675"/>
              <a:ext cx="875500" cy="1300850"/>
            </a:xfrm>
            <a:custGeom>
              <a:avLst/>
              <a:gdLst/>
              <a:ahLst/>
              <a:cxnLst/>
              <a:rect l="l" t="t" r="r" b="b"/>
              <a:pathLst>
                <a:path w="35020" h="52034" fill="none" extrusionOk="0">
                  <a:moveTo>
                    <a:pt x="34595" y="42109"/>
                  </a:moveTo>
                  <a:lnTo>
                    <a:pt x="34595" y="42109"/>
                  </a:lnTo>
                  <a:lnTo>
                    <a:pt x="29065" y="42038"/>
                  </a:lnTo>
                  <a:lnTo>
                    <a:pt x="29065" y="42038"/>
                  </a:lnTo>
                  <a:lnTo>
                    <a:pt x="25592" y="41967"/>
                  </a:lnTo>
                  <a:lnTo>
                    <a:pt x="22331" y="41967"/>
                  </a:lnTo>
                  <a:lnTo>
                    <a:pt x="22331" y="41967"/>
                  </a:lnTo>
                  <a:lnTo>
                    <a:pt x="22260" y="43030"/>
                  </a:lnTo>
                  <a:lnTo>
                    <a:pt x="22118" y="44023"/>
                  </a:lnTo>
                  <a:lnTo>
                    <a:pt x="21905" y="45015"/>
                  </a:lnTo>
                  <a:lnTo>
                    <a:pt x="21693" y="46008"/>
                  </a:lnTo>
                  <a:lnTo>
                    <a:pt x="21409" y="46859"/>
                  </a:lnTo>
                  <a:lnTo>
                    <a:pt x="21055" y="47709"/>
                  </a:lnTo>
                  <a:lnTo>
                    <a:pt x="20629" y="48489"/>
                  </a:lnTo>
                  <a:lnTo>
                    <a:pt x="20204" y="49198"/>
                  </a:lnTo>
                  <a:lnTo>
                    <a:pt x="19708" y="49836"/>
                  </a:lnTo>
                  <a:lnTo>
                    <a:pt x="19212" y="50403"/>
                  </a:lnTo>
                  <a:lnTo>
                    <a:pt x="18644" y="50899"/>
                  </a:lnTo>
                  <a:lnTo>
                    <a:pt x="18006" y="51325"/>
                  </a:lnTo>
                  <a:lnTo>
                    <a:pt x="17368" y="51608"/>
                  </a:lnTo>
                  <a:lnTo>
                    <a:pt x="16660" y="51892"/>
                  </a:lnTo>
                  <a:lnTo>
                    <a:pt x="15951" y="52033"/>
                  </a:lnTo>
                  <a:lnTo>
                    <a:pt x="15242" y="52033"/>
                  </a:lnTo>
                  <a:lnTo>
                    <a:pt x="15242" y="52033"/>
                  </a:lnTo>
                  <a:lnTo>
                    <a:pt x="14462" y="52033"/>
                  </a:lnTo>
                  <a:lnTo>
                    <a:pt x="13824" y="51892"/>
                  </a:lnTo>
                  <a:lnTo>
                    <a:pt x="13186" y="51608"/>
                  </a:lnTo>
                  <a:lnTo>
                    <a:pt x="12548" y="51254"/>
                  </a:lnTo>
                  <a:lnTo>
                    <a:pt x="11981" y="50899"/>
                  </a:lnTo>
                  <a:lnTo>
                    <a:pt x="11485" y="50403"/>
                  </a:lnTo>
                  <a:lnTo>
                    <a:pt x="10988" y="49765"/>
                  </a:lnTo>
                  <a:lnTo>
                    <a:pt x="10563" y="49127"/>
                  </a:lnTo>
                  <a:lnTo>
                    <a:pt x="10209" y="48418"/>
                  </a:lnTo>
                  <a:lnTo>
                    <a:pt x="9854" y="47638"/>
                  </a:lnTo>
                  <a:lnTo>
                    <a:pt x="9571" y="46859"/>
                  </a:lnTo>
                  <a:lnTo>
                    <a:pt x="9287" y="45937"/>
                  </a:lnTo>
                  <a:lnTo>
                    <a:pt x="9074" y="45015"/>
                  </a:lnTo>
                  <a:lnTo>
                    <a:pt x="8933" y="44023"/>
                  </a:lnTo>
                  <a:lnTo>
                    <a:pt x="8791" y="43030"/>
                  </a:lnTo>
                  <a:lnTo>
                    <a:pt x="8720" y="41967"/>
                  </a:lnTo>
                  <a:lnTo>
                    <a:pt x="8720" y="41967"/>
                  </a:lnTo>
                  <a:lnTo>
                    <a:pt x="8153" y="41967"/>
                  </a:lnTo>
                  <a:lnTo>
                    <a:pt x="8153" y="41967"/>
                  </a:lnTo>
                  <a:lnTo>
                    <a:pt x="3758" y="41967"/>
                  </a:lnTo>
                  <a:lnTo>
                    <a:pt x="71" y="41967"/>
                  </a:lnTo>
                  <a:lnTo>
                    <a:pt x="71" y="41967"/>
                  </a:lnTo>
                  <a:lnTo>
                    <a:pt x="0" y="39132"/>
                  </a:lnTo>
                  <a:lnTo>
                    <a:pt x="0" y="39132"/>
                  </a:lnTo>
                  <a:lnTo>
                    <a:pt x="71" y="37643"/>
                  </a:lnTo>
                  <a:lnTo>
                    <a:pt x="142" y="36083"/>
                  </a:lnTo>
                  <a:lnTo>
                    <a:pt x="284" y="34524"/>
                  </a:lnTo>
                  <a:lnTo>
                    <a:pt x="426" y="32964"/>
                  </a:lnTo>
                  <a:lnTo>
                    <a:pt x="638" y="31334"/>
                  </a:lnTo>
                  <a:lnTo>
                    <a:pt x="922" y="29774"/>
                  </a:lnTo>
                  <a:lnTo>
                    <a:pt x="1276" y="28215"/>
                  </a:lnTo>
                  <a:lnTo>
                    <a:pt x="1631" y="26655"/>
                  </a:lnTo>
                  <a:lnTo>
                    <a:pt x="2056" y="25095"/>
                  </a:lnTo>
                  <a:lnTo>
                    <a:pt x="2552" y="23536"/>
                  </a:lnTo>
                  <a:lnTo>
                    <a:pt x="3049" y="22047"/>
                  </a:lnTo>
                  <a:lnTo>
                    <a:pt x="3687" y="20558"/>
                  </a:lnTo>
                  <a:lnTo>
                    <a:pt x="4325" y="19070"/>
                  </a:lnTo>
                  <a:lnTo>
                    <a:pt x="4963" y="17652"/>
                  </a:lnTo>
                  <a:lnTo>
                    <a:pt x="5743" y="16234"/>
                  </a:lnTo>
                  <a:lnTo>
                    <a:pt x="6522" y="14887"/>
                  </a:lnTo>
                  <a:lnTo>
                    <a:pt x="7373" y="13540"/>
                  </a:lnTo>
                  <a:lnTo>
                    <a:pt x="8295" y="12193"/>
                  </a:lnTo>
                  <a:lnTo>
                    <a:pt x="9216" y="10988"/>
                  </a:lnTo>
                  <a:lnTo>
                    <a:pt x="10279" y="9783"/>
                  </a:lnTo>
                  <a:lnTo>
                    <a:pt x="11343" y="8649"/>
                  </a:lnTo>
                  <a:lnTo>
                    <a:pt x="12477" y="7515"/>
                  </a:lnTo>
                  <a:lnTo>
                    <a:pt x="13682" y="6522"/>
                  </a:lnTo>
                  <a:lnTo>
                    <a:pt x="14958" y="5530"/>
                  </a:lnTo>
                  <a:lnTo>
                    <a:pt x="16234" y="4608"/>
                  </a:lnTo>
                  <a:lnTo>
                    <a:pt x="17652" y="3828"/>
                  </a:lnTo>
                  <a:lnTo>
                    <a:pt x="19070" y="3049"/>
                  </a:lnTo>
                  <a:lnTo>
                    <a:pt x="20558" y="2340"/>
                  </a:lnTo>
                  <a:lnTo>
                    <a:pt x="22118" y="1773"/>
                  </a:lnTo>
                  <a:lnTo>
                    <a:pt x="23748" y="1276"/>
                  </a:lnTo>
                  <a:lnTo>
                    <a:pt x="25450" y="851"/>
                  </a:lnTo>
                  <a:lnTo>
                    <a:pt x="27151" y="497"/>
                  </a:lnTo>
                  <a:lnTo>
                    <a:pt x="27151" y="497"/>
                  </a:lnTo>
                  <a:lnTo>
                    <a:pt x="29349" y="213"/>
                  </a:lnTo>
                  <a:lnTo>
                    <a:pt x="31617" y="71"/>
                  </a:lnTo>
                  <a:lnTo>
                    <a:pt x="31617" y="71"/>
                  </a:lnTo>
                  <a:lnTo>
                    <a:pt x="32113" y="71"/>
                  </a:lnTo>
                  <a:lnTo>
                    <a:pt x="32113" y="71"/>
                  </a:lnTo>
                  <a:lnTo>
                    <a:pt x="33319" y="0"/>
                  </a:lnTo>
                  <a:lnTo>
                    <a:pt x="34028" y="0"/>
                  </a:lnTo>
                  <a:lnTo>
                    <a:pt x="34595" y="71"/>
                  </a:lnTo>
                  <a:lnTo>
                    <a:pt x="34595" y="71"/>
                  </a:lnTo>
                  <a:lnTo>
                    <a:pt x="34736" y="142"/>
                  </a:lnTo>
                  <a:lnTo>
                    <a:pt x="34878" y="284"/>
                  </a:lnTo>
                  <a:lnTo>
                    <a:pt x="34949" y="638"/>
                  </a:lnTo>
                  <a:lnTo>
                    <a:pt x="34949" y="1206"/>
                  </a:lnTo>
                  <a:lnTo>
                    <a:pt x="34949" y="1702"/>
                  </a:lnTo>
                  <a:lnTo>
                    <a:pt x="34949" y="1702"/>
                  </a:lnTo>
                  <a:lnTo>
                    <a:pt x="34949" y="13540"/>
                  </a:lnTo>
                  <a:lnTo>
                    <a:pt x="34949" y="13540"/>
                  </a:lnTo>
                  <a:lnTo>
                    <a:pt x="34878" y="13753"/>
                  </a:lnTo>
                  <a:lnTo>
                    <a:pt x="34736" y="13966"/>
                  </a:lnTo>
                  <a:lnTo>
                    <a:pt x="34524" y="14107"/>
                  </a:lnTo>
                  <a:lnTo>
                    <a:pt x="34240" y="14178"/>
                  </a:lnTo>
                  <a:lnTo>
                    <a:pt x="34240" y="14178"/>
                  </a:lnTo>
                  <a:lnTo>
                    <a:pt x="32964" y="14249"/>
                  </a:lnTo>
                  <a:lnTo>
                    <a:pt x="31759" y="14462"/>
                  </a:lnTo>
                  <a:lnTo>
                    <a:pt x="30554" y="14675"/>
                  </a:lnTo>
                  <a:lnTo>
                    <a:pt x="29349" y="14958"/>
                  </a:lnTo>
                  <a:lnTo>
                    <a:pt x="28215" y="15383"/>
                  </a:lnTo>
                  <a:lnTo>
                    <a:pt x="27151" y="15738"/>
                  </a:lnTo>
                  <a:lnTo>
                    <a:pt x="26088" y="16234"/>
                  </a:lnTo>
                  <a:lnTo>
                    <a:pt x="25166" y="16730"/>
                  </a:lnTo>
                  <a:lnTo>
                    <a:pt x="24316" y="17297"/>
                  </a:lnTo>
                  <a:lnTo>
                    <a:pt x="23536" y="17865"/>
                  </a:lnTo>
                  <a:lnTo>
                    <a:pt x="22898" y="18432"/>
                  </a:lnTo>
                  <a:lnTo>
                    <a:pt x="22331" y="19070"/>
                  </a:lnTo>
                  <a:lnTo>
                    <a:pt x="21834" y="19708"/>
                  </a:lnTo>
                  <a:lnTo>
                    <a:pt x="21480" y="20346"/>
                  </a:lnTo>
                  <a:lnTo>
                    <a:pt x="21338" y="20913"/>
                  </a:lnTo>
                  <a:lnTo>
                    <a:pt x="21267" y="21551"/>
                  </a:lnTo>
                  <a:lnTo>
                    <a:pt x="21267" y="21551"/>
                  </a:lnTo>
                  <a:lnTo>
                    <a:pt x="21267" y="22189"/>
                  </a:lnTo>
                  <a:lnTo>
                    <a:pt x="21480" y="22827"/>
                  </a:lnTo>
                  <a:lnTo>
                    <a:pt x="21834" y="23536"/>
                  </a:lnTo>
                  <a:lnTo>
                    <a:pt x="22260" y="24174"/>
                  </a:lnTo>
                  <a:lnTo>
                    <a:pt x="22827" y="24812"/>
                  </a:lnTo>
                  <a:lnTo>
                    <a:pt x="23465" y="25450"/>
                  </a:lnTo>
                  <a:lnTo>
                    <a:pt x="24245" y="26017"/>
                  </a:lnTo>
                  <a:lnTo>
                    <a:pt x="25095" y="26584"/>
                  </a:lnTo>
                  <a:lnTo>
                    <a:pt x="26017" y="27151"/>
                  </a:lnTo>
                  <a:lnTo>
                    <a:pt x="27009" y="27647"/>
                  </a:lnTo>
                  <a:lnTo>
                    <a:pt x="28073" y="28144"/>
                  </a:lnTo>
                  <a:lnTo>
                    <a:pt x="29207" y="28498"/>
                  </a:lnTo>
                  <a:lnTo>
                    <a:pt x="30341" y="28853"/>
                  </a:lnTo>
                  <a:lnTo>
                    <a:pt x="31546" y="29136"/>
                  </a:lnTo>
                  <a:lnTo>
                    <a:pt x="32822" y="29278"/>
                  </a:lnTo>
                  <a:lnTo>
                    <a:pt x="34028" y="29420"/>
                  </a:lnTo>
                  <a:lnTo>
                    <a:pt x="34028" y="29420"/>
                  </a:lnTo>
                  <a:lnTo>
                    <a:pt x="34382" y="29491"/>
                  </a:lnTo>
                  <a:lnTo>
                    <a:pt x="34595" y="29632"/>
                  </a:lnTo>
                  <a:lnTo>
                    <a:pt x="34736" y="29845"/>
                  </a:lnTo>
                  <a:lnTo>
                    <a:pt x="34807" y="30058"/>
                  </a:lnTo>
                  <a:lnTo>
                    <a:pt x="34807" y="30058"/>
                  </a:lnTo>
                  <a:lnTo>
                    <a:pt x="34878" y="33177"/>
                  </a:lnTo>
                  <a:lnTo>
                    <a:pt x="34878" y="35729"/>
                  </a:lnTo>
                  <a:lnTo>
                    <a:pt x="35020" y="40762"/>
                  </a:lnTo>
                  <a:lnTo>
                    <a:pt x="35020" y="40762"/>
                  </a:lnTo>
                  <a:lnTo>
                    <a:pt x="35020" y="41187"/>
                  </a:lnTo>
                  <a:lnTo>
                    <a:pt x="35020" y="41613"/>
                  </a:lnTo>
                  <a:lnTo>
                    <a:pt x="34949" y="41825"/>
                  </a:lnTo>
                  <a:lnTo>
                    <a:pt x="34878" y="41967"/>
                  </a:lnTo>
                  <a:lnTo>
                    <a:pt x="34736" y="42038"/>
                  </a:lnTo>
                  <a:lnTo>
                    <a:pt x="34595" y="42109"/>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60" name="Google Shape;21558;p90">
              <a:extLst>
                <a:ext uri="{FF2B5EF4-FFF2-40B4-BE49-F238E27FC236}">
                  <a16:creationId xmlns:a16="http://schemas.microsoft.com/office/drawing/2014/main" id="{F8A1C6D9-9524-23EE-F3B5-4EC511A18ABA}"/>
                </a:ext>
              </a:extLst>
            </p:cNvPr>
            <p:cNvSpPr/>
            <p:nvPr/>
          </p:nvSpPr>
          <p:spPr>
            <a:xfrm>
              <a:off x="3063875" y="2515450"/>
              <a:ext cx="802850" cy="1047425"/>
            </a:xfrm>
            <a:custGeom>
              <a:avLst/>
              <a:gdLst/>
              <a:ahLst/>
              <a:cxnLst/>
              <a:rect l="l" t="t" r="r" b="b"/>
              <a:pathLst>
                <a:path w="32114" h="41897" extrusionOk="0">
                  <a:moveTo>
                    <a:pt x="31617" y="0"/>
                  </a:moveTo>
                  <a:lnTo>
                    <a:pt x="29349" y="142"/>
                  </a:lnTo>
                  <a:lnTo>
                    <a:pt x="27151" y="426"/>
                  </a:lnTo>
                  <a:lnTo>
                    <a:pt x="25875" y="638"/>
                  </a:lnTo>
                  <a:lnTo>
                    <a:pt x="24670" y="922"/>
                  </a:lnTo>
                  <a:lnTo>
                    <a:pt x="23465" y="1276"/>
                  </a:lnTo>
                  <a:lnTo>
                    <a:pt x="22331" y="1631"/>
                  </a:lnTo>
                  <a:lnTo>
                    <a:pt x="21196" y="2056"/>
                  </a:lnTo>
                  <a:lnTo>
                    <a:pt x="20062" y="2481"/>
                  </a:lnTo>
                  <a:lnTo>
                    <a:pt x="18999" y="2978"/>
                  </a:lnTo>
                  <a:lnTo>
                    <a:pt x="18006" y="3545"/>
                  </a:lnTo>
                  <a:lnTo>
                    <a:pt x="16943" y="4112"/>
                  </a:lnTo>
                  <a:lnTo>
                    <a:pt x="16022" y="4750"/>
                  </a:lnTo>
                  <a:lnTo>
                    <a:pt x="15029" y="5388"/>
                  </a:lnTo>
                  <a:lnTo>
                    <a:pt x="14178" y="6026"/>
                  </a:lnTo>
                  <a:lnTo>
                    <a:pt x="13257" y="6806"/>
                  </a:lnTo>
                  <a:lnTo>
                    <a:pt x="12406" y="7515"/>
                  </a:lnTo>
                  <a:lnTo>
                    <a:pt x="10776" y="9145"/>
                  </a:lnTo>
                  <a:lnTo>
                    <a:pt x="9287" y="10846"/>
                  </a:lnTo>
                  <a:lnTo>
                    <a:pt x="7940" y="12619"/>
                  </a:lnTo>
                  <a:lnTo>
                    <a:pt x="6664" y="14533"/>
                  </a:lnTo>
                  <a:lnTo>
                    <a:pt x="5530" y="16518"/>
                  </a:lnTo>
                  <a:lnTo>
                    <a:pt x="4537" y="18573"/>
                  </a:lnTo>
                  <a:lnTo>
                    <a:pt x="3616" y="20700"/>
                  </a:lnTo>
                  <a:lnTo>
                    <a:pt x="2765" y="22827"/>
                  </a:lnTo>
                  <a:lnTo>
                    <a:pt x="2056" y="25024"/>
                  </a:lnTo>
                  <a:lnTo>
                    <a:pt x="1773" y="26017"/>
                  </a:lnTo>
                  <a:lnTo>
                    <a:pt x="1347" y="27647"/>
                  </a:lnTo>
                  <a:lnTo>
                    <a:pt x="993" y="29278"/>
                  </a:lnTo>
                  <a:lnTo>
                    <a:pt x="709" y="30979"/>
                  </a:lnTo>
                  <a:lnTo>
                    <a:pt x="497" y="32610"/>
                  </a:lnTo>
                  <a:lnTo>
                    <a:pt x="284" y="34240"/>
                  </a:lnTo>
                  <a:lnTo>
                    <a:pt x="142" y="35870"/>
                  </a:lnTo>
                  <a:lnTo>
                    <a:pt x="71" y="37501"/>
                  </a:lnTo>
                  <a:lnTo>
                    <a:pt x="0" y="39061"/>
                  </a:lnTo>
                  <a:lnTo>
                    <a:pt x="0" y="39628"/>
                  </a:lnTo>
                  <a:lnTo>
                    <a:pt x="71" y="41896"/>
                  </a:lnTo>
                  <a:lnTo>
                    <a:pt x="8153" y="41896"/>
                  </a:lnTo>
                  <a:lnTo>
                    <a:pt x="8365" y="39628"/>
                  </a:lnTo>
                  <a:lnTo>
                    <a:pt x="8720" y="37359"/>
                  </a:lnTo>
                  <a:lnTo>
                    <a:pt x="9287" y="35091"/>
                  </a:lnTo>
                  <a:lnTo>
                    <a:pt x="9925" y="32751"/>
                  </a:lnTo>
                  <a:lnTo>
                    <a:pt x="10776" y="30412"/>
                  </a:lnTo>
                  <a:lnTo>
                    <a:pt x="11768" y="28002"/>
                  </a:lnTo>
                  <a:lnTo>
                    <a:pt x="12902" y="25521"/>
                  </a:lnTo>
                  <a:lnTo>
                    <a:pt x="14249" y="23039"/>
                  </a:lnTo>
                  <a:lnTo>
                    <a:pt x="15738" y="20487"/>
                  </a:lnTo>
                  <a:lnTo>
                    <a:pt x="17439" y="17864"/>
                  </a:lnTo>
                  <a:lnTo>
                    <a:pt x="19353" y="15171"/>
                  </a:lnTo>
                  <a:lnTo>
                    <a:pt x="21409" y="12406"/>
                  </a:lnTo>
                  <a:lnTo>
                    <a:pt x="23678" y="9570"/>
                  </a:lnTo>
                  <a:lnTo>
                    <a:pt x="26159" y="6593"/>
                  </a:lnTo>
                  <a:lnTo>
                    <a:pt x="28853" y="3545"/>
                  </a:lnTo>
                  <a:lnTo>
                    <a:pt x="31688" y="426"/>
                  </a:lnTo>
                  <a:lnTo>
                    <a:pt x="32113" y="0"/>
                  </a:lnTo>
                  <a:close/>
                </a:path>
              </a:pathLst>
            </a:custGeom>
            <a:solidFill>
              <a:srgbClr val="F5991E"/>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61" name="Google Shape;21559;p90">
              <a:extLst>
                <a:ext uri="{FF2B5EF4-FFF2-40B4-BE49-F238E27FC236}">
                  <a16:creationId xmlns:a16="http://schemas.microsoft.com/office/drawing/2014/main" id="{86433175-6C4D-4A74-DA1B-3FFB1069EEDA}"/>
                </a:ext>
              </a:extLst>
            </p:cNvPr>
            <p:cNvSpPr/>
            <p:nvPr/>
          </p:nvSpPr>
          <p:spPr>
            <a:xfrm>
              <a:off x="3063875" y="2515450"/>
              <a:ext cx="802850" cy="1047425"/>
            </a:xfrm>
            <a:custGeom>
              <a:avLst/>
              <a:gdLst/>
              <a:ahLst/>
              <a:cxnLst/>
              <a:rect l="l" t="t" r="r" b="b"/>
              <a:pathLst>
                <a:path w="32114" h="41897" fill="none" extrusionOk="0">
                  <a:moveTo>
                    <a:pt x="31972" y="0"/>
                  </a:moveTo>
                  <a:lnTo>
                    <a:pt x="31972" y="0"/>
                  </a:lnTo>
                  <a:lnTo>
                    <a:pt x="31617" y="0"/>
                  </a:lnTo>
                  <a:lnTo>
                    <a:pt x="31617" y="0"/>
                  </a:lnTo>
                  <a:lnTo>
                    <a:pt x="29349" y="142"/>
                  </a:lnTo>
                  <a:lnTo>
                    <a:pt x="27151" y="426"/>
                  </a:lnTo>
                  <a:lnTo>
                    <a:pt x="27151" y="426"/>
                  </a:lnTo>
                  <a:lnTo>
                    <a:pt x="25875" y="638"/>
                  </a:lnTo>
                  <a:lnTo>
                    <a:pt x="24670" y="922"/>
                  </a:lnTo>
                  <a:lnTo>
                    <a:pt x="23465" y="1276"/>
                  </a:lnTo>
                  <a:lnTo>
                    <a:pt x="22331" y="1631"/>
                  </a:lnTo>
                  <a:lnTo>
                    <a:pt x="21196" y="2056"/>
                  </a:lnTo>
                  <a:lnTo>
                    <a:pt x="20062" y="2481"/>
                  </a:lnTo>
                  <a:lnTo>
                    <a:pt x="18999" y="2978"/>
                  </a:lnTo>
                  <a:lnTo>
                    <a:pt x="18006" y="3545"/>
                  </a:lnTo>
                  <a:lnTo>
                    <a:pt x="16943" y="4112"/>
                  </a:lnTo>
                  <a:lnTo>
                    <a:pt x="16022" y="4750"/>
                  </a:lnTo>
                  <a:lnTo>
                    <a:pt x="15029" y="5388"/>
                  </a:lnTo>
                  <a:lnTo>
                    <a:pt x="14178" y="6026"/>
                  </a:lnTo>
                  <a:lnTo>
                    <a:pt x="13257" y="6806"/>
                  </a:lnTo>
                  <a:lnTo>
                    <a:pt x="12406" y="7515"/>
                  </a:lnTo>
                  <a:lnTo>
                    <a:pt x="10776" y="9145"/>
                  </a:lnTo>
                  <a:lnTo>
                    <a:pt x="9287" y="10846"/>
                  </a:lnTo>
                  <a:lnTo>
                    <a:pt x="7940" y="12619"/>
                  </a:lnTo>
                  <a:lnTo>
                    <a:pt x="6664" y="14533"/>
                  </a:lnTo>
                  <a:lnTo>
                    <a:pt x="5530" y="16518"/>
                  </a:lnTo>
                  <a:lnTo>
                    <a:pt x="4537" y="18573"/>
                  </a:lnTo>
                  <a:lnTo>
                    <a:pt x="3616" y="20700"/>
                  </a:lnTo>
                  <a:lnTo>
                    <a:pt x="2765" y="22827"/>
                  </a:lnTo>
                  <a:lnTo>
                    <a:pt x="2056" y="25024"/>
                  </a:lnTo>
                  <a:lnTo>
                    <a:pt x="2056" y="25024"/>
                  </a:lnTo>
                  <a:lnTo>
                    <a:pt x="1773" y="26017"/>
                  </a:lnTo>
                  <a:lnTo>
                    <a:pt x="1773" y="26017"/>
                  </a:lnTo>
                  <a:lnTo>
                    <a:pt x="1347" y="27647"/>
                  </a:lnTo>
                  <a:lnTo>
                    <a:pt x="993" y="29278"/>
                  </a:lnTo>
                  <a:lnTo>
                    <a:pt x="709" y="30979"/>
                  </a:lnTo>
                  <a:lnTo>
                    <a:pt x="497" y="32610"/>
                  </a:lnTo>
                  <a:lnTo>
                    <a:pt x="284" y="34240"/>
                  </a:lnTo>
                  <a:lnTo>
                    <a:pt x="142" y="35870"/>
                  </a:lnTo>
                  <a:lnTo>
                    <a:pt x="71" y="37501"/>
                  </a:lnTo>
                  <a:lnTo>
                    <a:pt x="0" y="39061"/>
                  </a:lnTo>
                  <a:lnTo>
                    <a:pt x="0" y="39061"/>
                  </a:lnTo>
                  <a:lnTo>
                    <a:pt x="0" y="39628"/>
                  </a:lnTo>
                  <a:lnTo>
                    <a:pt x="0" y="39628"/>
                  </a:lnTo>
                  <a:lnTo>
                    <a:pt x="71" y="41896"/>
                  </a:lnTo>
                  <a:lnTo>
                    <a:pt x="71" y="41896"/>
                  </a:lnTo>
                  <a:lnTo>
                    <a:pt x="3403" y="41896"/>
                  </a:lnTo>
                  <a:lnTo>
                    <a:pt x="3403" y="41896"/>
                  </a:lnTo>
                  <a:lnTo>
                    <a:pt x="8153" y="41896"/>
                  </a:lnTo>
                  <a:lnTo>
                    <a:pt x="8153" y="41896"/>
                  </a:lnTo>
                  <a:lnTo>
                    <a:pt x="8365" y="39628"/>
                  </a:lnTo>
                  <a:lnTo>
                    <a:pt x="8720" y="37359"/>
                  </a:lnTo>
                  <a:lnTo>
                    <a:pt x="9287" y="35091"/>
                  </a:lnTo>
                  <a:lnTo>
                    <a:pt x="9925" y="32751"/>
                  </a:lnTo>
                  <a:lnTo>
                    <a:pt x="10776" y="30412"/>
                  </a:lnTo>
                  <a:lnTo>
                    <a:pt x="11768" y="28002"/>
                  </a:lnTo>
                  <a:lnTo>
                    <a:pt x="12902" y="25521"/>
                  </a:lnTo>
                  <a:lnTo>
                    <a:pt x="14249" y="23039"/>
                  </a:lnTo>
                  <a:lnTo>
                    <a:pt x="15738" y="20487"/>
                  </a:lnTo>
                  <a:lnTo>
                    <a:pt x="17439" y="17864"/>
                  </a:lnTo>
                  <a:lnTo>
                    <a:pt x="19353" y="15171"/>
                  </a:lnTo>
                  <a:lnTo>
                    <a:pt x="21409" y="12406"/>
                  </a:lnTo>
                  <a:lnTo>
                    <a:pt x="23678" y="9570"/>
                  </a:lnTo>
                  <a:lnTo>
                    <a:pt x="26159" y="6593"/>
                  </a:lnTo>
                  <a:lnTo>
                    <a:pt x="28853" y="3545"/>
                  </a:lnTo>
                  <a:lnTo>
                    <a:pt x="31688" y="426"/>
                  </a:lnTo>
                  <a:lnTo>
                    <a:pt x="31688" y="426"/>
                  </a:lnTo>
                  <a:lnTo>
                    <a:pt x="32113" y="0"/>
                  </a:lnTo>
                  <a:lnTo>
                    <a:pt x="32113" y="0"/>
                  </a:lnTo>
                  <a:lnTo>
                    <a:pt x="31972"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62" name="Google Shape;21560;p90">
              <a:extLst>
                <a:ext uri="{FF2B5EF4-FFF2-40B4-BE49-F238E27FC236}">
                  <a16:creationId xmlns:a16="http://schemas.microsoft.com/office/drawing/2014/main" id="{4EBA3903-9F16-400D-73DF-66B8440E4FFA}"/>
                </a:ext>
              </a:extLst>
            </p:cNvPr>
            <p:cNvSpPr/>
            <p:nvPr/>
          </p:nvSpPr>
          <p:spPr>
            <a:xfrm>
              <a:off x="3085150" y="3633725"/>
              <a:ext cx="1217550" cy="1027925"/>
            </a:xfrm>
            <a:custGeom>
              <a:avLst/>
              <a:gdLst/>
              <a:ahLst/>
              <a:cxnLst/>
              <a:rect l="l" t="t" r="r" b="b"/>
              <a:pathLst>
                <a:path w="48702" h="41117" extrusionOk="0">
                  <a:moveTo>
                    <a:pt x="22897" y="1"/>
                  </a:moveTo>
                  <a:lnTo>
                    <a:pt x="22827" y="1135"/>
                  </a:lnTo>
                  <a:lnTo>
                    <a:pt x="22685" y="2269"/>
                  </a:lnTo>
                  <a:lnTo>
                    <a:pt x="22472" y="3333"/>
                  </a:lnTo>
                  <a:lnTo>
                    <a:pt x="22259" y="4325"/>
                  </a:lnTo>
                  <a:lnTo>
                    <a:pt x="21905" y="5317"/>
                  </a:lnTo>
                  <a:lnTo>
                    <a:pt x="21480" y="6239"/>
                  </a:lnTo>
                  <a:lnTo>
                    <a:pt x="21054" y="7090"/>
                  </a:lnTo>
                  <a:lnTo>
                    <a:pt x="20487" y="7869"/>
                  </a:lnTo>
                  <a:lnTo>
                    <a:pt x="19920" y="8578"/>
                  </a:lnTo>
                  <a:lnTo>
                    <a:pt x="19353" y="9216"/>
                  </a:lnTo>
                  <a:lnTo>
                    <a:pt x="18644" y="9783"/>
                  </a:lnTo>
                  <a:lnTo>
                    <a:pt x="18006" y="10280"/>
                  </a:lnTo>
                  <a:lnTo>
                    <a:pt x="17297" y="10634"/>
                  </a:lnTo>
                  <a:lnTo>
                    <a:pt x="16517" y="10918"/>
                  </a:lnTo>
                  <a:lnTo>
                    <a:pt x="15738" y="11059"/>
                  </a:lnTo>
                  <a:lnTo>
                    <a:pt x="14958" y="11130"/>
                  </a:lnTo>
                  <a:lnTo>
                    <a:pt x="14462" y="11059"/>
                  </a:lnTo>
                  <a:lnTo>
                    <a:pt x="13895" y="10989"/>
                  </a:lnTo>
                  <a:lnTo>
                    <a:pt x="13398" y="10847"/>
                  </a:lnTo>
                  <a:lnTo>
                    <a:pt x="12831" y="10705"/>
                  </a:lnTo>
                  <a:lnTo>
                    <a:pt x="12335" y="10492"/>
                  </a:lnTo>
                  <a:lnTo>
                    <a:pt x="11839" y="10209"/>
                  </a:lnTo>
                  <a:lnTo>
                    <a:pt x="11413" y="9854"/>
                  </a:lnTo>
                  <a:lnTo>
                    <a:pt x="10917" y="9500"/>
                  </a:lnTo>
                  <a:lnTo>
                    <a:pt x="10066" y="8649"/>
                  </a:lnTo>
                  <a:lnTo>
                    <a:pt x="9287" y="7657"/>
                  </a:lnTo>
                  <a:lnTo>
                    <a:pt x="8649" y="6523"/>
                  </a:lnTo>
                  <a:lnTo>
                    <a:pt x="8082" y="5317"/>
                  </a:lnTo>
                  <a:lnTo>
                    <a:pt x="7656" y="4112"/>
                  </a:lnTo>
                  <a:lnTo>
                    <a:pt x="7302" y="2836"/>
                  </a:lnTo>
                  <a:lnTo>
                    <a:pt x="7160" y="1489"/>
                  </a:lnTo>
                  <a:lnTo>
                    <a:pt x="7018" y="142"/>
                  </a:lnTo>
                  <a:lnTo>
                    <a:pt x="0" y="213"/>
                  </a:lnTo>
                  <a:lnTo>
                    <a:pt x="71" y="1773"/>
                  </a:lnTo>
                  <a:lnTo>
                    <a:pt x="284" y="3191"/>
                  </a:lnTo>
                  <a:lnTo>
                    <a:pt x="709" y="6097"/>
                  </a:lnTo>
                  <a:lnTo>
                    <a:pt x="1276" y="8862"/>
                  </a:lnTo>
                  <a:lnTo>
                    <a:pt x="1985" y="11485"/>
                  </a:lnTo>
                  <a:lnTo>
                    <a:pt x="2765" y="14037"/>
                  </a:lnTo>
                  <a:lnTo>
                    <a:pt x="3686" y="16518"/>
                  </a:lnTo>
                  <a:lnTo>
                    <a:pt x="4679" y="18928"/>
                  </a:lnTo>
                  <a:lnTo>
                    <a:pt x="5813" y="21197"/>
                  </a:lnTo>
                  <a:lnTo>
                    <a:pt x="6947" y="23323"/>
                  </a:lnTo>
                  <a:lnTo>
                    <a:pt x="8152" y="25450"/>
                  </a:lnTo>
                  <a:lnTo>
                    <a:pt x="9358" y="27435"/>
                  </a:lnTo>
                  <a:lnTo>
                    <a:pt x="10634" y="29349"/>
                  </a:lnTo>
                  <a:lnTo>
                    <a:pt x="11910" y="31192"/>
                  </a:lnTo>
                  <a:lnTo>
                    <a:pt x="13186" y="32964"/>
                  </a:lnTo>
                  <a:lnTo>
                    <a:pt x="15667" y="36225"/>
                  </a:lnTo>
                  <a:lnTo>
                    <a:pt x="19495" y="41117"/>
                  </a:lnTo>
                  <a:lnTo>
                    <a:pt x="34240" y="41117"/>
                  </a:lnTo>
                  <a:lnTo>
                    <a:pt x="34594" y="41046"/>
                  </a:lnTo>
                  <a:lnTo>
                    <a:pt x="34949" y="40904"/>
                  </a:lnTo>
                  <a:lnTo>
                    <a:pt x="35161" y="40621"/>
                  </a:lnTo>
                  <a:lnTo>
                    <a:pt x="35232" y="40266"/>
                  </a:lnTo>
                  <a:lnTo>
                    <a:pt x="35232" y="27010"/>
                  </a:lnTo>
                  <a:lnTo>
                    <a:pt x="35303" y="27010"/>
                  </a:lnTo>
                  <a:lnTo>
                    <a:pt x="36650" y="26939"/>
                  </a:lnTo>
                  <a:lnTo>
                    <a:pt x="37997" y="26868"/>
                  </a:lnTo>
                  <a:lnTo>
                    <a:pt x="39273" y="26726"/>
                  </a:lnTo>
                  <a:lnTo>
                    <a:pt x="40478" y="26513"/>
                  </a:lnTo>
                  <a:lnTo>
                    <a:pt x="41683" y="26230"/>
                  </a:lnTo>
                  <a:lnTo>
                    <a:pt x="42747" y="25875"/>
                  </a:lnTo>
                  <a:lnTo>
                    <a:pt x="43810" y="25521"/>
                  </a:lnTo>
                  <a:lnTo>
                    <a:pt x="44732" y="25096"/>
                  </a:lnTo>
                  <a:lnTo>
                    <a:pt x="45653" y="24670"/>
                  </a:lnTo>
                  <a:lnTo>
                    <a:pt x="46433" y="24174"/>
                  </a:lnTo>
                  <a:lnTo>
                    <a:pt x="47071" y="23678"/>
                  </a:lnTo>
                  <a:lnTo>
                    <a:pt x="47638" y="23111"/>
                  </a:lnTo>
                  <a:lnTo>
                    <a:pt x="48063" y="22473"/>
                  </a:lnTo>
                  <a:lnTo>
                    <a:pt x="48418" y="21906"/>
                  </a:lnTo>
                  <a:lnTo>
                    <a:pt x="48630" y="21268"/>
                  </a:lnTo>
                  <a:lnTo>
                    <a:pt x="48701" y="20630"/>
                  </a:lnTo>
                  <a:lnTo>
                    <a:pt x="48630" y="19992"/>
                  </a:lnTo>
                  <a:lnTo>
                    <a:pt x="48489" y="19354"/>
                  </a:lnTo>
                  <a:lnTo>
                    <a:pt x="48205" y="18786"/>
                  </a:lnTo>
                  <a:lnTo>
                    <a:pt x="47780" y="18290"/>
                  </a:lnTo>
                  <a:lnTo>
                    <a:pt x="47284" y="17794"/>
                  </a:lnTo>
                  <a:lnTo>
                    <a:pt x="46646" y="17298"/>
                  </a:lnTo>
                  <a:lnTo>
                    <a:pt x="45937" y="16872"/>
                  </a:lnTo>
                  <a:lnTo>
                    <a:pt x="45086" y="16447"/>
                  </a:lnTo>
                  <a:lnTo>
                    <a:pt x="44094" y="16022"/>
                  </a:lnTo>
                  <a:lnTo>
                    <a:pt x="43030" y="15738"/>
                  </a:lnTo>
                  <a:lnTo>
                    <a:pt x="41896" y="15455"/>
                  </a:lnTo>
                  <a:lnTo>
                    <a:pt x="40691" y="15313"/>
                  </a:lnTo>
                  <a:lnTo>
                    <a:pt x="39415" y="15171"/>
                  </a:lnTo>
                  <a:lnTo>
                    <a:pt x="38068" y="15100"/>
                  </a:lnTo>
                  <a:lnTo>
                    <a:pt x="35303" y="15029"/>
                  </a:lnTo>
                  <a:lnTo>
                    <a:pt x="35303" y="7728"/>
                  </a:lnTo>
                  <a:lnTo>
                    <a:pt x="35232" y="1135"/>
                  </a:lnTo>
                  <a:lnTo>
                    <a:pt x="35161" y="851"/>
                  </a:lnTo>
                  <a:lnTo>
                    <a:pt x="34949" y="497"/>
                  </a:lnTo>
                  <a:lnTo>
                    <a:pt x="34665" y="284"/>
                  </a:lnTo>
                  <a:lnTo>
                    <a:pt x="34523" y="213"/>
                  </a:lnTo>
                  <a:lnTo>
                    <a:pt x="34311" y="213"/>
                  </a:lnTo>
                  <a:lnTo>
                    <a:pt x="31475" y="142"/>
                  </a:lnTo>
                  <a:lnTo>
                    <a:pt x="28710" y="142"/>
                  </a:lnTo>
                  <a:lnTo>
                    <a:pt x="25804" y="72"/>
                  </a:lnTo>
                  <a:lnTo>
                    <a:pt x="22897" y="1"/>
                  </a:lnTo>
                  <a:close/>
                </a:path>
              </a:pathLst>
            </a:custGeom>
            <a:solidFill>
              <a:srgbClr val="FDB61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63" name="Google Shape;21561;p90">
              <a:extLst>
                <a:ext uri="{FF2B5EF4-FFF2-40B4-BE49-F238E27FC236}">
                  <a16:creationId xmlns:a16="http://schemas.microsoft.com/office/drawing/2014/main" id="{BDEF5502-0856-74A2-C264-6A6775537396}"/>
                </a:ext>
              </a:extLst>
            </p:cNvPr>
            <p:cNvSpPr/>
            <p:nvPr/>
          </p:nvSpPr>
          <p:spPr>
            <a:xfrm>
              <a:off x="3085150" y="3633725"/>
              <a:ext cx="1217550" cy="1027925"/>
            </a:xfrm>
            <a:custGeom>
              <a:avLst/>
              <a:gdLst/>
              <a:ahLst/>
              <a:cxnLst/>
              <a:rect l="l" t="t" r="r" b="b"/>
              <a:pathLst>
                <a:path w="48702" h="41117" fill="none" extrusionOk="0">
                  <a:moveTo>
                    <a:pt x="48701" y="20630"/>
                  </a:moveTo>
                  <a:lnTo>
                    <a:pt x="48701" y="20630"/>
                  </a:lnTo>
                  <a:lnTo>
                    <a:pt x="48630" y="21268"/>
                  </a:lnTo>
                  <a:lnTo>
                    <a:pt x="48418" y="21906"/>
                  </a:lnTo>
                  <a:lnTo>
                    <a:pt x="48063" y="22473"/>
                  </a:lnTo>
                  <a:lnTo>
                    <a:pt x="47638" y="23111"/>
                  </a:lnTo>
                  <a:lnTo>
                    <a:pt x="47071" y="23678"/>
                  </a:lnTo>
                  <a:lnTo>
                    <a:pt x="46433" y="24174"/>
                  </a:lnTo>
                  <a:lnTo>
                    <a:pt x="45653" y="24670"/>
                  </a:lnTo>
                  <a:lnTo>
                    <a:pt x="44732" y="25096"/>
                  </a:lnTo>
                  <a:lnTo>
                    <a:pt x="43810" y="25521"/>
                  </a:lnTo>
                  <a:lnTo>
                    <a:pt x="42747" y="25875"/>
                  </a:lnTo>
                  <a:lnTo>
                    <a:pt x="41683" y="26230"/>
                  </a:lnTo>
                  <a:lnTo>
                    <a:pt x="40478" y="26513"/>
                  </a:lnTo>
                  <a:lnTo>
                    <a:pt x="39273" y="26726"/>
                  </a:lnTo>
                  <a:lnTo>
                    <a:pt x="37997" y="26868"/>
                  </a:lnTo>
                  <a:lnTo>
                    <a:pt x="36650" y="26939"/>
                  </a:lnTo>
                  <a:lnTo>
                    <a:pt x="35303" y="27010"/>
                  </a:lnTo>
                  <a:lnTo>
                    <a:pt x="35232" y="27010"/>
                  </a:lnTo>
                  <a:lnTo>
                    <a:pt x="35232" y="27010"/>
                  </a:lnTo>
                  <a:lnTo>
                    <a:pt x="35232" y="40266"/>
                  </a:lnTo>
                  <a:lnTo>
                    <a:pt x="35232" y="40266"/>
                  </a:lnTo>
                  <a:lnTo>
                    <a:pt x="35161" y="40621"/>
                  </a:lnTo>
                  <a:lnTo>
                    <a:pt x="34949" y="40904"/>
                  </a:lnTo>
                  <a:lnTo>
                    <a:pt x="34594" y="41046"/>
                  </a:lnTo>
                  <a:lnTo>
                    <a:pt x="34240" y="41117"/>
                  </a:lnTo>
                  <a:lnTo>
                    <a:pt x="34240" y="41117"/>
                  </a:lnTo>
                  <a:lnTo>
                    <a:pt x="20416" y="41117"/>
                  </a:lnTo>
                  <a:lnTo>
                    <a:pt x="20416" y="41117"/>
                  </a:lnTo>
                  <a:lnTo>
                    <a:pt x="19495" y="41117"/>
                  </a:lnTo>
                  <a:lnTo>
                    <a:pt x="19495" y="41117"/>
                  </a:lnTo>
                  <a:lnTo>
                    <a:pt x="15667" y="36225"/>
                  </a:lnTo>
                  <a:lnTo>
                    <a:pt x="15667" y="36225"/>
                  </a:lnTo>
                  <a:lnTo>
                    <a:pt x="13186" y="32964"/>
                  </a:lnTo>
                  <a:lnTo>
                    <a:pt x="11910" y="31192"/>
                  </a:lnTo>
                  <a:lnTo>
                    <a:pt x="10634" y="29349"/>
                  </a:lnTo>
                  <a:lnTo>
                    <a:pt x="9358" y="27435"/>
                  </a:lnTo>
                  <a:lnTo>
                    <a:pt x="8152" y="25450"/>
                  </a:lnTo>
                  <a:lnTo>
                    <a:pt x="6947" y="23323"/>
                  </a:lnTo>
                  <a:lnTo>
                    <a:pt x="5813" y="21197"/>
                  </a:lnTo>
                  <a:lnTo>
                    <a:pt x="4679" y="18928"/>
                  </a:lnTo>
                  <a:lnTo>
                    <a:pt x="3686" y="16518"/>
                  </a:lnTo>
                  <a:lnTo>
                    <a:pt x="2765" y="14037"/>
                  </a:lnTo>
                  <a:lnTo>
                    <a:pt x="1985" y="11485"/>
                  </a:lnTo>
                  <a:lnTo>
                    <a:pt x="1276" y="8862"/>
                  </a:lnTo>
                  <a:lnTo>
                    <a:pt x="709" y="6097"/>
                  </a:lnTo>
                  <a:lnTo>
                    <a:pt x="284" y="3191"/>
                  </a:lnTo>
                  <a:lnTo>
                    <a:pt x="71" y="1773"/>
                  </a:lnTo>
                  <a:lnTo>
                    <a:pt x="0" y="213"/>
                  </a:lnTo>
                  <a:lnTo>
                    <a:pt x="0" y="213"/>
                  </a:lnTo>
                  <a:lnTo>
                    <a:pt x="7018" y="142"/>
                  </a:lnTo>
                  <a:lnTo>
                    <a:pt x="7018" y="142"/>
                  </a:lnTo>
                  <a:lnTo>
                    <a:pt x="7160" y="1489"/>
                  </a:lnTo>
                  <a:lnTo>
                    <a:pt x="7302" y="2836"/>
                  </a:lnTo>
                  <a:lnTo>
                    <a:pt x="7656" y="4112"/>
                  </a:lnTo>
                  <a:lnTo>
                    <a:pt x="8082" y="5317"/>
                  </a:lnTo>
                  <a:lnTo>
                    <a:pt x="8082" y="5317"/>
                  </a:lnTo>
                  <a:lnTo>
                    <a:pt x="8649" y="6523"/>
                  </a:lnTo>
                  <a:lnTo>
                    <a:pt x="9287" y="7657"/>
                  </a:lnTo>
                  <a:lnTo>
                    <a:pt x="10066" y="8649"/>
                  </a:lnTo>
                  <a:lnTo>
                    <a:pt x="10917" y="9500"/>
                  </a:lnTo>
                  <a:lnTo>
                    <a:pt x="11413" y="9854"/>
                  </a:lnTo>
                  <a:lnTo>
                    <a:pt x="11839" y="10209"/>
                  </a:lnTo>
                  <a:lnTo>
                    <a:pt x="12335" y="10492"/>
                  </a:lnTo>
                  <a:lnTo>
                    <a:pt x="12831" y="10705"/>
                  </a:lnTo>
                  <a:lnTo>
                    <a:pt x="13398" y="10847"/>
                  </a:lnTo>
                  <a:lnTo>
                    <a:pt x="13895" y="10989"/>
                  </a:lnTo>
                  <a:lnTo>
                    <a:pt x="14462" y="11059"/>
                  </a:lnTo>
                  <a:lnTo>
                    <a:pt x="14958" y="11130"/>
                  </a:lnTo>
                  <a:lnTo>
                    <a:pt x="14958" y="11130"/>
                  </a:lnTo>
                  <a:lnTo>
                    <a:pt x="15738" y="11059"/>
                  </a:lnTo>
                  <a:lnTo>
                    <a:pt x="16517" y="10918"/>
                  </a:lnTo>
                  <a:lnTo>
                    <a:pt x="17297" y="10634"/>
                  </a:lnTo>
                  <a:lnTo>
                    <a:pt x="18006" y="10280"/>
                  </a:lnTo>
                  <a:lnTo>
                    <a:pt x="18644" y="9783"/>
                  </a:lnTo>
                  <a:lnTo>
                    <a:pt x="19353" y="9216"/>
                  </a:lnTo>
                  <a:lnTo>
                    <a:pt x="19920" y="8578"/>
                  </a:lnTo>
                  <a:lnTo>
                    <a:pt x="20487" y="7869"/>
                  </a:lnTo>
                  <a:lnTo>
                    <a:pt x="21054" y="7090"/>
                  </a:lnTo>
                  <a:lnTo>
                    <a:pt x="21480" y="6239"/>
                  </a:lnTo>
                  <a:lnTo>
                    <a:pt x="21905" y="5317"/>
                  </a:lnTo>
                  <a:lnTo>
                    <a:pt x="22259" y="4325"/>
                  </a:lnTo>
                  <a:lnTo>
                    <a:pt x="22472" y="3333"/>
                  </a:lnTo>
                  <a:lnTo>
                    <a:pt x="22685" y="2269"/>
                  </a:lnTo>
                  <a:lnTo>
                    <a:pt x="22827" y="1135"/>
                  </a:lnTo>
                  <a:lnTo>
                    <a:pt x="22897" y="1"/>
                  </a:lnTo>
                  <a:lnTo>
                    <a:pt x="22897" y="1"/>
                  </a:lnTo>
                  <a:lnTo>
                    <a:pt x="25804" y="72"/>
                  </a:lnTo>
                  <a:lnTo>
                    <a:pt x="28710" y="142"/>
                  </a:lnTo>
                  <a:lnTo>
                    <a:pt x="28710" y="142"/>
                  </a:lnTo>
                  <a:lnTo>
                    <a:pt x="31475" y="142"/>
                  </a:lnTo>
                  <a:lnTo>
                    <a:pt x="34311" y="213"/>
                  </a:lnTo>
                  <a:lnTo>
                    <a:pt x="34311" y="213"/>
                  </a:lnTo>
                  <a:lnTo>
                    <a:pt x="34523" y="213"/>
                  </a:lnTo>
                  <a:lnTo>
                    <a:pt x="34665" y="284"/>
                  </a:lnTo>
                  <a:lnTo>
                    <a:pt x="34949" y="497"/>
                  </a:lnTo>
                  <a:lnTo>
                    <a:pt x="35161" y="851"/>
                  </a:lnTo>
                  <a:lnTo>
                    <a:pt x="35232" y="1135"/>
                  </a:lnTo>
                  <a:lnTo>
                    <a:pt x="35232" y="1135"/>
                  </a:lnTo>
                  <a:lnTo>
                    <a:pt x="35303" y="7728"/>
                  </a:lnTo>
                  <a:lnTo>
                    <a:pt x="35303" y="15029"/>
                  </a:lnTo>
                  <a:lnTo>
                    <a:pt x="35303" y="15029"/>
                  </a:lnTo>
                  <a:lnTo>
                    <a:pt x="38068" y="15100"/>
                  </a:lnTo>
                  <a:lnTo>
                    <a:pt x="39415" y="15171"/>
                  </a:lnTo>
                  <a:lnTo>
                    <a:pt x="40691" y="15313"/>
                  </a:lnTo>
                  <a:lnTo>
                    <a:pt x="41896" y="15455"/>
                  </a:lnTo>
                  <a:lnTo>
                    <a:pt x="43030" y="15738"/>
                  </a:lnTo>
                  <a:lnTo>
                    <a:pt x="44094" y="16022"/>
                  </a:lnTo>
                  <a:lnTo>
                    <a:pt x="45086" y="16447"/>
                  </a:lnTo>
                  <a:lnTo>
                    <a:pt x="45086" y="16447"/>
                  </a:lnTo>
                  <a:lnTo>
                    <a:pt x="45937" y="16872"/>
                  </a:lnTo>
                  <a:lnTo>
                    <a:pt x="46646" y="17298"/>
                  </a:lnTo>
                  <a:lnTo>
                    <a:pt x="47284" y="17794"/>
                  </a:lnTo>
                  <a:lnTo>
                    <a:pt x="47780" y="18290"/>
                  </a:lnTo>
                  <a:lnTo>
                    <a:pt x="48205" y="18786"/>
                  </a:lnTo>
                  <a:lnTo>
                    <a:pt x="48489" y="19354"/>
                  </a:lnTo>
                  <a:lnTo>
                    <a:pt x="48630" y="19992"/>
                  </a:lnTo>
                  <a:lnTo>
                    <a:pt x="48701" y="2063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64" name="Google Shape;21562;p90">
              <a:extLst>
                <a:ext uri="{FF2B5EF4-FFF2-40B4-BE49-F238E27FC236}">
                  <a16:creationId xmlns:a16="http://schemas.microsoft.com/office/drawing/2014/main" id="{939EC4C9-8642-C180-1C49-FDDF83F8FD86}"/>
                </a:ext>
              </a:extLst>
            </p:cNvPr>
            <p:cNvSpPr/>
            <p:nvPr/>
          </p:nvSpPr>
          <p:spPr>
            <a:xfrm>
              <a:off x="3085150" y="3637275"/>
              <a:ext cx="510425" cy="1024375"/>
            </a:xfrm>
            <a:custGeom>
              <a:avLst/>
              <a:gdLst/>
              <a:ahLst/>
              <a:cxnLst/>
              <a:rect l="l" t="t" r="r" b="b"/>
              <a:pathLst>
                <a:path w="20417" h="40975" extrusionOk="0">
                  <a:moveTo>
                    <a:pt x="7018" y="0"/>
                  </a:moveTo>
                  <a:lnTo>
                    <a:pt x="0" y="71"/>
                  </a:lnTo>
                  <a:lnTo>
                    <a:pt x="71" y="1631"/>
                  </a:lnTo>
                  <a:lnTo>
                    <a:pt x="284" y="3049"/>
                  </a:lnTo>
                  <a:lnTo>
                    <a:pt x="709" y="5955"/>
                  </a:lnTo>
                  <a:lnTo>
                    <a:pt x="1276" y="8720"/>
                  </a:lnTo>
                  <a:lnTo>
                    <a:pt x="1985" y="11343"/>
                  </a:lnTo>
                  <a:lnTo>
                    <a:pt x="2765" y="13895"/>
                  </a:lnTo>
                  <a:lnTo>
                    <a:pt x="3686" y="16376"/>
                  </a:lnTo>
                  <a:lnTo>
                    <a:pt x="4679" y="18786"/>
                  </a:lnTo>
                  <a:lnTo>
                    <a:pt x="5813" y="21055"/>
                  </a:lnTo>
                  <a:lnTo>
                    <a:pt x="6947" y="23181"/>
                  </a:lnTo>
                  <a:lnTo>
                    <a:pt x="8152" y="25308"/>
                  </a:lnTo>
                  <a:lnTo>
                    <a:pt x="9358" y="27293"/>
                  </a:lnTo>
                  <a:lnTo>
                    <a:pt x="10634" y="29207"/>
                  </a:lnTo>
                  <a:lnTo>
                    <a:pt x="11910" y="31050"/>
                  </a:lnTo>
                  <a:lnTo>
                    <a:pt x="13186" y="32822"/>
                  </a:lnTo>
                  <a:lnTo>
                    <a:pt x="15667" y="36083"/>
                  </a:lnTo>
                  <a:lnTo>
                    <a:pt x="19495" y="40975"/>
                  </a:lnTo>
                  <a:lnTo>
                    <a:pt x="20416" y="40975"/>
                  </a:lnTo>
                  <a:lnTo>
                    <a:pt x="18077" y="35800"/>
                  </a:lnTo>
                  <a:lnTo>
                    <a:pt x="15879" y="30838"/>
                  </a:lnTo>
                  <a:lnTo>
                    <a:pt x="13895" y="26159"/>
                  </a:lnTo>
                  <a:lnTo>
                    <a:pt x="12122" y="21693"/>
                  </a:lnTo>
                  <a:lnTo>
                    <a:pt x="11342" y="19495"/>
                  </a:lnTo>
                  <a:lnTo>
                    <a:pt x="10634" y="17368"/>
                  </a:lnTo>
                  <a:lnTo>
                    <a:pt x="9996" y="15313"/>
                  </a:lnTo>
                  <a:lnTo>
                    <a:pt x="9428" y="13257"/>
                  </a:lnTo>
                  <a:lnTo>
                    <a:pt x="9003" y="11201"/>
                  </a:lnTo>
                  <a:lnTo>
                    <a:pt x="8578" y="9145"/>
                  </a:lnTo>
                  <a:lnTo>
                    <a:pt x="8294" y="7160"/>
                  </a:lnTo>
                  <a:lnTo>
                    <a:pt x="8082" y="5175"/>
                  </a:lnTo>
                  <a:lnTo>
                    <a:pt x="7656" y="3970"/>
                  </a:lnTo>
                  <a:lnTo>
                    <a:pt x="7302" y="2694"/>
                  </a:lnTo>
                  <a:lnTo>
                    <a:pt x="7160" y="1347"/>
                  </a:lnTo>
                  <a:lnTo>
                    <a:pt x="7018" y="0"/>
                  </a:lnTo>
                  <a:close/>
                </a:path>
              </a:pathLst>
            </a:custGeom>
            <a:solidFill>
              <a:srgbClr val="F5991E"/>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65" name="Google Shape;21563;p90">
              <a:extLst>
                <a:ext uri="{FF2B5EF4-FFF2-40B4-BE49-F238E27FC236}">
                  <a16:creationId xmlns:a16="http://schemas.microsoft.com/office/drawing/2014/main" id="{85036244-755C-EB02-9664-1A9AD13D319B}"/>
                </a:ext>
              </a:extLst>
            </p:cNvPr>
            <p:cNvSpPr/>
            <p:nvPr/>
          </p:nvSpPr>
          <p:spPr>
            <a:xfrm>
              <a:off x="3085150" y="3637275"/>
              <a:ext cx="510425" cy="1024375"/>
            </a:xfrm>
            <a:custGeom>
              <a:avLst/>
              <a:gdLst/>
              <a:ahLst/>
              <a:cxnLst/>
              <a:rect l="l" t="t" r="r" b="b"/>
              <a:pathLst>
                <a:path w="20417" h="40975" fill="none" extrusionOk="0">
                  <a:moveTo>
                    <a:pt x="7018" y="0"/>
                  </a:moveTo>
                  <a:lnTo>
                    <a:pt x="7018" y="0"/>
                  </a:lnTo>
                  <a:lnTo>
                    <a:pt x="0" y="71"/>
                  </a:lnTo>
                  <a:lnTo>
                    <a:pt x="0" y="71"/>
                  </a:lnTo>
                  <a:lnTo>
                    <a:pt x="71" y="1631"/>
                  </a:lnTo>
                  <a:lnTo>
                    <a:pt x="284" y="3049"/>
                  </a:lnTo>
                  <a:lnTo>
                    <a:pt x="709" y="5955"/>
                  </a:lnTo>
                  <a:lnTo>
                    <a:pt x="1276" y="8720"/>
                  </a:lnTo>
                  <a:lnTo>
                    <a:pt x="1985" y="11343"/>
                  </a:lnTo>
                  <a:lnTo>
                    <a:pt x="2765" y="13895"/>
                  </a:lnTo>
                  <a:lnTo>
                    <a:pt x="3686" y="16376"/>
                  </a:lnTo>
                  <a:lnTo>
                    <a:pt x="4679" y="18786"/>
                  </a:lnTo>
                  <a:lnTo>
                    <a:pt x="5813" y="21055"/>
                  </a:lnTo>
                  <a:lnTo>
                    <a:pt x="6947" y="23181"/>
                  </a:lnTo>
                  <a:lnTo>
                    <a:pt x="8152" y="25308"/>
                  </a:lnTo>
                  <a:lnTo>
                    <a:pt x="9358" y="27293"/>
                  </a:lnTo>
                  <a:lnTo>
                    <a:pt x="10634" y="29207"/>
                  </a:lnTo>
                  <a:lnTo>
                    <a:pt x="11910" y="31050"/>
                  </a:lnTo>
                  <a:lnTo>
                    <a:pt x="13186" y="32822"/>
                  </a:lnTo>
                  <a:lnTo>
                    <a:pt x="15667" y="36083"/>
                  </a:lnTo>
                  <a:lnTo>
                    <a:pt x="15667" y="36083"/>
                  </a:lnTo>
                  <a:lnTo>
                    <a:pt x="19495" y="40975"/>
                  </a:lnTo>
                  <a:lnTo>
                    <a:pt x="19495" y="40975"/>
                  </a:lnTo>
                  <a:lnTo>
                    <a:pt x="20416" y="40975"/>
                  </a:lnTo>
                  <a:lnTo>
                    <a:pt x="20416" y="40975"/>
                  </a:lnTo>
                  <a:lnTo>
                    <a:pt x="18077" y="35800"/>
                  </a:lnTo>
                  <a:lnTo>
                    <a:pt x="15879" y="30838"/>
                  </a:lnTo>
                  <a:lnTo>
                    <a:pt x="13895" y="26159"/>
                  </a:lnTo>
                  <a:lnTo>
                    <a:pt x="12122" y="21693"/>
                  </a:lnTo>
                  <a:lnTo>
                    <a:pt x="11342" y="19495"/>
                  </a:lnTo>
                  <a:lnTo>
                    <a:pt x="10634" y="17368"/>
                  </a:lnTo>
                  <a:lnTo>
                    <a:pt x="9996" y="15313"/>
                  </a:lnTo>
                  <a:lnTo>
                    <a:pt x="9428" y="13257"/>
                  </a:lnTo>
                  <a:lnTo>
                    <a:pt x="9003" y="11201"/>
                  </a:lnTo>
                  <a:lnTo>
                    <a:pt x="8578" y="9145"/>
                  </a:lnTo>
                  <a:lnTo>
                    <a:pt x="8294" y="7160"/>
                  </a:lnTo>
                  <a:lnTo>
                    <a:pt x="8082" y="5175"/>
                  </a:lnTo>
                  <a:lnTo>
                    <a:pt x="8082" y="5175"/>
                  </a:lnTo>
                  <a:lnTo>
                    <a:pt x="8082" y="5175"/>
                  </a:lnTo>
                  <a:lnTo>
                    <a:pt x="7656" y="3970"/>
                  </a:lnTo>
                  <a:lnTo>
                    <a:pt x="7302" y="2694"/>
                  </a:lnTo>
                  <a:lnTo>
                    <a:pt x="7160" y="1347"/>
                  </a:lnTo>
                  <a:lnTo>
                    <a:pt x="7018"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66" name="Google Shape;21564;p90">
              <a:extLst>
                <a:ext uri="{FF2B5EF4-FFF2-40B4-BE49-F238E27FC236}">
                  <a16:creationId xmlns:a16="http://schemas.microsoft.com/office/drawing/2014/main" id="{8A742B62-4862-1111-87A1-A990A4549426}"/>
                </a:ext>
              </a:extLst>
            </p:cNvPr>
            <p:cNvSpPr/>
            <p:nvPr/>
          </p:nvSpPr>
          <p:spPr>
            <a:xfrm>
              <a:off x="4081150" y="3564625"/>
              <a:ext cx="210900" cy="317250"/>
            </a:xfrm>
            <a:custGeom>
              <a:avLst/>
              <a:gdLst/>
              <a:ahLst/>
              <a:cxnLst/>
              <a:rect l="l" t="t" r="r" b="b"/>
              <a:pathLst>
                <a:path w="8436" h="12690" extrusionOk="0">
                  <a:moveTo>
                    <a:pt x="4041" y="0"/>
                  </a:moveTo>
                  <a:lnTo>
                    <a:pt x="3899" y="1560"/>
                  </a:lnTo>
                  <a:lnTo>
                    <a:pt x="3686" y="2836"/>
                  </a:lnTo>
                  <a:lnTo>
                    <a:pt x="3403" y="3828"/>
                  </a:lnTo>
                  <a:lnTo>
                    <a:pt x="3261" y="4324"/>
                  </a:lnTo>
                  <a:lnTo>
                    <a:pt x="3048" y="4679"/>
                  </a:lnTo>
                  <a:lnTo>
                    <a:pt x="2836" y="5033"/>
                  </a:lnTo>
                  <a:lnTo>
                    <a:pt x="2552" y="5317"/>
                  </a:lnTo>
                  <a:lnTo>
                    <a:pt x="2269" y="5600"/>
                  </a:lnTo>
                  <a:lnTo>
                    <a:pt x="1914" y="5813"/>
                  </a:lnTo>
                  <a:lnTo>
                    <a:pt x="1489" y="6026"/>
                  </a:lnTo>
                  <a:lnTo>
                    <a:pt x="1063" y="6238"/>
                  </a:lnTo>
                  <a:lnTo>
                    <a:pt x="0" y="6451"/>
                  </a:lnTo>
                  <a:lnTo>
                    <a:pt x="922" y="6805"/>
                  </a:lnTo>
                  <a:lnTo>
                    <a:pt x="1772" y="7160"/>
                  </a:lnTo>
                  <a:lnTo>
                    <a:pt x="2339" y="7585"/>
                  </a:lnTo>
                  <a:lnTo>
                    <a:pt x="2623" y="7798"/>
                  </a:lnTo>
                  <a:lnTo>
                    <a:pt x="2907" y="8152"/>
                  </a:lnTo>
                  <a:lnTo>
                    <a:pt x="3119" y="8436"/>
                  </a:lnTo>
                  <a:lnTo>
                    <a:pt x="3332" y="8861"/>
                  </a:lnTo>
                  <a:lnTo>
                    <a:pt x="3686" y="9783"/>
                  </a:lnTo>
                  <a:lnTo>
                    <a:pt x="3970" y="11059"/>
                  </a:lnTo>
                  <a:lnTo>
                    <a:pt x="4324" y="12689"/>
                  </a:lnTo>
                  <a:lnTo>
                    <a:pt x="4466" y="11059"/>
                  </a:lnTo>
                  <a:lnTo>
                    <a:pt x="4679" y="9783"/>
                  </a:lnTo>
                  <a:lnTo>
                    <a:pt x="4892" y="9287"/>
                  </a:lnTo>
                  <a:lnTo>
                    <a:pt x="5033" y="8861"/>
                  </a:lnTo>
                  <a:lnTo>
                    <a:pt x="5246" y="8436"/>
                  </a:lnTo>
                  <a:lnTo>
                    <a:pt x="5459" y="8081"/>
                  </a:lnTo>
                  <a:lnTo>
                    <a:pt x="5742" y="7798"/>
                  </a:lnTo>
                  <a:lnTo>
                    <a:pt x="6026" y="7514"/>
                  </a:lnTo>
                  <a:lnTo>
                    <a:pt x="6664" y="7018"/>
                  </a:lnTo>
                  <a:lnTo>
                    <a:pt x="7514" y="6593"/>
                  </a:lnTo>
                  <a:lnTo>
                    <a:pt x="8436" y="6097"/>
                  </a:lnTo>
                  <a:lnTo>
                    <a:pt x="7373" y="5955"/>
                  </a:lnTo>
                  <a:lnTo>
                    <a:pt x="6876" y="5813"/>
                  </a:lnTo>
                  <a:lnTo>
                    <a:pt x="6451" y="5600"/>
                  </a:lnTo>
                  <a:lnTo>
                    <a:pt x="6097" y="5388"/>
                  </a:lnTo>
                  <a:lnTo>
                    <a:pt x="5742" y="5104"/>
                  </a:lnTo>
                  <a:lnTo>
                    <a:pt x="5459" y="4821"/>
                  </a:lnTo>
                  <a:lnTo>
                    <a:pt x="5246" y="4466"/>
                  </a:lnTo>
                  <a:lnTo>
                    <a:pt x="5033" y="4112"/>
                  </a:lnTo>
                  <a:lnTo>
                    <a:pt x="4821" y="3686"/>
                  </a:lnTo>
                  <a:lnTo>
                    <a:pt x="4537" y="2694"/>
                  </a:lnTo>
                  <a:lnTo>
                    <a:pt x="4254" y="1489"/>
                  </a:lnTo>
                  <a:lnTo>
                    <a:pt x="4041"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67" name="Google Shape;21565;p90">
              <a:extLst>
                <a:ext uri="{FF2B5EF4-FFF2-40B4-BE49-F238E27FC236}">
                  <a16:creationId xmlns:a16="http://schemas.microsoft.com/office/drawing/2014/main" id="{0E4BBE64-9862-F08E-5B76-53B59DA1FF0F}"/>
                </a:ext>
              </a:extLst>
            </p:cNvPr>
            <p:cNvSpPr/>
            <p:nvPr/>
          </p:nvSpPr>
          <p:spPr>
            <a:xfrm>
              <a:off x="3338575" y="2834450"/>
              <a:ext cx="218000" cy="326125"/>
            </a:xfrm>
            <a:custGeom>
              <a:avLst/>
              <a:gdLst/>
              <a:ahLst/>
              <a:cxnLst/>
              <a:rect l="l" t="t" r="r" b="b"/>
              <a:pathLst>
                <a:path w="8720" h="13045" extrusionOk="0">
                  <a:moveTo>
                    <a:pt x="4183" y="0"/>
                  </a:moveTo>
                  <a:lnTo>
                    <a:pt x="3970" y="1560"/>
                  </a:lnTo>
                  <a:lnTo>
                    <a:pt x="3758" y="2836"/>
                  </a:lnTo>
                  <a:lnTo>
                    <a:pt x="3545" y="3899"/>
                  </a:lnTo>
                  <a:lnTo>
                    <a:pt x="3332" y="4396"/>
                  </a:lnTo>
                  <a:lnTo>
                    <a:pt x="3119" y="4750"/>
                  </a:lnTo>
                  <a:lnTo>
                    <a:pt x="2907" y="5104"/>
                  </a:lnTo>
                  <a:lnTo>
                    <a:pt x="2623" y="5459"/>
                  </a:lnTo>
                  <a:lnTo>
                    <a:pt x="2340" y="5743"/>
                  </a:lnTo>
                  <a:lnTo>
                    <a:pt x="1985" y="5955"/>
                  </a:lnTo>
                  <a:lnTo>
                    <a:pt x="1560" y="6168"/>
                  </a:lnTo>
                  <a:lnTo>
                    <a:pt x="1135" y="6310"/>
                  </a:lnTo>
                  <a:lnTo>
                    <a:pt x="0" y="6593"/>
                  </a:lnTo>
                  <a:lnTo>
                    <a:pt x="993" y="6948"/>
                  </a:lnTo>
                  <a:lnTo>
                    <a:pt x="1773" y="7302"/>
                  </a:lnTo>
                  <a:lnTo>
                    <a:pt x="2481" y="7798"/>
                  </a:lnTo>
                  <a:lnTo>
                    <a:pt x="2694" y="8011"/>
                  </a:lnTo>
                  <a:lnTo>
                    <a:pt x="2978" y="8295"/>
                  </a:lnTo>
                  <a:lnTo>
                    <a:pt x="3190" y="8649"/>
                  </a:lnTo>
                  <a:lnTo>
                    <a:pt x="3403" y="9074"/>
                  </a:lnTo>
                  <a:lnTo>
                    <a:pt x="3758" y="10067"/>
                  </a:lnTo>
                  <a:lnTo>
                    <a:pt x="4112" y="11343"/>
                  </a:lnTo>
                  <a:lnTo>
                    <a:pt x="4466" y="13044"/>
                  </a:lnTo>
                  <a:lnTo>
                    <a:pt x="4608" y="11343"/>
                  </a:lnTo>
                  <a:lnTo>
                    <a:pt x="4821" y="10067"/>
                  </a:lnTo>
                  <a:lnTo>
                    <a:pt x="5034" y="9500"/>
                  </a:lnTo>
                  <a:lnTo>
                    <a:pt x="5175" y="9074"/>
                  </a:lnTo>
                  <a:lnTo>
                    <a:pt x="5388" y="8649"/>
                  </a:lnTo>
                  <a:lnTo>
                    <a:pt x="5601" y="8295"/>
                  </a:lnTo>
                  <a:lnTo>
                    <a:pt x="5884" y="7940"/>
                  </a:lnTo>
                  <a:lnTo>
                    <a:pt x="6168" y="7657"/>
                  </a:lnTo>
                  <a:lnTo>
                    <a:pt x="6877" y="7160"/>
                  </a:lnTo>
                  <a:lnTo>
                    <a:pt x="7727" y="6735"/>
                  </a:lnTo>
                  <a:lnTo>
                    <a:pt x="8720" y="6239"/>
                  </a:lnTo>
                  <a:lnTo>
                    <a:pt x="7586" y="6026"/>
                  </a:lnTo>
                  <a:lnTo>
                    <a:pt x="7089" y="5884"/>
                  </a:lnTo>
                  <a:lnTo>
                    <a:pt x="6664" y="5743"/>
                  </a:lnTo>
                  <a:lnTo>
                    <a:pt x="6239" y="5530"/>
                  </a:lnTo>
                  <a:lnTo>
                    <a:pt x="5955" y="5246"/>
                  </a:lnTo>
                  <a:lnTo>
                    <a:pt x="5672" y="4963"/>
                  </a:lnTo>
                  <a:lnTo>
                    <a:pt x="5388" y="4608"/>
                  </a:lnTo>
                  <a:lnTo>
                    <a:pt x="5175" y="4183"/>
                  </a:lnTo>
                  <a:lnTo>
                    <a:pt x="4963" y="3758"/>
                  </a:lnTo>
                  <a:lnTo>
                    <a:pt x="4679" y="2694"/>
                  </a:lnTo>
                  <a:lnTo>
                    <a:pt x="4396" y="1489"/>
                  </a:lnTo>
                  <a:lnTo>
                    <a:pt x="4183"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68" name="Google Shape;21566;p90">
              <a:extLst>
                <a:ext uri="{FF2B5EF4-FFF2-40B4-BE49-F238E27FC236}">
                  <a16:creationId xmlns:a16="http://schemas.microsoft.com/office/drawing/2014/main" id="{C2EB068E-7F1E-8319-9E90-EF7594A58F06}"/>
                </a:ext>
              </a:extLst>
            </p:cNvPr>
            <p:cNvSpPr/>
            <p:nvPr/>
          </p:nvSpPr>
          <p:spPr>
            <a:xfrm>
              <a:off x="3650475" y="4718350"/>
              <a:ext cx="673500" cy="758525"/>
            </a:xfrm>
            <a:custGeom>
              <a:avLst/>
              <a:gdLst/>
              <a:ahLst/>
              <a:cxnLst/>
              <a:rect l="l" t="t" r="r" b="b"/>
              <a:pathLst>
                <a:path w="26940" h="30341" extrusionOk="0">
                  <a:moveTo>
                    <a:pt x="12903" y="0"/>
                  </a:moveTo>
                  <a:lnTo>
                    <a:pt x="8366" y="142"/>
                  </a:lnTo>
                  <a:lnTo>
                    <a:pt x="4467" y="355"/>
                  </a:lnTo>
                  <a:lnTo>
                    <a:pt x="2837" y="496"/>
                  </a:lnTo>
                  <a:lnTo>
                    <a:pt x="1561" y="638"/>
                  </a:lnTo>
                  <a:lnTo>
                    <a:pt x="710" y="851"/>
                  </a:lnTo>
                  <a:lnTo>
                    <a:pt x="426" y="993"/>
                  </a:lnTo>
                  <a:lnTo>
                    <a:pt x="284" y="1064"/>
                  </a:lnTo>
                  <a:lnTo>
                    <a:pt x="214" y="1347"/>
                  </a:lnTo>
                  <a:lnTo>
                    <a:pt x="72" y="1914"/>
                  </a:lnTo>
                  <a:lnTo>
                    <a:pt x="1" y="3474"/>
                  </a:lnTo>
                  <a:lnTo>
                    <a:pt x="1" y="5671"/>
                  </a:lnTo>
                  <a:lnTo>
                    <a:pt x="72" y="9783"/>
                  </a:lnTo>
                  <a:lnTo>
                    <a:pt x="143" y="12193"/>
                  </a:lnTo>
                  <a:lnTo>
                    <a:pt x="355" y="16234"/>
                  </a:lnTo>
                  <a:lnTo>
                    <a:pt x="497" y="18502"/>
                  </a:lnTo>
                  <a:lnTo>
                    <a:pt x="497" y="18999"/>
                  </a:lnTo>
                  <a:lnTo>
                    <a:pt x="568" y="20487"/>
                  </a:lnTo>
                  <a:lnTo>
                    <a:pt x="710" y="21267"/>
                  </a:lnTo>
                  <a:lnTo>
                    <a:pt x="852" y="22047"/>
                  </a:lnTo>
                  <a:lnTo>
                    <a:pt x="1206" y="23323"/>
                  </a:lnTo>
                  <a:lnTo>
                    <a:pt x="1631" y="24528"/>
                  </a:lnTo>
                  <a:lnTo>
                    <a:pt x="2199" y="25733"/>
                  </a:lnTo>
                  <a:lnTo>
                    <a:pt x="2907" y="26797"/>
                  </a:lnTo>
                  <a:lnTo>
                    <a:pt x="3616" y="27789"/>
                  </a:lnTo>
                  <a:lnTo>
                    <a:pt x="4467" y="28781"/>
                  </a:lnTo>
                  <a:lnTo>
                    <a:pt x="5389" y="29561"/>
                  </a:lnTo>
                  <a:lnTo>
                    <a:pt x="6381" y="30341"/>
                  </a:lnTo>
                  <a:lnTo>
                    <a:pt x="20488" y="30341"/>
                  </a:lnTo>
                  <a:lnTo>
                    <a:pt x="21197" y="29845"/>
                  </a:lnTo>
                  <a:lnTo>
                    <a:pt x="21835" y="29278"/>
                  </a:lnTo>
                  <a:lnTo>
                    <a:pt x="22473" y="28640"/>
                  </a:lnTo>
                  <a:lnTo>
                    <a:pt x="23111" y="28002"/>
                  </a:lnTo>
                  <a:lnTo>
                    <a:pt x="23607" y="27293"/>
                  </a:lnTo>
                  <a:lnTo>
                    <a:pt x="24103" y="26584"/>
                  </a:lnTo>
                  <a:lnTo>
                    <a:pt x="24600" y="25804"/>
                  </a:lnTo>
                  <a:lnTo>
                    <a:pt x="25025" y="24953"/>
                  </a:lnTo>
                  <a:lnTo>
                    <a:pt x="25450" y="23961"/>
                  </a:lnTo>
                  <a:lnTo>
                    <a:pt x="25805" y="22898"/>
                  </a:lnTo>
                  <a:lnTo>
                    <a:pt x="26017" y="21905"/>
                  </a:lnTo>
                  <a:lnTo>
                    <a:pt x="26230" y="20984"/>
                  </a:lnTo>
                  <a:lnTo>
                    <a:pt x="26372" y="19495"/>
                  </a:lnTo>
                  <a:lnTo>
                    <a:pt x="26372" y="18644"/>
                  </a:lnTo>
                  <a:lnTo>
                    <a:pt x="26655" y="14674"/>
                  </a:lnTo>
                  <a:lnTo>
                    <a:pt x="26726" y="13257"/>
                  </a:lnTo>
                  <a:lnTo>
                    <a:pt x="26868" y="10917"/>
                  </a:lnTo>
                  <a:lnTo>
                    <a:pt x="26939" y="8507"/>
                  </a:lnTo>
                  <a:lnTo>
                    <a:pt x="26939" y="7018"/>
                  </a:lnTo>
                  <a:lnTo>
                    <a:pt x="26939" y="4750"/>
                  </a:lnTo>
                  <a:lnTo>
                    <a:pt x="26797" y="2836"/>
                  </a:lnTo>
                  <a:lnTo>
                    <a:pt x="26726" y="2056"/>
                  </a:lnTo>
                  <a:lnTo>
                    <a:pt x="26585" y="1489"/>
                  </a:lnTo>
                  <a:lnTo>
                    <a:pt x="26372" y="993"/>
                  </a:lnTo>
                  <a:lnTo>
                    <a:pt x="26159" y="709"/>
                  </a:lnTo>
                  <a:lnTo>
                    <a:pt x="25947" y="638"/>
                  </a:lnTo>
                  <a:lnTo>
                    <a:pt x="25592" y="496"/>
                  </a:lnTo>
                  <a:lnTo>
                    <a:pt x="24600" y="355"/>
                  </a:lnTo>
                  <a:lnTo>
                    <a:pt x="23253" y="213"/>
                  </a:lnTo>
                  <a:lnTo>
                    <a:pt x="21551" y="71"/>
                  </a:lnTo>
                  <a:lnTo>
                    <a:pt x="17440" y="0"/>
                  </a:lnTo>
                  <a:close/>
                </a:path>
              </a:pathLst>
            </a:custGeom>
            <a:solidFill>
              <a:srgbClr val="46464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69" name="Google Shape;21567;p90">
              <a:extLst>
                <a:ext uri="{FF2B5EF4-FFF2-40B4-BE49-F238E27FC236}">
                  <a16:creationId xmlns:a16="http://schemas.microsoft.com/office/drawing/2014/main" id="{9CE7F800-7839-51EA-FBE2-5AA091B9A855}"/>
                </a:ext>
              </a:extLst>
            </p:cNvPr>
            <p:cNvSpPr/>
            <p:nvPr/>
          </p:nvSpPr>
          <p:spPr>
            <a:xfrm>
              <a:off x="3650475" y="4718350"/>
              <a:ext cx="673500" cy="758525"/>
            </a:xfrm>
            <a:custGeom>
              <a:avLst/>
              <a:gdLst/>
              <a:ahLst/>
              <a:cxnLst/>
              <a:rect l="l" t="t" r="r" b="b"/>
              <a:pathLst>
                <a:path w="26940" h="30341" fill="none" extrusionOk="0">
                  <a:moveTo>
                    <a:pt x="72" y="9783"/>
                  </a:moveTo>
                  <a:lnTo>
                    <a:pt x="72" y="9783"/>
                  </a:lnTo>
                  <a:lnTo>
                    <a:pt x="143" y="12193"/>
                  </a:lnTo>
                  <a:lnTo>
                    <a:pt x="143" y="12193"/>
                  </a:lnTo>
                  <a:lnTo>
                    <a:pt x="355" y="16234"/>
                  </a:lnTo>
                  <a:lnTo>
                    <a:pt x="355" y="16234"/>
                  </a:lnTo>
                  <a:lnTo>
                    <a:pt x="497" y="18502"/>
                  </a:lnTo>
                  <a:lnTo>
                    <a:pt x="497" y="18502"/>
                  </a:lnTo>
                  <a:lnTo>
                    <a:pt x="497" y="18999"/>
                  </a:lnTo>
                  <a:lnTo>
                    <a:pt x="497" y="18999"/>
                  </a:lnTo>
                  <a:lnTo>
                    <a:pt x="568" y="20487"/>
                  </a:lnTo>
                  <a:lnTo>
                    <a:pt x="568" y="20487"/>
                  </a:lnTo>
                  <a:lnTo>
                    <a:pt x="710" y="21267"/>
                  </a:lnTo>
                  <a:lnTo>
                    <a:pt x="852" y="22047"/>
                  </a:lnTo>
                  <a:lnTo>
                    <a:pt x="852" y="22047"/>
                  </a:lnTo>
                  <a:lnTo>
                    <a:pt x="1206" y="23323"/>
                  </a:lnTo>
                  <a:lnTo>
                    <a:pt x="1631" y="24528"/>
                  </a:lnTo>
                  <a:lnTo>
                    <a:pt x="2199" y="25733"/>
                  </a:lnTo>
                  <a:lnTo>
                    <a:pt x="2907" y="26797"/>
                  </a:lnTo>
                  <a:lnTo>
                    <a:pt x="3616" y="27789"/>
                  </a:lnTo>
                  <a:lnTo>
                    <a:pt x="4467" y="28781"/>
                  </a:lnTo>
                  <a:lnTo>
                    <a:pt x="5389" y="29561"/>
                  </a:lnTo>
                  <a:lnTo>
                    <a:pt x="6381" y="30341"/>
                  </a:lnTo>
                  <a:lnTo>
                    <a:pt x="20488" y="30341"/>
                  </a:lnTo>
                  <a:lnTo>
                    <a:pt x="20488" y="30341"/>
                  </a:lnTo>
                  <a:lnTo>
                    <a:pt x="21197" y="29845"/>
                  </a:lnTo>
                  <a:lnTo>
                    <a:pt x="21835" y="29278"/>
                  </a:lnTo>
                  <a:lnTo>
                    <a:pt x="22473" y="28640"/>
                  </a:lnTo>
                  <a:lnTo>
                    <a:pt x="23111" y="28002"/>
                  </a:lnTo>
                  <a:lnTo>
                    <a:pt x="23607" y="27293"/>
                  </a:lnTo>
                  <a:lnTo>
                    <a:pt x="24103" y="26584"/>
                  </a:lnTo>
                  <a:lnTo>
                    <a:pt x="24600" y="25804"/>
                  </a:lnTo>
                  <a:lnTo>
                    <a:pt x="25025" y="24953"/>
                  </a:lnTo>
                  <a:lnTo>
                    <a:pt x="25025" y="24953"/>
                  </a:lnTo>
                  <a:lnTo>
                    <a:pt x="25450" y="23961"/>
                  </a:lnTo>
                  <a:lnTo>
                    <a:pt x="25805" y="22898"/>
                  </a:lnTo>
                  <a:lnTo>
                    <a:pt x="25805" y="22898"/>
                  </a:lnTo>
                  <a:lnTo>
                    <a:pt x="26017" y="21905"/>
                  </a:lnTo>
                  <a:lnTo>
                    <a:pt x="26230" y="20984"/>
                  </a:lnTo>
                  <a:lnTo>
                    <a:pt x="26230" y="20984"/>
                  </a:lnTo>
                  <a:lnTo>
                    <a:pt x="26372" y="19495"/>
                  </a:lnTo>
                  <a:lnTo>
                    <a:pt x="26372" y="19495"/>
                  </a:lnTo>
                  <a:lnTo>
                    <a:pt x="26372" y="18644"/>
                  </a:lnTo>
                  <a:lnTo>
                    <a:pt x="26372" y="18644"/>
                  </a:lnTo>
                  <a:lnTo>
                    <a:pt x="26655" y="14674"/>
                  </a:lnTo>
                  <a:lnTo>
                    <a:pt x="26655" y="14674"/>
                  </a:lnTo>
                  <a:lnTo>
                    <a:pt x="26726" y="13257"/>
                  </a:lnTo>
                  <a:lnTo>
                    <a:pt x="26726" y="13257"/>
                  </a:lnTo>
                  <a:lnTo>
                    <a:pt x="26868" y="10917"/>
                  </a:lnTo>
                  <a:lnTo>
                    <a:pt x="26939" y="8507"/>
                  </a:lnTo>
                  <a:lnTo>
                    <a:pt x="26939" y="8507"/>
                  </a:lnTo>
                  <a:lnTo>
                    <a:pt x="26939" y="7018"/>
                  </a:lnTo>
                  <a:lnTo>
                    <a:pt x="26939" y="7018"/>
                  </a:lnTo>
                  <a:lnTo>
                    <a:pt x="26939" y="4750"/>
                  </a:lnTo>
                  <a:lnTo>
                    <a:pt x="26797" y="2836"/>
                  </a:lnTo>
                  <a:lnTo>
                    <a:pt x="26726" y="2056"/>
                  </a:lnTo>
                  <a:lnTo>
                    <a:pt x="26585" y="1489"/>
                  </a:lnTo>
                  <a:lnTo>
                    <a:pt x="26372" y="993"/>
                  </a:lnTo>
                  <a:lnTo>
                    <a:pt x="26159" y="709"/>
                  </a:lnTo>
                  <a:lnTo>
                    <a:pt x="26159" y="709"/>
                  </a:lnTo>
                  <a:lnTo>
                    <a:pt x="25947" y="638"/>
                  </a:lnTo>
                  <a:lnTo>
                    <a:pt x="25592" y="496"/>
                  </a:lnTo>
                  <a:lnTo>
                    <a:pt x="24600" y="355"/>
                  </a:lnTo>
                  <a:lnTo>
                    <a:pt x="23253" y="213"/>
                  </a:lnTo>
                  <a:lnTo>
                    <a:pt x="21551" y="71"/>
                  </a:lnTo>
                  <a:lnTo>
                    <a:pt x="17440" y="0"/>
                  </a:lnTo>
                  <a:lnTo>
                    <a:pt x="12903" y="0"/>
                  </a:lnTo>
                  <a:lnTo>
                    <a:pt x="8366" y="142"/>
                  </a:lnTo>
                  <a:lnTo>
                    <a:pt x="4467" y="355"/>
                  </a:lnTo>
                  <a:lnTo>
                    <a:pt x="2837" y="496"/>
                  </a:lnTo>
                  <a:lnTo>
                    <a:pt x="1561" y="638"/>
                  </a:lnTo>
                  <a:lnTo>
                    <a:pt x="710" y="851"/>
                  </a:lnTo>
                  <a:lnTo>
                    <a:pt x="426" y="993"/>
                  </a:lnTo>
                  <a:lnTo>
                    <a:pt x="284" y="1064"/>
                  </a:lnTo>
                  <a:lnTo>
                    <a:pt x="284" y="1064"/>
                  </a:lnTo>
                  <a:lnTo>
                    <a:pt x="214" y="1347"/>
                  </a:lnTo>
                  <a:lnTo>
                    <a:pt x="72" y="1914"/>
                  </a:lnTo>
                  <a:lnTo>
                    <a:pt x="1" y="3474"/>
                  </a:lnTo>
                  <a:lnTo>
                    <a:pt x="1" y="3474"/>
                  </a:lnTo>
                  <a:lnTo>
                    <a:pt x="1" y="5671"/>
                  </a:lnTo>
                  <a:lnTo>
                    <a:pt x="1" y="5671"/>
                  </a:lnTo>
                  <a:lnTo>
                    <a:pt x="72" y="9783"/>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70" name="Google Shape;21568;p90">
              <a:extLst>
                <a:ext uri="{FF2B5EF4-FFF2-40B4-BE49-F238E27FC236}">
                  <a16:creationId xmlns:a16="http://schemas.microsoft.com/office/drawing/2014/main" id="{9E697A90-C7BB-1D8D-4CB8-37564B43502B}"/>
                </a:ext>
              </a:extLst>
            </p:cNvPr>
            <p:cNvSpPr/>
            <p:nvPr/>
          </p:nvSpPr>
          <p:spPr>
            <a:xfrm>
              <a:off x="3654025" y="4888475"/>
              <a:ext cx="666400" cy="141800"/>
            </a:xfrm>
            <a:custGeom>
              <a:avLst/>
              <a:gdLst/>
              <a:ahLst/>
              <a:cxnLst/>
              <a:rect l="l" t="t" r="r" b="b"/>
              <a:pathLst>
                <a:path w="26656" h="5672" extrusionOk="0">
                  <a:moveTo>
                    <a:pt x="142" y="1"/>
                  </a:moveTo>
                  <a:lnTo>
                    <a:pt x="1" y="1418"/>
                  </a:lnTo>
                  <a:lnTo>
                    <a:pt x="13186" y="3403"/>
                  </a:lnTo>
                  <a:lnTo>
                    <a:pt x="17440" y="4041"/>
                  </a:lnTo>
                  <a:lnTo>
                    <a:pt x="21339" y="4679"/>
                  </a:lnTo>
                  <a:lnTo>
                    <a:pt x="24529" y="5246"/>
                  </a:lnTo>
                  <a:lnTo>
                    <a:pt x="26655" y="5672"/>
                  </a:lnTo>
                  <a:lnTo>
                    <a:pt x="26655" y="4821"/>
                  </a:lnTo>
                  <a:lnTo>
                    <a:pt x="26655" y="3970"/>
                  </a:lnTo>
                  <a:lnTo>
                    <a:pt x="26584" y="2482"/>
                  </a:lnTo>
                  <a:lnTo>
                    <a:pt x="142" y="1"/>
                  </a:lnTo>
                  <a:close/>
                </a:path>
              </a:pathLst>
            </a:custGeom>
            <a:solidFill>
              <a:srgbClr val="37373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71" name="Google Shape;21569;p90">
              <a:extLst>
                <a:ext uri="{FF2B5EF4-FFF2-40B4-BE49-F238E27FC236}">
                  <a16:creationId xmlns:a16="http://schemas.microsoft.com/office/drawing/2014/main" id="{A2B1D692-7089-F809-2790-AEDBE9855EAE}"/>
                </a:ext>
              </a:extLst>
            </p:cNvPr>
            <p:cNvSpPr/>
            <p:nvPr/>
          </p:nvSpPr>
          <p:spPr>
            <a:xfrm>
              <a:off x="3654025" y="4888475"/>
              <a:ext cx="666400" cy="141800"/>
            </a:xfrm>
            <a:custGeom>
              <a:avLst/>
              <a:gdLst/>
              <a:ahLst/>
              <a:cxnLst/>
              <a:rect l="l" t="t" r="r" b="b"/>
              <a:pathLst>
                <a:path w="26656" h="5672" fill="none" extrusionOk="0">
                  <a:moveTo>
                    <a:pt x="142" y="1"/>
                  </a:moveTo>
                  <a:lnTo>
                    <a:pt x="142" y="1"/>
                  </a:lnTo>
                  <a:lnTo>
                    <a:pt x="1" y="1418"/>
                  </a:lnTo>
                  <a:lnTo>
                    <a:pt x="1" y="1418"/>
                  </a:lnTo>
                  <a:lnTo>
                    <a:pt x="13186" y="3403"/>
                  </a:lnTo>
                  <a:lnTo>
                    <a:pt x="17440" y="4041"/>
                  </a:lnTo>
                  <a:lnTo>
                    <a:pt x="21339" y="4679"/>
                  </a:lnTo>
                  <a:lnTo>
                    <a:pt x="24529" y="5246"/>
                  </a:lnTo>
                  <a:lnTo>
                    <a:pt x="26655" y="5672"/>
                  </a:lnTo>
                  <a:lnTo>
                    <a:pt x="26655" y="5672"/>
                  </a:lnTo>
                  <a:lnTo>
                    <a:pt x="26655" y="4821"/>
                  </a:lnTo>
                  <a:lnTo>
                    <a:pt x="26655" y="3970"/>
                  </a:lnTo>
                  <a:lnTo>
                    <a:pt x="26584" y="2482"/>
                  </a:lnTo>
                  <a:lnTo>
                    <a:pt x="142"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72" name="Google Shape;21570;p90">
              <a:extLst>
                <a:ext uri="{FF2B5EF4-FFF2-40B4-BE49-F238E27FC236}">
                  <a16:creationId xmlns:a16="http://schemas.microsoft.com/office/drawing/2014/main" id="{2965EBF1-F51F-BFD0-08B0-D336F162405A}"/>
                </a:ext>
              </a:extLst>
            </p:cNvPr>
            <p:cNvSpPr/>
            <p:nvPr/>
          </p:nvSpPr>
          <p:spPr>
            <a:xfrm>
              <a:off x="4309750" y="5120650"/>
              <a:ext cx="7125" cy="70900"/>
            </a:xfrm>
            <a:custGeom>
              <a:avLst/>
              <a:gdLst/>
              <a:ahLst/>
              <a:cxnLst/>
              <a:rect l="l" t="t" r="r" b="b"/>
              <a:pathLst>
                <a:path w="285" h="2836" extrusionOk="0">
                  <a:moveTo>
                    <a:pt x="214" y="0"/>
                  </a:moveTo>
                  <a:lnTo>
                    <a:pt x="1" y="2552"/>
                  </a:lnTo>
                  <a:lnTo>
                    <a:pt x="1" y="2836"/>
                  </a:lnTo>
                  <a:lnTo>
                    <a:pt x="214" y="1134"/>
                  </a:lnTo>
                  <a:lnTo>
                    <a:pt x="284" y="0"/>
                  </a:lnTo>
                  <a:close/>
                </a:path>
              </a:pathLst>
            </a:custGeom>
            <a:solidFill>
              <a:srgbClr val="6B676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73" name="Google Shape;21571;p90">
              <a:extLst>
                <a:ext uri="{FF2B5EF4-FFF2-40B4-BE49-F238E27FC236}">
                  <a16:creationId xmlns:a16="http://schemas.microsoft.com/office/drawing/2014/main" id="{FB667559-FAFA-CF77-F62F-B886D3CF3632}"/>
                </a:ext>
              </a:extLst>
            </p:cNvPr>
            <p:cNvSpPr/>
            <p:nvPr/>
          </p:nvSpPr>
          <p:spPr>
            <a:xfrm>
              <a:off x="4309750" y="5120650"/>
              <a:ext cx="7125" cy="70900"/>
            </a:xfrm>
            <a:custGeom>
              <a:avLst/>
              <a:gdLst/>
              <a:ahLst/>
              <a:cxnLst/>
              <a:rect l="l" t="t" r="r" b="b"/>
              <a:pathLst>
                <a:path w="285" h="2836" fill="none" extrusionOk="0">
                  <a:moveTo>
                    <a:pt x="214" y="0"/>
                  </a:moveTo>
                  <a:lnTo>
                    <a:pt x="214" y="0"/>
                  </a:lnTo>
                  <a:lnTo>
                    <a:pt x="1" y="2552"/>
                  </a:lnTo>
                  <a:lnTo>
                    <a:pt x="1" y="2552"/>
                  </a:lnTo>
                  <a:lnTo>
                    <a:pt x="1" y="2836"/>
                  </a:lnTo>
                  <a:lnTo>
                    <a:pt x="1" y="2836"/>
                  </a:lnTo>
                  <a:lnTo>
                    <a:pt x="214" y="1134"/>
                  </a:lnTo>
                  <a:lnTo>
                    <a:pt x="284" y="0"/>
                  </a:lnTo>
                  <a:lnTo>
                    <a:pt x="214"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74" name="Google Shape;21572;p90">
              <a:extLst>
                <a:ext uri="{FF2B5EF4-FFF2-40B4-BE49-F238E27FC236}">
                  <a16:creationId xmlns:a16="http://schemas.microsoft.com/office/drawing/2014/main" id="{83164FAF-D81C-1C99-48CF-078BBB3AA24C}"/>
                </a:ext>
              </a:extLst>
            </p:cNvPr>
            <p:cNvSpPr/>
            <p:nvPr/>
          </p:nvSpPr>
          <p:spPr>
            <a:xfrm>
              <a:off x="3657575" y="5065700"/>
              <a:ext cx="657525" cy="140025"/>
            </a:xfrm>
            <a:custGeom>
              <a:avLst/>
              <a:gdLst/>
              <a:ahLst/>
              <a:cxnLst/>
              <a:rect l="l" t="t" r="r" b="b"/>
              <a:pathLst>
                <a:path w="26301" h="5601" extrusionOk="0">
                  <a:moveTo>
                    <a:pt x="142" y="1"/>
                  </a:moveTo>
                  <a:lnTo>
                    <a:pt x="0" y="1418"/>
                  </a:lnTo>
                  <a:lnTo>
                    <a:pt x="12335" y="3332"/>
                  </a:lnTo>
                  <a:lnTo>
                    <a:pt x="20204" y="4538"/>
                  </a:lnTo>
                  <a:lnTo>
                    <a:pt x="23536" y="5176"/>
                  </a:lnTo>
                  <a:lnTo>
                    <a:pt x="25946" y="5601"/>
                  </a:lnTo>
                  <a:lnTo>
                    <a:pt x="26088" y="5034"/>
                  </a:lnTo>
                  <a:lnTo>
                    <a:pt x="26088" y="4750"/>
                  </a:lnTo>
                  <a:lnTo>
                    <a:pt x="26301" y="2198"/>
                  </a:lnTo>
                  <a:lnTo>
                    <a:pt x="142" y="1"/>
                  </a:lnTo>
                  <a:close/>
                </a:path>
              </a:pathLst>
            </a:custGeom>
            <a:solidFill>
              <a:srgbClr val="37373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75" name="Google Shape;21573;p90">
              <a:extLst>
                <a:ext uri="{FF2B5EF4-FFF2-40B4-BE49-F238E27FC236}">
                  <a16:creationId xmlns:a16="http://schemas.microsoft.com/office/drawing/2014/main" id="{8979DE32-C98A-81E6-8196-4CBB2DED78B1}"/>
                </a:ext>
              </a:extLst>
            </p:cNvPr>
            <p:cNvSpPr/>
            <p:nvPr/>
          </p:nvSpPr>
          <p:spPr>
            <a:xfrm>
              <a:off x="3657575" y="5065700"/>
              <a:ext cx="657525" cy="140025"/>
            </a:xfrm>
            <a:custGeom>
              <a:avLst/>
              <a:gdLst/>
              <a:ahLst/>
              <a:cxnLst/>
              <a:rect l="l" t="t" r="r" b="b"/>
              <a:pathLst>
                <a:path w="26301" h="5601" fill="none" extrusionOk="0">
                  <a:moveTo>
                    <a:pt x="142" y="1"/>
                  </a:moveTo>
                  <a:lnTo>
                    <a:pt x="142" y="1"/>
                  </a:lnTo>
                  <a:lnTo>
                    <a:pt x="0" y="1418"/>
                  </a:lnTo>
                  <a:lnTo>
                    <a:pt x="0" y="1418"/>
                  </a:lnTo>
                  <a:lnTo>
                    <a:pt x="12335" y="3332"/>
                  </a:lnTo>
                  <a:lnTo>
                    <a:pt x="20204" y="4538"/>
                  </a:lnTo>
                  <a:lnTo>
                    <a:pt x="23536" y="5176"/>
                  </a:lnTo>
                  <a:lnTo>
                    <a:pt x="25946" y="5601"/>
                  </a:lnTo>
                  <a:lnTo>
                    <a:pt x="25946" y="5601"/>
                  </a:lnTo>
                  <a:lnTo>
                    <a:pt x="26088" y="5034"/>
                  </a:lnTo>
                  <a:lnTo>
                    <a:pt x="26088" y="5034"/>
                  </a:lnTo>
                  <a:lnTo>
                    <a:pt x="26088" y="4750"/>
                  </a:lnTo>
                  <a:lnTo>
                    <a:pt x="26088" y="4750"/>
                  </a:lnTo>
                  <a:lnTo>
                    <a:pt x="26301" y="2198"/>
                  </a:lnTo>
                  <a:lnTo>
                    <a:pt x="142"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76" name="Google Shape;21574;p90">
              <a:extLst>
                <a:ext uri="{FF2B5EF4-FFF2-40B4-BE49-F238E27FC236}">
                  <a16:creationId xmlns:a16="http://schemas.microsoft.com/office/drawing/2014/main" id="{2A14691C-A3BD-E70A-BD9D-F170C449B36F}"/>
                </a:ext>
              </a:extLst>
            </p:cNvPr>
            <p:cNvSpPr/>
            <p:nvPr/>
          </p:nvSpPr>
          <p:spPr>
            <a:xfrm>
              <a:off x="3616825" y="4808725"/>
              <a:ext cx="742575" cy="177250"/>
            </a:xfrm>
            <a:custGeom>
              <a:avLst/>
              <a:gdLst/>
              <a:ahLst/>
              <a:cxnLst/>
              <a:rect l="l" t="t" r="r" b="b"/>
              <a:pathLst>
                <a:path w="29703" h="7090" extrusionOk="0">
                  <a:moveTo>
                    <a:pt x="1701" y="1"/>
                  </a:moveTo>
                  <a:lnTo>
                    <a:pt x="1347" y="71"/>
                  </a:lnTo>
                  <a:lnTo>
                    <a:pt x="992" y="213"/>
                  </a:lnTo>
                  <a:lnTo>
                    <a:pt x="709" y="426"/>
                  </a:lnTo>
                  <a:lnTo>
                    <a:pt x="496" y="709"/>
                  </a:lnTo>
                  <a:lnTo>
                    <a:pt x="284" y="993"/>
                  </a:lnTo>
                  <a:lnTo>
                    <a:pt x="142" y="1347"/>
                  </a:lnTo>
                  <a:lnTo>
                    <a:pt x="71" y="1773"/>
                  </a:lnTo>
                  <a:lnTo>
                    <a:pt x="0" y="2127"/>
                  </a:lnTo>
                  <a:lnTo>
                    <a:pt x="0" y="2482"/>
                  </a:lnTo>
                  <a:lnTo>
                    <a:pt x="71" y="2907"/>
                  </a:lnTo>
                  <a:lnTo>
                    <a:pt x="213" y="3191"/>
                  </a:lnTo>
                  <a:lnTo>
                    <a:pt x="425" y="3545"/>
                  </a:lnTo>
                  <a:lnTo>
                    <a:pt x="709" y="3758"/>
                  </a:lnTo>
                  <a:lnTo>
                    <a:pt x="992" y="3970"/>
                  </a:lnTo>
                  <a:lnTo>
                    <a:pt x="1276" y="4112"/>
                  </a:lnTo>
                  <a:lnTo>
                    <a:pt x="1630" y="4254"/>
                  </a:lnTo>
                  <a:lnTo>
                    <a:pt x="27718" y="7090"/>
                  </a:lnTo>
                  <a:lnTo>
                    <a:pt x="28072" y="7090"/>
                  </a:lnTo>
                  <a:lnTo>
                    <a:pt x="28427" y="7019"/>
                  </a:lnTo>
                  <a:lnTo>
                    <a:pt x="28710" y="6877"/>
                  </a:lnTo>
                  <a:lnTo>
                    <a:pt x="28994" y="6664"/>
                  </a:lnTo>
                  <a:lnTo>
                    <a:pt x="29277" y="6381"/>
                  </a:lnTo>
                  <a:lnTo>
                    <a:pt x="29490" y="6097"/>
                  </a:lnTo>
                  <a:lnTo>
                    <a:pt x="29561" y="5743"/>
                  </a:lnTo>
                  <a:lnTo>
                    <a:pt x="29703" y="5388"/>
                  </a:lnTo>
                  <a:lnTo>
                    <a:pt x="29703" y="5034"/>
                  </a:lnTo>
                  <a:lnTo>
                    <a:pt x="29703" y="4608"/>
                  </a:lnTo>
                  <a:lnTo>
                    <a:pt x="29632" y="4254"/>
                  </a:lnTo>
                  <a:lnTo>
                    <a:pt x="29490" y="3900"/>
                  </a:lnTo>
                  <a:lnTo>
                    <a:pt x="29277" y="3616"/>
                  </a:lnTo>
                  <a:lnTo>
                    <a:pt x="29065" y="3332"/>
                  </a:lnTo>
                  <a:lnTo>
                    <a:pt x="28781" y="3120"/>
                  </a:lnTo>
                  <a:lnTo>
                    <a:pt x="28427" y="2978"/>
                  </a:lnTo>
                  <a:lnTo>
                    <a:pt x="28072" y="2907"/>
                  </a:lnTo>
                  <a:lnTo>
                    <a:pt x="2056" y="1"/>
                  </a:lnTo>
                  <a:close/>
                </a:path>
              </a:pathLst>
            </a:custGeom>
            <a:solidFill>
              <a:srgbClr val="7E7E7E"/>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77" name="Google Shape;21575;p90">
              <a:extLst>
                <a:ext uri="{FF2B5EF4-FFF2-40B4-BE49-F238E27FC236}">
                  <a16:creationId xmlns:a16="http://schemas.microsoft.com/office/drawing/2014/main" id="{FF79BC06-1F52-8839-DD3B-BDB5F5CD3123}"/>
                </a:ext>
              </a:extLst>
            </p:cNvPr>
            <p:cNvSpPr/>
            <p:nvPr/>
          </p:nvSpPr>
          <p:spPr>
            <a:xfrm>
              <a:off x="3618575" y="4987725"/>
              <a:ext cx="735525" cy="175475"/>
            </a:xfrm>
            <a:custGeom>
              <a:avLst/>
              <a:gdLst/>
              <a:ahLst/>
              <a:cxnLst/>
              <a:rect l="l" t="t" r="r" b="b"/>
              <a:pathLst>
                <a:path w="29421" h="7019" extrusionOk="0">
                  <a:moveTo>
                    <a:pt x="1631" y="0"/>
                  </a:moveTo>
                  <a:lnTo>
                    <a:pt x="1277" y="71"/>
                  </a:lnTo>
                  <a:lnTo>
                    <a:pt x="993" y="213"/>
                  </a:lnTo>
                  <a:lnTo>
                    <a:pt x="710" y="426"/>
                  </a:lnTo>
                  <a:lnTo>
                    <a:pt x="426" y="638"/>
                  </a:lnTo>
                  <a:lnTo>
                    <a:pt x="284" y="993"/>
                  </a:lnTo>
                  <a:lnTo>
                    <a:pt x="143" y="1347"/>
                  </a:lnTo>
                  <a:lnTo>
                    <a:pt x="72" y="1702"/>
                  </a:lnTo>
                  <a:lnTo>
                    <a:pt x="1" y="2056"/>
                  </a:lnTo>
                  <a:lnTo>
                    <a:pt x="1" y="2482"/>
                  </a:lnTo>
                  <a:lnTo>
                    <a:pt x="72" y="2836"/>
                  </a:lnTo>
                  <a:lnTo>
                    <a:pt x="214" y="3190"/>
                  </a:lnTo>
                  <a:lnTo>
                    <a:pt x="426" y="3474"/>
                  </a:lnTo>
                  <a:lnTo>
                    <a:pt x="639" y="3758"/>
                  </a:lnTo>
                  <a:lnTo>
                    <a:pt x="922" y="3970"/>
                  </a:lnTo>
                  <a:lnTo>
                    <a:pt x="1277" y="4112"/>
                  </a:lnTo>
                  <a:lnTo>
                    <a:pt x="1631" y="4183"/>
                  </a:lnTo>
                  <a:lnTo>
                    <a:pt x="27364" y="7019"/>
                  </a:lnTo>
                  <a:lnTo>
                    <a:pt x="27790" y="7019"/>
                  </a:lnTo>
                  <a:lnTo>
                    <a:pt x="28073" y="6948"/>
                  </a:lnTo>
                  <a:lnTo>
                    <a:pt x="28428" y="6806"/>
                  </a:lnTo>
                  <a:lnTo>
                    <a:pt x="28711" y="6593"/>
                  </a:lnTo>
                  <a:lnTo>
                    <a:pt x="28924" y="6381"/>
                  </a:lnTo>
                  <a:lnTo>
                    <a:pt x="29137" y="6026"/>
                  </a:lnTo>
                  <a:lnTo>
                    <a:pt x="29278" y="5672"/>
                  </a:lnTo>
                  <a:lnTo>
                    <a:pt x="29349" y="5317"/>
                  </a:lnTo>
                  <a:lnTo>
                    <a:pt x="29420" y="4963"/>
                  </a:lnTo>
                  <a:lnTo>
                    <a:pt x="29420" y="4537"/>
                  </a:lnTo>
                  <a:lnTo>
                    <a:pt x="29349" y="4183"/>
                  </a:lnTo>
                  <a:lnTo>
                    <a:pt x="29207" y="3828"/>
                  </a:lnTo>
                  <a:lnTo>
                    <a:pt x="28995" y="3545"/>
                  </a:lnTo>
                  <a:lnTo>
                    <a:pt x="28782" y="3261"/>
                  </a:lnTo>
                  <a:lnTo>
                    <a:pt x="28499" y="3049"/>
                  </a:lnTo>
                  <a:lnTo>
                    <a:pt x="28144" y="2907"/>
                  </a:lnTo>
                  <a:lnTo>
                    <a:pt x="27790" y="2836"/>
                  </a:lnTo>
                  <a:lnTo>
                    <a:pt x="1986" y="0"/>
                  </a:lnTo>
                  <a:close/>
                </a:path>
              </a:pathLst>
            </a:custGeom>
            <a:solidFill>
              <a:srgbClr val="7E7E7E"/>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78" name="Google Shape;21576;p90">
              <a:extLst>
                <a:ext uri="{FF2B5EF4-FFF2-40B4-BE49-F238E27FC236}">
                  <a16:creationId xmlns:a16="http://schemas.microsoft.com/office/drawing/2014/main" id="{361E3497-3EBE-2F59-E462-23322BA9CAAB}"/>
                </a:ext>
              </a:extLst>
            </p:cNvPr>
            <p:cNvSpPr/>
            <p:nvPr/>
          </p:nvSpPr>
          <p:spPr>
            <a:xfrm>
              <a:off x="3664675" y="5230525"/>
              <a:ext cx="630925" cy="60275"/>
            </a:xfrm>
            <a:custGeom>
              <a:avLst/>
              <a:gdLst/>
              <a:ahLst/>
              <a:cxnLst/>
              <a:rect l="l" t="t" r="r" b="b"/>
              <a:pathLst>
                <a:path w="25237" h="2411" extrusionOk="0">
                  <a:moveTo>
                    <a:pt x="25237" y="2411"/>
                  </a:moveTo>
                  <a:lnTo>
                    <a:pt x="25237" y="2411"/>
                  </a:lnTo>
                  <a:lnTo>
                    <a:pt x="25237" y="2411"/>
                  </a:lnTo>
                  <a:lnTo>
                    <a:pt x="25237" y="2411"/>
                  </a:lnTo>
                  <a:lnTo>
                    <a:pt x="25237" y="2411"/>
                  </a:lnTo>
                  <a:lnTo>
                    <a:pt x="25237" y="2411"/>
                  </a:lnTo>
                  <a:close/>
                  <a:moveTo>
                    <a:pt x="0" y="0"/>
                  </a:moveTo>
                  <a:lnTo>
                    <a:pt x="0" y="0"/>
                  </a:lnTo>
                  <a:lnTo>
                    <a:pt x="142" y="993"/>
                  </a:lnTo>
                  <a:lnTo>
                    <a:pt x="142" y="993"/>
                  </a:lnTo>
                  <a:lnTo>
                    <a:pt x="0" y="0"/>
                  </a:lnTo>
                  <a:close/>
                </a:path>
              </a:pathLst>
            </a:custGeom>
            <a:solidFill>
              <a:srgbClr val="6B676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79" name="Google Shape;21577;p90">
              <a:extLst>
                <a:ext uri="{FF2B5EF4-FFF2-40B4-BE49-F238E27FC236}">
                  <a16:creationId xmlns:a16="http://schemas.microsoft.com/office/drawing/2014/main" id="{AE49D5E4-463B-1C04-68C9-B6F48ABE15CC}"/>
                </a:ext>
              </a:extLst>
            </p:cNvPr>
            <p:cNvSpPr/>
            <p:nvPr/>
          </p:nvSpPr>
          <p:spPr>
            <a:xfrm>
              <a:off x="4295575" y="5290775"/>
              <a:ext cx="25" cy="25"/>
            </a:xfrm>
            <a:custGeom>
              <a:avLst/>
              <a:gdLst/>
              <a:ahLst/>
              <a:cxnLst/>
              <a:rect l="l" t="t" r="r" b="b"/>
              <a:pathLst>
                <a:path w="1" h="1" fill="none" extrusionOk="0">
                  <a:moveTo>
                    <a:pt x="1" y="1"/>
                  </a:moveTo>
                  <a:lnTo>
                    <a:pt x="1" y="1"/>
                  </a:lnTo>
                  <a:lnTo>
                    <a:pt x="1" y="1"/>
                  </a:lnTo>
                  <a:lnTo>
                    <a:pt x="1" y="1"/>
                  </a:lnTo>
                  <a:lnTo>
                    <a:pt x="1" y="1"/>
                  </a:lnTo>
                  <a:lnTo>
                    <a:pt x="1"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80" name="Google Shape;21578;p90">
              <a:extLst>
                <a:ext uri="{FF2B5EF4-FFF2-40B4-BE49-F238E27FC236}">
                  <a16:creationId xmlns:a16="http://schemas.microsoft.com/office/drawing/2014/main" id="{C6CD7012-C0A2-4912-3B02-8EFB3E518355}"/>
                </a:ext>
              </a:extLst>
            </p:cNvPr>
            <p:cNvSpPr/>
            <p:nvPr/>
          </p:nvSpPr>
          <p:spPr>
            <a:xfrm>
              <a:off x="3664675" y="5230525"/>
              <a:ext cx="3550" cy="24825"/>
            </a:xfrm>
            <a:custGeom>
              <a:avLst/>
              <a:gdLst/>
              <a:ahLst/>
              <a:cxnLst/>
              <a:rect l="l" t="t" r="r" b="b"/>
              <a:pathLst>
                <a:path w="142" h="993" fill="none" extrusionOk="0">
                  <a:moveTo>
                    <a:pt x="0" y="0"/>
                  </a:moveTo>
                  <a:lnTo>
                    <a:pt x="0" y="0"/>
                  </a:lnTo>
                  <a:lnTo>
                    <a:pt x="142" y="993"/>
                  </a:lnTo>
                  <a:lnTo>
                    <a:pt x="142" y="993"/>
                  </a:lnTo>
                  <a:lnTo>
                    <a:pt x="0"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81" name="Google Shape;21579;p90">
              <a:extLst>
                <a:ext uri="{FF2B5EF4-FFF2-40B4-BE49-F238E27FC236}">
                  <a16:creationId xmlns:a16="http://schemas.microsoft.com/office/drawing/2014/main" id="{60C3F8B6-FC18-B0AE-D23F-7A430E256D14}"/>
                </a:ext>
              </a:extLst>
            </p:cNvPr>
            <p:cNvSpPr/>
            <p:nvPr/>
          </p:nvSpPr>
          <p:spPr>
            <a:xfrm>
              <a:off x="3664675" y="5230525"/>
              <a:ext cx="630925" cy="134700"/>
            </a:xfrm>
            <a:custGeom>
              <a:avLst/>
              <a:gdLst/>
              <a:ahLst/>
              <a:cxnLst/>
              <a:rect l="l" t="t" r="r" b="b"/>
              <a:pathLst>
                <a:path w="25237" h="5388" extrusionOk="0">
                  <a:moveTo>
                    <a:pt x="0" y="0"/>
                  </a:moveTo>
                  <a:lnTo>
                    <a:pt x="142" y="993"/>
                  </a:lnTo>
                  <a:lnTo>
                    <a:pt x="284" y="1560"/>
                  </a:lnTo>
                  <a:lnTo>
                    <a:pt x="4891" y="2198"/>
                  </a:lnTo>
                  <a:lnTo>
                    <a:pt x="11413" y="3261"/>
                  </a:lnTo>
                  <a:lnTo>
                    <a:pt x="23890" y="5388"/>
                  </a:lnTo>
                  <a:lnTo>
                    <a:pt x="24244" y="4821"/>
                  </a:lnTo>
                  <a:lnTo>
                    <a:pt x="24599" y="3970"/>
                  </a:lnTo>
                  <a:lnTo>
                    <a:pt x="24953" y="3119"/>
                  </a:lnTo>
                  <a:lnTo>
                    <a:pt x="25237" y="2411"/>
                  </a:lnTo>
                  <a:lnTo>
                    <a:pt x="0" y="0"/>
                  </a:lnTo>
                  <a:close/>
                </a:path>
              </a:pathLst>
            </a:custGeom>
            <a:solidFill>
              <a:srgbClr val="37373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82" name="Google Shape;21580;p90">
              <a:extLst>
                <a:ext uri="{FF2B5EF4-FFF2-40B4-BE49-F238E27FC236}">
                  <a16:creationId xmlns:a16="http://schemas.microsoft.com/office/drawing/2014/main" id="{AC3EB269-3648-70E5-3341-C61A45CFBBD5}"/>
                </a:ext>
              </a:extLst>
            </p:cNvPr>
            <p:cNvSpPr/>
            <p:nvPr/>
          </p:nvSpPr>
          <p:spPr>
            <a:xfrm>
              <a:off x="3664675" y="5230525"/>
              <a:ext cx="630925" cy="134700"/>
            </a:xfrm>
            <a:custGeom>
              <a:avLst/>
              <a:gdLst/>
              <a:ahLst/>
              <a:cxnLst/>
              <a:rect l="l" t="t" r="r" b="b"/>
              <a:pathLst>
                <a:path w="25237" h="5388" fill="none" extrusionOk="0">
                  <a:moveTo>
                    <a:pt x="0" y="0"/>
                  </a:moveTo>
                  <a:lnTo>
                    <a:pt x="0" y="0"/>
                  </a:lnTo>
                  <a:lnTo>
                    <a:pt x="0" y="0"/>
                  </a:lnTo>
                  <a:lnTo>
                    <a:pt x="142" y="993"/>
                  </a:lnTo>
                  <a:lnTo>
                    <a:pt x="142" y="993"/>
                  </a:lnTo>
                  <a:lnTo>
                    <a:pt x="284" y="1560"/>
                  </a:lnTo>
                  <a:lnTo>
                    <a:pt x="284" y="1560"/>
                  </a:lnTo>
                  <a:lnTo>
                    <a:pt x="4891" y="2198"/>
                  </a:lnTo>
                  <a:lnTo>
                    <a:pt x="11413" y="3261"/>
                  </a:lnTo>
                  <a:lnTo>
                    <a:pt x="23890" y="5388"/>
                  </a:lnTo>
                  <a:lnTo>
                    <a:pt x="23890" y="5388"/>
                  </a:lnTo>
                  <a:lnTo>
                    <a:pt x="24244" y="4821"/>
                  </a:lnTo>
                  <a:lnTo>
                    <a:pt x="24599" y="3970"/>
                  </a:lnTo>
                  <a:lnTo>
                    <a:pt x="24953" y="3119"/>
                  </a:lnTo>
                  <a:lnTo>
                    <a:pt x="25237" y="2411"/>
                  </a:lnTo>
                  <a:lnTo>
                    <a:pt x="25237" y="2411"/>
                  </a:lnTo>
                  <a:lnTo>
                    <a:pt x="25237" y="2411"/>
                  </a:lnTo>
                  <a:lnTo>
                    <a:pt x="0"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83" name="Google Shape;21581;p90">
              <a:extLst>
                <a:ext uri="{FF2B5EF4-FFF2-40B4-BE49-F238E27FC236}">
                  <a16:creationId xmlns:a16="http://schemas.microsoft.com/office/drawing/2014/main" id="{C9DE632B-16EC-247A-4D9B-5A0A81EB6555}"/>
                </a:ext>
              </a:extLst>
            </p:cNvPr>
            <p:cNvSpPr/>
            <p:nvPr/>
          </p:nvSpPr>
          <p:spPr>
            <a:xfrm>
              <a:off x="3616825" y="5152550"/>
              <a:ext cx="733725" cy="175475"/>
            </a:xfrm>
            <a:custGeom>
              <a:avLst/>
              <a:gdLst/>
              <a:ahLst/>
              <a:cxnLst/>
              <a:rect l="l" t="t" r="r" b="b"/>
              <a:pathLst>
                <a:path w="29349" h="7019" extrusionOk="0">
                  <a:moveTo>
                    <a:pt x="1630" y="0"/>
                  </a:moveTo>
                  <a:lnTo>
                    <a:pt x="1276" y="71"/>
                  </a:lnTo>
                  <a:lnTo>
                    <a:pt x="992" y="213"/>
                  </a:lnTo>
                  <a:lnTo>
                    <a:pt x="709" y="426"/>
                  </a:lnTo>
                  <a:lnTo>
                    <a:pt x="425" y="709"/>
                  </a:lnTo>
                  <a:lnTo>
                    <a:pt x="213" y="993"/>
                  </a:lnTo>
                  <a:lnTo>
                    <a:pt x="71" y="1347"/>
                  </a:lnTo>
                  <a:lnTo>
                    <a:pt x="0" y="1702"/>
                  </a:lnTo>
                  <a:lnTo>
                    <a:pt x="0" y="2127"/>
                  </a:lnTo>
                  <a:lnTo>
                    <a:pt x="0" y="2481"/>
                  </a:lnTo>
                  <a:lnTo>
                    <a:pt x="71" y="2836"/>
                  </a:lnTo>
                  <a:lnTo>
                    <a:pt x="213" y="3190"/>
                  </a:lnTo>
                  <a:lnTo>
                    <a:pt x="425" y="3474"/>
                  </a:lnTo>
                  <a:lnTo>
                    <a:pt x="638" y="3757"/>
                  </a:lnTo>
                  <a:lnTo>
                    <a:pt x="922" y="3970"/>
                  </a:lnTo>
                  <a:lnTo>
                    <a:pt x="1276" y="4112"/>
                  </a:lnTo>
                  <a:lnTo>
                    <a:pt x="1630" y="4183"/>
                  </a:lnTo>
                  <a:lnTo>
                    <a:pt x="27363" y="7018"/>
                  </a:lnTo>
                  <a:lnTo>
                    <a:pt x="27718" y="7018"/>
                  </a:lnTo>
                  <a:lnTo>
                    <a:pt x="28072" y="6947"/>
                  </a:lnTo>
                  <a:lnTo>
                    <a:pt x="28427" y="6806"/>
                  </a:lnTo>
                  <a:lnTo>
                    <a:pt x="28710" y="6593"/>
                  </a:lnTo>
                  <a:lnTo>
                    <a:pt x="28923" y="6380"/>
                  </a:lnTo>
                  <a:lnTo>
                    <a:pt x="29136" y="6026"/>
                  </a:lnTo>
                  <a:lnTo>
                    <a:pt x="29277" y="5742"/>
                  </a:lnTo>
                  <a:lnTo>
                    <a:pt x="29348" y="5317"/>
                  </a:lnTo>
                  <a:lnTo>
                    <a:pt x="29348" y="4962"/>
                  </a:lnTo>
                  <a:lnTo>
                    <a:pt x="29348" y="4537"/>
                  </a:lnTo>
                  <a:lnTo>
                    <a:pt x="29277" y="4183"/>
                  </a:lnTo>
                  <a:lnTo>
                    <a:pt x="29136" y="3828"/>
                  </a:lnTo>
                  <a:lnTo>
                    <a:pt x="28994" y="3545"/>
                  </a:lnTo>
                  <a:lnTo>
                    <a:pt x="28710" y="3261"/>
                  </a:lnTo>
                  <a:lnTo>
                    <a:pt x="28427" y="3048"/>
                  </a:lnTo>
                  <a:lnTo>
                    <a:pt x="28143" y="2907"/>
                  </a:lnTo>
                  <a:lnTo>
                    <a:pt x="27789" y="2836"/>
                  </a:lnTo>
                  <a:lnTo>
                    <a:pt x="1985" y="0"/>
                  </a:lnTo>
                  <a:close/>
                </a:path>
              </a:pathLst>
            </a:custGeom>
            <a:solidFill>
              <a:srgbClr val="7E7E7E"/>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84" name="Google Shape;21582;p90">
              <a:extLst>
                <a:ext uri="{FF2B5EF4-FFF2-40B4-BE49-F238E27FC236}">
                  <a16:creationId xmlns:a16="http://schemas.microsoft.com/office/drawing/2014/main" id="{B72CA072-203E-1B59-93B2-56BF22C28DAD}"/>
                </a:ext>
              </a:extLst>
            </p:cNvPr>
            <p:cNvSpPr/>
            <p:nvPr/>
          </p:nvSpPr>
          <p:spPr>
            <a:xfrm>
              <a:off x="3230475" y="4238075"/>
              <a:ext cx="102800" cy="70900"/>
            </a:xfrm>
            <a:custGeom>
              <a:avLst/>
              <a:gdLst/>
              <a:ahLst/>
              <a:cxnLst/>
              <a:rect l="l" t="t" r="r" b="b"/>
              <a:pathLst>
                <a:path w="4112" h="2836" extrusionOk="0">
                  <a:moveTo>
                    <a:pt x="1276" y="0"/>
                  </a:moveTo>
                  <a:lnTo>
                    <a:pt x="1134" y="142"/>
                  </a:lnTo>
                  <a:lnTo>
                    <a:pt x="1063" y="638"/>
                  </a:lnTo>
                  <a:lnTo>
                    <a:pt x="993" y="851"/>
                  </a:lnTo>
                  <a:lnTo>
                    <a:pt x="851" y="1063"/>
                  </a:lnTo>
                  <a:lnTo>
                    <a:pt x="709" y="1134"/>
                  </a:lnTo>
                  <a:lnTo>
                    <a:pt x="567" y="1205"/>
                  </a:lnTo>
                  <a:lnTo>
                    <a:pt x="0" y="1205"/>
                  </a:lnTo>
                  <a:lnTo>
                    <a:pt x="71" y="1418"/>
                  </a:lnTo>
                  <a:lnTo>
                    <a:pt x="284" y="1985"/>
                  </a:lnTo>
                  <a:lnTo>
                    <a:pt x="638" y="2836"/>
                  </a:lnTo>
                  <a:lnTo>
                    <a:pt x="1134" y="2623"/>
                  </a:lnTo>
                  <a:lnTo>
                    <a:pt x="1631" y="2481"/>
                  </a:lnTo>
                  <a:lnTo>
                    <a:pt x="2481" y="2481"/>
                  </a:lnTo>
                  <a:lnTo>
                    <a:pt x="2907" y="2410"/>
                  </a:lnTo>
                  <a:lnTo>
                    <a:pt x="3190" y="2339"/>
                  </a:lnTo>
                  <a:lnTo>
                    <a:pt x="3545" y="2198"/>
                  </a:lnTo>
                  <a:lnTo>
                    <a:pt x="3757" y="2056"/>
                  </a:lnTo>
                  <a:lnTo>
                    <a:pt x="3970" y="1914"/>
                  </a:lnTo>
                  <a:lnTo>
                    <a:pt x="4112" y="1701"/>
                  </a:lnTo>
                  <a:lnTo>
                    <a:pt x="4112" y="1489"/>
                  </a:lnTo>
                  <a:lnTo>
                    <a:pt x="4041" y="1205"/>
                  </a:lnTo>
                  <a:lnTo>
                    <a:pt x="3828" y="780"/>
                  </a:lnTo>
                  <a:lnTo>
                    <a:pt x="3545" y="567"/>
                  </a:lnTo>
                  <a:lnTo>
                    <a:pt x="3048" y="567"/>
                  </a:lnTo>
                  <a:lnTo>
                    <a:pt x="2552" y="851"/>
                  </a:lnTo>
                  <a:lnTo>
                    <a:pt x="2410" y="922"/>
                  </a:lnTo>
                  <a:lnTo>
                    <a:pt x="2198" y="851"/>
                  </a:lnTo>
                  <a:lnTo>
                    <a:pt x="2056" y="709"/>
                  </a:lnTo>
                  <a:lnTo>
                    <a:pt x="1985" y="567"/>
                  </a:lnTo>
                  <a:lnTo>
                    <a:pt x="1914" y="425"/>
                  </a:lnTo>
                  <a:lnTo>
                    <a:pt x="1914" y="284"/>
                  </a:lnTo>
                  <a:lnTo>
                    <a:pt x="1843" y="213"/>
                  </a:lnTo>
                  <a:lnTo>
                    <a:pt x="1489" y="71"/>
                  </a:lnTo>
                  <a:lnTo>
                    <a:pt x="1276" y="0"/>
                  </a:lnTo>
                  <a:close/>
                </a:path>
              </a:pathLst>
            </a:custGeom>
            <a:solidFill>
              <a:srgbClr val="EFAEA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85" name="Google Shape;21583;p90">
              <a:extLst>
                <a:ext uri="{FF2B5EF4-FFF2-40B4-BE49-F238E27FC236}">
                  <a16:creationId xmlns:a16="http://schemas.microsoft.com/office/drawing/2014/main" id="{884A1E13-C2F6-3409-EB39-65BCD7C8FD9D}"/>
                </a:ext>
              </a:extLst>
            </p:cNvPr>
            <p:cNvSpPr/>
            <p:nvPr/>
          </p:nvSpPr>
          <p:spPr>
            <a:xfrm>
              <a:off x="3097550" y="3087875"/>
              <a:ext cx="184325" cy="81550"/>
            </a:xfrm>
            <a:custGeom>
              <a:avLst/>
              <a:gdLst/>
              <a:ahLst/>
              <a:cxnLst/>
              <a:rect l="l" t="t" r="r" b="b"/>
              <a:pathLst>
                <a:path w="7373" h="3262" extrusionOk="0">
                  <a:moveTo>
                    <a:pt x="638" y="1"/>
                  </a:moveTo>
                  <a:lnTo>
                    <a:pt x="426" y="72"/>
                  </a:lnTo>
                  <a:lnTo>
                    <a:pt x="284" y="142"/>
                  </a:lnTo>
                  <a:lnTo>
                    <a:pt x="142" y="497"/>
                  </a:lnTo>
                  <a:lnTo>
                    <a:pt x="0" y="851"/>
                  </a:lnTo>
                  <a:lnTo>
                    <a:pt x="0" y="1277"/>
                  </a:lnTo>
                  <a:lnTo>
                    <a:pt x="0" y="1631"/>
                  </a:lnTo>
                  <a:lnTo>
                    <a:pt x="0" y="1986"/>
                  </a:lnTo>
                  <a:lnTo>
                    <a:pt x="497" y="2340"/>
                  </a:lnTo>
                  <a:lnTo>
                    <a:pt x="993" y="2482"/>
                  </a:lnTo>
                  <a:lnTo>
                    <a:pt x="1489" y="2553"/>
                  </a:lnTo>
                  <a:lnTo>
                    <a:pt x="1985" y="2553"/>
                  </a:lnTo>
                  <a:lnTo>
                    <a:pt x="2765" y="2482"/>
                  </a:lnTo>
                  <a:lnTo>
                    <a:pt x="3119" y="2482"/>
                  </a:lnTo>
                  <a:lnTo>
                    <a:pt x="3474" y="2553"/>
                  </a:lnTo>
                  <a:lnTo>
                    <a:pt x="4254" y="2836"/>
                  </a:lnTo>
                  <a:lnTo>
                    <a:pt x="4821" y="3049"/>
                  </a:lnTo>
                  <a:lnTo>
                    <a:pt x="5388" y="3191"/>
                  </a:lnTo>
                  <a:lnTo>
                    <a:pt x="5955" y="3262"/>
                  </a:lnTo>
                  <a:lnTo>
                    <a:pt x="6522" y="3262"/>
                  </a:lnTo>
                  <a:lnTo>
                    <a:pt x="6735" y="3191"/>
                  </a:lnTo>
                  <a:lnTo>
                    <a:pt x="6948" y="3049"/>
                  </a:lnTo>
                  <a:lnTo>
                    <a:pt x="7160" y="2836"/>
                  </a:lnTo>
                  <a:lnTo>
                    <a:pt x="7302" y="2553"/>
                  </a:lnTo>
                  <a:lnTo>
                    <a:pt x="7373" y="2269"/>
                  </a:lnTo>
                  <a:lnTo>
                    <a:pt x="7302" y="1986"/>
                  </a:lnTo>
                  <a:lnTo>
                    <a:pt x="7160" y="1702"/>
                  </a:lnTo>
                  <a:lnTo>
                    <a:pt x="6948" y="1489"/>
                  </a:lnTo>
                  <a:lnTo>
                    <a:pt x="6593" y="1348"/>
                  </a:lnTo>
                  <a:lnTo>
                    <a:pt x="6239" y="1277"/>
                  </a:lnTo>
                  <a:lnTo>
                    <a:pt x="5884" y="1206"/>
                  </a:lnTo>
                  <a:lnTo>
                    <a:pt x="5459" y="1135"/>
                  </a:lnTo>
                  <a:lnTo>
                    <a:pt x="5246" y="1064"/>
                  </a:lnTo>
                  <a:lnTo>
                    <a:pt x="5104" y="993"/>
                  </a:lnTo>
                  <a:lnTo>
                    <a:pt x="5104" y="851"/>
                  </a:lnTo>
                  <a:lnTo>
                    <a:pt x="5246" y="639"/>
                  </a:lnTo>
                  <a:lnTo>
                    <a:pt x="5459" y="284"/>
                  </a:lnTo>
                  <a:lnTo>
                    <a:pt x="5459" y="142"/>
                  </a:lnTo>
                  <a:lnTo>
                    <a:pt x="5459" y="72"/>
                  </a:lnTo>
                  <a:lnTo>
                    <a:pt x="5246" y="1"/>
                  </a:lnTo>
                  <a:lnTo>
                    <a:pt x="5104" y="1"/>
                  </a:lnTo>
                  <a:lnTo>
                    <a:pt x="4821" y="142"/>
                  </a:lnTo>
                  <a:lnTo>
                    <a:pt x="4537" y="284"/>
                  </a:lnTo>
                  <a:lnTo>
                    <a:pt x="4254" y="426"/>
                  </a:lnTo>
                  <a:lnTo>
                    <a:pt x="3970" y="497"/>
                  </a:lnTo>
                  <a:lnTo>
                    <a:pt x="3616" y="497"/>
                  </a:lnTo>
                  <a:lnTo>
                    <a:pt x="2694" y="426"/>
                  </a:lnTo>
                  <a:lnTo>
                    <a:pt x="1773" y="284"/>
                  </a:lnTo>
                  <a:lnTo>
                    <a:pt x="1064" y="72"/>
                  </a:lnTo>
                  <a:lnTo>
                    <a:pt x="780" y="1"/>
                  </a:lnTo>
                  <a:close/>
                </a:path>
              </a:pathLst>
            </a:custGeom>
            <a:solidFill>
              <a:srgbClr val="EFAEA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86" name="Google Shape;21584;p90">
              <a:extLst>
                <a:ext uri="{FF2B5EF4-FFF2-40B4-BE49-F238E27FC236}">
                  <a16:creationId xmlns:a16="http://schemas.microsoft.com/office/drawing/2014/main" id="{39A5EB52-83D0-ED9F-4C01-25B3C5C33D9C}"/>
                </a:ext>
              </a:extLst>
            </p:cNvPr>
            <p:cNvSpPr/>
            <p:nvPr/>
          </p:nvSpPr>
          <p:spPr>
            <a:xfrm>
              <a:off x="2654475" y="2772425"/>
              <a:ext cx="515750" cy="389925"/>
            </a:xfrm>
            <a:custGeom>
              <a:avLst/>
              <a:gdLst/>
              <a:ahLst/>
              <a:cxnLst/>
              <a:rect l="l" t="t" r="r" b="b"/>
              <a:pathLst>
                <a:path w="20630" h="15597" extrusionOk="0">
                  <a:moveTo>
                    <a:pt x="1702" y="0"/>
                  </a:moveTo>
                  <a:lnTo>
                    <a:pt x="1419" y="71"/>
                  </a:lnTo>
                  <a:lnTo>
                    <a:pt x="1064" y="142"/>
                  </a:lnTo>
                  <a:lnTo>
                    <a:pt x="781" y="284"/>
                  </a:lnTo>
                  <a:lnTo>
                    <a:pt x="497" y="426"/>
                  </a:lnTo>
                  <a:lnTo>
                    <a:pt x="284" y="709"/>
                  </a:lnTo>
                  <a:lnTo>
                    <a:pt x="72" y="1064"/>
                  </a:lnTo>
                  <a:lnTo>
                    <a:pt x="1" y="1489"/>
                  </a:lnTo>
                  <a:lnTo>
                    <a:pt x="72" y="1843"/>
                  </a:lnTo>
                  <a:lnTo>
                    <a:pt x="143" y="2269"/>
                  </a:lnTo>
                  <a:lnTo>
                    <a:pt x="284" y="2765"/>
                  </a:lnTo>
                  <a:lnTo>
                    <a:pt x="497" y="3190"/>
                  </a:lnTo>
                  <a:lnTo>
                    <a:pt x="922" y="4041"/>
                  </a:lnTo>
                  <a:lnTo>
                    <a:pt x="1490" y="4821"/>
                  </a:lnTo>
                  <a:lnTo>
                    <a:pt x="1986" y="5459"/>
                  </a:lnTo>
                  <a:lnTo>
                    <a:pt x="2553" y="6026"/>
                  </a:lnTo>
                  <a:lnTo>
                    <a:pt x="3475" y="7018"/>
                  </a:lnTo>
                  <a:lnTo>
                    <a:pt x="5672" y="9287"/>
                  </a:lnTo>
                  <a:lnTo>
                    <a:pt x="6948" y="10563"/>
                  </a:lnTo>
                  <a:lnTo>
                    <a:pt x="8295" y="11697"/>
                  </a:lnTo>
                  <a:lnTo>
                    <a:pt x="9500" y="12619"/>
                  </a:lnTo>
                  <a:lnTo>
                    <a:pt x="10067" y="12973"/>
                  </a:lnTo>
                  <a:lnTo>
                    <a:pt x="10563" y="13186"/>
                  </a:lnTo>
                  <a:lnTo>
                    <a:pt x="12548" y="13753"/>
                  </a:lnTo>
                  <a:lnTo>
                    <a:pt x="15313" y="14533"/>
                  </a:lnTo>
                  <a:lnTo>
                    <a:pt x="19354" y="15596"/>
                  </a:lnTo>
                  <a:lnTo>
                    <a:pt x="19637" y="15242"/>
                  </a:lnTo>
                  <a:lnTo>
                    <a:pt x="20204" y="14320"/>
                  </a:lnTo>
                  <a:lnTo>
                    <a:pt x="20417" y="13753"/>
                  </a:lnTo>
                  <a:lnTo>
                    <a:pt x="20559" y="13257"/>
                  </a:lnTo>
                  <a:lnTo>
                    <a:pt x="20630" y="12831"/>
                  </a:lnTo>
                  <a:lnTo>
                    <a:pt x="20559" y="12619"/>
                  </a:lnTo>
                  <a:lnTo>
                    <a:pt x="20488" y="12477"/>
                  </a:lnTo>
                  <a:lnTo>
                    <a:pt x="20063" y="12335"/>
                  </a:lnTo>
                  <a:lnTo>
                    <a:pt x="19212" y="12052"/>
                  </a:lnTo>
                  <a:lnTo>
                    <a:pt x="16589" y="11343"/>
                  </a:lnTo>
                  <a:lnTo>
                    <a:pt x="13754" y="10563"/>
                  </a:lnTo>
                  <a:lnTo>
                    <a:pt x="12690" y="10208"/>
                  </a:lnTo>
                  <a:lnTo>
                    <a:pt x="11910" y="9925"/>
                  </a:lnTo>
                  <a:lnTo>
                    <a:pt x="11343" y="9641"/>
                  </a:lnTo>
                  <a:lnTo>
                    <a:pt x="10776" y="9145"/>
                  </a:lnTo>
                  <a:lnTo>
                    <a:pt x="10067" y="8436"/>
                  </a:lnTo>
                  <a:lnTo>
                    <a:pt x="9287" y="7515"/>
                  </a:lnTo>
                  <a:lnTo>
                    <a:pt x="8295" y="6380"/>
                  </a:lnTo>
                  <a:lnTo>
                    <a:pt x="7161" y="4892"/>
                  </a:lnTo>
                  <a:lnTo>
                    <a:pt x="4254" y="922"/>
                  </a:lnTo>
                  <a:lnTo>
                    <a:pt x="3758" y="638"/>
                  </a:lnTo>
                  <a:lnTo>
                    <a:pt x="3333" y="426"/>
                  </a:lnTo>
                  <a:lnTo>
                    <a:pt x="2695" y="213"/>
                  </a:lnTo>
                  <a:lnTo>
                    <a:pt x="2057" y="71"/>
                  </a:lnTo>
                  <a:lnTo>
                    <a:pt x="1702" y="0"/>
                  </a:lnTo>
                  <a:close/>
                </a:path>
              </a:pathLst>
            </a:custGeom>
            <a:solidFill>
              <a:srgbClr val="CF4D2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grpSp>
      <p:sp>
        <p:nvSpPr>
          <p:cNvPr id="288" name="Google Shape;12799;p79">
            <a:extLst>
              <a:ext uri="{FF2B5EF4-FFF2-40B4-BE49-F238E27FC236}">
                <a16:creationId xmlns:a16="http://schemas.microsoft.com/office/drawing/2014/main" id="{AB30EEAC-8D03-B7A7-2016-EC8A31680F0D}"/>
              </a:ext>
            </a:extLst>
          </p:cNvPr>
          <p:cNvSpPr/>
          <p:nvPr/>
        </p:nvSpPr>
        <p:spPr>
          <a:xfrm>
            <a:off x="7452382" y="632749"/>
            <a:ext cx="2261379" cy="1013232"/>
          </a:xfrm>
          <a:custGeom>
            <a:avLst/>
            <a:gdLst/>
            <a:ahLst/>
            <a:cxnLst/>
            <a:rect l="l" t="t" r="r" b="b"/>
            <a:pathLst>
              <a:path w="285750" h="128033" fill="none" extrusionOk="0">
                <a:moveTo>
                  <a:pt x="37531" y="128032"/>
                </a:moveTo>
                <a:lnTo>
                  <a:pt x="37531" y="128032"/>
                </a:lnTo>
                <a:lnTo>
                  <a:pt x="36389" y="127982"/>
                </a:lnTo>
                <a:lnTo>
                  <a:pt x="35247" y="127883"/>
                </a:lnTo>
                <a:lnTo>
                  <a:pt x="34105" y="127784"/>
                </a:lnTo>
                <a:lnTo>
                  <a:pt x="32964" y="127585"/>
                </a:lnTo>
                <a:lnTo>
                  <a:pt x="31822" y="127337"/>
                </a:lnTo>
                <a:lnTo>
                  <a:pt x="30680" y="127089"/>
                </a:lnTo>
                <a:lnTo>
                  <a:pt x="29588" y="126741"/>
                </a:lnTo>
                <a:lnTo>
                  <a:pt x="28446" y="126394"/>
                </a:lnTo>
                <a:lnTo>
                  <a:pt x="27354" y="125947"/>
                </a:lnTo>
                <a:lnTo>
                  <a:pt x="26212" y="125500"/>
                </a:lnTo>
                <a:lnTo>
                  <a:pt x="25169" y="125004"/>
                </a:lnTo>
                <a:lnTo>
                  <a:pt x="24077" y="124458"/>
                </a:lnTo>
                <a:lnTo>
                  <a:pt x="23035" y="123862"/>
                </a:lnTo>
                <a:lnTo>
                  <a:pt x="21992" y="123266"/>
                </a:lnTo>
                <a:lnTo>
                  <a:pt x="20950" y="122571"/>
                </a:lnTo>
                <a:lnTo>
                  <a:pt x="19957" y="121926"/>
                </a:lnTo>
                <a:lnTo>
                  <a:pt x="19014" y="121181"/>
                </a:lnTo>
                <a:lnTo>
                  <a:pt x="18070" y="120437"/>
                </a:lnTo>
                <a:lnTo>
                  <a:pt x="17127" y="119642"/>
                </a:lnTo>
                <a:lnTo>
                  <a:pt x="16234" y="118848"/>
                </a:lnTo>
                <a:lnTo>
                  <a:pt x="15390" y="118004"/>
                </a:lnTo>
                <a:lnTo>
                  <a:pt x="14546" y="117110"/>
                </a:lnTo>
                <a:lnTo>
                  <a:pt x="13751" y="116217"/>
                </a:lnTo>
                <a:lnTo>
                  <a:pt x="13007" y="115274"/>
                </a:lnTo>
                <a:lnTo>
                  <a:pt x="12312" y="114330"/>
                </a:lnTo>
                <a:lnTo>
                  <a:pt x="11617" y="113387"/>
                </a:lnTo>
                <a:lnTo>
                  <a:pt x="11021" y="112394"/>
                </a:lnTo>
                <a:lnTo>
                  <a:pt x="10425" y="111401"/>
                </a:lnTo>
                <a:lnTo>
                  <a:pt x="9879" y="110359"/>
                </a:lnTo>
                <a:lnTo>
                  <a:pt x="9383" y="109316"/>
                </a:lnTo>
                <a:lnTo>
                  <a:pt x="8936" y="108274"/>
                </a:lnTo>
                <a:lnTo>
                  <a:pt x="8588" y="107231"/>
                </a:lnTo>
                <a:lnTo>
                  <a:pt x="6305" y="100529"/>
                </a:lnTo>
                <a:lnTo>
                  <a:pt x="6305" y="100529"/>
                </a:lnTo>
                <a:lnTo>
                  <a:pt x="5610" y="98295"/>
                </a:lnTo>
                <a:lnTo>
                  <a:pt x="4915" y="95913"/>
                </a:lnTo>
                <a:lnTo>
                  <a:pt x="4269" y="93381"/>
                </a:lnTo>
                <a:lnTo>
                  <a:pt x="3674" y="90750"/>
                </a:lnTo>
                <a:lnTo>
                  <a:pt x="3078" y="88019"/>
                </a:lnTo>
                <a:lnTo>
                  <a:pt x="2532" y="85189"/>
                </a:lnTo>
                <a:lnTo>
                  <a:pt x="2035" y="82310"/>
                </a:lnTo>
                <a:lnTo>
                  <a:pt x="1589" y="79431"/>
                </a:lnTo>
                <a:lnTo>
                  <a:pt x="1191" y="76502"/>
                </a:lnTo>
                <a:lnTo>
                  <a:pt x="844" y="73623"/>
                </a:lnTo>
                <a:lnTo>
                  <a:pt x="546" y="70793"/>
                </a:lnTo>
                <a:lnTo>
                  <a:pt x="298" y="67963"/>
                </a:lnTo>
                <a:lnTo>
                  <a:pt x="149" y="65282"/>
                </a:lnTo>
                <a:lnTo>
                  <a:pt x="50" y="62651"/>
                </a:lnTo>
                <a:lnTo>
                  <a:pt x="0" y="60169"/>
                </a:lnTo>
                <a:lnTo>
                  <a:pt x="50" y="57836"/>
                </a:lnTo>
                <a:lnTo>
                  <a:pt x="1142" y="24525"/>
                </a:lnTo>
                <a:lnTo>
                  <a:pt x="1142" y="24525"/>
                </a:lnTo>
                <a:lnTo>
                  <a:pt x="1241" y="23383"/>
                </a:lnTo>
                <a:lnTo>
                  <a:pt x="1340" y="22291"/>
                </a:lnTo>
                <a:lnTo>
                  <a:pt x="1539" y="21199"/>
                </a:lnTo>
                <a:lnTo>
                  <a:pt x="1738" y="20107"/>
                </a:lnTo>
                <a:lnTo>
                  <a:pt x="2035" y="19014"/>
                </a:lnTo>
                <a:lnTo>
                  <a:pt x="2383" y="17972"/>
                </a:lnTo>
                <a:lnTo>
                  <a:pt x="2730" y="16929"/>
                </a:lnTo>
                <a:lnTo>
                  <a:pt x="3177" y="15937"/>
                </a:lnTo>
                <a:lnTo>
                  <a:pt x="3674" y="14944"/>
                </a:lnTo>
                <a:lnTo>
                  <a:pt x="4170" y="14000"/>
                </a:lnTo>
                <a:lnTo>
                  <a:pt x="4716" y="13057"/>
                </a:lnTo>
                <a:lnTo>
                  <a:pt x="5312" y="12164"/>
                </a:lnTo>
                <a:lnTo>
                  <a:pt x="5957" y="11270"/>
                </a:lnTo>
                <a:lnTo>
                  <a:pt x="6652" y="10426"/>
                </a:lnTo>
                <a:lnTo>
                  <a:pt x="7347" y="9582"/>
                </a:lnTo>
                <a:lnTo>
                  <a:pt x="8142" y="8788"/>
                </a:lnTo>
                <a:lnTo>
                  <a:pt x="8936" y="8043"/>
                </a:lnTo>
                <a:lnTo>
                  <a:pt x="9730" y="7299"/>
                </a:lnTo>
                <a:lnTo>
                  <a:pt x="10574" y="6653"/>
                </a:lnTo>
                <a:lnTo>
                  <a:pt x="11468" y="6008"/>
                </a:lnTo>
                <a:lnTo>
                  <a:pt x="12361" y="5412"/>
                </a:lnTo>
                <a:lnTo>
                  <a:pt x="13305" y="4816"/>
                </a:lnTo>
                <a:lnTo>
                  <a:pt x="14248" y="4320"/>
                </a:lnTo>
                <a:lnTo>
                  <a:pt x="15241" y="3823"/>
                </a:lnTo>
                <a:lnTo>
                  <a:pt x="16283" y="3426"/>
                </a:lnTo>
                <a:lnTo>
                  <a:pt x="17276" y="3029"/>
                </a:lnTo>
                <a:lnTo>
                  <a:pt x="18319" y="2682"/>
                </a:lnTo>
                <a:lnTo>
                  <a:pt x="19411" y="2384"/>
                </a:lnTo>
                <a:lnTo>
                  <a:pt x="20503" y="2185"/>
                </a:lnTo>
                <a:lnTo>
                  <a:pt x="21595" y="1987"/>
                </a:lnTo>
                <a:lnTo>
                  <a:pt x="22687" y="1887"/>
                </a:lnTo>
                <a:lnTo>
                  <a:pt x="23829" y="1788"/>
                </a:lnTo>
                <a:lnTo>
                  <a:pt x="51431" y="795"/>
                </a:lnTo>
                <a:lnTo>
                  <a:pt x="51431" y="795"/>
                </a:lnTo>
                <a:lnTo>
                  <a:pt x="61707" y="497"/>
                </a:lnTo>
                <a:lnTo>
                  <a:pt x="73374" y="249"/>
                </a:lnTo>
                <a:lnTo>
                  <a:pt x="85090" y="51"/>
                </a:lnTo>
                <a:lnTo>
                  <a:pt x="95316" y="1"/>
                </a:lnTo>
                <a:lnTo>
                  <a:pt x="178916" y="1"/>
                </a:lnTo>
                <a:lnTo>
                  <a:pt x="178916" y="1"/>
                </a:lnTo>
                <a:lnTo>
                  <a:pt x="183782" y="51"/>
                </a:lnTo>
                <a:lnTo>
                  <a:pt x="189193" y="249"/>
                </a:lnTo>
                <a:lnTo>
                  <a:pt x="194902" y="547"/>
                </a:lnTo>
                <a:lnTo>
                  <a:pt x="200809" y="894"/>
                </a:lnTo>
                <a:lnTo>
                  <a:pt x="206717" y="1391"/>
                </a:lnTo>
                <a:lnTo>
                  <a:pt x="212426" y="1887"/>
                </a:lnTo>
                <a:lnTo>
                  <a:pt x="217788" y="2483"/>
                </a:lnTo>
                <a:lnTo>
                  <a:pt x="222603" y="3128"/>
                </a:lnTo>
                <a:lnTo>
                  <a:pt x="265595" y="9284"/>
                </a:lnTo>
                <a:lnTo>
                  <a:pt x="265595" y="9284"/>
                </a:lnTo>
                <a:lnTo>
                  <a:pt x="266736" y="9483"/>
                </a:lnTo>
                <a:lnTo>
                  <a:pt x="267829" y="9731"/>
                </a:lnTo>
                <a:lnTo>
                  <a:pt x="268871" y="10029"/>
                </a:lnTo>
                <a:lnTo>
                  <a:pt x="269963" y="10376"/>
                </a:lnTo>
                <a:lnTo>
                  <a:pt x="270956" y="10724"/>
                </a:lnTo>
                <a:lnTo>
                  <a:pt x="271999" y="11171"/>
                </a:lnTo>
                <a:lnTo>
                  <a:pt x="272992" y="11667"/>
                </a:lnTo>
                <a:lnTo>
                  <a:pt x="273935" y="12213"/>
                </a:lnTo>
                <a:lnTo>
                  <a:pt x="274828" y="12809"/>
                </a:lnTo>
                <a:lnTo>
                  <a:pt x="275772" y="13405"/>
                </a:lnTo>
                <a:lnTo>
                  <a:pt x="276616" y="14050"/>
                </a:lnTo>
                <a:lnTo>
                  <a:pt x="277459" y="14745"/>
                </a:lnTo>
                <a:lnTo>
                  <a:pt x="278254" y="15490"/>
                </a:lnTo>
                <a:lnTo>
                  <a:pt x="279048" y="16284"/>
                </a:lnTo>
                <a:lnTo>
                  <a:pt x="279793" y="17078"/>
                </a:lnTo>
                <a:lnTo>
                  <a:pt x="280488" y="17922"/>
                </a:lnTo>
                <a:lnTo>
                  <a:pt x="281133" y="18766"/>
                </a:lnTo>
                <a:lnTo>
                  <a:pt x="281779" y="19660"/>
                </a:lnTo>
                <a:lnTo>
                  <a:pt x="282374" y="20603"/>
                </a:lnTo>
                <a:lnTo>
                  <a:pt x="282871" y="21546"/>
                </a:lnTo>
                <a:lnTo>
                  <a:pt x="283417" y="22489"/>
                </a:lnTo>
                <a:lnTo>
                  <a:pt x="283864" y="23482"/>
                </a:lnTo>
                <a:lnTo>
                  <a:pt x="284261" y="24525"/>
                </a:lnTo>
                <a:lnTo>
                  <a:pt x="284608" y="25518"/>
                </a:lnTo>
                <a:lnTo>
                  <a:pt x="284956" y="26560"/>
                </a:lnTo>
                <a:lnTo>
                  <a:pt x="285204" y="27652"/>
                </a:lnTo>
                <a:lnTo>
                  <a:pt x="285403" y="28745"/>
                </a:lnTo>
                <a:lnTo>
                  <a:pt x="285601" y="29837"/>
                </a:lnTo>
                <a:lnTo>
                  <a:pt x="285700" y="30929"/>
                </a:lnTo>
                <a:lnTo>
                  <a:pt x="285750" y="32021"/>
                </a:lnTo>
                <a:lnTo>
                  <a:pt x="285750" y="33163"/>
                </a:lnTo>
                <a:lnTo>
                  <a:pt x="285700" y="34255"/>
                </a:lnTo>
                <a:lnTo>
                  <a:pt x="281232" y="93728"/>
                </a:lnTo>
                <a:lnTo>
                  <a:pt x="281232" y="93728"/>
                </a:lnTo>
                <a:lnTo>
                  <a:pt x="281133" y="94870"/>
                </a:lnTo>
                <a:lnTo>
                  <a:pt x="280984" y="96012"/>
                </a:lnTo>
                <a:lnTo>
                  <a:pt x="280736" y="97104"/>
                </a:lnTo>
                <a:lnTo>
                  <a:pt x="280488" y="98196"/>
                </a:lnTo>
                <a:lnTo>
                  <a:pt x="280140" y="99338"/>
                </a:lnTo>
                <a:lnTo>
                  <a:pt x="279793" y="100380"/>
                </a:lnTo>
                <a:lnTo>
                  <a:pt x="279346" y="101473"/>
                </a:lnTo>
                <a:lnTo>
                  <a:pt x="278899" y="102515"/>
                </a:lnTo>
                <a:lnTo>
                  <a:pt x="278403" y="103558"/>
                </a:lnTo>
                <a:lnTo>
                  <a:pt x="277857" y="104600"/>
                </a:lnTo>
                <a:lnTo>
                  <a:pt x="277261" y="105593"/>
                </a:lnTo>
                <a:lnTo>
                  <a:pt x="276616" y="106586"/>
                </a:lnTo>
                <a:lnTo>
                  <a:pt x="275970" y="107579"/>
                </a:lnTo>
                <a:lnTo>
                  <a:pt x="275226" y="108522"/>
                </a:lnTo>
                <a:lnTo>
                  <a:pt x="274531" y="109416"/>
                </a:lnTo>
                <a:lnTo>
                  <a:pt x="273736" y="110309"/>
                </a:lnTo>
                <a:lnTo>
                  <a:pt x="272942" y="111153"/>
                </a:lnTo>
                <a:lnTo>
                  <a:pt x="272098" y="111997"/>
                </a:lnTo>
                <a:lnTo>
                  <a:pt x="271204" y="112791"/>
                </a:lnTo>
                <a:lnTo>
                  <a:pt x="270311" y="113536"/>
                </a:lnTo>
                <a:lnTo>
                  <a:pt x="269417" y="114281"/>
                </a:lnTo>
                <a:lnTo>
                  <a:pt x="268474" y="114976"/>
                </a:lnTo>
                <a:lnTo>
                  <a:pt x="267481" y="115621"/>
                </a:lnTo>
                <a:lnTo>
                  <a:pt x="266488" y="116217"/>
                </a:lnTo>
                <a:lnTo>
                  <a:pt x="265495" y="116763"/>
                </a:lnTo>
                <a:lnTo>
                  <a:pt x="264453" y="117309"/>
                </a:lnTo>
                <a:lnTo>
                  <a:pt x="263410" y="117756"/>
                </a:lnTo>
                <a:lnTo>
                  <a:pt x="262368" y="118203"/>
                </a:lnTo>
                <a:lnTo>
                  <a:pt x="261276" y="118600"/>
                </a:lnTo>
                <a:lnTo>
                  <a:pt x="260183" y="118898"/>
                </a:lnTo>
                <a:lnTo>
                  <a:pt x="259091" y="119195"/>
                </a:lnTo>
                <a:lnTo>
                  <a:pt x="257999" y="119394"/>
                </a:lnTo>
                <a:lnTo>
                  <a:pt x="230248" y="124259"/>
                </a:lnTo>
                <a:lnTo>
                  <a:pt x="230248" y="124259"/>
                </a:lnTo>
                <a:lnTo>
                  <a:pt x="227915" y="124607"/>
                </a:lnTo>
                <a:lnTo>
                  <a:pt x="225433" y="125004"/>
                </a:lnTo>
                <a:lnTo>
                  <a:pt x="222851" y="125351"/>
                </a:lnTo>
                <a:lnTo>
                  <a:pt x="220121" y="125699"/>
                </a:lnTo>
                <a:lnTo>
                  <a:pt x="214412" y="126344"/>
                </a:lnTo>
                <a:lnTo>
                  <a:pt x="208554" y="126890"/>
                </a:lnTo>
                <a:lnTo>
                  <a:pt x="202646" y="127387"/>
                </a:lnTo>
                <a:lnTo>
                  <a:pt x="196888" y="127734"/>
                </a:lnTo>
                <a:lnTo>
                  <a:pt x="194157" y="127833"/>
                </a:lnTo>
                <a:lnTo>
                  <a:pt x="191526" y="127933"/>
                </a:lnTo>
                <a:lnTo>
                  <a:pt x="189044" y="127982"/>
                </a:lnTo>
                <a:lnTo>
                  <a:pt x="186661" y="128032"/>
                </a:lnTo>
                <a:lnTo>
                  <a:pt x="37531" y="128032"/>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89" name="Google Shape;12802;p79">
            <a:extLst>
              <a:ext uri="{FF2B5EF4-FFF2-40B4-BE49-F238E27FC236}">
                <a16:creationId xmlns:a16="http://schemas.microsoft.com/office/drawing/2014/main" id="{1B25143D-3787-ADC9-D312-660500370EF8}"/>
              </a:ext>
            </a:extLst>
          </p:cNvPr>
          <p:cNvSpPr/>
          <p:nvPr/>
        </p:nvSpPr>
        <p:spPr>
          <a:xfrm>
            <a:off x="8384012" y="306751"/>
            <a:ext cx="73868" cy="53830"/>
          </a:xfrm>
          <a:custGeom>
            <a:avLst/>
            <a:gdLst/>
            <a:ahLst/>
            <a:cxnLst/>
            <a:rect l="l" t="t" r="r" b="b"/>
            <a:pathLst>
              <a:path w="9334" h="6802" extrusionOk="0">
                <a:moveTo>
                  <a:pt x="8986" y="199"/>
                </a:moveTo>
                <a:lnTo>
                  <a:pt x="8986" y="199"/>
                </a:lnTo>
                <a:lnTo>
                  <a:pt x="8838" y="298"/>
                </a:lnTo>
                <a:lnTo>
                  <a:pt x="8838" y="298"/>
                </a:lnTo>
                <a:lnTo>
                  <a:pt x="7547" y="993"/>
                </a:lnTo>
                <a:lnTo>
                  <a:pt x="6306" y="1738"/>
                </a:lnTo>
                <a:lnTo>
                  <a:pt x="5164" y="2532"/>
                </a:lnTo>
                <a:lnTo>
                  <a:pt x="4022" y="3327"/>
                </a:lnTo>
                <a:lnTo>
                  <a:pt x="2930" y="4171"/>
                </a:lnTo>
                <a:lnTo>
                  <a:pt x="1937" y="5014"/>
                </a:lnTo>
                <a:lnTo>
                  <a:pt x="944" y="5908"/>
                </a:lnTo>
                <a:lnTo>
                  <a:pt x="1" y="6802"/>
                </a:lnTo>
                <a:lnTo>
                  <a:pt x="1" y="6802"/>
                </a:lnTo>
                <a:lnTo>
                  <a:pt x="944" y="5908"/>
                </a:lnTo>
                <a:lnTo>
                  <a:pt x="1937" y="5014"/>
                </a:lnTo>
                <a:lnTo>
                  <a:pt x="2930" y="4171"/>
                </a:lnTo>
                <a:lnTo>
                  <a:pt x="4022" y="3327"/>
                </a:lnTo>
                <a:lnTo>
                  <a:pt x="5164" y="2532"/>
                </a:lnTo>
                <a:lnTo>
                  <a:pt x="6306" y="1738"/>
                </a:lnTo>
                <a:lnTo>
                  <a:pt x="7547" y="993"/>
                </a:lnTo>
                <a:lnTo>
                  <a:pt x="8838" y="298"/>
                </a:lnTo>
                <a:lnTo>
                  <a:pt x="8838" y="298"/>
                </a:lnTo>
                <a:lnTo>
                  <a:pt x="8986" y="199"/>
                </a:lnTo>
                <a:close/>
                <a:moveTo>
                  <a:pt x="9334" y="0"/>
                </a:moveTo>
                <a:lnTo>
                  <a:pt x="9334" y="0"/>
                </a:lnTo>
                <a:lnTo>
                  <a:pt x="9284" y="50"/>
                </a:lnTo>
                <a:lnTo>
                  <a:pt x="9284" y="50"/>
                </a:lnTo>
                <a:lnTo>
                  <a:pt x="9334" y="0"/>
                </a:lnTo>
                <a:lnTo>
                  <a:pt x="9334" y="0"/>
                </a:lnTo>
                <a:lnTo>
                  <a:pt x="9334" y="0"/>
                </a:lnTo>
                <a:close/>
              </a:path>
            </a:pathLst>
          </a:custGeom>
          <a:solidFill>
            <a:srgbClr val="FBDED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90" name="Google Shape;12803;p79">
            <a:extLst>
              <a:ext uri="{FF2B5EF4-FFF2-40B4-BE49-F238E27FC236}">
                <a16:creationId xmlns:a16="http://schemas.microsoft.com/office/drawing/2014/main" id="{BC390292-CC9A-3E0C-1BB2-D32D8DA73311}"/>
              </a:ext>
            </a:extLst>
          </p:cNvPr>
          <p:cNvSpPr/>
          <p:nvPr/>
        </p:nvSpPr>
        <p:spPr>
          <a:xfrm>
            <a:off x="8383410" y="308326"/>
            <a:ext cx="71122" cy="52255"/>
          </a:xfrm>
          <a:custGeom>
            <a:avLst/>
            <a:gdLst/>
            <a:ahLst/>
            <a:cxnLst/>
            <a:rect l="l" t="t" r="r" b="b"/>
            <a:pathLst>
              <a:path w="8987" h="6603" fill="none" extrusionOk="0">
                <a:moveTo>
                  <a:pt x="8986" y="0"/>
                </a:moveTo>
                <a:lnTo>
                  <a:pt x="8986" y="0"/>
                </a:lnTo>
                <a:lnTo>
                  <a:pt x="8838" y="99"/>
                </a:lnTo>
                <a:lnTo>
                  <a:pt x="8838" y="99"/>
                </a:lnTo>
                <a:lnTo>
                  <a:pt x="7547" y="794"/>
                </a:lnTo>
                <a:lnTo>
                  <a:pt x="6306" y="1539"/>
                </a:lnTo>
                <a:lnTo>
                  <a:pt x="5164" y="2333"/>
                </a:lnTo>
                <a:lnTo>
                  <a:pt x="4022" y="3128"/>
                </a:lnTo>
                <a:lnTo>
                  <a:pt x="2930" y="3972"/>
                </a:lnTo>
                <a:lnTo>
                  <a:pt x="1937" y="4815"/>
                </a:lnTo>
                <a:lnTo>
                  <a:pt x="944" y="5709"/>
                </a:lnTo>
                <a:lnTo>
                  <a:pt x="1" y="6603"/>
                </a:lnTo>
                <a:lnTo>
                  <a:pt x="1" y="6603"/>
                </a:lnTo>
                <a:lnTo>
                  <a:pt x="944" y="5709"/>
                </a:lnTo>
                <a:lnTo>
                  <a:pt x="1937" y="4815"/>
                </a:lnTo>
                <a:lnTo>
                  <a:pt x="2930" y="3972"/>
                </a:lnTo>
                <a:lnTo>
                  <a:pt x="4022" y="3128"/>
                </a:lnTo>
                <a:lnTo>
                  <a:pt x="5164" y="2333"/>
                </a:lnTo>
                <a:lnTo>
                  <a:pt x="6306" y="1539"/>
                </a:lnTo>
                <a:lnTo>
                  <a:pt x="7547" y="794"/>
                </a:lnTo>
                <a:lnTo>
                  <a:pt x="8838" y="99"/>
                </a:lnTo>
                <a:lnTo>
                  <a:pt x="8838" y="99"/>
                </a:lnTo>
                <a:lnTo>
                  <a:pt x="8986"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91" name="Google Shape;12804;p79">
            <a:extLst>
              <a:ext uri="{FF2B5EF4-FFF2-40B4-BE49-F238E27FC236}">
                <a16:creationId xmlns:a16="http://schemas.microsoft.com/office/drawing/2014/main" id="{88CEDB47-8EDD-41A3-160B-A7C48BB5F440}"/>
              </a:ext>
            </a:extLst>
          </p:cNvPr>
          <p:cNvSpPr/>
          <p:nvPr/>
        </p:nvSpPr>
        <p:spPr>
          <a:xfrm>
            <a:off x="8412160" y="248766"/>
            <a:ext cx="45719" cy="46668"/>
          </a:xfrm>
          <a:custGeom>
            <a:avLst/>
            <a:gdLst/>
            <a:ahLst/>
            <a:cxnLst/>
            <a:rect l="l" t="t" r="r" b="b"/>
            <a:pathLst>
              <a:path w="50" h="51" fill="none" extrusionOk="0">
                <a:moveTo>
                  <a:pt x="50" y="0"/>
                </a:moveTo>
                <a:lnTo>
                  <a:pt x="50" y="0"/>
                </a:lnTo>
                <a:lnTo>
                  <a:pt x="0" y="50"/>
                </a:lnTo>
                <a:lnTo>
                  <a:pt x="0" y="50"/>
                </a:lnTo>
                <a:lnTo>
                  <a:pt x="50" y="0"/>
                </a:lnTo>
                <a:lnTo>
                  <a:pt x="50" y="0"/>
                </a:lnTo>
                <a:lnTo>
                  <a:pt x="50"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54" name="Google Shape;1007;g2e0683f995c_0_0">
            <a:extLst>
              <a:ext uri="{FF2B5EF4-FFF2-40B4-BE49-F238E27FC236}">
                <a16:creationId xmlns:a16="http://schemas.microsoft.com/office/drawing/2014/main" id="{EA9F860B-852F-42B4-60C7-C627BB8B0BEF}"/>
              </a:ext>
            </a:extLst>
          </p:cNvPr>
          <p:cNvSpPr txBox="1">
            <a:spLocks/>
          </p:cNvSpPr>
          <p:nvPr/>
        </p:nvSpPr>
        <p:spPr>
          <a:xfrm>
            <a:off x="382000" y="486981"/>
            <a:ext cx="11520900" cy="538974"/>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nb-NO" sz="2200" i="0" u="none" strike="noStrike" kern="0" cap="none" spc="0" normalizeH="0" baseline="0" noProof="0">
                <a:ln>
                  <a:noFill/>
                </a:ln>
                <a:solidFill>
                  <a:schemeClr val="accent1"/>
                </a:solidFill>
                <a:effectLst/>
                <a:uLnTx/>
                <a:uFillTx/>
                <a:latin typeface="Brockmann"/>
                <a:sym typeface="Calibri"/>
              </a:rPr>
              <a:t>Konseptbeskrivelse| </a:t>
            </a:r>
            <a:r>
              <a:rPr lang="nb-NO" sz="2200" kern="0">
                <a:solidFill>
                  <a:schemeClr val="accent1"/>
                </a:solidFill>
                <a:latin typeface="Brockmann"/>
                <a:ea typeface="+mn-ea"/>
                <a:sym typeface="Georgia"/>
              </a:rPr>
              <a:t>Bygge én og én modul på nytt</a:t>
            </a:r>
            <a:endParaRPr kumimoji="0" lang="nb-NO" sz="2200" i="0" u="none" strike="noStrike" kern="0" cap="none" spc="0" normalizeH="0" baseline="0" noProof="0">
              <a:ln>
                <a:noFill/>
              </a:ln>
              <a:solidFill>
                <a:schemeClr val="accent1"/>
              </a:solidFill>
              <a:effectLst/>
              <a:uLnTx/>
              <a:uFillTx/>
              <a:latin typeface="Brockmann"/>
              <a:sym typeface="Calibri"/>
            </a:endParaRPr>
          </a:p>
        </p:txBody>
      </p:sp>
      <p:sp>
        <p:nvSpPr>
          <p:cNvPr id="287" name="Google Shape;12798;p79">
            <a:extLst>
              <a:ext uri="{FF2B5EF4-FFF2-40B4-BE49-F238E27FC236}">
                <a16:creationId xmlns:a16="http://schemas.microsoft.com/office/drawing/2014/main" id="{16EBABF2-C480-9413-877D-EDCBFA13D7BC}"/>
              </a:ext>
            </a:extLst>
          </p:cNvPr>
          <p:cNvSpPr/>
          <p:nvPr/>
        </p:nvSpPr>
        <p:spPr>
          <a:xfrm>
            <a:off x="5857082" y="1208044"/>
            <a:ext cx="1817326" cy="697462"/>
          </a:xfrm>
          <a:custGeom>
            <a:avLst/>
            <a:gdLst/>
            <a:ahLst/>
            <a:cxnLst/>
            <a:rect l="l" t="t" r="r" b="b"/>
            <a:pathLst>
              <a:path w="285750" h="128033" extrusionOk="0">
                <a:moveTo>
                  <a:pt x="95316" y="1"/>
                </a:moveTo>
                <a:lnTo>
                  <a:pt x="85090" y="51"/>
                </a:lnTo>
                <a:lnTo>
                  <a:pt x="73374" y="249"/>
                </a:lnTo>
                <a:lnTo>
                  <a:pt x="61707" y="497"/>
                </a:lnTo>
                <a:lnTo>
                  <a:pt x="51431" y="795"/>
                </a:lnTo>
                <a:lnTo>
                  <a:pt x="23829" y="1788"/>
                </a:lnTo>
                <a:lnTo>
                  <a:pt x="22687" y="1887"/>
                </a:lnTo>
                <a:lnTo>
                  <a:pt x="21595" y="1987"/>
                </a:lnTo>
                <a:lnTo>
                  <a:pt x="20503" y="2185"/>
                </a:lnTo>
                <a:lnTo>
                  <a:pt x="19411" y="2384"/>
                </a:lnTo>
                <a:lnTo>
                  <a:pt x="18319" y="2682"/>
                </a:lnTo>
                <a:lnTo>
                  <a:pt x="17276" y="3029"/>
                </a:lnTo>
                <a:lnTo>
                  <a:pt x="16283" y="3426"/>
                </a:lnTo>
                <a:lnTo>
                  <a:pt x="15241" y="3823"/>
                </a:lnTo>
                <a:lnTo>
                  <a:pt x="14248" y="4320"/>
                </a:lnTo>
                <a:lnTo>
                  <a:pt x="13305" y="4816"/>
                </a:lnTo>
                <a:lnTo>
                  <a:pt x="12361" y="5412"/>
                </a:lnTo>
                <a:lnTo>
                  <a:pt x="11468" y="6008"/>
                </a:lnTo>
                <a:lnTo>
                  <a:pt x="10574" y="6653"/>
                </a:lnTo>
                <a:lnTo>
                  <a:pt x="9730" y="7299"/>
                </a:lnTo>
                <a:lnTo>
                  <a:pt x="8936" y="8043"/>
                </a:lnTo>
                <a:lnTo>
                  <a:pt x="8142" y="8788"/>
                </a:lnTo>
                <a:lnTo>
                  <a:pt x="7347" y="9582"/>
                </a:lnTo>
                <a:lnTo>
                  <a:pt x="6652" y="10426"/>
                </a:lnTo>
                <a:lnTo>
                  <a:pt x="5957" y="11270"/>
                </a:lnTo>
                <a:lnTo>
                  <a:pt x="5312" y="12164"/>
                </a:lnTo>
                <a:lnTo>
                  <a:pt x="4716" y="13057"/>
                </a:lnTo>
                <a:lnTo>
                  <a:pt x="4170" y="14000"/>
                </a:lnTo>
                <a:lnTo>
                  <a:pt x="3674" y="14944"/>
                </a:lnTo>
                <a:lnTo>
                  <a:pt x="3177" y="15937"/>
                </a:lnTo>
                <a:lnTo>
                  <a:pt x="2730" y="16929"/>
                </a:lnTo>
                <a:lnTo>
                  <a:pt x="2383" y="17972"/>
                </a:lnTo>
                <a:lnTo>
                  <a:pt x="2035" y="19014"/>
                </a:lnTo>
                <a:lnTo>
                  <a:pt x="1738" y="20107"/>
                </a:lnTo>
                <a:lnTo>
                  <a:pt x="1539" y="21199"/>
                </a:lnTo>
                <a:lnTo>
                  <a:pt x="1340" y="22291"/>
                </a:lnTo>
                <a:lnTo>
                  <a:pt x="1241" y="23383"/>
                </a:lnTo>
                <a:lnTo>
                  <a:pt x="1142" y="24525"/>
                </a:lnTo>
                <a:lnTo>
                  <a:pt x="50" y="57836"/>
                </a:lnTo>
                <a:lnTo>
                  <a:pt x="0" y="60169"/>
                </a:lnTo>
                <a:lnTo>
                  <a:pt x="50" y="62651"/>
                </a:lnTo>
                <a:lnTo>
                  <a:pt x="149" y="65282"/>
                </a:lnTo>
                <a:lnTo>
                  <a:pt x="298" y="67963"/>
                </a:lnTo>
                <a:lnTo>
                  <a:pt x="546" y="70793"/>
                </a:lnTo>
                <a:lnTo>
                  <a:pt x="844" y="73623"/>
                </a:lnTo>
                <a:lnTo>
                  <a:pt x="1191" y="76502"/>
                </a:lnTo>
                <a:lnTo>
                  <a:pt x="1589" y="79431"/>
                </a:lnTo>
                <a:lnTo>
                  <a:pt x="2035" y="82310"/>
                </a:lnTo>
                <a:lnTo>
                  <a:pt x="2532" y="85189"/>
                </a:lnTo>
                <a:lnTo>
                  <a:pt x="3078" y="88019"/>
                </a:lnTo>
                <a:lnTo>
                  <a:pt x="3674" y="90750"/>
                </a:lnTo>
                <a:lnTo>
                  <a:pt x="4269" y="93381"/>
                </a:lnTo>
                <a:lnTo>
                  <a:pt x="4915" y="95913"/>
                </a:lnTo>
                <a:lnTo>
                  <a:pt x="5610" y="98295"/>
                </a:lnTo>
                <a:lnTo>
                  <a:pt x="6305" y="100529"/>
                </a:lnTo>
                <a:lnTo>
                  <a:pt x="8588" y="107231"/>
                </a:lnTo>
                <a:lnTo>
                  <a:pt x="8936" y="108274"/>
                </a:lnTo>
                <a:lnTo>
                  <a:pt x="9383" y="109316"/>
                </a:lnTo>
                <a:lnTo>
                  <a:pt x="9879" y="110359"/>
                </a:lnTo>
                <a:lnTo>
                  <a:pt x="10425" y="111401"/>
                </a:lnTo>
                <a:lnTo>
                  <a:pt x="11021" y="112394"/>
                </a:lnTo>
                <a:lnTo>
                  <a:pt x="11617" y="113387"/>
                </a:lnTo>
                <a:lnTo>
                  <a:pt x="12312" y="114330"/>
                </a:lnTo>
                <a:lnTo>
                  <a:pt x="13007" y="115274"/>
                </a:lnTo>
                <a:lnTo>
                  <a:pt x="13751" y="116217"/>
                </a:lnTo>
                <a:lnTo>
                  <a:pt x="14546" y="117110"/>
                </a:lnTo>
                <a:lnTo>
                  <a:pt x="15390" y="118004"/>
                </a:lnTo>
                <a:lnTo>
                  <a:pt x="16234" y="118848"/>
                </a:lnTo>
                <a:lnTo>
                  <a:pt x="17127" y="119642"/>
                </a:lnTo>
                <a:lnTo>
                  <a:pt x="18070" y="120437"/>
                </a:lnTo>
                <a:lnTo>
                  <a:pt x="19014" y="121181"/>
                </a:lnTo>
                <a:lnTo>
                  <a:pt x="19957" y="121926"/>
                </a:lnTo>
                <a:lnTo>
                  <a:pt x="20950" y="122571"/>
                </a:lnTo>
                <a:lnTo>
                  <a:pt x="21992" y="123266"/>
                </a:lnTo>
                <a:lnTo>
                  <a:pt x="23035" y="123862"/>
                </a:lnTo>
                <a:lnTo>
                  <a:pt x="24077" y="124458"/>
                </a:lnTo>
                <a:lnTo>
                  <a:pt x="25169" y="125004"/>
                </a:lnTo>
                <a:lnTo>
                  <a:pt x="26212" y="125500"/>
                </a:lnTo>
                <a:lnTo>
                  <a:pt x="27354" y="125947"/>
                </a:lnTo>
                <a:lnTo>
                  <a:pt x="28446" y="126394"/>
                </a:lnTo>
                <a:lnTo>
                  <a:pt x="29588" y="126741"/>
                </a:lnTo>
                <a:lnTo>
                  <a:pt x="30680" y="127089"/>
                </a:lnTo>
                <a:lnTo>
                  <a:pt x="31822" y="127337"/>
                </a:lnTo>
                <a:lnTo>
                  <a:pt x="32964" y="127585"/>
                </a:lnTo>
                <a:lnTo>
                  <a:pt x="34105" y="127784"/>
                </a:lnTo>
                <a:lnTo>
                  <a:pt x="35247" y="127883"/>
                </a:lnTo>
                <a:lnTo>
                  <a:pt x="36389" y="127982"/>
                </a:lnTo>
                <a:lnTo>
                  <a:pt x="37531" y="128032"/>
                </a:lnTo>
                <a:lnTo>
                  <a:pt x="186661" y="128032"/>
                </a:lnTo>
                <a:lnTo>
                  <a:pt x="189044" y="127982"/>
                </a:lnTo>
                <a:lnTo>
                  <a:pt x="191526" y="127933"/>
                </a:lnTo>
                <a:lnTo>
                  <a:pt x="194157" y="127833"/>
                </a:lnTo>
                <a:lnTo>
                  <a:pt x="196888" y="127734"/>
                </a:lnTo>
                <a:lnTo>
                  <a:pt x="202646" y="127387"/>
                </a:lnTo>
                <a:lnTo>
                  <a:pt x="208554" y="126890"/>
                </a:lnTo>
                <a:lnTo>
                  <a:pt x="214412" y="126344"/>
                </a:lnTo>
                <a:lnTo>
                  <a:pt x="220121" y="125699"/>
                </a:lnTo>
                <a:lnTo>
                  <a:pt x="222851" y="125351"/>
                </a:lnTo>
                <a:lnTo>
                  <a:pt x="225433" y="125004"/>
                </a:lnTo>
                <a:lnTo>
                  <a:pt x="227915" y="124607"/>
                </a:lnTo>
                <a:lnTo>
                  <a:pt x="230248" y="124259"/>
                </a:lnTo>
                <a:lnTo>
                  <a:pt x="257999" y="119394"/>
                </a:lnTo>
                <a:lnTo>
                  <a:pt x="259091" y="119195"/>
                </a:lnTo>
                <a:lnTo>
                  <a:pt x="260183" y="118898"/>
                </a:lnTo>
                <a:lnTo>
                  <a:pt x="261276" y="118600"/>
                </a:lnTo>
                <a:lnTo>
                  <a:pt x="262368" y="118203"/>
                </a:lnTo>
                <a:lnTo>
                  <a:pt x="263410" y="117756"/>
                </a:lnTo>
                <a:lnTo>
                  <a:pt x="264453" y="117309"/>
                </a:lnTo>
                <a:lnTo>
                  <a:pt x="265495" y="116763"/>
                </a:lnTo>
                <a:lnTo>
                  <a:pt x="266488" y="116217"/>
                </a:lnTo>
                <a:lnTo>
                  <a:pt x="267481" y="115621"/>
                </a:lnTo>
                <a:lnTo>
                  <a:pt x="268474" y="114976"/>
                </a:lnTo>
                <a:lnTo>
                  <a:pt x="269417" y="114281"/>
                </a:lnTo>
                <a:lnTo>
                  <a:pt x="270311" y="113536"/>
                </a:lnTo>
                <a:lnTo>
                  <a:pt x="271204" y="112791"/>
                </a:lnTo>
                <a:lnTo>
                  <a:pt x="272098" y="111997"/>
                </a:lnTo>
                <a:lnTo>
                  <a:pt x="272942" y="111153"/>
                </a:lnTo>
                <a:lnTo>
                  <a:pt x="273736" y="110309"/>
                </a:lnTo>
                <a:lnTo>
                  <a:pt x="274531" y="109416"/>
                </a:lnTo>
                <a:lnTo>
                  <a:pt x="275226" y="108522"/>
                </a:lnTo>
                <a:lnTo>
                  <a:pt x="275970" y="107579"/>
                </a:lnTo>
                <a:lnTo>
                  <a:pt x="276616" y="106586"/>
                </a:lnTo>
                <a:lnTo>
                  <a:pt x="277261" y="105593"/>
                </a:lnTo>
                <a:lnTo>
                  <a:pt x="277857" y="104600"/>
                </a:lnTo>
                <a:lnTo>
                  <a:pt x="278403" y="103558"/>
                </a:lnTo>
                <a:lnTo>
                  <a:pt x="278899" y="102515"/>
                </a:lnTo>
                <a:lnTo>
                  <a:pt x="279346" y="101473"/>
                </a:lnTo>
                <a:lnTo>
                  <a:pt x="279793" y="100380"/>
                </a:lnTo>
                <a:lnTo>
                  <a:pt x="280140" y="99338"/>
                </a:lnTo>
                <a:lnTo>
                  <a:pt x="280488" y="98196"/>
                </a:lnTo>
                <a:lnTo>
                  <a:pt x="280736" y="97104"/>
                </a:lnTo>
                <a:lnTo>
                  <a:pt x="280984" y="96012"/>
                </a:lnTo>
                <a:lnTo>
                  <a:pt x="281133" y="94870"/>
                </a:lnTo>
                <a:lnTo>
                  <a:pt x="281232" y="93728"/>
                </a:lnTo>
                <a:lnTo>
                  <a:pt x="285700" y="34255"/>
                </a:lnTo>
                <a:lnTo>
                  <a:pt x="285750" y="33163"/>
                </a:lnTo>
                <a:lnTo>
                  <a:pt x="285750" y="32021"/>
                </a:lnTo>
                <a:lnTo>
                  <a:pt x="285700" y="30929"/>
                </a:lnTo>
                <a:lnTo>
                  <a:pt x="285601" y="29837"/>
                </a:lnTo>
                <a:lnTo>
                  <a:pt x="285403" y="28745"/>
                </a:lnTo>
                <a:lnTo>
                  <a:pt x="285204" y="27652"/>
                </a:lnTo>
                <a:lnTo>
                  <a:pt x="284956" y="26560"/>
                </a:lnTo>
                <a:lnTo>
                  <a:pt x="284608" y="25518"/>
                </a:lnTo>
                <a:lnTo>
                  <a:pt x="284261" y="24525"/>
                </a:lnTo>
                <a:lnTo>
                  <a:pt x="283864" y="23482"/>
                </a:lnTo>
                <a:lnTo>
                  <a:pt x="283417" y="22489"/>
                </a:lnTo>
                <a:lnTo>
                  <a:pt x="282871" y="21546"/>
                </a:lnTo>
                <a:lnTo>
                  <a:pt x="282374" y="20603"/>
                </a:lnTo>
                <a:lnTo>
                  <a:pt x="281779" y="19660"/>
                </a:lnTo>
                <a:lnTo>
                  <a:pt x="281133" y="18766"/>
                </a:lnTo>
                <a:lnTo>
                  <a:pt x="280488" y="17922"/>
                </a:lnTo>
                <a:lnTo>
                  <a:pt x="279793" y="17078"/>
                </a:lnTo>
                <a:lnTo>
                  <a:pt x="279048" y="16284"/>
                </a:lnTo>
                <a:lnTo>
                  <a:pt x="278254" y="15490"/>
                </a:lnTo>
                <a:lnTo>
                  <a:pt x="277459" y="14745"/>
                </a:lnTo>
                <a:lnTo>
                  <a:pt x="276616" y="14050"/>
                </a:lnTo>
                <a:lnTo>
                  <a:pt x="275772" y="13405"/>
                </a:lnTo>
                <a:lnTo>
                  <a:pt x="274828" y="12809"/>
                </a:lnTo>
                <a:lnTo>
                  <a:pt x="273935" y="12213"/>
                </a:lnTo>
                <a:lnTo>
                  <a:pt x="272992" y="11667"/>
                </a:lnTo>
                <a:lnTo>
                  <a:pt x="271999" y="11171"/>
                </a:lnTo>
                <a:lnTo>
                  <a:pt x="270956" y="10724"/>
                </a:lnTo>
                <a:lnTo>
                  <a:pt x="269963" y="10376"/>
                </a:lnTo>
                <a:lnTo>
                  <a:pt x="268871" y="10029"/>
                </a:lnTo>
                <a:lnTo>
                  <a:pt x="267829" y="9731"/>
                </a:lnTo>
                <a:lnTo>
                  <a:pt x="266736" y="9483"/>
                </a:lnTo>
                <a:lnTo>
                  <a:pt x="265595" y="9284"/>
                </a:lnTo>
                <a:lnTo>
                  <a:pt x="222603" y="3128"/>
                </a:lnTo>
                <a:lnTo>
                  <a:pt x="217788" y="2483"/>
                </a:lnTo>
                <a:lnTo>
                  <a:pt x="212426" y="1887"/>
                </a:lnTo>
                <a:lnTo>
                  <a:pt x="206717" y="1391"/>
                </a:lnTo>
                <a:lnTo>
                  <a:pt x="200809" y="894"/>
                </a:lnTo>
                <a:lnTo>
                  <a:pt x="194902" y="547"/>
                </a:lnTo>
                <a:lnTo>
                  <a:pt x="189193" y="249"/>
                </a:lnTo>
                <a:lnTo>
                  <a:pt x="183782" y="51"/>
                </a:lnTo>
                <a:lnTo>
                  <a:pt x="178916" y="1"/>
                </a:lnTo>
                <a:close/>
              </a:path>
            </a:pathLst>
          </a:custGeom>
          <a:solidFill>
            <a:schemeClr val="accent6">
              <a:lumMod val="20000"/>
              <a:lumOff val="80000"/>
            </a:schemeClr>
          </a:solidFill>
          <a:ln>
            <a:noFill/>
          </a:ln>
        </p:spPr>
        <p:txBody>
          <a:bodyPr spcFirstLastPara="1" wrap="square" lIns="64007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nb-NO" sz="1000" b="0" i="0" u="none" strike="noStrike" kern="0" cap="none" spc="0" normalizeH="0" baseline="0" noProof="0">
              <a:ln>
                <a:noFill/>
              </a:ln>
              <a:solidFill>
                <a:srgbClr val="44546A"/>
              </a:solidFill>
              <a:effectLst/>
              <a:uLnTx/>
              <a:uFillTx/>
              <a:latin typeface="Arial"/>
              <a:cs typeface="Arial"/>
              <a:sym typeface="Arial"/>
            </a:endParaRPr>
          </a:p>
        </p:txBody>
      </p:sp>
      <p:sp>
        <p:nvSpPr>
          <p:cNvPr id="351" name="TextBox 350">
            <a:extLst>
              <a:ext uri="{FF2B5EF4-FFF2-40B4-BE49-F238E27FC236}">
                <a16:creationId xmlns:a16="http://schemas.microsoft.com/office/drawing/2014/main" id="{B2ADD49F-1B6D-3D7F-308E-6362488F5DC9}"/>
              </a:ext>
            </a:extLst>
          </p:cNvPr>
          <p:cNvSpPr txBox="1"/>
          <p:nvPr/>
        </p:nvSpPr>
        <p:spPr>
          <a:xfrm>
            <a:off x="5897067" y="1412543"/>
            <a:ext cx="1876560" cy="307777"/>
          </a:xfrm>
          <a:prstGeom prst="rect">
            <a:avLst/>
          </a:prstGeom>
          <a:noFill/>
        </p:spPr>
        <p:txBody>
          <a:bodyPr wrap="square" rtlCol="0">
            <a:spAutoFit/>
          </a:bodyPr>
          <a:lstStyle/>
          <a:p>
            <a:pPr>
              <a:buClr>
                <a:srgbClr val="000000"/>
              </a:buClr>
              <a:buFont typeface="Arial"/>
              <a:buNone/>
            </a:pPr>
            <a:r>
              <a:rPr lang="nb-NO" sz="1200" b="1" kern="0">
                <a:solidFill>
                  <a:srgbClr val="44546A"/>
                </a:solidFill>
                <a:latin typeface="+mj-lt"/>
                <a:cs typeface="Arial"/>
                <a:sym typeface="Arial"/>
              </a:rPr>
              <a:t>Konseptbeskrivelse</a:t>
            </a:r>
            <a:r>
              <a:rPr lang="nb-NO" sz="1400" kern="0">
                <a:solidFill>
                  <a:srgbClr val="44546A"/>
                </a:solidFill>
                <a:latin typeface="+mj-lt"/>
                <a:cs typeface="Arial"/>
                <a:sym typeface="Arial"/>
              </a:rPr>
              <a:t> </a:t>
            </a:r>
          </a:p>
        </p:txBody>
      </p:sp>
      <p:grpSp>
        <p:nvGrpSpPr>
          <p:cNvPr id="292" name="Google Shape;12805;p79">
            <a:extLst>
              <a:ext uri="{FF2B5EF4-FFF2-40B4-BE49-F238E27FC236}">
                <a16:creationId xmlns:a16="http://schemas.microsoft.com/office/drawing/2014/main" id="{B627D6F2-BE33-628B-8235-A2396CA3B8A3}"/>
              </a:ext>
            </a:extLst>
          </p:cNvPr>
          <p:cNvGrpSpPr/>
          <p:nvPr/>
        </p:nvGrpSpPr>
        <p:grpSpPr>
          <a:xfrm>
            <a:off x="7080735" y="1041327"/>
            <a:ext cx="550869" cy="780796"/>
            <a:chOff x="5157442" y="2871510"/>
            <a:chExt cx="980170" cy="1414670"/>
          </a:xfrm>
        </p:grpSpPr>
        <p:sp>
          <p:nvSpPr>
            <p:cNvPr id="293" name="Google Shape;12806;p79">
              <a:extLst>
                <a:ext uri="{FF2B5EF4-FFF2-40B4-BE49-F238E27FC236}">
                  <a16:creationId xmlns:a16="http://schemas.microsoft.com/office/drawing/2014/main" id="{20678A40-BD9D-3C55-F6BC-CFB17A6701D4}"/>
                </a:ext>
              </a:extLst>
            </p:cNvPr>
            <p:cNvSpPr/>
            <p:nvPr/>
          </p:nvSpPr>
          <p:spPr>
            <a:xfrm>
              <a:off x="5157442" y="2871510"/>
              <a:ext cx="820636" cy="1047237"/>
            </a:xfrm>
            <a:custGeom>
              <a:avLst/>
              <a:gdLst/>
              <a:ahLst/>
              <a:cxnLst/>
              <a:rect l="l" t="t" r="r" b="b"/>
              <a:pathLst>
                <a:path w="85040" h="108522" extrusionOk="0">
                  <a:moveTo>
                    <a:pt x="39864" y="0"/>
                  </a:moveTo>
                  <a:lnTo>
                    <a:pt x="38275" y="50"/>
                  </a:lnTo>
                  <a:lnTo>
                    <a:pt x="36637" y="199"/>
                  </a:lnTo>
                  <a:lnTo>
                    <a:pt x="35049" y="348"/>
                  </a:lnTo>
                  <a:lnTo>
                    <a:pt x="33410" y="596"/>
                  </a:lnTo>
                  <a:lnTo>
                    <a:pt x="31822" y="894"/>
                  </a:lnTo>
                  <a:lnTo>
                    <a:pt x="30184" y="1241"/>
                  </a:lnTo>
                  <a:lnTo>
                    <a:pt x="28595" y="1688"/>
                  </a:lnTo>
                  <a:lnTo>
                    <a:pt x="26957" y="2184"/>
                  </a:lnTo>
                  <a:lnTo>
                    <a:pt x="25368" y="2730"/>
                  </a:lnTo>
                  <a:lnTo>
                    <a:pt x="23730" y="3326"/>
                  </a:lnTo>
                  <a:lnTo>
                    <a:pt x="22141" y="3971"/>
                  </a:lnTo>
                  <a:lnTo>
                    <a:pt x="20553" y="4716"/>
                  </a:lnTo>
                  <a:lnTo>
                    <a:pt x="18964" y="5510"/>
                  </a:lnTo>
                  <a:lnTo>
                    <a:pt x="18468" y="5808"/>
                  </a:lnTo>
                  <a:lnTo>
                    <a:pt x="17425" y="6404"/>
                  </a:lnTo>
                  <a:lnTo>
                    <a:pt x="16383" y="7000"/>
                  </a:lnTo>
                  <a:lnTo>
                    <a:pt x="15390" y="7595"/>
                  </a:lnTo>
                  <a:lnTo>
                    <a:pt x="14446" y="8241"/>
                  </a:lnTo>
                  <a:lnTo>
                    <a:pt x="13553" y="8936"/>
                  </a:lnTo>
                  <a:lnTo>
                    <a:pt x="12709" y="9581"/>
                  </a:lnTo>
                  <a:lnTo>
                    <a:pt x="11865" y="10276"/>
                  </a:lnTo>
                  <a:lnTo>
                    <a:pt x="11021" y="11021"/>
                  </a:lnTo>
                  <a:lnTo>
                    <a:pt x="10276" y="11716"/>
                  </a:lnTo>
                  <a:lnTo>
                    <a:pt x="9532" y="12461"/>
                  </a:lnTo>
                  <a:lnTo>
                    <a:pt x="8787" y="13255"/>
                  </a:lnTo>
                  <a:lnTo>
                    <a:pt x="8092" y="14049"/>
                  </a:lnTo>
                  <a:lnTo>
                    <a:pt x="7447" y="14843"/>
                  </a:lnTo>
                  <a:lnTo>
                    <a:pt x="6851" y="15638"/>
                  </a:lnTo>
                  <a:lnTo>
                    <a:pt x="6255" y="16432"/>
                  </a:lnTo>
                  <a:lnTo>
                    <a:pt x="5659" y="17276"/>
                  </a:lnTo>
                  <a:lnTo>
                    <a:pt x="5163" y="18120"/>
                  </a:lnTo>
                  <a:lnTo>
                    <a:pt x="4617" y="19014"/>
                  </a:lnTo>
                  <a:lnTo>
                    <a:pt x="4170" y="19857"/>
                  </a:lnTo>
                  <a:lnTo>
                    <a:pt x="3723" y="20751"/>
                  </a:lnTo>
                  <a:lnTo>
                    <a:pt x="2879" y="22538"/>
                  </a:lnTo>
                  <a:lnTo>
                    <a:pt x="2184" y="24375"/>
                  </a:lnTo>
                  <a:lnTo>
                    <a:pt x="1589" y="26262"/>
                  </a:lnTo>
                  <a:lnTo>
                    <a:pt x="1092" y="28148"/>
                  </a:lnTo>
                  <a:lnTo>
                    <a:pt x="645" y="30084"/>
                  </a:lnTo>
                  <a:lnTo>
                    <a:pt x="348" y="32020"/>
                  </a:lnTo>
                  <a:lnTo>
                    <a:pt x="149" y="34006"/>
                  </a:lnTo>
                  <a:lnTo>
                    <a:pt x="0" y="35942"/>
                  </a:lnTo>
                  <a:lnTo>
                    <a:pt x="0" y="37928"/>
                  </a:lnTo>
                  <a:lnTo>
                    <a:pt x="0" y="39963"/>
                  </a:lnTo>
                  <a:lnTo>
                    <a:pt x="149" y="41949"/>
                  </a:lnTo>
                  <a:lnTo>
                    <a:pt x="348" y="43935"/>
                  </a:lnTo>
                  <a:lnTo>
                    <a:pt x="645" y="45920"/>
                  </a:lnTo>
                  <a:lnTo>
                    <a:pt x="993" y="47906"/>
                  </a:lnTo>
                  <a:lnTo>
                    <a:pt x="1390" y="49842"/>
                  </a:lnTo>
                  <a:lnTo>
                    <a:pt x="1887" y="51778"/>
                  </a:lnTo>
                  <a:lnTo>
                    <a:pt x="2433" y="53714"/>
                  </a:lnTo>
                  <a:lnTo>
                    <a:pt x="3028" y="55601"/>
                  </a:lnTo>
                  <a:lnTo>
                    <a:pt x="3723" y="57487"/>
                  </a:lnTo>
                  <a:lnTo>
                    <a:pt x="4418" y="59275"/>
                  </a:lnTo>
                  <a:lnTo>
                    <a:pt x="5213" y="61062"/>
                  </a:lnTo>
                  <a:lnTo>
                    <a:pt x="6007" y="62799"/>
                  </a:lnTo>
                  <a:lnTo>
                    <a:pt x="6901" y="64586"/>
                  </a:lnTo>
                  <a:lnTo>
                    <a:pt x="7844" y="66274"/>
                  </a:lnTo>
                  <a:lnTo>
                    <a:pt x="8787" y="67913"/>
                  </a:lnTo>
                  <a:lnTo>
                    <a:pt x="9830" y="69501"/>
                  </a:lnTo>
                  <a:lnTo>
                    <a:pt x="10822" y="71040"/>
                  </a:lnTo>
                  <a:lnTo>
                    <a:pt x="11915" y="72529"/>
                  </a:lnTo>
                  <a:lnTo>
                    <a:pt x="13007" y="73919"/>
                  </a:lnTo>
                  <a:lnTo>
                    <a:pt x="14099" y="75309"/>
                  </a:lnTo>
                  <a:lnTo>
                    <a:pt x="15241" y="76650"/>
                  </a:lnTo>
                  <a:lnTo>
                    <a:pt x="16383" y="77891"/>
                  </a:lnTo>
                  <a:lnTo>
                    <a:pt x="17574" y="79132"/>
                  </a:lnTo>
                  <a:lnTo>
                    <a:pt x="18765" y="80274"/>
                  </a:lnTo>
                  <a:lnTo>
                    <a:pt x="19957" y="81416"/>
                  </a:lnTo>
                  <a:lnTo>
                    <a:pt x="21198" y="82508"/>
                  </a:lnTo>
                  <a:lnTo>
                    <a:pt x="22439" y="83550"/>
                  </a:lnTo>
                  <a:lnTo>
                    <a:pt x="23680" y="84593"/>
                  </a:lnTo>
                  <a:lnTo>
                    <a:pt x="24921" y="85536"/>
                  </a:lnTo>
                  <a:lnTo>
                    <a:pt x="26162" y="86479"/>
                  </a:lnTo>
                  <a:lnTo>
                    <a:pt x="27453" y="87373"/>
                  </a:lnTo>
                  <a:lnTo>
                    <a:pt x="28694" y="88217"/>
                  </a:lnTo>
                  <a:lnTo>
                    <a:pt x="31226" y="89805"/>
                  </a:lnTo>
                  <a:lnTo>
                    <a:pt x="33758" y="91295"/>
                  </a:lnTo>
                  <a:lnTo>
                    <a:pt x="36240" y="92685"/>
                  </a:lnTo>
                  <a:lnTo>
                    <a:pt x="38673" y="93976"/>
                  </a:lnTo>
                  <a:lnTo>
                    <a:pt x="41006" y="95167"/>
                  </a:lnTo>
                  <a:lnTo>
                    <a:pt x="43289" y="96259"/>
                  </a:lnTo>
                  <a:lnTo>
                    <a:pt x="49445" y="99138"/>
                  </a:lnTo>
                  <a:lnTo>
                    <a:pt x="52076" y="100479"/>
                  </a:lnTo>
                  <a:lnTo>
                    <a:pt x="53268" y="101124"/>
                  </a:lnTo>
                  <a:lnTo>
                    <a:pt x="54360" y="101720"/>
                  </a:lnTo>
                  <a:lnTo>
                    <a:pt x="55403" y="102415"/>
                  </a:lnTo>
                  <a:lnTo>
                    <a:pt x="56296" y="103060"/>
                  </a:lnTo>
                  <a:lnTo>
                    <a:pt x="57090" y="103706"/>
                  </a:lnTo>
                  <a:lnTo>
                    <a:pt x="57785" y="104351"/>
                  </a:lnTo>
                  <a:lnTo>
                    <a:pt x="58232" y="104947"/>
                  </a:lnTo>
                  <a:lnTo>
                    <a:pt x="58629" y="105543"/>
                  </a:lnTo>
                  <a:lnTo>
                    <a:pt x="58878" y="105940"/>
                  </a:lnTo>
                  <a:lnTo>
                    <a:pt x="59126" y="106287"/>
                  </a:lnTo>
                  <a:lnTo>
                    <a:pt x="59424" y="106635"/>
                  </a:lnTo>
                  <a:lnTo>
                    <a:pt x="59771" y="106933"/>
                  </a:lnTo>
                  <a:lnTo>
                    <a:pt x="60119" y="107230"/>
                  </a:lnTo>
                  <a:lnTo>
                    <a:pt x="60466" y="107479"/>
                  </a:lnTo>
                  <a:lnTo>
                    <a:pt x="60863" y="107677"/>
                  </a:lnTo>
                  <a:lnTo>
                    <a:pt x="61310" y="107876"/>
                  </a:lnTo>
                  <a:lnTo>
                    <a:pt x="61856" y="108074"/>
                  </a:lnTo>
                  <a:lnTo>
                    <a:pt x="62402" y="108223"/>
                  </a:lnTo>
                  <a:lnTo>
                    <a:pt x="62998" y="108372"/>
                  </a:lnTo>
                  <a:lnTo>
                    <a:pt x="63643" y="108471"/>
                  </a:lnTo>
                  <a:lnTo>
                    <a:pt x="64289" y="108521"/>
                  </a:lnTo>
                  <a:lnTo>
                    <a:pt x="65629" y="108521"/>
                  </a:lnTo>
                  <a:lnTo>
                    <a:pt x="66324" y="108471"/>
                  </a:lnTo>
                  <a:lnTo>
                    <a:pt x="66523" y="108422"/>
                  </a:lnTo>
                  <a:lnTo>
                    <a:pt x="67863" y="108223"/>
                  </a:lnTo>
                  <a:lnTo>
                    <a:pt x="69204" y="107975"/>
                  </a:lnTo>
                  <a:lnTo>
                    <a:pt x="70594" y="107578"/>
                  </a:lnTo>
                  <a:lnTo>
                    <a:pt x="71934" y="107131"/>
                  </a:lnTo>
                  <a:lnTo>
                    <a:pt x="73324" y="106585"/>
                  </a:lnTo>
                  <a:lnTo>
                    <a:pt x="74615" y="105989"/>
                  </a:lnTo>
                  <a:lnTo>
                    <a:pt x="75906" y="105344"/>
                  </a:lnTo>
                  <a:lnTo>
                    <a:pt x="77147" y="104599"/>
                  </a:lnTo>
                  <a:lnTo>
                    <a:pt x="78239" y="103855"/>
                  </a:lnTo>
                  <a:lnTo>
                    <a:pt x="79281" y="103110"/>
                  </a:lnTo>
                  <a:lnTo>
                    <a:pt x="80175" y="102316"/>
                  </a:lnTo>
                  <a:lnTo>
                    <a:pt x="80969" y="101472"/>
                  </a:lnTo>
                  <a:lnTo>
                    <a:pt x="81664" y="100628"/>
                  </a:lnTo>
                  <a:lnTo>
                    <a:pt x="82061" y="100032"/>
                  </a:lnTo>
                  <a:lnTo>
                    <a:pt x="82409" y="99387"/>
                  </a:lnTo>
                  <a:lnTo>
                    <a:pt x="82707" y="98741"/>
                  </a:lnTo>
                  <a:lnTo>
                    <a:pt x="82856" y="98096"/>
                  </a:lnTo>
                  <a:lnTo>
                    <a:pt x="82955" y="97451"/>
                  </a:lnTo>
                  <a:lnTo>
                    <a:pt x="82955" y="96805"/>
                  </a:lnTo>
                  <a:lnTo>
                    <a:pt x="82806" y="96160"/>
                  </a:lnTo>
                  <a:lnTo>
                    <a:pt x="82558" y="95564"/>
                  </a:lnTo>
                  <a:lnTo>
                    <a:pt x="82458" y="95366"/>
                  </a:lnTo>
                  <a:lnTo>
                    <a:pt x="82111" y="94671"/>
                  </a:lnTo>
                  <a:lnTo>
                    <a:pt x="81863" y="93926"/>
                  </a:lnTo>
                  <a:lnTo>
                    <a:pt x="81615" y="93181"/>
                  </a:lnTo>
                  <a:lnTo>
                    <a:pt x="81416" y="92337"/>
                  </a:lnTo>
                  <a:lnTo>
                    <a:pt x="81267" y="91493"/>
                  </a:lnTo>
                  <a:lnTo>
                    <a:pt x="81168" y="90600"/>
                  </a:lnTo>
                  <a:lnTo>
                    <a:pt x="81118" y="89657"/>
                  </a:lnTo>
                  <a:lnTo>
                    <a:pt x="81068" y="88664"/>
                  </a:lnTo>
                  <a:lnTo>
                    <a:pt x="81118" y="87373"/>
                  </a:lnTo>
                  <a:lnTo>
                    <a:pt x="81168" y="85983"/>
                  </a:lnTo>
                  <a:lnTo>
                    <a:pt x="81267" y="84494"/>
                  </a:lnTo>
                  <a:lnTo>
                    <a:pt x="81466" y="83004"/>
                  </a:lnTo>
                  <a:lnTo>
                    <a:pt x="81863" y="79827"/>
                  </a:lnTo>
                  <a:lnTo>
                    <a:pt x="82409" y="76451"/>
                  </a:lnTo>
                  <a:lnTo>
                    <a:pt x="83005" y="72927"/>
                  </a:lnTo>
                  <a:lnTo>
                    <a:pt x="83600" y="69203"/>
                  </a:lnTo>
                  <a:lnTo>
                    <a:pt x="84146" y="65281"/>
                  </a:lnTo>
                  <a:lnTo>
                    <a:pt x="84345" y="63296"/>
                  </a:lnTo>
                  <a:lnTo>
                    <a:pt x="84593" y="61260"/>
                  </a:lnTo>
                  <a:lnTo>
                    <a:pt x="84742" y="59225"/>
                  </a:lnTo>
                  <a:lnTo>
                    <a:pt x="84891" y="57140"/>
                  </a:lnTo>
                  <a:lnTo>
                    <a:pt x="84990" y="55055"/>
                  </a:lnTo>
                  <a:lnTo>
                    <a:pt x="85040" y="52920"/>
                  </a:lnTo>
                  <a:lnTo>
                    <a:pt x="85040" y="50736"/>
                  </a:lnTo>
                  <a:lnTo>
                    <a:pt x="84941" y="48601"/>
                  </a:lnTo>
                  <a:lnTo>
                    <a:pt x="84792" y="46367"/>
                  </a:lnTo>
                  <a:lnTo>
                    <a:pt x="84593" y="44183"/>
                  </a:lnTo>
                  <a:lnTo>
                    <a:pt x="84246" y="41949"/>
                  </a:lnTo>
                  <a:lnTo>
                    <a:pt x="83898" y="39715"/>
                  </a:lnTo>
                  <a:lnTo>
                    <a:pt x="83402" y="37481"/>
                  </a:lnTo>
                  <a:lnTo>
                    <a:pt x="82806" y="35247"/>
                  </a:lnTo>
                  <a:lnTo>
                    <a:pt x="82111" y="32963"/>
                  </a:lnTo>
                  <a:lnTo>
                    <a:pt x="81317" y="30729"/>
                  </a:lnTo>
                  <a:lnTo>
                    <a:pt x="80423" y="28446"/>
                  </a:lnTo>
                  <a:lnTo>
                    <a:pt x="79381" y="26212"/>
                  </a:lnTo>
                  <a:lnTo>
                    <a:pt x="78338" y="24176"/>
                  </a:lnTo>
                  <a:lnTo>
                    <a:pt x="77296" y="22290"/>
                  </a:lnTo>
                  <a:lnTo>
                    <a:pt x="76154" y="20404"/>
                  </a:lnTo>
                  <a:lnTo>
                    <a:pt x="74962" y="18666"/>
                  </a:lnTo>
                  <a:lnTo>
                    <a:pt x="73721" y="16978"/>
                  </a:lnTo>
                  <a:lnTo>
                    <a:pt x="72430" y="15340"/>
                  </a:lnTo>
                  <a:lnTo>
                    <a:pt x="71090" y="13801"/>
                  </a:lnTo>
                  <a:lnTo>
                    <a:pt x="69750" y="12361"/>
                  </a:lnTo>
                  <a:lnTo>
                    <a:pt x="68757" y="11418"/>
                  </a:lnTo>
                  <a:lnTo>
                    <a:pt x="67714" y="10475"/>
                  </a:lnTo>
                  <a:lnTo>
                    <a:pt x="66424" y="9383"/>
                  </a:lnTo>
                  <a:lnTo>
                    <a:pt x="65133" y="8340"/>
                  </a:lnTo>
                  <a:lnTo>
                    <a:pt x="63842" y="7347"/>
                  </a:lnTo>
                  <a:lnTo>
                    <a:pt x="62452" y="6454"/>
                  </a:lnTo>
                  <a:lnTo>
                    <a:pt x="61062" y="5610"/>
                  </a:lnTo>
                  <a:lnTo>
                    <a:pt x="59672" y="4815"/>
                  </a:lnTo>
                  <a:lnTo>
                    <a:pt x="58282" y="4071"/>
                  </a:lnTo>
                  <a:lnTo>
                    <a:pt x="56793" y="3425"/>
                  </a:lnTo>
                  <a:lnTo>
                    <a:pt x="55353" y="2780"/>
                  </a:lnTo>
                  <a:lnTo>
                    <a:pt x="53864" y="2234"/>
                  </a:lnTo>
                  <a:lnTo>
                    <a:pt x="52374" y="1738"/>
                  </a:lnTo>
                  <a:lnTo>
                    <a:pt x="50835" y="1340"/>
                  </a:lnTo>
                  <a:lnTo>
                    <a:pt x="49296" y="943"/>
                  </a:lnTo>
                  <a:lnTo>
                    <a:pt x="47757" y="645"/>
                  </a:lnTo>
                  <a:lnTo>
                    <a:pt x="46218" y="397"/>
                  </a:lnTo>
                  <a:lnTo>
                    <a:pt x="44630" y="199"/>
                  </a:lnTo>
                  <a:lnTo>
                    <a:pt x="43041" y="99"/>
                  </a:lnTo>
                  <a:lnTo>
                    <a:pt x="41453" y="0"/>
                  </a:lnTo>
                  <a:close/>
                </a:path>
              </a:pathLst>
            </a:custGeom>
            <a:solidFill>
              <a:srgbClr val="FFB60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94" name="Google Shape;12807;p79">
              <a:extLst>
                <a:ext uri="{FF2B5EF4-FFF2-40B4-BE49-F238E27FC236}">
                  <a16:creationId xmlns:a16="http://schemas.microsoft.com/office/drawing/2014/main" id="{50A5366D-725D-97F1-EAEE-DED583261E22}"/>
                </a:ext>
              </a:extLst>
            </p:cNvPr>
            <p:cNvSpPr/>
            <p:nvPr/>
          </p:nvSpPr>
          <p:spPr>
            <a:xfrm>
              <a:off x="5157442" y="2871510"/>
              <a:ext cx="820636" cy="1047237"/>
            </a:xfrm>
            <a:custGeom>
              <a:avLst/>
              <a:gdLst/>
              <a:ahLst/>
              <a:cxnLst/>
              <a:rect l="l" t="t" r="r" b="b"/>
              <a:pathLst>
                <a:path w="85040" h="108522" fill="none" extrusionOk="0">
                  <a:moveTo>
                    <a:pt x="6007" y="62799"/>
                  </a:moveTo>
                  <a:lnTo>
                    <a:pt x="6007" y="62799"/>
                  </a:lnTo>
                  <a:lnTo>
                    <a:pt x="6901" y="64586"/>
                  </a:lnTo>
                  <a:lnTo>
                    <a:pt x="7844" y="66274"/>
                  </a:lnTo>
                  <a:lnTo>
                    <a:pt x="8787" y="67913"/>
                  </a:lnTo>
                  <a:lnTo>
                    <a:pt x="9830" y="69501"/>
                  </a:lnTo>
                  <a:lnTo>
                    <a:pt x="10822" y="71040"/>
                  </a:lnTo>
                  <a:lnTo>
                    <a:pt x="11915" y="72529"/>
                  </a:lnTo>
                  <a:lnTo>
                    <a:pt x="13007" y="73919"/>
                  </a:lnTo>
                  <a:lnTo>
                    <a:pt x="14099" y="75309"/>
                  </a:lnTo>
                  <a:lnTo>
                    <a:pt x="15241" y="76650"/>
                  </a:lnTo>
                  <a:lnTo>
                    <a:pt x="16383" y="77891"/>
                  </a:lnTo>
                  <a:lnTo>
                    <a:pt x="17574" y="79132"/>
                  </a:lnTo>
                  <a:lnTo>
                    <a:pt x="18765" y="80274"/>
                  </a:lnTo>
                  <a:lnTo>
                    <a:pt x="19957" y="81416"/>
                  </a:lnTo>
                  <a:lnTo>
                    <a:pt x="21198" y="82508"/>
                  </a:lnTo>
                  <a:lnTo>
                    <a:pt x="22439" y="83550"/>
                  </a:lnTo>
                  <a:lnTo>
                    <a:pt x="23680" y="84593"/>
                  </a:lnTo>
                  <a:lnTo>
                    <a:pt x="24921" y="85536"/>
                  </a:lnTo>
                  <a:lnTo>
                    <a:pt x="26162" y="86479"/>
                  </a:lnTo>
                  <a:lnTo>
                    <a:pt x="27453" y="87373"/>
                  </a:lnTo>
                  <a:lnTo>
                    <a:pt x="28694" y="88217"/>
                  </a:lnTo>
                  <a:lnTo>
                    <a:pt x="31226" y="89805"/>
                  </a:lnTo>
                  <a:lnTo>
                    <a:pt x="33758" y="91295"/>
                  </a:lnTo>
                  <a:lnTo>
                    <a:pt x="36240" y="92685"/>
                  </a:lnTo>
                  <a:lnTo>
                    <a:pt x="38673" y="93976"/>
                  </a:lnTo>
                  <a:lnTo>
                    <a:pt x="41006" y="95167"/>
                  </a:lnTo>
                  <a:lnTo>
                    <a:pt x="43289" y="96259"/>
                  </a:lnTo>
                  <a:lnTo>
                    <a:pt x="43289" y="96259"/>
                  </a:lnTo>
                  <a:lnTo>
                    <a:pt x="49445" y="99138"/>
                  </a:lnTo>
                  <a:lnTo>
                    <a:pt x="52076" y="100479"/>
                  </a:lnTo>
                  <a:lnTo>
                    <a:pt x="53268" y="101124"/>
                  </a:lnTo>
                  <a:lnTo>
                    <a:pt x="54360" y="101720"/>
                  </a:lnTo>
                  <a:lnTo>
                    <a:pt x="54360" y="101720"/>
                  </a:lnTo>
                  <a:lnTo>
                    <a:pt x="55403" y="102415"/>
                  </a:lnTo>
                  <a:lnTo>
                    <a:pt x="56296" y="103060"/>
                  </a:lnTo>
                  <a:lnTo>
                    <a:pt x="57090" y="103706"/>
                  </a:lnTo>
                  <a:lnTo>
                    <a:pt x="57785" y="104351"/>
                  </a:lnTo>
                  <a:lnTo>
                    <a:pt x="57785" y="104351"/>
                  </a:lnTo>
                  <a:lnTo>
                    <a:pt x="58232" y="104947"/>
                  </a:lnTo>
                  <a:lnTo>
                    <a:pt x="58629" y="105543"/>
                  </a:lnTo>
                  <a:lnTo>
                    <a:pt x="58629" y="105543"/>
                  </a:lnTo>
                  <a:lnTo>
                    <a:pt x="58878" y="105940"/>
                  </a:lnTo>
                  <a:lnTo>
                    <a:pt x="59126" y="106287"/>
                  </a:lnTo>
                  <a:lnTo>
                    <a:pt x="59424" y="106635"/>
                  </a:lnTo>
                  <a:lnTo>
                    <a:pt x="59771" y="106933"/>
                  </a:lnTo>
                  <a:lnTo>
                    <a:pt x="60119" y="107230"/>
                  </a:lnTo>
                  <a:lnTo>
                    <a:pt x="60466" y="107479"/>
                  </a:lnTo>
                  <a:lnTo>
                    <a:pt x="60863" y="107677"/>
                  </a:lnTo>
                  <a:lnTo>
                    <a:pt x="61310" y="107876"/>
                  </a:lnTo>
                  <a:lnTo>
                    <a:pt x="61310" y="107876"/>
                  </a:lnTo>
                  <a:lnTo>
                    <a:pt x="61856" y="108074"/>
                  </a:lnTo>
                  <a:lnTo>
                    <a:pt x="62402" y="108223"/>
                  </a:lnTo>
                  <a:lnTo>
                    <a:pt x="62998" y="108372"/>
                  </a:lnTo>
                  <a:lnTo>
                    <a:pt x="63643" y="108471"/>
                  </a:lnTo>
                  <a:lnTo>
                    <a:pt x="64289" y="108521"/>
                  </a:lnTo>
                  <a:lnTo>
                    <a:pt x="64934" y="108521"/>
                  </a:lnTo>
                  <a:lnTo>
                    <a:pt x="65629" y="108521"/>
                  </a:lnTo>
                  <a:lnTo>
                    <a:pt x="66324" y="108471"/>
                  </a:lnTo>
                  <a:lnTo>
                    <a:pt x="66324" y="108471"/>
                  </a:lnTo>
                  <a:lnTo>
                    <a:pt x="66523" y="108422"/>
                  </a:lnTo>
                  <a:lnTo>
                    <a:pt x="66523" y="108422"/>
                  </a:lnTo>
                  <a:lnTo>
                    <a:pt x="67863" y="108223"/>
                  </a:lnTo>
                  <a:lnTo>
                    <a:pt x="69204" y="107975"/>
                  </a:lnTo>
                  <a:lnTo>
                    <a:pt x="70594" y="107578"/>
                  </a:lnTo>
                  <a:lnTo>
                    <a:pt x="71934" y="107131"/>
                  </a:lnTo>
                  <a:lnTo>
                    <a:pt x="73324" y="106585"/>
                  </a:lnTo>
                  <a:lnTo>
                    <a:pt x="74615" y="105989"/>
                  </a:lnTo>
                  <a:lnTo>
                    <a:pt x="75906" y="105344"/>
                  </a:lnTo>
                  <a:lnTo>
                    <a:pt x="77147" y="104599"/>
                  </a:lnTo>
                  <a:lnTo>
                    <a:pt x="77147" y="104599"/>
                  </a:lnTo>
                  <a:lnTo>
                    <a:pt x="77147" y="104599"/>
                  </a:lnTo>
                  <a:lnTo>
                    <a:pt x="78239" y="103855"/>
                  </a:lnTo>
                  <a:lnTo>
                    <a:pt x="78239" y="103855"/>
                  </a:lnTo>
                  <a:lnTo>
                    <a:pt x="79281" y="103110"/>
                  </a:lnTo>
                  <a:lnTo>
                    <a:pt x="80175" y="102316"/>
                  </a:lnTo>
                  <a:lnTo>
                    <a:pt x="80969" y="101472"/>
                  </a:lnTo>
                  <a:lnTo>
                    <a:pt x="81664" y="100628"/>
                  </a:lnTo>
                  <a:lnTo>
                    <a:pt x="81664" y="100628"/>
                  </a:lnTo>
                  <a:lnTo>
                    <a:pt x="82061" y="100032"/>
                  </a:lnTo>
                  <a:lnTo>
                    <a:pt x="82409" y="99387"/>
                  </a:lnTo>
                  <a:lnTo>
                    <a:pt x="82707" y="98741"/>
                  </a:lnTo>
                  <a:lnTo>
                    <a:pt x="82856" y="98096"/>
                  </a:lnTo>
                  <a:lnTo>
                    <a:pt x="82955" y="97451"/>
                  </a:lnTo>
                  <a:lnTo>
                    <a:pt x="82955" y="96805"/>
                  </a:lnTo>
                  <a:lnTo>
                    <a:pt x="82806" y="96160"/>
                  </a:lnTo>
                  <a:lnTo>
                    <a:pt x="82558" y="95564"/>
                  </a:lnTo>
                  <a:lnTo>
                    <a:pt x="82558" y="95564"/>
                  </a:lnTo>
                  <a:lnTo>
                    <a:pt x="82458" y="95366"/>
                  </a:lnTo>
                  <a:lnTo>
                    <a:pt x="82458" y="95366"/>
                  </a:lnTo>
                  <a:lnTo>
                    <a:pt x="82111" y="94671"/>
                  </a:lnTo>
                  <a:lnTo>
                    <a:pt x="81863" y="93926"/>
                  </a:lnTo>
                  <a:lnTo>
                    <a:pt x="81615" y="93181"/>
                  </a:lnTo>
                  <a:lnTo>
                    <a:pt x="81416" y="92337"/>
                  </a:lnTo>
                  <a:lnTo>
                    <a:pt x="81267" y="91493"/>
                  </a:lnTo>
                  <a:lnTo>
                    <a:pt x="81168" y="90600"/>
                  </a:lnTo>
                  <a:lnTo>
                    <a:pt x="81118" y="89657"/>
                  </a:lnTo>
                  <a:lnTo>
                    <a:pt x="81068" y="88664"/>
                  </a:lnTo>
                  <a:lnTo>
                    <a:pt x="81068" y="88664"/>
                  </a:lnTo>
                  <a:lnTo>
                    <a:pt x="81118" y="87373"/>
                  </a:lnTo>
                  <a:lnTo>
                    <a:pt x="81168" y="85983"/>
                  </a:lnTo>
                  <a:lnTo>
                    <a:pt x="81267" y="84494"/>
                  </a:lnTo>
                  <a:lnTo>
                    <a:pt x="81466" y="83004"/>
                  </a:lnTo>
                  <a:lnTo>
                    <a:pt x="81863" y="79827"/>
                  </a:lnTo>
                  <a:lnTo>
                    <a:pt x="82409" y="76451"/>
                  </a:lnTo>
                  <a:lnTo>
                    <a:pt x="83005" y="72927"/>
                  </a:lnTo>
                  <a:lnTo>
                    <a:pt x="83600" y="69203"/>
                  </a:lnTo>
                  <a:lnTo>
                    <a:pt x="84146" y="65281"/>
                  </a:lnTo>
                  <a:lnTo>
                    <a:pt x="84345" y="63296"/>
                  </a:lnTo>
                  <a:lnTo>
                    <a:pt x="84593" y="61260"/>
                  </a:lnTo>
                  <a:lnTo>
                    <a:pt x="84742" y="59225"/>
                  </a:lnTo>
                  <a:lnTo>
                    <a:pt x="84891" y="57140"/>
                  </a:lnTo>
                  <a:lnTo>
                    <a:pt x="84990" y="55055"/>
                  </a:lnTo>
                  <a:lnTo>
                    <a:pt x="85040" y="52920"/>
                  </a:lnTo>
                  <a:lnTo>
                    <a:pt x="85040" y="50736"/>
                  </a:lnTo>
                  <a:lnTo>
                    <a:pt x="84941" y="48601"/>
                  </a:lnTo>
                  <a:lnTo>
                    <a:pt x="84792" y="46367"/>
                  </a:lnTo>
                  <a:lnTo>
                    <a:pt x="84593" y="44183"/>
                  </a:lnTo>
                  <a:lnTo>
                    <a:pt x="84246" y="41949"/>
                  </a:lnTo>
                  <a:lnTo>
                    <a:pt x="83898" y="39715"/>
                  </a:lnTo>
                  <a:lnTo>
                    <a:pt x="83402" y="37481"/>
                  </a:lnTo>
                  <a:lnTo>
                    <a:pt x="82806" y="35247"/>
                  </a:lnTo>
                  <a:lnTo>
                    <a:pt x="82111" y="32963"/>
                  </a:lnTo>
                  <a:lnTo>
                    <a:pt x="81317" y="30729"/>
                  </a:lnTo>
                  <a:lnTo>
                    <a:pt x="80423" y="28446"/>
                  </a:lnTo>
                  <a:lnTo>
                    <a:pt x="79381" y="26212"/>
                  </a:lnTo>
                  <a:lnTo>
                    <a:pt x="79381" y="26212"/>
                  </a:lnTo>
                  <a:lnTo>
                    <a:pt x="78338" y="24176"/>
                  </a:lnTo>
                  <a:lnTo>
                    <a:pt x="77296" y="22290"/>
                  </a:lnTo>
                  <a:lnTo>
                    <a:pt x="76154" y="20404"/>
                  </a:lnTo>
                  <a:lnTo>
                    <a:pt x="74962" y="18666"/>
                  </a:lnTo>
                  <a:lnTo>
                    <a:pt x="73721" y="16978"/>
                  </a:lnTo>
                  <a:lnTo>
                    <a:pt x="72430" y="15340"/>
                  </a:lnTo>
                  <a:lnTo>
                    <a:pt x="71090" y="13801"/>
                  </a:lnTo>
                  <a:lnTo>
                    <a:pt x="69750" y="12361"/>
                  </a:lnTo>
                  <a:lnTo>
                    <a:pt x="69750" y="12361"/>
                  </a:lnTo>
                  <a:lnTo>
                    <a:pt x="68757" y="11418"/>
                  </a:lnTo>
                  <a:lnTo>
                    <a:pt x="67714" y="10475"/>
                  </a:lnTo>
                  <a:lnTo>
                    <a:pt x="67714" y="10475"/>
                  </a:lnTo>
                  <a:lnTo>
                    <a:pt x="66424" y="9383"/>
                  </a:lnTo>
                  <a:lnTo>
                    <a:pt x="65133" y="8340"/>
                  </a:lnTo>
                  <a:lnTo>
                    <a:pt x="63842" y="7347"/>
                  </a:lnTo>
                  <a:lnTo>
                    <a:pt x="62452" y="6454"/>
                  </a:lnTo>
                  <a:lnTo>
                    <a:pt x="61062" y="5610"/>
                  </a:lnTo>
                  <a:lnTo>
                    <a:pt x="59672" y="4815"/>
                  </a:lnTo>
                  <a:lnTo>
                    <a:pt x="58282" y="4071"/>
                  </a:lnTo>
                  <a:lnTo>
                    <a:pt x="56793" y="3425"/>
                  </a:lnTo>
                  <a:lnTo>
                    <a:pt x="55353" y="2780"/>
                  </a:lnTo>
                  <a:lnTo>
                    <a:pt x="53864" y="2234"/>
                  </a:lnTo>
                  <a:lnTo>
                    <a:pt x="52374" y="1738"/>
                  </a:lnTo>
                  <a:lnTo>
                    <a:pt x="50835" y="1340"/>
                  </a:lnTo>
                  <a:lnTo>
                    <a:pt x="49296" y="943"/>
                  </a:lnTo>
                  <a:lnTo>
                    <a:pt x="47757" y="645"/>
                  </a:lnTo>
                  <a:lnTo>
                    <a:pt x="46218" y="397"/>
                  </a:lnTo>
                  <a:lnTo>
                    <a:pt x="44630" y="199"/>
                  </a:lnTo>
                  <a:lnTo>
                    <a:pt x="43041" y="99"/>
                  </a:lnTo>
                  <a:lnTo>
                    <a:pt x="41453" y="0"/>
                  </a:lnTo>
                  <a:lnTo>
                    <a:pt x="39864" y="0"/>
                  </a:lnTo>
                  <a:lnTo>
                    <a:pt x="38275" y="50"/>
                  </a:lnTo>
                  <a:lnTo>
                    <a:pt x="36637" y="199"/>
                  </a:lnTo>
                  <a:lnTo>
                    <a:pt x="35049" y="348"/>
                  </a:lnTo>
                  <a:lnTo>
                    <a:pt x="33410" y="596"/>
                  </a:lnTo>
                  <a:lnTo>
                    <a:pt x="31822" y="894"/>
                  </a:lnTo>
                  <a:lnTo>
                    <a:pt x="30184" y="1241"/>
                  </a:lnTo>
                  <a:lnTo>
                    <a:pt x="28595" y="1688"/>
                  </a:lnTo>
                  <a:lnTo>
                    <a:pt x="26957" y="2184"/>
                  </a:lnTo>
                  <a:lnTo>
                    <a:pt x="25368" y="2730"/>
                  </a:lnTo>
                  <a:lnTo>
                    <a:pt x="23730" y="3326"/>
                  </a:lnTo>
                  <a:lnTo>
                    <a:pt x="22141" y="3971"/>
                  </a:lnTo>
                  <a:lnTo>
                    <a:pt x="20553" y="4716"/>
                  </a:lnTo>
                  <a:lnTo>
                    <a:pt x="18964" y="5510"/>
                  </a:lnTo>
                  <a:lnTo>
                    <a:pt x="18964" y="5510"/>
                  </a:lnTo>
                  <a:lnTo>
                    <a:pt x="18468" y="5808"/>
                  </a:lnTo>
                  <a:lnTo>
                    <a:pt x="18468" y="5808"/>
                  </a:lnTo>
                  <a:lnTo>
                    <a:pt x="17425" y="6404"/>
                  </a:lnTo>
                  <a:lnTo>
                    <a:pt x="16383" y="7000"/>
                  </a:lnTo>
                  <a:lnTo>
                    <a:pt x="15390" y="7595"/>
                  </a:lnTo>
                  <a:lnTo>
                    <a:pt x="14446" y="8241"/>
                  </a:lnTo>
                  <a:lnTo>
                    <a:pt x="13553" y="8936"/>
                  </a:lnTo>
                  <a:lnTo>
                    <a:pt x="12709" y="9581"/>
                  </a:lnTo>
                  <a:lnTo>
                    <a:pt x="11865" y="10276"/>
                  </a:lnTo>
                  <a:lnTo>
                    <a:pt x="11021" y="11021"/>
                  </a:lnTo>
                  <a:lnTo>
                    <a:pt x="10276" y="11716"/>
                  </a:lnTo>
                  <a:lnTo>
                    <a:pt x="9532" y="12461"/>
                  </a:lnTo>
                  <a:lnTo>
                    <a:pt x="8787" y="13255"/>
                  </a:lnTo>
                  <a:lnTo>
                    <a:pt x="8092" y="14049"/>
                  </a:lnTo>
                  <a:lnTo>
                    <a:pt x="7447" y="14843"/>
                  </a:lnTo>
                  <a:lnTo>
                    <a:pt x="6851" y="15638"/>
                  </a:lnTo>
                  <a:lnTo>
                    <a:pt x="6255" y="16432"/>
                  </a:lnTo>
                  <a:lnTo>
                    <a:pt x="5659" y="17276"/>
                  </a:lnTo>
                  <a:lnTo>
                    <a:pt x="5163" y="18120"/>
                  </a:lnTo>
                  <a:lnTo>
                    <a:pt x="4617" y="19014"/>
                  </a:lnTo>
                  <a:lnTo>
                    <a:pt x="4170" y="19857"/>
                  </a:lnTo>
                  <a:lnTo>
                    <a:pt x="3723" y="20751"/>
                  </a:lnTo>
                  <a:lnTo>
                    <a:pt x="2879" y="22538"/>
                  </a:lnTo>
                  <a:lnTo>
                    <a:pt x="2184" y="24375"/>
                  </a:lnTo>
                  <a:lnTo>
                    <a:pt x="1589" y="26262"/>
                  </a:lnTo>
                  <a:lnTo>
                    <a:pt x="1092" y="28148"/>
                  </a:lnTo>
                  <a:lnTo>
                    <a:pt x="645" y="30084"/>
                  </a:lnTo>
                  <a:lnTo>
                    <a:pt x="348" y="32020"/>
                  </a:lnTo>
                  <a:lnTo>
                    <a:pt x="149" y="34006"/>
                  </a:lnTo>
                  <a:lnTo>
                    <a:pt x="0" y="35942"/>
                  </a:lnTo>
                  <a:lnTo>
                    <a:pt x="0" y="37928"/>
                  </a:lnTo>
                  <a:lnTo>
                    <a:pt x="0" y="39963"/>
                  </a:lnTo>
                  <a:lnTo>
                    <a:pt x="149" y="41949"/>
                  </a:lnTo>
                  <a:lnTo>
                    <a:pt x="348" y="43935"/>
                  </a:lnTo>
                  <a:lnTo>
                    <a:pt x="645" y="45920"/>
                  </a:lnTo>
                  <a:lnTo>
                    <a:pt x="993" y="47906"/>
                  </a:lnTo>
                  <a:lnTo>
                    <a:pt x="1390" y="49842"/>
                  </a:lnTo>
                  <a:lnTo>
                    <a:pt x="1887" y="51778"/>
                  </a:lnTo>
                  <a:lnTo>
                    <a:pt x="2433" y="53714"/>
                  </a:lnTo>
                  <a:lnTo>
                    <a:pt x="3028" y="55601"/>
                  </a:lnTo>
                  <a:lnTo>
                    <a:pt x="3723" y="57487"/>
                  </a:lnTo>
                  <a:lnTo>
                    <a:pt x="4418" y="59275"/>
                  </a:lnTo>
                  <a:lnTo>
                    <a:pt x="5213" y="61062"/>
                  </a:lnTo>
                  <a:lnTo>
                    <a:pt x="6007" y="62799"/>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95" name="Google Shape;12808;p79">
              <a:extLst>
                <a:ext uri="{FF2B5EF4-FFF2-40B4-BE49-F238E27FC236}">
                  <a16:creationId xmlns:a16="http://schemas.microsoft.com/office/drawing/2014/main" id="{9038A235-285E-44B8-6A87-1CAB0219441E}"/>
                </a:ext>
              </a:extLst>
            </p:cNvPr>
            <p:cNvSpPr/>
            <p:nvPr/>
          </p:nvSpPr>
          <p:spPr>
            <a:xfrm>
              <a:off x="5673872" y="3003252"/>
              <a:ext cx="205999" cy="252473"/>
            </a:xfrm>
            <a:custGeom>
              <a:avLst/>
              <a:gdLst/>
              <a:ahLst/>
              <a:cxnLst/>
              <a:rect l="l" t="t" r="r" b="b"/>
              <a:pathLst>
                <a:path w="21347" h="26163" extrusionOk="0">
                  <a:moveTo>
                    <a:pt x="3972" y="0"/>
                  </a:moveTo>
                  <a:lnTo>
                    <a:pt x="3525" y="50"/>
                  </a:lnTo>
                  <a:lnTo>
                    <a:pt x="3028" y="99"/>
                  </a:lnTo>
                  <a:lnTo>
                    <a:pt x="2582" y="248"/>
                  </a:lnTo>
                  <a:lnTo>
                    <a:pt x="2135" y="447"/>
                  </a:lnTo>
                  <a:lnTo>
                    <a:pt x="1738" y="695"/>
                  </a:lnTo>
                  <a:lnTo>
                    <a:pt x="1341" y="993"/>
                  </a:lnTo>
                  <a:lnTo>
                    <a:pt x="993" y="1340"/>
                  </a:lnTo>
                  <a:lnTo>
                    <a:pt x="695" y="1738"/>
                  </a:lnTo>
                  <a:lnTo>
                    <a:pt x="497" y="2085"/>
                  </a:lnTo>
                  <a:lnTo>
                    <a:pt x="298" y="2433"/>
                  </a:lnTo>
                  <a:lnTo>
                    <a:pt x="149" y="2830"/>
                  </a:lnTo>
                  <a:lnTo>
                    <a:pt x="99" y="3227"/>
                  </a:lnTo>
                  <a:lnTo>
                    <a:pt x="0" y="3574"/>
                  </a:lnTo>
                  <a:lnTo>
                    <a:pt x="0" y="3972"/>
                  </a:lnTo>
                  <a:lnTo>
                    <a:pt x="0" y="4369"/>
                  </a:lnTo>
                  <a:lnTo>
                    <a:pt x="50" y="4716"/>
                  </a:lnTo>
                  <a:lnTo>
                    <a:pt x="149" y="5113"/>
                  </a:lnTo>
                  <a:lnTo>
                    <a:pt x="298" y="5461"/>
                  </a:lnTo>
                  <a:lnTo>
                    <a:pt x="447" y="5808"/>
                  </a:lnTo>
                  <a:lnTo>
                    <a:pt x="645" y="6156"/>
                  </a:lnTo>
                  <a:lnTo>
                    <a:pt x="844" y="6454"/>
                  </a:lnTo>
                  <a:lnTo>
                    <a:pt x="1092" y="6752"/>
                  </a:lnTo>
                  <a:lnTo>
                    <a:pt x="1390" y="7000"/>
                  </a:lnTo>
                  <a:lnTo>
                    <a:pt x="1738" y="7248"/>
                  </a:lnTo>
                  <a:lnTo>
                    <a:pt x="2780" y="8042"/>
                  </a:lnTo>
                  <a:lnTo>
                    <a:pt x="3773" y="8787"/>
                  </a:lnTo>
                  <a:lnTo>
                    <a:pt x="4766" y="9631"/>
                  </a:lnTo>
                  <a:lnTo>
                    <a:pt x="5709" y="10475"/>
                  </a:lnTo>
                  <a:lnTo>
                    <a:pt x="6553" y="11368"/>
                  </a:lnTo>
                  <a:lnTo>
                    <a:pt x="7397" y="12262"/>
                  </a:lnTo>
                  <a:lnTo>
                    <a:pt x="8191" y="13205"/>
                  </a:lnTo>
                  <a:lnTo>
                    <a:pt x="8986" y="14198"/>
                  </a:lnTo>
                  <a:lnTo>
                    <a:pt x="9681" y="15241"/>
                  </a:lnTo>
                  <a:lnTo>
                    <a:pt x="10326" y="16283"/>
                  </a:lnTo>
                  <a:lnTo>
                    <a:pt x="10922" y="17425"/>
                  </a:lnTo>
                  <a:lnTo>
                    <a:pt x="11517" y="18517"/>
                  </a:lnTo>
                  <a:lnTo>
                    <a:pt x="12064" y="19709"/>
                  </a:lnTo>
                  <a:lnTo>
                    <a:pt x="12560" y="20900"/>
                  </a:lnTo>
                  <a:lnTo>
                    <a:pt x="13007" y="22091"/>
                  </a:lnTo>
                  <a:lnTo>
                    <a:pt x="13404" y="23333"/>
                  </a:lnTo>
                  <a:lnTo>
                    <a:pt x="13702" y="23978"/>
                  </a:lnTo>
                  <a:lnTo>
                    <a:pt x="14049" y="24524"/>
                  </a:lnTo>
                  <a:lnTo>
                    <a:pt x="14446" y="24971"/>
                  </a:lnTo>
                  <a:lnTo>
                    <a:pt x="14943" y="25418"/>
                  </a:lnTo>
                  <a:lnTo>
                    <a:pt x="15439" y="25715"/>
                  </a:lnTo>
                  <a:lnTo>
                    <a:pt x="16035" y="25964"/>
                  </a:lnTo>
                  <a:lnTo>
                    <a:pt x="16680" y="26113"/>
                  </a:lnTo>
                  <a:lnTo>
                    <a:pt x="17276" y="26162"/>
                  </a:lnTo>
                  <a:lnTo>
                    <a:pt x="17922" y="26113"/>
                  </a:lnTo>
                  <a:lnTo>
                    <a:pt x="18567" y="25964"/>
                  </a:lnTo>
                  <a:lnTo>
                    <a:pt x="18914" y="25815"/>
                  </a:lnTo>
                  <a:lnTo>
                    <a:pt x="19312" y="25616"/>
                  </a:lnTo>
                  <a:lnTo>
                    <a:pt x="19659" y="25418"/>
                  </a:lnTo>
                  <a:lnTo>
                    <a:pt x="19957" y="25169"/>
                  </a:lnTo>
                  <a:lnTo>
                    <a:pt x="20255" y="24872"/>
                  </a:lnTo>
                  <a:lnTo>
                    <a:pt x="20503" y="24574"/>
                  </a:lnTo>
                  <a:lnTo>
                    <a:pt x="20702" y="24276"/>
                  </a:lnTo>
                  <a:lnTo>
                    <a:pt x="20900" y="23928"/>
                  </a:lnTo>
                  <a:lnTo>
                    <a:pt x="21099" y="23581"/>
                  </a:lnTo>
                  <a:lnTo>
                    <a:pt x="21198" y="23233"/>
                  </a:lnTo>
                  <a:lnTo>
                    <a:pt x="21297" y="22836"/>
                  </a:lnTo>
                  <a:lnTo>
                    <a:pt x="21347" y="22439"/>
                  </a:lnTo>
                  <a:lnTo>
                    <a:pt x="21347" y="22042"/>
                  </a:lnTo>
                  <a:lnTo>
                    <a:pt x="21347" y="21645"/>
                  </a:lnTo>
                  <a:lnTo>
                    <a:pt x="21248" y="21248"/>
                  </a:lnTo>
                  <a:lnTo>
                    <a:pt x="21148" y="20850"/>
                  </a:lnTo>
                  <a:lnTo>
                    <a:pt x="21148" y="20801"/>
                  </a:lnTo>
                  <a:lnTo>
                    <a:pt x="20652" y="19311"/>
                  </a:lnTo>
                  <a:lnTo>
                    <a:pt x="20056" y="17872"/>
                  </a:lnTo>
                  <a:lnTo>
                    <a:pt x="19461" y="16432"/>
                  </a:lnTo>
                  <a:lnTo>
                    <a:pt x="18765" y="14992"/>
                  </a:lnTo>
                  <a:lnTo>
                    <a:pt x="18070" y="13553"/>
                  </a:lnTo>
                  <a:lnTo>
                    <a:pt x="17276" y="12163"/>
                  </a:lnTo>
                  <a:lnTo>
                    <a:pt x="16383" y="10822"/>
                  </a:lnTo>
                  <a:lnTo>
                    <a:pt x="15489" y="9482"/>
                  </a:lnTo>
                  <a:lnTo>
                    <a:pt x="14496" y="8191"/>
                  </a:lnTo>
                  <a:lnTo>
                    <a:pt x="13454" y="6950"/>
                  </a:lnTo>
                  <a:lnTo>
                    <a:pt x="12312" y="5759"/>
                  </a:lnTo>
                  <a:lnTo>
                    <a:pt x="11170" y="4667"/>
                  </a:lnTo>
                  <a:lnTo>
                    <a:pt x="9979" y="3574"/>
                  </a:lnTo>
                  <a:lnTo>
                    <a:pt x="8737" y="2581"/>
                  </a:lnTo>
                  <a:lnTo>
                    <a:pt x="7496" y="1589"/>
                  </a:lnTo>
                  <a:lnTo>
                    <a:pt x="6206" y="695"/>
                  </a:lnTo>
                  <a:lnTo>
                    <a:pt x="5709" y="397"/>
                  </a:lnTo>
                  <a:lnTo>
                    <a:pt x="5113" y="199"/>
                  </a:lnTo>
                  <a:lnTo>
                    <a:pt x="4567" y="50"/>
                  </a:lnTo>
                  <a:lnTo>
                    <a:pt x="3972" y="0"/>
                  </a:lnTo>
                  <a:close/>
                </a:path>
              </a:pathLst>
            </a:custGeom>
            <a:solidFill>
              <a:srgbClr val="FFE6A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96" name="Google Shape;12809;p79">
              <a:extLst>
                <a:ext uri="{FF2B5EF4-FFF2-40B4-BE49-F238E27FC236}">
                  <a16:creationId xmlns:a16="http://schemas.microsoft.com/office/drawing/2014/main" id="{71303C0B-027C-0DCA-2995-2D541E5544CE}"/>
                </a:ext>
              </a:extLst>
            </p:cNvPr>
            <p:cNvSpPr/>
            <p:nvPr/>
          </p:nvSpPr>
          <p:spPr>
            <a:xfrm>
              <a:off x="5673872" y="3003252"/>
              <a:ext cx="205999" cy="252473"/>
            </a:xfrm>
            <a:custGeom>
              <a:avLst/>
              <a:gdLst/>
              <a:ahLst/>
              <a:cxnLst/>
              <a:rect l="l" t="t" r="r" b="b"/>
              <a:pathLst>
                <a:path w="21347" h="26163" fill="none" extrusionOk="0">
                  <a:moveTo>
                    <a:pt x="3972" y="0"/>
                  </a:moveTo>
                  <a:lnTo>
                    <a:pt x="3972" y="0"/>
                  </a:lnTo>
                  <a:lnTo>
                    <a:pt x="3525" y="50"/>
                  </a:lnTo>
                  <a:lnTo>
                    <a:pt x="3028" y="99"/>
                  </a:lnTo>
                  <a:lnTo>
                    <a:pt x="2582" y="248"/>
                  </a:lnTo>
                  <a:lnTo>
                    <a:pt x="2135" y="447"/>
                  </a:lnTo>
                  <a:lnTo>
                    <a:pt x="1738" y="695"/>
                  </a:lnTo>
                  <a:lnTo>
                    <a:pt x="1341" y="993"/>
                  </a:lnTo>
                  <a:lnTo>
                    <a:pt x="993" y="1340"/>
                  </a:lnTo>
                  <a:lnTo>
                    <a:pt x="695" y="1738"/>
                  </a:lnTo>
                  <a:lnTo>
                    <a:pt x="695" y="1738"/>
                  </a:lnTo>
                  <a:lnTo>
                    <a:pt x="497" y="2085"/>
                  </a:lnTo>
                  <a:lnTo>
                    <a:pt x="298" y="2433"/>
                  </a:lnTo>
                  <a:lnTo>
                    <a:pt x="149" y="2830"/>
                  </a:lnTo>
                  <a:lnTo>
                    <a:pt x="99" y="3227"/>
                  </a:lnTo>
                  <a:lnTo>
                    <a:pt x="0" y="3574"/>
                  </a:lnTo>
                  <a:lnTo>
                    <a:pt x="0" y="3972"/>
                  </a:lnTo>
                  <a:lnTo>
                    <a:pt x="0" y="4369"/>
                  </a:lnTo>
                  <a:lnTo>
                    <a:pt x="50" y="4716"/>
                  </a:lnTo>
                  <a:lnTo>
                    <a:pt x="149" y="5113"/>
                  </a:lnTo>
                  <a:lnTo>
                    <a:pt x="298" y="5461"/>
                  </a:lnTo>
                  <a:lnTo>
                    <a:pt x="447" y="5808"/>
                  </a:lnTo>
                  <a:lnTo>
                    <a:pt x="645" y="6156"/>
                  </a:lnTo>
                  <a:lnTo>
                    <a:pt x="844" y="6454"/>
                  </a:lnTo>
                  <a:lnTo>
                    <a:pt x="1092" y="6752"/>
                  </a:lnTo>
                  <a:lnTo>
                    <a:pt x="1390" y="7000"/>
                  </a:lnTo>
                  <a:lnTo>
                    <a:pt x="1738" y="7248"/>
                  </a:lnTo>
                  <a:lnTo>
                    <a:pt x="1738" y="7248"/>
                  </a:lnTo>
                  <a:lnTo>
                    <a:pt x="2780" y="8042"/>
                  </a:lnTo>
                  <a:lnTo>
                    <a:pt x="3773" y="8787"/>
                  </a:lnTo>
                  <a:lnTo>
                    <a:pt x="4766" y="9631"/>
                  </a:lnTo>
                  <a:lnTo>
                    <a:pt x="5709" y="10475"/>
                  </a:lnTo>
                  <a:lnTo>
                    <a:pt x="6553" y="11368"/>
                  </a:lnTo>
                  <a:lnTo>
                    <a:pt x="7397" y="12262"/>
                  </a:lnTo>
                  <a:lnTo>
                    <a:pt x="8191" y="13205"/>
                  </a:lnTo>
                  <a:lnTo>
                    <a:pt x="8986" y="14198"/>
                  </a:lnTo>
                  <a:lnTo>
                    <a:pt x="8986" y="14198"/>
                  </a:lnTo>
                  <a:lnTo>
                    <a:pt x="9681" y="15241"/>
                  </a:lnTo>
                  <a:lnTo>
                    <a:pt x="10326" y="16283"/>
                  </a:lnTo>
                  <a:lnTo>
                    <a:pt x="10922" y="17425"/>
                  </a:lnTo>
                  <a:lnTo>
                    <a:pt x="11517" y="18517"/>
                  </a:lnTo>
                  <a:lnTo>
                    <a:pt x="12064" y="19709"/>
                  </a:lnTo>
                  <a:lnTo>
                    <a:pt x="12560" y="20900"/>
                  </a:lnTo>
                  <a:lnTo>
                    <a:pt x="13007" y="22091"/>
                  </a:lnTo>
                  <a:lnTo>
                    <a:pt x="13404" y="23333"/>
                  </a:lnTo>
                  <a:lnTo>
                    <a:pt x="13404" y="23333"/>
                  </a:lnTo>
                  <a:lnTo>
                    <a:pt x="13404" y="23333"/>
                  </a:lnTo>
                  <a:lnTo>
                    <a:pt x="13702" y="23978"/>
                  </a:lnTo>
                  <a:lnTo>
                    <a:pt x="14049" y="24524"/>
                  </a:lnTo>
                  <a:lnTo>
                    <a:pt x="14446" y="24971"/>
                  </a:lnTo>
                  <a:lnTo>
                    <a:pt x="14943" y="25418"/>
                  </a:lnTo>
                  <a:lnTo>
                    <a:pt x="15439" y="25715"/>
                  </a:lnTo>
                  <a:lnTo>
                    <a:pt x="16035" y="25964"/>
                  </a:lnTo>
                  <a:lnTo>
                    <a:pt x="16680" y="26113"/>
                  </a:lnTo>
                  <a:lnTo>
                    <a:pt x="17276" y="26162"/>
                  </a:lnTo>
                  <a:lnTo>
                    <a:pt x="17276" y="26162"/>
                  </a:lnTo>
                  <a:lnTo>
                    <a:pt x="17922" y="26113"/>
                  </a:lnTo>
                  <a:lnTo>
                    <a:pt x="18567" y="25964"/>
                  </a:lnTo>
                  <a:lnTo>
                    <a:pt x="18567" y="25964"/>
                  </a:lnTo>
                  <a:lnTo>
                    <a:pt x="18914" y="25815"/>
                  </a:lnTo>
                  <a:lnTo>
                    <a:pt x="19312" y="25616"/>
                  </a:lnTo>
                  <a:lnTo>
                    <a:pt x="19659" y="25418"/>
                  </a:lnTo>
                  <a:lnTo>
                    <a:pt x="19957" y="25169"/>
                  </a:lnTo>
                  <a:lnTo>
                    <a:pt x="20255" y="24872"/>
                  </a:lnTo>
                  <a:lnTo>
                    <a:pt x="20503" y="24574"/>
                  </a:lnTo>
                  <a:lnTo>
                    <a:pt x="20702" y="24276"/>
                  </a:lnTo>
                  <a:lnTo>
                    <a:pt x="20900" y="23928"/>
                  </a:lnTo>
                  <a:lnTo>
                    <a:pt x="21099" y="23581"/>
                  </a:lnTo>
                  <a:lnTo>
                    <a:pt x="21198" y="23233"/>
                  </a:lnTo>
                  <a:lnTo>
                    <a:pt x="21297" y="22836"/>
                  </a:lnTo>
                  <a:lnTo>
                    <a:pt x="21347" y="22439"/>
                  </a:lnTo>
                  <a:lnTo>
                    <a:pt x="21347" y="22042"/>
                  </a:lnTo>
                  <a:lnTo>
                    <a:pt x="21347" y="21645"/>
                  </a:lnTo>
                  <a:lnTo>
                    <a:pt x="21248" y="21248"/>
                  </a:lnTo>
                  <a:lnTo>
                    <a:pt x="21148" y="20850"/>
                  </a:lnTo>
                  <a:lnTo>
                    <a:pt x="21148" y="20801"/>
                  </a:lnTo>
                  <a:lnTo>
                    <a:pt x="21148" y="20801"/>
                  </a:lnTo>
                  <a:lnTo>
                    <a:pt x="20652" y="19311"/>
                  </a:lnTo>
                  <a:lnTo>
                    <a:pt x="20056" y="17872"/>
                  </a:lnTo>
                  <a:lnTo>
                    <a:pt x="19461" y="16432"/>
                  </a:lnTo>
                  <a:lnTo>
                    <a:pt x="18765" y="14992"/>
                  </a:lnTo>
                  <a:lnTo>
                    <a:pt x="18765" y="14992"/>
                  </a:lnTo>
                  <a:lnTo>
                    <a:pt x="18070" y="13553"/>
                  </a:lnTo>
                  <a:lnTo>
                    <a:pt x="17276" y="12163"/>
                  </a:lnTo>
                  <a:lnTo>
                    <a:pt x="16383" y="10822"/>
                  </a:lnTo>
                  <a:lnTo>
                    <a:pt x="15489" y="9482"/>
                  </a:lnTo>
                  <a:lnTo>
                    <a:pt x="15489" y="9482"/>
                  </a:lnTo>
                  <a:lnTo>
                    <a:pt x="14496" y="8191"/>
                  </a:lnTo>
                  <a:lnTo>
                    <a:pt x="13454" y="6950"/>
                  </a:lnTo>
                  <a:lnTo>
                    <a:pt x="12312" y="5759"/>
                  </a:lnTo>
                  <a:lnTo>
                    <a:pt x="11170" y="4667"/>
                  </a:lnTo>
                  <a:lnTo>
                    <a:pt x="11170" y="4667"/>
                  </a:lnTo>
                  <a:lnTo>
                    <a:pt x="9979" y="3574"/>
                  </a:lnTo>
                  <a:lnTo>
                    <a:pt x="8737" y="2581"/>
                  </a:lnTo>
                  <a:lnTo>
                    <a:pt x="7496" y="1589"/>
                  </a:lnTo>
                  <a:lnTo>
                    <a:pt x="6206" y="695"/>
                  </a:lnTo>
                  <a:lnTo>
                    <a:pt x="6206" y="695"/>
                  </a:lnTo>
                  <a:lnTo>
                    <a:pt x="6206" y="695"/>
                  </a:lnTo>
                  <a:lnTo>
                    <a:pt x="5709" y="397"/>
                  </a:lnTo>
                  <a:lnTo>
                    <a:pt x="5113" y="199"/>
                  </a:lnTo>
                  <a:lnTo>
                    <a:pt x="4567" y="50"/>
                  </a:lnTo>
                  <a:lnTo>
                    <a:pt x="3972"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97" name="Google Shape;12810;p79">
              <a:extLst>
                <a:ext uri="{FF2B5EF4-FFF2-40B4-BE49-F238E27FC236}">
                  <a16:creationId xmlns:a16="http://schemas.microsoft.com/office/drawing/2014/main" id="{834DCEB8-C5DC-F84E-47F7-FD81BA80054F}"/>
                </a:ext>
              </a:extLst>
            </p:cNvPr>
            <p:cNvSpPr/>
            <p:nvPr/>
          </p:nvSpPr>
          <p:spPr>
            <a:xfrm>
              <a:off x="5373979" y="3677768"/>
              <a:ext cx="23961" cy="19175"/>
            </a:xfrm>
            <a:custGeom>
              <a:avLst/>
              <a:gdLst/>
              <a:ahLst/>
              <a:cxnLst/>
              <a:rect l="l" t="t" r="r" b="b"/>
              <a:pathLst>
                <a:path w="2483" h="1987" extrusionOk="0">
                  <a:moveTo>
                    <a:pt x="0" y="0"/>
                  </a:moveTo>
                  <a:lnTo>
                    <a:pt x="1241" y="1043"/>
                  </a:lnTo>
                  <a:lnTo>
                    <a:pt x="2482" y="1986"/>
                  </a:lnTo>
                  <a:lnTo>
                    <a:pt x="1241" y="993"/>
                  </a:lnTo>
                  <a:lnTo>
                    <a:pt x="0" y="0"/>
                  </a:lnTo>
                  <a:close/>
                </a:path>
              </a:pathLst>
            </a:custGeom>
            <a:solidFill>
              <a:srgbClr val="440F9D"/>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98" name="Google Shape;12811;p79">
              <a:extLst>
                <a:ext uri="{FF2B5EF4-FFF2-40B4-BE49-F238E27FC236}">
                  <a16:creationId xmlns:a16="http://schemas.microsoft.com/office/drawing/2014/main" id="{DB230076-9CAC-FE26-75A3-3AE8213F31A9}"/>
                </a:ext>
              </a:extLst>
            </p:cNvPr>
            <p:cNvSpPr/>
            <p:nvPr/>
          </p:nvSpPr>
          <p:spPr>
            <a:xfrm>
              <a:off x="5165104" y="3325176"/>
              <a:ext cx="410086" cy="475243"/>
            </a:xfrm>
            <a:custGeom>
              <a:avLst/>
              <a:gdLst/>
              <a:ahLst/>
              <a:cxnLst/>
              <a:rect l="l" t="t" r="r" b="b"/>
              <a:pathLst>
                <a:path w="42496" h="49248" fill="none" extrusionOk="0">
                  <a:moveTo>
                    <a:pt x="0" y="1"/>
                  </a:moveTo>
                  <a:lnTo>
                    <a:pt x="0" y="1"/>
                  </a:lnTo>
                  <a:lnTo>
                    <a:pt x="447" y="2086"/>
                  </a:lnTo>
                  <a:lnTo>
                    <a:pt x="894" y="4121"/>
                  </a:lnTo>
                  <a:lnTo>
                    <a:pt x="1490" y="6156"/>
                  </a:lnTo>
                  <a:lnTo>
                    <a:pt x="2085" y="8192"/>
                  </a:lnTo>
                  <a:lnTo>
                    <a:pt x="2780" y="10128"/>
                  </a:lnTo>
                  <a:lnTo>
                    <a:pt x="3525" y="12064"/>
                  </a:lnTo>
                  <a:lnTo>
                    <a:pt x="4369" y="13950"/>
                  </a:lnTo>
                  <a:lnTo>
                    <a:pt x="5213" y="15787"/>
                  </a:lnTo>
                  <a:lnTo>
                    <a:pt x="5213" y="15787"/>
                  </a:lnTo>
                  <a:lnTo>
                    <a:pt x="6107" y="17574"/>
                  </a:lnTo>
                  <a:lnTo>
                    <a:pt x="7050" y="19262"/>
                  </a:lnTo>
                  <a:lnTo>
                    <a:pt x="7993" y="20901"/>
                  </a:lnTo>
                  <a:lnTo>
                    <a:pt x="9036" y="22489"/>
                  </a:lnTo>
                  <a:lnTo>
                    <a:pt x="10028" y="24028"/>
                  </a:lnTo>
                  <a:lnTo>
                    <a:pt x="11121" y="25517"/>
                  </a:lnTo>
                  <a:lnTo>
                    <a:pt x="12213" y="26907"/>
                  </a:lnTo>
                  <a:lnTo>
                    <a:pt x="13305" y="28297"/>
                  </a:lnTo>
                  <a:lnTo>
                    <a:pt x="14447" y="29638"/>
                  </a:lnTo>
                  <a:lnTo>
                    <a:pt x="15589" y="30879"/>
                  </a:lnTo>
                  <a:lnTo>
                    <a:pt x="16780" y="32120"/>
                  </a:lnTo>
                  <a:lnTo>
                    <a:pt x="17971" y="33262"/>
                  </a:lnTo>
                  <a:lnTo>
                    <a:pt x="19163" y="34404"/>
                  </a:lnTo>
                  <a:lnTo>
                    <a:pt x="20404" y="35496"/>
                  </a:lnTo>
                  <a:lnTo>
                    <a:pt x="21645" y="36538"/>
                  </a:lnTo>
                  <a:lnTo>
                    <a:pt x="22886" y="37581"/>
                  </a:lnTo>
                  <a:lnTo>
                    <a:pt x="24127" y="38524"/>
                  </a:lnTo>
                  <a:lnTo>
                    <a:pt x="25368" y="39467"/>
                  </a:lnTo>
                  <a:lnTo>
                    <a:pt x="26659" y="40361"/>
                  </a:lnTo>
                  <a:lnTo>
                    <a:pt x="27900" y="41205"/>
                  </a:lnTo>
                  <a:lnTo>
                    <a:pt x="30432" y="42793"/>
                  </a:lnTo>
                  <a:lnTo>
                    <a:pt x="32964" y="44283"/>
                  </a:lnTo>
                  <a:lnTo>
                    <a:pt x="35446" y="45673"/>
                  </a:lnTo>
                  <a:lnTo>
                    <a:pt x="37879" y="46964"/>
                  </a:lnTo>
                  <a:lnTo>
                    <a:pt x="40212" y="48155"/>
                  </a:lnTo>
                  <a:lnTo>
                    <a:pt x="42495" y="49247"/>
                  </a:lnTo>
                  <a:lnTo>
                    <a:pt x="42495" y="49247"/>
                  </a:lnTo>
                  <a:lnTo>
                    <a:pt x="42495" y="49247"/>
                  </a:lnTo>
                  <a:lnTo>
                    <a:pt x="42495" y="49247"/>
                  </a:lnTo>
                  <a:lnTo>
                    <a:pt x="40212" y="48155"/>
                  </a:lnTo>
                  <a:lnTo>
                    <a:pt x="37879" y="46964"/>
                  </a:lnTo>
                  <a:lnTo>
                    <a:pt x="35446" y="45673"/>
                  </a:lnTo>
                  <a:lnTo>
                    <a:pt x="32964" y="44283"/>
                  </a:lnTo>
                  <a:lnTo>
                    <a:pt x="30432" y="42793"/>
                  </a:lnTo>
                  <a:lnTo>
                    <a:pt x="27900" y="41205"/>
                  </a:lnTo>
                  <a:lnTo>
                    <a:pt x="26659" y="40361"/>
                  </a:lnTo>
                  <a:lnTo>
                    <a:pt x="25368" y="39467"/>
                  </a:lnTo>
                  <a:lnTo>
                    <a:pt x="24127" y="38524"/>
                  </a:lnTo>
                  <a:lnTo>
                    <a:pt x="22886" y="37531"/>
                  </a:lnTo>
                  <a:lnTo>
                    <a:pt x="21645" y="36538"/>
                  </a:lnTo>
                  <a:lnTo>
                    <a:pt x="20404" y="35496"/>
                  </a:lnTo>
                  <a:lnTo>
                    <a:pt x="19163" y="34404"/>
                  </a:lnTo>
                  <a:lnTo>
                    <a:pt x="17971" y="33262"/>
                  </a:lnTo>
                  <a:lnTo>
                    <a:pt x="16780" y="32120"/>
                  </a:lnTo>
                  <a:lnTo>
                    <a:pt x="15589" y="30879"/>
                  </a:lnTo>
                  <a:lnTo>
                    <a:pt x="14447" y="29638"/>
                  </a:lnTo>
                  <a:lnTo>
                    <a:pt x="13305" y="28297"/>
                  </a:lnTo>
                  <a:lnTo>
                    <a:pt x="12213" y="26907"/>
                  </a:lnTo>
                  <a:lnTo>
                    <a:pt x="11121" y="25517"/>
                  </a:lnTo>
                  <a:lnTo>
                    <a:pt x="10028" y="24028"/>
                  </a:lnTo>
                  <a:lnTo>
                    <a:pt x="9036" y="22489"/>
                  </a:lnTo>
                  <a:lnTo>
                    <a:pt x="7993" y="20901"/>
                  </a:lnTo>
                  <a:lnTo>
                    <a:pt x="7050" y="19262"/>
                  </a:lnTo>
                  <a:lnTo>
                    <a:pt x="6107" y="17574"/>
                  </a:lnTo>
                  <a:lnTo>
                    <a:pt x="5213" y="15787"/>
                  </a:lnTo>
                  <a:lnTo>
                    <a:pt x="5213" y="15787"/>
                  </a:lnTo>
                  <a:lnTo>
                    <a:pt x="4369" y="13950"/>
                  </a:lnTo>
                  <a:lnTo>
                    <a:pt x="3525" y="12064"/>
                  </a:lnTo>
                  <a:lnTo>
                    <a:pt x="2780" y="10128"/>
                  </a:lnTo>
                  <a:lnTo>
                    <a:pt x="2085" y="8192"/>
                  </a:lnTo>
                  <a:lnTo>
                    <a:pt x="1490" y="6156"/>
                  </a:lnTo>
                  <a:lnTo>
                    <a:pt x="894" y="4121"/>
                  </a:lnTo>
                  <a:lnTo>
                    <a:pt x="447" y="2086"/>
                  </a:lnTo>
                  <a:lnTo>
                    <a:pt x="0"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299" name="Google Shape;12812;p79">
              <a:extLst>
                <a:ext uri="{FF2B5EF4-FFF2-40B4-BE49-F238E27FC236}">
                  <a16:creationId xmlns:a16="http://schemas.microsoft.com/office/drawing/2014/main" id="{A93849F3-04E4-6CFA-6567-E51DCCD62AD4}"/>
                </a:ext>
              </a:extLst>
            </p:cNvPr>
            <p:cNvSpPr/>
            <p:nvPr/>
          </p:nvSpPr>
          <p:spPr>
            <a:xfrm>
              <a:off x="5157442" y="2924682"/>
              <a:ext cx="417749" cy="875737"/>
            </a:xfrm>
            <a:custGeom>
              <a:avLst/>
              <a:gdLst/>
              <a:ahLst/>
              <a:cxnLst/>
              <a:rect l="l" t="t" r="r" b="b"/>
              <a:pathLst>
                <a:path w="43290" h="90750" extrusionOk="0">
                  <a:moveTo>
                    <a:pt x="18964" y="0"/>
                  </a:moveTo>
                  <a:lnTo>
                    <a:pt x="18914" y="50"/>
                  </a:lnTo>
                  <a:lnTo>
                    <a:pt x="18616" y="199"/>
                  </a:lnTo>
                  <a:lnTo>
                    <a:pt x="18468" y="298"/>
                  </a:lnTo>
                  <a:lnTo>
                    <a:pt x="17177" y="993"/>
                  </a:lnTo>
                  <a:lnTo>
                    <a:pt x="15936" y="1738"/>
                  </a:lnTo>
                  <a:lnTo>
                    <a:pt x="14794" y="2532"/>
                  </a:lnTo>
                  <a:lnTo>
                    <a:pt x="13652" y="3327"/>
                  </a:lnTo>
                  <a:lnTo>
                    <a:pt x="12560" y="4171"/>
                  </a:lnTo>
                  <a:lnTo>
                    <a:pt x="11567" y="5014"/>
                  </a:lnTo>
                  <a:lnTo>
                    <a:pt x="10574" y="5908"/>
                  </a:lnTo>
                  <a:lnTo>
                    <a:pt x="9631" y="6802"/>
                  </a:lnTo>
                  <a:lnTo>
                    <a:pt x="8837" y="7695"/>
                  </a:lnTo>
                  <a:lnTo>
                    <a:pt x="8042" y="8638"/>
                  </a:lnTo>
                  <a:lnTo>
                    <a:pt x="7248" y="9532"/>
                  </a:lnTo>
                  <a:lnTo>
                    <a:pt x="6553" y="10475"/>
                  </a:lnTo>
                  <a:lnTo>
                    <a:pt x="5858" y="11468"/>
                  </a:lnTo>
                  <a:lnTo>
                    <a:pt x="5262" y="12461"/>
                  </a:lnTo>
                  <a:lnTo>
                    <a:pt x="4667" y="13454"/>
                  </a:lnTo>
                  <a:lnTo>
                    <a:pt x="4120" y="14447"/>
                  </a:lnTo>
                  <a:lnTo>
                    <a:pt x="3574" y="15489"/>
                  </a:lnTo>
                  <a:lnTo>
                    <a:pt x="3078" y="16532"/>
                  </a:lnTo>
                  <a:lnTo>
                    <a:pt x="2681" y="17574"/>
                  </a:lnTo>
                  <a:lnTo>
                    <a:pt x="2234" y="18666"/>
                  </a:lnTo>
                  <a:lnTo>
                    <a:pt x="1887" y="19759"/>
                  </a:lnTo>
                  <a:lnTo>
                    <a:pt x="1539" y="20851"/>
                  </a:lnTo>
                  <a:lnTo>
                    <a:pt x="1241" y="21943"/>
                  </a:lnTo>
                  <a:lnTo>
                    <a:pt x="993" y="23085"/>
                  </a:lnTo>
                  <a:lnTo>
                    <a:pt x="745" y="24177"/>
                  </a:lnTo>
                  <a:lnTo>
                    <a:pt x="546" y="25319"/>
                  </a:lnTo>
                  <a:lnTo>
                    <a:pt x="348" y="26461"/>
                  </a:lnTo>
                  <a:lnTo>
                    <a:pt x="248" y="27602"/>
                  </a:lnTo>
                  <a:lnTo>
                    <a:pt x="99" y="28744"/>
                  </a:lnTo>
                  <a:lnTo>
                    <a:pt x="50" y="29886"/>
                  </a:lnTo>
                  <a:lnTo>
                    <a:pt x="0" y="32219"/>
                  </a:lnTo>
                  <a:lnTo>
                    <a:pt x="50" y="34552"/>
                  </a:lnTo>
                  <a:lnTo>
                    <a:pt x="199" y="36886"/>
                  </a:lnTo>
                  <a:lnTo>
                    <a:pt x="447" y="39169"/>
                  </a:lnTo>
                  <a:lnTo>
                    <a:pt x="794" y="41503"/>
                  </a:lnTo>
                  <a:lnTo>
                    <a:pt x="1241" y="43588"/>
                  </a:lnTo>
                  <a:lnTo>
                    <a:pt x="1688" y="45623"/>
                  </a:lnTo>
                  <a:lnTo>
                    <a:pt x="2284" y="47658"/>
                  </a:lnTo>
                  <a:lnTo>
                    <a:pt x="2879" y="49694"/>
                  </a:lnTo>
                  <a:lnTo>
                    <a:pt x="3574" y="51630"/>
                  </a:lnTo>
                  <a:lnTo>
                    <a:pt x="4319" y="53566"/>
                  </a:lnTo>
                  <a:lnTo>
                    <a:pt x="5163" y="55452"/>
                  </a:lnTo>
                  <a:lnTo>
                    <a:pt x="6007" y="57289"/>
                  </a:lnTo>
                  <a:lnTo>
                    <a:pt x="6901" y="59076"/>
                  </a:lnTo>
                  <a:lnTo>
                    <a:pt x="7844" y="60764"/>
                  </a:lnTo>
                  <a:lnTo>
                    <a:pt x="8787" y="62403"/>
                  </a:lnTo>
                  <a:lnTo>
                    <a:pt x="9830" y="63991"/>
                  </a:lnTo>
                  <a:lnTo>
                    <a:pt x="10822" y="65530"/>
                  </a:lnTo>
                  <a:lnTo>
                    <a:pt x="11915" y="67019"/>
                  </a:lnTo>
                  <a:lnTo>
                    <a:pt x="13007" y="68409"/>
                  </a:lnTo>
                  <a:lnTo>
                    <a:pt x="14099" y="69799"/>
                  </a:lnTo>
                  <a:lnTo>
                    <a:pt x="15241" y="71140"/>
                  </a:lnTo>
                  <a:lnTo>
                    <a:pt x="16383" y="72381"/>
                  </a:lnTo>
                  <a:lnTo>
                    <a:pt x="17574" y="73622"/>
                  </a:lnTo>
                  <a:lnTo>
                    <a:pt x="18765" y="74764"/>
                  </a:lnTo>
                  <a:lnTo>
                    <a:pt x="19957" y="75906"/>
                  </a:lnTo>
                  <a:lnTo>
                    <a:pt x="21198" y="76998"/>
                  </a:lnTo>
                  <a:lnTo>
                    <a:pt x="22439" y="78040"/>
                  </a:lnTo>
                  <a:lnTo>
                    <a:pt x="23680" y="79033"/>
                  </a:lnTo>
                  <a:lnTo>
                    <a:pt x="24921" y="80026"/>
                  </a:lnTo>
                  <a:lnTo>
                    <a:pt x="26162" y="80969"/>
                  </a:lnTo>
                  <a:lnTo>
                    <a:pt x="27453" y="81863"/>
                  </a:lnTo>
                  <a:lnTo>
                    <a:pt x="28694" y="82707"/>
                  </a:lnTo>
                  <a:lnTo>
                    <a:pt x="31226" y="84295"/>
                  </a:lnTo>
                  <a:lnTo>
                    <a:pt x="33758" y="85785"/>
                  </a:lnTo>
                  <a:lnTo>
                    <a:pt x="36240" y="87175"/>
                  </a:lnTo>
                  <a:lnTo>
                    <a:pt x="38673" y="88466"/>
                  </a:lnTo>
                  <a:lnTo>
                    <a:pt x="41006" y="89657"/>
                  </a:lnTo>
                  <a:lnTo>
                    <a:pt x="43289" y="90749"/>
                  </a:lnTo>
                  <a:lnTo>
                    <a:pt x="38375" y="85934"/>
                  </a:lnTo>
                  <a:lnTo>
                    <a:pt x="33808" y="81366"/>
                  </a:lnTo>
                  <a:lnTo>
                    <a:pt x="31673" y="79182"/>
                  </a:lnTo>
                  <a:lnTo>
                    <a:pt x="29637" y="76998"/>
                  </a:lnTo>
                  <a:lnTo>
                    <a:pt x="27701" y="74863"/>
                  </a:lnTo>
                  <a:lnTo>
                    <a:pt x="25914" y="72778"/>
                  </a:lnTo>
                  <a:lnTo>
                    <a:pt x="24177" y="70643"/>
                  </a:lnTo>
                  <a:lnTo>
                    <a:pt x="22588" y="68558"/>
                  </a:lnTo>
                  <a:lnTo>
                    <a:pt x="21049" y="66424"/>
                  </a:lnTo>
                  <a:lnTo>
                    <a:pt x="19709" y="64289"/>
                  </a:lnTo>
                  <a:lnTo>
                    <a:pt x="19014" y="63197"/>
                  </a:lnTo>
                  <a:lnTo>
                    <a:pt x="18418" y="62055"/>
                  </a:lnTo>
                  <a:lnTo>
                    <a:pt x="17822" y="60963"/>
                  </a:lnTo>
                  <a:lnTo>
                    <a:pt x="17276" y="59871"/>
                  </a:lnTo>
                  <a:lnTo>
                    <a:pt x="16730" y="58729"/>
                  </a:lnTo>
                  <a:lnTo>
                    <a:pt x="16234" y="57538"/>
                  </a:lnTo>
                  <a:lnTo>
                    <a:pt x="15737" y="56396"/>
                  </a:lnTo>
                  <a:lnTo>
                    <a:pt x="15290" y="55204"/>
                  </a:lnTo>
                  <a:lnTo>
                    <a:pt x="14893" y="54013"/>
                  </a:lnTo>
                  <a:lnTo>
                    <a:pt x="14546" y="52772"/>
                  </a:lnTo>
                  <a:lnTo>
                    <a:pt x="14198" y="51531"/>
                  </a:lnTo>
                  <a:lnTo>
                    <a:pt x="13851" y="50240"/>
                  </a:lnTo>
                  <a:lnTo>
                    <a:pt x="13602" y="48949"/>
                  </a:lnTo>
                  <a:lnTo>
                    <a:pt x="13305" y="47658"/>
                  </a:lnTo>
                  <a:lnTo>
                    <a:pt x="13106" y="46318"/>
                  </a:lnTo>
                  <a:lnTo>
                    <a:pt x="12907" y="44928"/>
                  </a:lnTo>
                  <a:lnTo>
                    <a:pt x="12759" y="43538"/>
                  </a:lnTo>
                  <a:lnTo>
                    <a:pt x="12659" y="42098"/>
                  </a:lnTo>
                  <a:lnTo>
                    <a:pt x="12560" y="40609"/>
                  </a:lnTo>
                  <a:lnTo>
                    <a:pt x="12510" y="39120"/>
                  </a:lnTo>
                  <a:lnTo>
                    <a:pt x="12510" y="37581"/>
                  </a:lnTo>
                  <a:lnTo>
                    <a:pt x="12510" y="35992"/>
                  </a:lnTo>
                  <a:lnTo>
                    <a:pt x="12560" y="34404"/>
                  </a:lnTo>
                  <a:lnTo>
                    <a:pt x="12659" y="32716"/>
                  </a:lnTo>
                  <a:lnTo>
                    <a:pt x="12759" y="31028"/>
                  </a:lnTo>
                  <a:lnTo>
                    <a:pt x="12907" y="29340"/>
                  </a:lnTo>
                  <a:lnTo>
                    <a:pt x="13106" y="27553"/>
                  </a:lnTo>
                  <a:lnTo>
                    <a:pt x="13354" y="25716"/>
                  </a:lnTo>
                  <a:lnTo>
                    <a:pt x="13900" y="21943"/>
                  </a:lnTo>
                  <a:lnTo>
                    <a:pt x="14645" y="17971"/>
                  </a:lnTo>
                  <a:lnTo>
                    <a:pt x="15489" y="13801"/>
                  </a:lnTo>
                  <a:lnTo>
                    <a:pt x="16482" y="9433"/>
                  </a:lnTo>
                  <a:lnTo>
                    <a:pt x="17673" y="4866"/>
                  </a:lnTo>
                  <a:lnTo>
                    <a:pt x="18964" y="0"/>
                  </a:lnTo>
                  <a:close/>
                </a:path>
              </a:pathLst>
            </a:custGeom>
            <a:solidFill>
              <a:srgbClr val="FBA30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00" name="Google Shape;12813;p79">
              <a:extLst>
                <a:ext uri="{FF2B5EF4-FFF2-40B4-BE49-F238E27FC236}">
                  <a16:creationId xmlns:a16="http://schemas.microsoft.com/office/drawing/2014/main" id="{9C628D4A-4D8F-67AA-636B-938E44B021C0}"/>
                </a:ext>
              </a:extLst>
            </p:cNvPr>
            <p:cNvSpPr/>
            <p:nvPr/>
          </p:nvSpPr>
          <p:spPr>
            <a:xfrm>
              <a:off x="5157442" y="2924682"/>
              <a:ext cx="417749" cy="875737"/>
            </a:xfrm>
            <a:custGeom>
              <a:avLst/>
              <a:gdLst/>
              <a:ahLst/>
              <a:cxnLst/>
              <a:rect l="l" t="t" r="r" b="b"/>
              <a:pathLst>
                <a:path w="43290" h="90750" fill="none" extrusionOk="0">
                  <a:moveTo>
                    <a:pt x="18964" y="0"/>
                  </a:moveTo>
                  <a:lnTo>
                    <a:pt x="18964" y="0"/>
                  </a:lnTo>
                  <a:lnTo>
                    <a:pt x="18914" y="50"/>
                  </a:lnTo>
                  <a:lnTo>
                    <a:pt x="18914" y="50"/>
                  </a:lnTo>
                  <a:lnTo>
                    <a:pt x="18616" y="199"/>
                  </a:lnTo>
                  <a:lnTo>
                    <a:pt x="18616" y="199"/>
                  </a:lnTo>
                  <a:lnTo>
                    <a:pt x="18468" y="298"/>
                  </a:lnTo>
                  <a:lnTo>
                    <a:pt x="18468" y="298"/>
                  </a:lnTo>
                  <a:lnTo>
                    <a:pt x="17177" y="993"/>
                  </a:lnTo>
                  <a:lnTo>
                    <a:pt x="15936" y="1738"/>
                  </a:lnTo>
                  <a:lnTo>
                    <a:pt x="14794" y="2532"/>
                  </a:lnTo>
                  <a:lnTo>
                    <a:pt x="13652" y="3327"/>
                  </a:lnTo>
                  <a:lnTo>
                    <a:pt x="12560" y="4171"/>
                  </a:lnTo>
                  <a:lnTo>
                    <a:pt x="11567" y="5014"/>
                  </a:lnTo>
                  <a:lnTo>
                    <a:pt x="10574" y="5908"/>
                  </a:lnTo>
                  <a:lnTo>
                    <a:pt x="9631" y="6802"/>
                  </a:lnTo>
                  <a:lnTo>
                    <a:pt x="9631" y="6802"/>
                  </a:lnTo>
                  <a:lnTo>
                    <a:pt x="8837" y="7695"/>
                  </a:lnTo>
                  <a:lnTo>
                    <a:pt x="8042" y="8638"/>
                  </a:lnTo>
                  <a:lnTo>
                    <a:pt x="7248" y="9532"/>
                  </a:lnTo>
                  <a:lnTo>
                    <a:pt x="6553" y="10475"/>
                  </a:lnTo>
                  <a:lnTo>
                    <a:pt x="5858" y="11468"/>
                  </a:lnTo>
                  <a:lnTo>
                    <a:pt x="5262" y="12461"/>
                  </a:lnTo>
                  <a:lnTo>
                    <a:pt x="4667" y="13454"/>
                  </a:lnTo>
                  <a:lnTo>
                    <a:pt x="4120" y="14447"/>
                  </a:lnTo>
                  <a:lnTo>
                    <a:pt x="3574" y="15489"/>
                  </a:lnTo>
                  <a:lnTo>
                    <a:pt x="3078" y="16532"/>
                  </a:lnTo>
                  <a:lnTo>
                    <a:pt x="2681" y="17574"/>
                  </a:lnTo>
                  <a:lnTo>
                    <a:pt x="2234" y="18666"/>
                  </a:lnTo>
                  <a:lnTo>
                    <a:pt x="1887" y="19759"/>
                  </a:lnTo>
                  <a:lnTo>
                    <a:pt x="1539" y="20851"/>
                  </a:lnTo>
                  <a:lnTo>
                    <a:pt x="1241" y="21943"/>
                  </a:lnTo>
                  <a:lnTo>
                    <a:pt x="993" y="23085"/>
                  </a:lnTo>
                  <a:lnTo>
                    <a:pt x="745" y="24177"/>
                  </a:lnTo>
                  <a:lnTo>
                    <a:pt x="546" y="25319"/>
                  </a:lnTo>
                  <a:lnTo>
                    <a:pt x="348" y="26461"/>
                  </a:lnTo>
                  <a:lnTo>
                    <a:pt x="248" y="27602"/>
                  </a:lnTo>
                  <a:lnTo>
                    <a:pt x="99" y="28744"/>
                  </a:lnTo>
                  <a:lnTo>
                    <a:pt x="50" y="29886"/>
                  </a:lnTo>
                  <a:lnTo>
                    <a:pt x="0" y="32219"/>
                  </a:lnTo>
                  <a:lnTo>
                    <a:pt x="50" y="34552"/>
                  </a:lnTo>
                  <a:lnTo>
                    <a:pt x="199" y="36886"/>
                  </a:lnTo>
                  <a:lnTo>
                    <a:pt x="447" y="39169"/>
                  </a:lnTo>
                  <a:lnTo>
                    <a:pt x="794" y="41503"/>
                  </a:lnTo>
                  <a:lnTo>
                    <a:pt x="794" y="41503"/>
                  </a:lnTo>
                  <a:lnTo>
                    <a:pt x="1241" y="43588"/>
                  </a:lnTo>
                  <a:lnTo>
                    <a:pt x="1688" y="45623"/>
                  </a:lnTo>
                  <a:lnTo>
                    <a:pt x="2284" y="47658"/>
                  </a:lnTo>
                  <a:lnTo>
                    <a:pt x="2879" y="49694"/>
                  </a:lnTo>
                  <a:lnTo>
                    <a:pt x="3574" y="51630"/>
                  </a:lnTo>
                  <a:lnTo>
                    <a:pt x="4319" y="53566"/>
                  </a:lnTo>
                  <a:lnTo>
                    <a:pt x="5163" y="55452"/>
                  </a:lnTo>
                  <a:lnTo>
                    <a:pt x="6007" y="57289"/>
                  </a:lnTo>
                  <a:lnTo>
                    <a:pt x="6007" y="57289"/>
                  </a:lnTo>
                  <a:lnTo>
                    <a:pt x="6901" y="59076"/>
                  </a:lnTo>
                  <a:lnTo>
                    <a:pt x="7844" y="60764"/>
                  </a:lnTo>
                  <a:lnTo>
                    <a:pt x="8787" y="62403"/>
                  </a:lnTo>
                  <a:lnTo>
                    <a:pt x="9830" y="63991"/>
                  </a:lnTo>
                  <a:lnTo>
                    <a:pt x="10822" y="65530"/>
                  </a:lnTo>
                  <a:lnTo>
                    <a:pt x="11915" y="67019"/>
                  </a:lnTo>
                  <a:lnTo>
                    <a:pt x="13007" y="68409"/>
                  </a:lnTo>
                  <a:lnTo>
                    <a:pt x="14099" y="69799"/>
                  </a:lnTo>
                  <a:lnTo>
                    <a:pt x="15241" y="71140"/>
                  </a:lnTo>
                  <a:lnTo>
                    <a:pt x="16383" y="72381"/>
                  </a:lnTo>
                  <a:lnTo>
                    <a:pt x="17574" y="73622"/>
                  </a:lnTo>
                  <a:lnTo>
                    <a:pt x="18765" y="74764"/>
                  </a:lnTo>
                  <a:lnTo>
                    <a:pt x="19957" y="75906"/>
                  </a:lnTo>
                  <a:lnTo>
                    <a:pt x="21198" y="76998"/>
                  </a:lnTo>
                  <a:lnTo>
                    <a:pt x="22439" y="78040"/>
                  </a:lnTo>
                  <a:lnTo>
                    <a:pt x="23680" y="79033"/>
                  </a:lnTo>
                  <a:lnTo>
                    <a:pt x="24921" y="80026"/>
                  </a:lnTo>
                  <a:lnTo>
                    <a:pt x="26162" y="80969"/>
                  </a:lnTo>
                  <a:lnTo>
                    <a:pt x="27453" y="81863"/>
                  </a:lnTo>
                  <a:lnTo>
                    <a:pt x="28694" y="82707"/>
                  </a:lnTo>
                  <a:lnTo>
                    <a:pt x="31226" y="84295"/>
                  </a:lnTo>
                  <a:lnTo>
                    <a:pt x="33758" y="85785"/>
                  </a:lnTo>
                  <a:lnTo>
                    <a:pt x="36240" y="87175"/>
                  </a:lnTo>
                  <a:lnTo>
                    <a:pt x="38673" y="88466"/>
                  </a:lnTo>
                  <a:lnTo>
                    <a:pt x="41006" y="89657"/>
                  </a:lnTo>
                  <a:lnTo>
                    <a:pt x="43289" y="90749"/>
                  </a:lnTo>
                  <a:lnTo>
                    <a:pt x="43289" y="90749"/>
                  </a:lnTo>
                  <a:lnTo>
                    <a:pt x="38375" y="85934"/>
                  </a:lnTo>
                  <a:lnTo>
                    <a:pt x="33808" y="81366"/>
                  </a:lnTo>
                  <a:lnTo>
                    <a:pt x="31673" y="79182"/>
                  </a:lnTo>
                  <a:lnTo>
                    <a:pt x="29637" y="76998"/>
                  </a:lnTo>
                  <a:lnTo>
                    <a:pt x="27701" y="74863"/>
                  </a:lnTo>
                  <a:lnTo>
                    <a:pt x="25914" y="72778"/>
                  </a:lnTo>
                  <a:lnTo>
                    <a:pt x="24177" y="70643"/>
                  </a:lnTo>
                  <a:lnTo>
                    <a:pt x="22588" y="68558"/>
                  </a:lnTo>
                  <a:lnTo>
                    <a:pt x="21049" y="66424"/>
                  </a:lnTo>
                  <a:lnTo>
                    <a:pt x="19709" y="64289"/>
                  </a:lnTo>
                  <a:lnTo>
                    <a:pt x="19014" y="63197"/>
                  </a:lnTo>
                  <a:lnTo>
                    <a:pt x="18418" y="62055"/>
                  </a:lnTo>
                  <a:lnTo>
                    <a:pt x="17822" y="60963"/>
                  </a:lnTo>
                  <a:lnTo>
                    <a:pt x="17276" y="59871"/>
                  </a:lnTo>
                  <a:lnTo>
                    <a:pt x="16730" y="58729"/>
                  </a:lnTo>
                  <a:lnTo>
                    <a:pt x="16234" y="57538"/>
                  </a:lnTo>
                  <a:lnTo>
                    <a:pt x="15737" y="56396"/>
                  </a:lnTo>
                  <a:lnTo>
                    <a:pt x="15290" y="55204"/>
                  </a:lnTo>
                  <a:lnTo>
                    <a:pt x="14893" y="54013"/>
                  </a:lnTo>
                  <a:lnTo>
                    <a:pt x="14546" y="52772"/>
                  </a:lnTo>
                  <a:lnTo>
                    <a:pt x="14198" y="51531"/>
                  </a:lnTo>
                  <a:lnTo>
                    <a:pt x="13851" y="50240"/>
                  </a:lnTo>
                  <a:lnTo>
                    <a:pt x="13602" y="48949"/>
                  </a:lnTo>
                  <a:lnTo>
                    <a:pt x="13305" y="47658"/>
                  </a:lnTo>
                  <a:lnTo>
                    <a:pt x="13106" y="46318"/>
                  </a:lnTo>
                  <a:lnTo>
                    <a:pt x="12907" y="44928"/>
                  </a:lnTo>
                  <a:lnTo>
                    <a:pt x="12759" y="43538"/>
                  </a:lnTo>
                  <a:lnTo>
                    <a:pt x="12659" y="42098"/>
                  </a:lnTo>
                  <a:lnTo>
                    <a:pt x="12560" y="40609"/>
                  </a:lnTo>
                  <a:lnTo>
                    <a:pt x="12510" y="39120"/>
                  </a:lnTo>
                  <a:lnTo>
                    <a:pt x="12510" y="37581"/>
                  </a:lnTo>
                  <a:lnTo>
                    <a:pt x="12510" y="35992"/>
                  </a:lnTo>
                  <a:lnTo>
                    <a:pt x="12560" y="34404"/>
                  </a:lnTo>
                  <a:lnTo>
                    <a:pt x="12659" y="32716"/>
                  </a:lnTo>
                  <a:lnTo>
                    <a:pt x="12759" y="31028"/>
                  </a:lnTo>
                  <a:lnTo>
                    <a:pt x="12907" y="29340"/>
                  </a:lnTo>
                  <a:lnTo>
                    <a:pt x="13106" y="27553"/>
                  </a:lnTo>
                  <a:lnTo>
                    <a:pt x="13354" y="25716"/>
                  </a:lnTo>
                  <a:lnTo>
                    <a:pt x="13900" y="21943"/>
                  </a:lnTo>
                  <a:lnTo>
                    <a:pt x="14645" y="17971"/>
                  </a:lnTo>
                  <a:lnTo>
                    <a:pt x="15489" y="13801"/>
                  </a:lnTo>
                  <a:lnTo>
                    <a:pt x="16482" y="9433"/>
                  </a:lnTo>
                  <a:lnTo>
                    <a:pt x="17673" y="4866"/>
                  </a:lnTo>
                  <a:lnTo>
                    <a:pt x="18964"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01" name="Google Shape;12814;p79">
              <a:extLst>
                <a:ext uri="{FF2B5EF4-FFF2-40B4-BE49-F238E27FC236}">
                  <a16:creationId xmlns:a16="http://schemas.microsoft.com/office/drawing/2014/main" id="{99CBE2E9-BADC-5012-FCEC-408025657448}"/>
                </a:ext>
              </a:extLst>
            </p:cNvPr>
            <p:cNvSpPr/>
            <p:nvPr/>
          </p:nvSpPr>
          <p:spPr>
            <a:xfrm>
              <a:off x="5436250" y="3318952"/>
              <a:ext cx="451292" cy="494398"/>
            </a:xfrm>
            <a:custGeom>
              <a:avLst/>
              <a:gdLst/>
              <a:ahLst/>
              <a:cxnLst/>
              <a:rect l="l" t="t" r="r" b="b"/>
              <a:pathLst>
                <a:path w="46766" h="51233" extrusionOk="0">
                  <a:moveTo>
                    <a:pt x="33312" y="3972"/>
                  </a:moveTo>
                  <a:lnTo>
                    <a:pt x="33659" y="4021"/>
                  </a:lnTo>
                  <a:lnTo>
                    <a:pt x="34156" y="4170"/>
                  </a:lnTo>
                  <a:lnTo>
                    <a:pt x="34950" y="4567"/>
                  </a:lnTo>
                  <a:lnTo>
                    <a:pt x="35595" y="5014"/>
                  </a:lnTo>
                  <a:lnTo>
                    <a:pt x="35993" y="5312"/>
                  </a:lnTo>
                  <a:lnTo>
                    <a:pt x="36290" y="5660"/>
                  </a:lnTo>
                  <a:lnTo>
                    <a:pt x="36539" y="5957"/>
                  </a:lnTo>
                  <a:lnTo>
                    <a:pt x="36737" y="6255"/>
                  </a:lnTo>
                  <a:lnTo>
                    <a:pt x="36886" y="6553"/>
                  </a:lnTo>
                  <a:lnTo>
                    <a:pt x="36985" y="6851"/>
                  </a:lnTo>
                  <a:lnTo>
                    <a:pt x="37035" y="7199"/>
                  </a:lnTo>
                  <a:lnTo>
                    <a:pt x="37035" y="7546"/>
                  </a:lnTo>
                  <a:lnTo>
                    <a:pt x="37035" y="7943"/>
                  </a:lnTo>
                  <a:lnTo>
                    <a:pt x="36936" y="8340"/>
                  </a:lnTo>
                  <a:lnTo>
                    <a:pt x="36837" y="8837"/>
                  </a:lnTo>
                  <a:lnTo>
                    <a:pt x="36638" y="9333"/>
                  </a:lnTo>
                  <a:lnTo>
                    <a:pt x="36241" y="10078"/>
                  </a:lnTo>
                  <a:lnTo>
                    <a:pt x="35695" y="10872"/>
                  </a:lnTo>
                  <a:lnTo>
                    <a:pt x="35000" y="11716"/>
                  </a:lnTo>
                  <a:lnTo>
                    <a:pt x="34205" y="12560"/>
                  </a:lnTo>
                  <a:lnTo>
                    <a:pt x="34106" y="12362"/>
                  </a:lnTo>
                  <a:lnTo>
                    <a:pt x="33213" y="10425"/>
                  </a:lnTo>
                  <a:lnTo>
                    <a:pt x="32865" y="9631"/>
                  </a:lnTo>
                  <a:lnTo>
                    <a:pt x="32517" y="9035"/>
                  </a:lnTo>
                  <a:lnTo>
                    <a:pt x="32170" y="8340"/>
                  </a:lnTo>
                  <a:lnTo>
                    <a:pt x="31922" y="7645"/>
                  </a:lnTo>
                  <a:lnTo>
                    <a:pt x="31773" y="7000"/>
                  </a:lnTo>
                  <a:lnTo>
                    <a:pt x="31723" y="6355"/>
                  </a:lnTo>
                  <a:lnTo>
                    <a:pt x="31773" y="5759"/>
                  </a:lnTo>
                  <a:lnTo>
                    <a:pt x="31922" y="5262"/>
                  </a:lnTo>
                  <a:lnTo>
                    <a:pt x="32021" y="4915"/>
                  </a:lnTo>
                  <a:lnTo>
                    <a:pt x="32170" y="4667"/>
                  </a:lnTo>
                  <a:lnTo>
                    <a:pt x="32468" y="4319"/>
                  </a:lnTo>
                  <a:lnTo>
                    <a:pt x="32716" y="4121"/>
                  </a:lnTo>
                  <a:lnTo>
                    <a:pt x="32964" y="4021"/>
                  </a:lnTo>
                  <a:lnTo>
                    <a:pt x="33312" y="3972"/>
                  </a:lnTo>
                  <a:close/>
                  <a:moveTo>
                    <a:pt x="21149" y="9581"/>
                  </a:moveTo>
                  <a:lnTo>
                    <a:pt x="21397" y="9631"/>
                  </a:lnTo>
                  <a:lnTo>
                    <a:pt x="21645" y="9681"/>
                  </a:lnTo>
                  <a:lnTo>
                    <a:pt x="21943" y="9780"/>
                  </a:lnTo>
                  <a:lnTo>
                    <a:pt x="22241" y="9929"/>
                  </a:lnTo>
                  <a:lnTo>
                    <a:pt x="22539" y="10177"/>
                  </a:lnTo>
                  <a:lnTo>
                    <a:pt x="22887" y="10475"/>
                  </a:lnTo>
                  <a:lnTo>
                    <a:pt x="23184" y="10922"/>
                  </a:lnTo>
                  <a:lnTo>
                    <a:pt x="23532" y="11418"/>
                  </a:lnTo>
                  <a:lnTo>
                    <a:pt x="23879" y="12113"/>
                  </a:lnTo>
                  <a:lnTo>
                    <a:pt x="24078" y="12808"/>
                  </a:lnTo>
                  <a:lnTo>
                    <a:pt x="24227" y="13454"/>
                  </a:lnTo>
                  <a:lnTo>
                    <a:pt x="24277" y="14099"/>
                  </a:lnTo>
                  <a:lnTo>
                    <a:pt x="24277" y="14546"/>
                  </a:lnTo>
                  <a:lnTo>
                    <a:pt x="24227" y="14943"/>
                  </a:lnTo>
                  <a:lnTo>
                    <a:pt x="24128" y="15390"/>
                  </a:lnTo>
                  <a:lnTo>
                    <a:pt x="23979" y="15787"/>
                  </a:lnTo>
                  <a:lnTo>
                    <a:pt x="23830" y="16234"/>
                  </a:lnTo>
                  <a:lnTo>
                    <a:pt x="23631" y="16681"/>
                  </a:lnTo>
                  <a:lnTo>
                    <a:pt x="23383" y="17127"/>
                  </a:lnTo>
                  <a:lnTo>
                    <a:pt x="23135" y="17574"/>
                  </a:lnTo>
                  <a:lnTo>
                    <a:pt x="22738" y="17475"/>
                  </a:lnTo>
                  <a:lnTo>
                    <a:pt x="22192" y="17326"/>
                  </a:lnTo>
                  <a:lnTo>
                    <a:pt x="21695" y="17078"/>
                  </a:lnTo>
                  <a:lnTo>
                    <a:pt x="21248" y="16780"/>
                  </a:lnTo>
                  <a:lnTo>
                    <a:pt x="20802" y="16482"/>
                  </a:lnTo>
                  <a:lnTo>
                    <a:pt x="20404" y="16085"/>
                  </a:lnTo>
                  <a:lnTo>
                    <a:pt x="20057" y="15638"/>
                  </a:lnTo>
                  <a:lnTo>
                    <a:pt x="19709" y="15092"/>
                  </a:lnTo>
                  <a:lnTo>
                    <a:pt x="19412" y="14546"/>
                  </a:lnTo>
                  <a:lnTo>
                    <a:pt x="19163" y="13900"/>
                  </a:lnTo>
                  <a:lnTo>
                    <a:pt x="19014" y="13354"/>
                  </a:lnTo>
                  <a:lnTo>
                    <a:pt x="18915" y="12808"/>
                  </a:lnTo>
                  <a:lnTo>
                    <a:pt x="18865" y="12362"/>
                  </a:lnTo>
                  <a:lnTo>
                    <a:pt x="18915" y="12014"/>
                  </a:lnTo>
                  <a:lnTo>
                    <a:pt x="18965" y="11666"/>
                  </a:lnTo>
                  <a:lnTo>
                    <a:pt x="19114" y="11120"/>
                  </a:lnTo>
                  <a:lnTo>
                    <a:pt x="19263" y="10773"/>
                  </a:lnTo>
                  <a:lnTo>
                    <a:pt x="19461" y="10475"/>
                  </a:lnTo>
                  <a:lnTo>
                    <a:pt x="19709" y="10177"/>
                  </a:lnTo>
                  <a:lnTo>
                    <a:pt x="19958" y="9979"/>
                  </a:lnTo>
                  <a:lnTo>
                    <a:pt x="20255" y="9830"/>
                  </a:lnTo>
                  <a:lnTo>
                    <a:pt x="20553" y="9681"/>
                  </a:lnTo>
                  <a:lnTo>
                    <a:pt x="20851" y="9631"/>
                  </a:lnTo>
                  <a:lnTo>
                    <a:pt x="21149" y="9581"/>
                  </a:lnTo>
                  <a:close/>
                  <a:moveTo>
                    <a:pt x="6703" y="18120"/>
                  </a:moveTo>
                  <a:lnTo>
                    <a:pt x="7100" y="18170"/>
                  </a:lnTo>
                  <a:lnTo>
                    <a:pt x="7696" y="18368"/>
                  </a:lnTo>
                  <a:lnTo>
                    <a:pt x="8490" y="18815"/>
                  </a:lnTo>
                  <a:lnTo>
                    <a:pt x="9334" y="19361"/>
                  </a:lnTo>
                  <a:lnTo>
                    <a:pt x="10277" y="20106"/>
                  </a:lnTo>
                  <a:lnTo>
                    <a:pt x="11171" y="20900"/>
                  </a:lnTo>
                  <a:lnTo>
                    <a:pt x="12164" y="21843"/>
                  </a:lnTo>
                  <a:lnTo>
                    <a:pt x="13156" y="22886"/>
                  </a:lnTo>
                  <a:lnTo>
                    <a:pt x="14199" y="24028"/>
                  </a:lnTo>
                  <a:lnTo>
                    <a:pt x="13256" y="24375"/>
                  </a:lnTo>
                  <a:lnTo>
                    <a:pt x="12312" y="24673"/>
                  </a:lnTo>
                  <a:lnTo>
                    <a:pt x="11419" y="24921"/>
                  </a:lnTo>
                  <a:lnTo>
                    <a:pt x="10525" y="25120"/>
                  </a:lnTo>
                  <a:lnTo>
                    <a:pt x="10178" y="25170"/>
                  </a:lnTo>
                  <a:lnTo>
                    <a:pt x="9781" y="25170"/>
                  </a:lnTo>
                  <a:lnTo>
                    <a:pt x="9284" y="25120"/>
                  </a:lnTo>
                  <a:lnTo>
                    <a:pt x="8788" y="25070"/>
                  </a:lnTo>
                  <a:lnTo>
                    <a:pt x="8242" y="24921"/>
                  </a:lnTo>
                  <a:lnTo>
                    <a:pt x="7745" y="24723"/>
                  </a:lnTo>
                  <a:lnTo>
                    <a:pt x="6951" y="24326"/>
                  </a:lnTo>
                  <a:lnTo>
                    <a:pt x="6206" y="23829"/>
                  </a:lnTo>
                  <a:lnTo>
                    <a:pt x="5710" y="23382"/>
                  </a:lnTo>
                  <a:lnTo>
                    <a:pt x="5263" y="22936"/>
                  </a:lnTo>
                  <a:lnTo>
                    <a:pt x="4866" y="22489"/>
                  </a:lnTo>
                  <a:lnTo>
                    <a:pt x="4568" y="21992"/>
                  </a:lnTo>
                  <a:lnTo>
                    <a:pt x="4320" y="21546"/>
                  </a:lnTo>
                  <a:lnTo>
                    <a:pt x="4121" y="21099"/>
                  </a:lnTo>
                  <a:lnTo>
                    <a:pt x="4022" y="20652"/>
                  </a:lnTo>
                  <a:lnTo>
                    <a:pt x="4022" y="20304"/>
                  </a:lnTo>
                  <a:lnTo>
                    <a:pt x="4022" y="20007"/>
                  </a:lnTo>
                  <a:lnTo>
                    <a:pt x="4121" y="19758"/>
                  </a:lnTo>
                  <a:lnTo>
                    <a:pt x="4171" y="19560"/>
                  </a:lnTo>
                  <a:lnTo>
                    <a:pt x="4320" y="19361"/>
                  </a:lnTo>
                  <a:lnTo>
                    <a:pt x="4568" y="19063"/>
                  </a:lnTo>
                  <a:lnTo>
                    <a:pt x="5015" y="18766"/>
                  </a:lnTo>
                  <a:lnTo>
                    <a:pt x="5660" y="18418"/>
                  </a:lnTo>
                  <a:lnTo>
                    <a:pt x="6057" y="18269"/>
                  </a:lnTo>
                  <a:lnTo>
                    <a:pt x="6504" y="18120"/>
                  </a:lnTo>
                  <a:close/>
                  <a:moveTo>
                    <a:pt x="33262" y="0"/>
                  </a:moveTo>
                  <a:lnTo>
                    <a:pt x="32666" y="50"/>
                  </a:lnTo>
                  <a:lnTo>
                    <a:pt x="32071" y="149"/>
                  </a:lnTo>
                  <a:lnTo>
                    <a:pt x="31475" y="298"/>
                  </a:lnTo>
                  <a:lnTo>
                    <a:pt x="30979" y="546"/>
                  </a:lnTo>
                  <a:lnTo>
                    <a:pt x="30581" y="745"/>
                  </a:lnTo>
                  <a:lnTo>
                    <a:pt x="30184" y="993"/>
                  </a:lnTo>
                  <a:lnTo>
                    <a:pt x="29886" y="1291"/>
                  </a:lnTo>
                  <a:lnTo>
                    <a:pt x="29539" y="1589"/>
                  </a:lnTo>
                  <a:lnTo>
                    <a:pt x="29142" y="2085"/>
                  </a:lnTo>
                  <a:lnTo>
                    <a:pt x="28745" y="2582"/>
                  </a:lnTo>
                  <a:lnTo>
                    <a:pt x="28447" y="3177"/>
                  </a:lnTo>
                  <a:lnTo>
                    <a:pt x="28198" y="3773"/>
                  </a:lnTo>
                  <a:lnTo>
                    <a:pt x="28000" y="4369"/>
                  </a:lnTo>
                  <a:lnTo>
                    <a:pt x="27851" y="5014"/>
                  </a:lnTo>
                  <a:lnTo>
                    <a:pt x="27801" y="5709"/>
                  </a:lnTo>
                  <a:lnTo>
                    <a:pt x="27752" y="6355"/>
                  </a:lnTo>
                  <a:lnTo>
                    <a:pt x="27752" y="6950"/>
                  </a:lnTo>
                  <a:lnTo>
                    <a:pt x="27851" y="7546"/>
                  </a:lnTo>
                  <a:lnTo>
                    <a:pt x="27950" y="8092"/>
                  </a:lnTo>
                  <a:lnTo>
                    <a:pt x="28099" y="8688"/>
                  </a:lnTo>
                  <a:lnTo>
                    <a:pt x="28248" y="9284"/>
                  </a:lnTo>
                  <a:lnTo>
                    <a:pt x="28496" y="9879"/>
                  </a:lnTo>
                  <a:lnTo>
                    <a:pt x="28745" y="10475"/>
                  </a:lnTo>
                  <a:lnTo>
                    <a:pt x="29042" y="11021"/>
                  </a:lnTo>
                  <a:lnTo>
                    <a:pt x="29291" y="11468"/>
                  </a:lnTo>
                  <a:lnTo>
                    <a:pt x="29986" y="12908"/>
                  </a:lnTo>
                  <a:lnTo>
                    <a:pt x="30979" y="15142"/>
                  </a:lnTo>
                  <a:lnTo>
                    <a:pt x="30035" y="15737"/>
                  </a:lnTo>
                  <a:lnTo>
                    <a:pt x="29092" y="16283"/>
                  </a:lnTo>
                  <a:lnTo>
                    <a:pt x="28447" y="16631"/>
                  </a:lnTo>
                  <a:lnTo>
                    <a:pt x="27851" y="16929"/>
                  </a:lnTo>
                  <a:lnTo>
                    <a:pt x="28000" y="16234"/>
                  </a:lnTo>
                  <a:lnTo>
                    <a:pt x="28149" y="15539"/>
                  </a:lnTo>
                  <a:lnTo>
                    <a:pt x="28248" y="14844"/>
                  </a:lnTo>
                  <a:lnTo>
                    <a:pt x="28248" y="14099"/>
                  </a:lnTo>
                  <a:lnTo>
                    <a:pt x="28248" y="13553"/>
                  </a:lnTo>
                  <a:lnTo>
                    <a:pt x="28198" y="12957"/>
                  </a:lnTo>
                  <a:lnTo>
                    <a:pt x="28099" y="12362"/>
                  </a:lnTo>
                  <a:lnTo>
                    <a:pt x="27950" y="11766"/>
                  </a:lnTo>
                  <a:lnTo>
                    <a:pt x="27801" y="11170"/>
                  </a:lnTo>
                  <a:lnTo>
                    <a:pt x="27553" y="10624"/>
                  </a:lnTo>
                  <a:lnTo>
                    <a:pt x="27305" y="10028"/>
                  </a:lnTo>
                  <a:lnTo>
                    <a:pt x="27007" y="9482"/>
                  </a:lnTo>
                  <a:lnTo>
                    <a:pt x="26461" y="8589"/>
                  </a:lnTo>
                  <a:lnTo>
                    <a:pt x="25816" y="7794"/>
                  </a:lnTo>
                  <a:lnTo>
                    <a:pt x="25518" y="7447"/>
                  </a:lnTo>
                  <a:lnTo>
                    <a:pt x="25170" y="7149"/>
                  </a:lnTo>
                  <a:lnTo>
                    <a:pt x="24773" y="6851"/>
                  </a:lnTo>
                  <a:lnTo>
                    <a:pt x="24426" y="6603"/>
                  </a:lnTo>
                  <a:lnTo>
                    <a:pt x="24028" y="6355"/>
                  </a:lnTo>
                  <a:lnTo>
                    <a:pt x="23631" y="6156"/>
                  </a:lnTo>
                  <a:lnTo>
                    <a:pt x="23234" y="6007"/>
                  </a:lnTo>
                  <a:lnTo>
                    <a:pt x="22837" y="5858"/>
                  </a:lnTo>
                  <a:lnTo>
                    <a:pt x="22390" y="5759"/>
                  </a:lnTo>
                  <a:lnTo>
                    <a:pt x="21993" y="5660"/>
                  </a:lnTo>
                  <a:lnTo>
                    <a:pt x="21546" y="5610"/>
                  </a:lnTo>
                  <a:lnTo>
                    <a:pt x="21149" y="5610"/>
                  </a:lnTo>
                  <a:lnTo>
                    <a:pt x="20504" y="5660"/>
                  </a:lnTo>
                  <a:lnTo>
                    <a:pt x="19908" y="5759"/>
                  </a:lnTo>
                  <a:lnTo>
                    <a:pt x="19312" y="5908"/>
                  </a:lnTo>
                  <a:lnTo>
                    <a:pt x="18717" y="6106"/>
                  </a:lnTo>
                  <a:lnTo>
                    <a:pt x="18319" y="6305"/>
                  </a:lnTo>
                  <a:lnTo>
                    <a:pt x="17922" y="6553"/>
                  </a:lnTo>
                  <a:lnTo>
                    <a:pt x="17525" y="6801"/>
                  </a:lnTo>
                  <a:lnTo>
                    <a:pt x="17178" y="7099"/>
                  </a:lnTo>
                  <a:lnTo>
                    <a:pt x="16830" y="7447"/>
                  </a:lnTo>
                  <a:lnTo>
                    <a:pt x="16532" y="7794"/>
                  </a:lnTo>
                  <a:lnTo>
                    <a:pt x="16234" y="8142"/>
                  </a:lnTo>
                  <a:lnTo>
                    <a:pt x="15936" y="8539"/>
                  </a:lnTo>
                  <a:lnTo>
                    <a:pt x="15738" y="8936"/>
                  </a:lnTo>
                  <a:lnTo>
                    <a:pt x="15490" y="9383"/>
                  </a:lnTo>
                  <a:lnTo>
                    <a:pt x="15341" y="9830"/>
                  </a:lnTo>
                  <a:lnTo>
                    <a:pt x="15192" y="10326"/>
                  </a:lnTo>
                  <a:lnTo>
                    <a:pt x="15043" y="10773"/>
                  </a:lnTo>
                  <a:lnTo>
                    <a:pt x="14944" y="11319"/>
                  </a:lnTo>
                  <a:lnTo>
                    <a:pt x="14894" y="11815"/>
                  </a:lnTo>
                  <a:lnTo>
                    <a:pt x="14894" y="12362"/>
                  </a:lnTo>
                  <a:lnTo>
                    <a:pt x="14944" y="13255"/>
                  </a:lnTo>
                  <a:lnTo>
                    <a:pt x="15093" y="14248"/>
                  </a:lnTo>
                  <a:lnTo>
                    <a:pt x="15390" y="15191"/>
                  </a:lnTo>
                  <a:lnTo>
                    <a:pt x="15788" y="16184"/>
                  </a:lnTo>
                  <a:lnTo>
                    <a:pt x="16085" y="16829"/>
                  </a:lnTo>
                  <a:lnTo>
                    <a:pt x="16433" y="17425"/>
                  </a:lnTo>
                  <a:lnTo>
                    <a:pt x="16830" y="17971"/>
                  </a:lnTo>
                  <a:lnTo>
                    <a:pt x="17277" y="18517"/>
                  </a:lnTo>
                  <a:lnTo>
                    <a:pt x="17724" y="19014"/>
                  </a:lnTo>
                  <a:lnTo>
                    <a:pt x="18220" y="19461"/>
                  </a:lnTo>
                  <a:lnTo>
                    <a:pt x="18717" y="19858"/>
                  </a:lnTo>
                  <a:lnTo>
                    <a:pt x="19263" y="20255"/>
                  </a:lnTo>
                  <a:lnTo>
                    <a:pt x="20107" y="20751"/>
                  </a:lnTo>
                  <a:lnTo>
                    <a:pt x="19858" y="20950"/>
                  </a:lnTo>
                  <a:lnTo>
                    <a:pt x="18915" y="21645"/>
                  </a:lnTo>
                  <a:lnTo>
                    <a:pt x="17922" y="22241"/>
                  </a:lnTo>
                  <a:lnTo>
                    <a:pt x="16532" y="20652"/>
                  </a:lnTo>
                  <a:lnTo>
                    <a:pt x="15291" y="19312"/>
                  </a:lnTo>
                  <a:lnTo>
                    <a:pt x="14050" y="18120"/>
                  </a:lnTo>
                  <a:lnTo>
                    <a:pt x="12809" y="17028"/>
                  </a:lnTo>
                  <a:lnTo>
                    <a:pt x="11617" y="16085"/>
                  </a:lnTo>
                  <a:lnTo>
                    <a:pt x="11022" y="15688"/>
                  </a:lnTo>
                  <a:lnTo>
                    <a:pt x="10426" y="15340"/>
                  </a:lnTo>
                  <a:lnTo>
                    <a:pt x="9830" y="14993"/>
                  </a:lnTo>
                  <a:lnTo>
                    <a:pt x="9235" y="14695"/>
                  </a:lnTo>
                  <a:lnTo>
                    <a:pt x="8639" y="14447"/>
                  </a:lnTo>
                  <a:lnTo>
                    <a:pt x="7993" y="14298"/>
                  </a:lnTo>
                  <a:lnTo>
                    <a:pt x="7348" y="14149"/>
                  </a:lnTo>
                  <a:lnTo>
                    <a:pt x="6703" y="14099"/>
                  </a:lnTo>
                  <a:lnTo>
                    <a:pt x="6008" y="14149"/>
                  </a:lnTo>
                  <a:lnTo>
                    <a:pt x="5362" y="14298"/>
                  </a:lnTo>
                  <a:lnTo>
                    <a:pt x="4767" y="14496"/>
                  </a:lnTo>
                  <a:lnTo>
                    <a:pt x="4171" y="14695"/>
                  </a:lnTo>
                  <a:lnTo>
                    <a:pt x="3625" y="14943"/>
                  </a:lnTo>
                  <a:lnTo>
                    <a:pt x="3128" y="15241"/>
                  </a:lnTo>
                  <a:lnTo>
                    <a:pt x="2433" y="15688"/>
                  </a:lnTo>
                  <a:lnTo>
                    <a:pt x="1788" y="16234"/>
                  </a:lnTo>
                  <a:lnTo>
                    <a:pt x="1391" y="16631"/>
                  </a:lnTo>
                  <a:lnTo>
                    <a:pt x="994" y="17127"/>
                  </a:lnTo>
                  <a:lnTo>
                    <a:pt x="696" y="17624"/>
                  </a:lnTo>
                  <a:lnTo>
                    <a:pt x="448" y="18120"/>
                  </a:lnTo>
                  <a:lnTo>
                    <a:pt x="249" y="18666"/>
                  </a:lnTo>
                  <a:lnTo>
                    <a:pt x="100" y="19212"/>
                  </a:lnTo>
                  <a:lnTo>
                    <a:pt x="50" y="19758"/>
                  </a:lnTo>
                  <a:lnTo>
                    <a:pt x="1" y="20304"/>
                  </a:lnTo>
                  <a:lnTo>
                    <a:pt x="50" y="20751"/>
                  </a:lnTo>
                  <a:lnTo>
                    <a:pt x="100" y="21198"/>
                  </a:lnTo>
                  <a:lnTo>
                    <a:pt x="249" y="22042"/>
                  </a:lnTo>
                  <a:lnTo>
                    <a:pt x="497" y="22787"/>
                  </a:lnTo>
                  <a:lnTo>
                    <a:pt x="845" y="23482"/>
                  </a:lnTo>
                  <a:lnTo>
                    <a:pt x="1192" y="24127"/>
                  </a:lnTo>
                  <a:lnTo>
                    <a:pt x="1639" y="24772"/>
                  </a:lnTo>
                  <a:lnTo>
                    <a:pt x="1987" y="25219"/>
                  </a:lnTo>
                  <a:lnTo>
                    <a:pt x="2384" y="25666"/>
                  </a:lnTo>
                  <a:lnTo>
                    <a:pt x="2781" y="26113"/>
                  </a:lnTo>
                  <a:lnTo>
                    <a:pt x="3178" y="26510"/>
                  </a:lnTo>
                  <a:lnTo>
                    <a:pt x="3674" y="26857"/>
                  </a:lnTo>
                  <a:lnTo>
                    <a:pt x="4121" y="27205"/>
                  </a:lnTo>
                  <a:lnTo>
                    <a:pt x="4618" y="27552"/>
                  </a:lnTo>
                  <a:lnTo>
                    <a:pt x="5114" y="27850"/>
                  </a:lnTo>
                  <a:lnTo>
                    <a:pt x="5660" y="28148"/>
                  </a:lnTo>
                  <a:lnTo>
                    <a:pt x="6206" y="28396"/>
                  </a:lnTo>
                  <a:lnTo>
                    <a:pt x="6752" y="28595"/>
                  </a:lnTo>
                  <a:lnTo>
                    <a:pt x="7348" y="28794"/>
                  </a:lnTo>
                  <a:lnTo>
                    <a:pt x="7944" y="28942"/>
                  </a:lnTo>
                  <a:lnTo>
                    <a:pt x="8540" y="29042"/>
                  </a:lnTo>
                  <a:lnTo>
                    <a:pt x="9185" y="29141"/>
                  </a:lnTo>
                  <a:lnTo>
                    <a:pt x="10525" y="29141"/>
                  </a:lnTo>
                  <a:lnTo>
                    <a:pt x="11220" y="29042"/>
                  </a:lnTo>
                  <a:lnTo>
                    <a:pt x="12660" y="28694"/>
                  </a:lnTo>
                  <a:lnTo>
                    <a:pt x="14050" y="28297"/>
                  </a:lnTo>
                  <a:lnTo>
                    <a:pt x="15490" y="27850"/>
                  </a:lnTo>
                  <a:lnTo>
                    <a:pt x="16880" y="27255"/>
                  </a:lnTo>
                  <a:lnTo>
                    <a:pt x="18170" y="28942"/>
                  </a:lnTo>
                  <a:lnTo>
                    <a:pt x="19461" y="30680"/>
                  </a:lnTo>
                  <a:lnTo>
                    <a:pt x="20752" y="32467"/>
                  </a:lnTo>
                  <a:lnTo>
                    <a:pt x="22043" y="34304"/>
                  </a:lnTo>
                  <a:lnTo>
                    <a:pt x="23532" y="36439"/>
                  </a:lnTo>
                  <a:lnTo>
                    <a:pt x="24922" y="38623"/>
                  </a:lnTo>
                  <a:lnTo>
                    <a:pt x="27702" y="42892"/>
                  </a:lnTo>
                  <a:lnTo>
                    <a:pt x="30234" y="46963"/>
                  </a:lnTo>
                  <a:lnTo>
                    <a:pt x="32468" y="50637"/>
                  </a:lnTo>
                  <a:lnTo>
                    <a:pt x="32815" y="51233"/>
                  </a:lnTo>
                  <a:lnTo>
                    <a:pt x="36241" y="49147"/>
                  </a:lnTo>
                  <a:lnTo>
                    <a:pt x="33510" y="44630"/>
                  </a:lnTo>
                  <a:lnTo>
                    <a:pt x="30333" y="39616"/>
                  </a:lnTo>
                  <a:lnTo>
                    <a:pt x="27503" y="35247"/>
                  </a:lnTo>
                  <a:lnTo>
                    <a:pt x="26014" y="33013"/>
                  </a:lnTo>
                  <a:lnTo>
                    <a:pt x="24475" y="30879"/>
                  </a:lnTo>
                  <a:lnTo>
                    <a:pt x="22489" y="28049"/>
                  </a:lnTo>
                  <a:lnTo>
                    <a:pt x="20454" y="25368"/>
                  </a:lnTo>
                  <a:lnTo>
                    <a:pt x="21149" y="24921"/>
                  </a:lnTo>
                  <a:lnTo>
                    <a:pt x="22192" y="24177"/>
                  </a:lnTo>
                  <a:lnTo>
                    <a:pt x="23184" y="23382"/>
                  </a:lnTo>
                  <a:lnTo>
                    <a:pt x="24128" y="22538"/>
                  </a:lnTo>
                  <a:lnTo>
                    <a:pt x="24972" y="21695"/>
                  </a:lnTo>
                  <a:lnTo>
                    <a:pt x="25667" y="21595"/>
                  </a:lnTo>
                  <a:lnTo>
                    <a:pt x="26312" y="21496"/>
                  </a:lnTo>
                  <a:lnTo>
                    <a:pt x="26957" y="21397"/>
                  </a:lnTo>
                  <a:lnTo>
                    <a:pt x="27652" y="21198"/>
                  </a:lnTo>
                  <a:lnTo>
                    <a:pt x="28496" y="20950"/>
                  </a:lnTo>
                  <a:lnTo>
                    <a:pt x="29340" y="20602"/>
                  </a:lnTo>
                  <a:lnTo>
                    <a:pt x="30184" y="20205"/>
                  </a:lnTo>
                  <a:lnTo>
                    <a:pt x="31028" y="19758"/>
                  </a:lnTo>
                  <a:lnTo>
                    <a:pt x="32567" y="18865"/>
                  </a:lnTo>
                  <a:lnTo>
                    <a:pt x="34603" y="23680"/>
                  </a:lnTo>
                  <a:lnTo>
                    <a:pt x="36787" y="29042"/>
                  </a:lnTo>
                  <a:lnTo>
                    <a:pt x="41156" y="39914"/>
                  </a:lnTo>
                  <a:lnTo>
                    <a:pt x="43241" y="45126"/>
                  </a:lnTo>
                  <a:lnTo>
                    <a:pt x="46765" y="43290"/>
                  </a:lnTo>
                  <a:lnTo>
                    <a:pt x="42397" y="32318"/>
                  </a:lnTo>
                  <a:lnTo>
                    <a:pt x="39368" y="24772"/>
                  </a:lnTo>
                  <a:lnTo>
                    <a:pt x="36489" y="17872"/>
                  </a:lnTo>
                  <a:lnTo>
                    <a:pt x="35893" y="16432"/>
                  </a:lnTo>
                  <a:lnTo>
                    <a:pt x="36539" y="15886"/>
                  </a:lnTo>
                  <a:lnTo>
                    <a:pt x="37085" y="15290"/>
                  </a:lnTo>
                  <a:lnTo>
                    <a:pt x="37680" y="14744"/>
                  </a:lnTo>
                  <a:lnTo>
                    <a:pt x="38177" y="14149"/>
                  </a:lnTo>
                  <a:lnTo>
                    <a:pt x="38822" y="13354"/>
                  </a:lnTo>
                  <a:lnTo>
                    <a:pt x="39368" y="12560"/>
                  </a:lnTo>
                  <a:lnTo>
                    <a:pt x="39865" y="11766"/>
                  </a:lnTo>
                  <a:lnTo>
                    <a:pt x="40262" y="10971"/>
                  </a:lnTo>
                  <a:lnTo>
                    <a:pt x="40609" y="10128"/>
                  </a:lnTo>
                  <a:lnTo>
                    <a:pt x="40858" y="9284"/>
                  </a:lnTo>
                  <a:lnTo>
                    <a:pt x="41007" y="8390"/>
                  </a:lnTo>
                  <a:lnTo>
                    <a:pt x="41056" y="7546"/>
                  </a:lnTo>
                  <a:lnTo>
                    <a:pt x="41007" y="7000"/>
                  </a:lnTo>
                  <a:lnTo>
                    <a:pt x="40957" y="6454"/>
                  </a:lnTo>
                  <a:lnTo>
                    <a:pt x="40858" y="5908"/>
                  </a:lnTo>
                  <a:lnTo>
                    <a:pt x="40709" y="5362"/>
                  </a:lnTo>
                  <a:lnTo>
                    <a:pt x="40361" y="4617"/>
                  </a:lnTo>
                  <a:lnTo>
                    <a:pt x="39964" y="3872"/>
                  </a:lnTo>
                  <a:lnTo>
                    <a:pt x="39468" y="3177"/>
                  </a:lnTo>
                  <a:lnTo>
                    <a:pt x="38872" y="2582"/>
                  </a:lnTo>
                  <a:lnTo>
                    <a:pt x="38227" y="1986"/>
                  </a:lnTo>
                  <a:lnTo>
                    <a:pt x="37482" y="1440"/>
                  </a:lnTo>
                  <a:lnTo>
                    <a:pt x="36638" y="993"/>
                  </a:lnTo>
                  <a:lnTo>
                    <a:pt x="35794" y="546"/>
                  </a:lnTo>
                  <a:lnTo>
                    <a:pt x="35149" y="298"/>
                  </a:lnTo>
                  <a:lnTo>
                    <a:pt x="34553" y="149"/>
                  </a:lnTo>
                  <a:lnTo>
                    <a:pt x="33908" y="0"/>
                  </a:lnTo>
                  <a:close/>
                </a:path>
              </a:pathLst>
            </a:custGeom>
            <a:solidFill>
              <a:srgbClr val="FFF4D9"/>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02" name="Google Shape;12815;p79">
              <a:extLst>
                <a:ext uri="{FF2B5EF4-FFF2-40B4-BE49-F238E27FC236}">
                  <a16:creationId xmlns:a16="http://schemas.microsoft.com/office/drawing/2014/main" id="{44B6F08D-93E5-2CA9-7084-E4013805B73C}"/>
                </a:ext>
              </a:extLst>
            </p:cNvPr>
            <p:cNvSpPr/>
            <p:nvPr/>
          </p:nvSpPr>
          <p:spPr>
            <a:xfrm>
              <a:off x="5475053" y="3493810"/>
              <a:ext cx="98218" cy="68032"/>
            </a:xfrm>
            <a:custGeom>
              <a:avLst/>
              <a:gdLst/>
              <a:ahLst/>
              <a:cxnLst/>
              <a:rect l="l" t="t" r="r" b="b"/>
              <a:pathLst>
                <a:path w="10178" h="7050" fill="none" extrusionOk="0">
                  <a:moveTo>
                    <a:pt x="5760" y="7050"/>
                  </a:moveTo>
                  <a:lnTo>
                    <a:pt x="5760" y="7050"/>
                  </a:lnTo>
                  <a:lnTo>
                    <a:pt x="5263" y="7000"/>
                  </a:lnTo>
                  <a:lnTo>
                    <a:pt x="4767" y="6950"/>
                  </a:lnTo>
                  <a:lnTo>
                    <a:pt x="4221" y="6801"/>
                  </a:lnTo>
                  <a:lnTo>
                    <a:pt x="3724" y="6603"/>
                  </a:lnTo>
                  <a:lnTo>
                    <a:pt x="3724" y="6603"/>
                  </a:lnTo>
                  <a:lnTo>
                    <a:pt x="2930" y="6206"/>
                  </a:lnTo>
                  <a:lnTo>
                    <a:pt x="2185" y="5709"/>
                  </a:lnTo>
                  <a:lnTo>
                    <a:pt x="2185" y="5709"/>
                  </a:lnTo>
                  <a:lnTo>
                    <a:pt x="1689" y="5262"/>
                  </a:lnTo>
                  <a:lnTo>
                    <a:pt x="1242" y="4816"/>
                  </a:lnTo>
                  <a:lnTo>
                    <a:pt x="845" y="4369"/>
                  </a:lnTo>
                  <a:lnTo>
                    <a:pt x="547" y="3872"/>
                  </a:lnTo>
                  <a:lnTo>
                    <a:pt x="547" y="3872"/>
                  </a:lnTo>
                  <a:lnTo>
                    <a:pt x="299" y="3426"/>
                  </a:lnTo>
                  <a:lnTo>
                    <a:pt x="100" y="2979"/>
                  </a:lnTo>
                  <a:lnTo>
                    <a:pt x="100" y="2979"/>
                  </a:lnTo>
                  <a:lnTo>
                    <a:pt x="1" y="2532"/>
                  </a:lnTo>
                  <a:lnTo>
                    <a:pt x="1" y="2184"/>
                  </a:lnTo>
                  <a:lnTo>
                    <a:pt x="1" y="2184"/>
                  </a:lnTo>
                  <a:lnTo>
                    <a:pt x="1" y="1887"/>
                  </a:lnTo>
                  <a:lnTo>
                    <a:pt x="100" y="1638"/>
                  </a:lnTo>
                  <a:lnTo>
                    <a:pt x="100" y="1638"/>
                  </a:lnTo>
                  <a:lnTo>
                    <a:pt x="150" y="1440"/>
                  </a:lnTo>
                  <a:lnTo>
                    <a:pt x="299" y="1241"/>
                  </a:lnTo>
                  <a:lnTo>
                    <a:pt x="299" y="1241"/>
                  </a:lnTo>
                  <a:lnTo>
                    <a:pt x="547" y="943"/>
                  </a:lnTo>
                  <a:lnTo>
                    <a:pt x="994" y="646"/>
                  </a:lnTo>
                  <a:lnTo>
                    <a:pt x="994" y="646"/>
                  </a:lnTo>
                  <a:lnTo>
                    <a:pt x="1639" y="298"/>
                  </a:lnTo>
                  <a:lnTo>
                    <a:pt x="2036" y="149"/>
                  </a:lnTo>
                  <a:lnTo>
                    <a:pt x="2483" y="0"/>
                  </a:lnTo>
                  <a:lnTo>
                    <a:pt x="2483" y="0"/>
                  </a:lnTo>
                  <a:lnTo>
                    <a:pt x="2682" y="0"/>
                  </a:lnTo>
                  <a:lnTo>
                    <a:pt x="2682" y="0"/>
                  </a:lnTo>
                  <a:lnTo>
                    <a:pt x="2682" y="0"/>
                  </a:lnTo>
                  <a:lnTo>
                    <a:pt x="2682" y="0"/>
                  </a:lnTo>
                  <a:lnTo>
                    <a:pt x="3079" y="50"/>
                  </a:lnTo>
                  <a:lnTo>
                    <a:pt x="3079" y="50"/>
                  </a:lnTo>
                  <a:lnTo>
                    <a:pt x="3675" y="248"/>
                  </a:lnTo>
                  <a:lnTo>
                    <a:pt x="4469" y="695"/>
                  </a:lnTo>
                  <a:lnTo>
                    <a:pt x="4469" y="695"/>
                  </a:lnTo>
                  <a:lnTo>
                    <a:pt x="5313" y="1241"/>
                  </a:lnTo>
                  <a:lnTo>
                    <a:pt x="6256" y="1986"/>
                  </a:lnTo>
                  <a:lnTo>
                    <a:pt x="6256" y="1986"/>
                  </a:lnTo>
                  <a:lnTo>
                    <a:pt x="7150" y="2780"/>
                  </a:lnTo>
                  <a:lnTo>
                    <a:pt x="8143" y="3723"/>
                  </a:lnTo>
                  <a:lnTo>
                    <a:pt x="9135" y="4766"/>
                  </a:lnTo>
                  <a:lnTo>
                    <a:pt x="10178" y="5908"/>
                  </a:lnTo>
                  <a:lnTo>
                    <a:pt x="10178" y="5908"/>
                  </a:lnTo>
                  <a:lnTo>
                    <a:pt x="9235" y="6255"/>
                  </a:lnTo>
                  <a:lnTo>
                    <a:pt x="8291" y="6553"/>
                  </a:lnTo>
                  <a:lnTo>
                    <a:pt x="7398" y="6801"/>
                  </a:lnTo>
                  <a:lnTo>
                    <a:pt x="6504" y="7000"/>
                  </a:lnTo>
                  <a:lnTo>
                    <a:pt x="6504" y="7000"/>
                  </a:lnTo>
                  <a:lnTo>
                    <a:pt x="6157" y="7050"/>
                  </a:lnTo>
                  <a:lnTo>
                    <a:pt x="5760" y="7050"/>
                  </a:lnTo>
                  <a:lnTo>
                    <a:pt x="5760" y="7050"/>
                  </a:lnTo>
                  <a:lnTo>
                    <a:pt x="5760" y="705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03" name="Google Shape;12816;p79">
              <a:extLst>
                <a:ext uri="{FF2B5EF4-FFF2-40B4-BE49-F238E27FC236}">
                  <a16:creationId xmlns:a16="http://schemas.microsoft.com/office/drawing/2014/main" id="{B3BE63DA-B842-4538-6E3C-57AC48B4AC86}"/>
                </a:ext>
              </a:extLst>
            </p:cNvPr>
            <p:cNvSpPr/>
            <p:nvPr/>
          </p:nvSpPr>
          <p:spPr>
            <a:xfrm>
              <a:off x="5618297" y="3411408"/>
              <a:ext cx="52226" cy="77142"/>
            </a:xfrm>
            <a:custGeom>
              <a:avLst/>
              <a:gdLst/>
              <a:ahLst/>
              <a:cxnLst/>
              <a:rect l="l" t="t" r="r" b="b"/>
              <a:pathLst>
                <a:path w="5412" h="7994" fill="none" extrusionOk="0">
                  <a:moveTo>
                    <a:pt x="4270" y="7993"/>
                  </a:moveTo>
                  <a:lnTo>
                    <a:pt x="4270" y="7993"/>
                  </a:lnTo>
                  <a:lnTo>
                    <a:pt x="3873" y="7894"/>
                  </a:lnTo>
                  <a:lnTo>
                    <a:pt x="3873" y="7894"/>
                  </a:lnTo>
                  <a:lnTo>
                    <a:pt x="3327" y="7745"/>
                  </a:lnTo>
                  <a:lnTo>
                    <a:pt x="2830" y="7497"/>
                  </a:lnTo>
                  <a:lnTo>
                    <a:pt x="2383" y="7199"/>
                  </a:lnTo>
                  <a:lnTo>
                    <a:pt x="1937" y="6901"/>
                  </a:lnTo>
                  <a:lnTo>
                    <a:pt x="1937" y="6901"/>
                  </a:lnTo>
                  <a:lnTo>
                    <a:pt x="1539" y="6504"/>
                  </a:lnTo>
                  <a:lnTo>
                    <a:pt x="1192" y="6057"/>
                  </a:lnTo>
                  <a:lnTo>
                    <a:pt x="844" y="5511"/>
                  </a:lnTo>
                  <a:lnTo>
                    <a:pt x="547" y="4965"/>
                  </a:lnTo>
                  <a:lnTo>
                    <a:pt x="547" y="4965"/>
                  </a:lnTo>
                  <a:lnTo>
                    <a:pt x="298" y="4319"/>
                  </a:lnTo>
                  <a:lnTo>
                    <a:pt x="149" y="3773"/>
                  </a:lnTo>
                  <a:lnTo>
                    <a:pt x="50" y="3227"/>
                  </a:lnTo>
                  <a:lnTo>
                    <a:pt x="0" y="2781"/>
                  </a:lnTo>
                  <a:lnTo>
                    <a:pt x="0" y="2781"/>
                  </a:lnTo>
                  <a:lnTo>
                    <a:pt x="50" y="2433"/>
                  </a:lnTo>
                  <a:lnTo>
                    <a:pt x="100" y="2085"/>
                  </a:lnTo>
                  <a:lnTo>
                    <a:pt x="249" y="1539"/>
                  </a:lnTo>
                  <a:lnTo>
                    <a:pt x="249" y="1539"/>
                  </a:lnTo>
                  <a:lnTo>
                    <a:pt x="398" y="1192"/>
                  </a:lnTo>
                  <a:lnTo>
                    <a:pt x="596" y="894"/>
                  </a:lnTo>
                  <a:lnTo>
                    <a:pt x="844" y="596"/>
                  </a:lnTo>
                  <a:lnTo>
                    <a:pt x="1093" y="398"/>
                  </a:lnTo>
                  <a:lnTo>
                    <a:pt x="1093" y="398"/>
                  </a:lnTo>
                  <a:lnTo>
                    <a:pt x="1390" y="249"/>
                  </a:lnTo>
                  <a:lnTo>
                    <a:pt x="1688" y="100"/>
                  </a:lnTo>
                  <a:lnTo>
                    <a:pt x="1986" y="50"/>
                  </a:lnTo>
                  <a:lnTo>
                    <a:pt x="2284" y="0"/>
                  </a:lnTo>
                  <a:lnTo>
                    <a:pt x="2284" y="0"/>
                  </a:lnTo>
                  <a:lnTo>
                    <a:pt x="2532" y="50"/>
                  </a:lnTo>
                  <a:lnTo>
                    <a:pt x="2780" y="100"/>
                  </a:lnTo>
                  <a:lnTo>
                    <a:pt x="3078" y="199"/>
                  </a:lnTo>
                  <a:lnTo>
                    <a:pt x="3376" y="348"/>
                  </a:lnTo>
                  <a:lnTo>
                    <a:pt x="3376" y="348"/>
                  </a:lnTo>
                  <a:lnTo>
                    <a:pt x="3674" y="596"/>
                  </a:lnTo>
                  <a:lnTo>
                    <a:pt x="4022" y="894"/>
                  </a:lnTo>
                  <a:lnTo>
                    <a:pt x="4319" y="1341"/>
                  </a:lnTo>
                  <a:lnTo>
                    <a:pt x="4667" y="1837"/>
                  </a:lnTo>
                  <a:lnTo>
                    <a:pt x="4667" y="1837"/>
                  </a:lnTo>
                  <a:lnTo>
                    <a:pt x="5014" y="2532"/>
                  </a:lnTo>
                  <a:lnTo>
                    <a:pt x="5213" y="3227"/>
                  </a:lnTo>
                  <a:lnTo>
                    <a:pt x="5213" y="3227"/>
                  </a:lnTo>
                  <a:lnTo>
                    <a:pt x="5362" y="3873"/>
                  </a:lnTo>
                  <a:lnTo>
                    <a:pt x="5412" y="4518"/>
                  </a:lnTo>
                  <a:lnTo>
                    <a:pt x="5412" y="4518"/>
                  </a:lnTo>
                  <a:lnTo>
                    <a:pt x="5412" y="4965"/>
                  </a:lnTo>
                  <a:lnTo>
                    <a:pt x="5362" y="5362"/>
                  </a:lnTo>
                  <a:lnTo>
                    <a:pt x="5263" y="5809"/>
                  </a:lnTo>
                  <a:lnTo>
                    <a:pt x="5114" y="6206"/>
                  </a:lnTo>
                  <a:lnTo>
                    <a:pt x="5114" y="6206"/>
                  </a:lnTo>
                  <a:lnTo>
                    <a:pt x="4965" y="6653"/>
                  </a:lnTo>
                  <a:lnTo>
                    <a:pt x="4766" y="7100"/>
                  </a:lnTo>
                  <a:lnTo>
                    <a:pt x="4518" y="7546"/>
                  </a:lnTo>
                  <a:lnTo>
                    <a:pt x="4270" y="7993"/>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04" name="Google Shape;12817;p79">
              <a:extLst>
                <a:ext uri="{FF2B5EF4-FFF2-40B4-BE49-F238E27FC236}">
                  <a16:creationId xmlns:a16="http://schemas.microsoft.com/office/drawing/2014/main" id="{8772996B-01AC-8384-CB03-EC071F6EC4F1}"/>
                </a:ext>
              </a:extLst>
            </p:cNvPr>
            <p:cNvSpPr/>
            <p:nvPr/>
          </p:nvSpPr>
          <p:spPr>
            <a:xfrm>
              <a:off x="5742377" y="3357272"/>
              <a:ext cx="51270" cy="82893"/>
            </a:xfrm>
            <a:custGeom>
              <a:avLst/>
              <a:gdLst/>
              <a:ahLst/>
              <a:cxnLst/>
              <a:rect l="l" t="t" r="r" b="b"/>
              <a:pathLst>
                <a:path w="5313" h="8590" fill="none" extrusionOk="0">
                  <a:moveTo>
                    <a:pt x="2482" y="8589"/>
                  </a:moveTo>
                  <a:lnTo>
                    <a:pt x="2482" y="8589"/>
                  </a:lnTo>
                  <a:lnTo>
                    <a:pt x="2383" y="8391"/>
                  </a:lnTo>
                  <a:lnTo>
                    <a:pt x="2383" y="8391"/>
                  </a:lnTo>
                  <a:lnTo>
                    <a:pt x="1490" y="6454"/>
                  </a:lnTo>
                  <a:lnTo>
                    <a:pt x="1490" y="6454"/>
                  </a:lnTo>
                  <a:lnTo>
                    <a:pt x="1142" y="5660"/>
                  </a:lnTo>
                  <a:lnTo>
                    <a:pt x="1142" y="5660"/>
                  </a:lnTo>
                  <a:lnTo>
                    <a:pt x="794" y="5064"/>
                  </a:lnTo>
                  <a:lnTo>
                    <a:pt x="794" y="5064"/>
                  </a:lnTo>
                  <a:lnTo>
                    <a:pt x="447" y="4369"/>
                  </a:lnTo>
                  <a:lnTo>
                    <a:pt x="199" y="3674"/>
                  </a:lnTo>
                  <a:lnTo>
                    <a:pt x="50" y="3029"/>
                  </a:lnTo>
                  <a:lnTo>
                    <a:pt x="0" y="2384"/>
                  </a:lnTo>
                  <a:lnTo>
                    <a:pt x="0" y="2384"/>
                  </a:lnTo>
                  <a:lnTo>
                    <a:pt x="50" y="1788"/>
                  </a:lnTo>
                  <a:lnTo>
                    <a:pt x="199" y="1291"/>
                  </a:lnTo>
                  <a:lnTo>
                    <a:pt x="199" y="1291"/>
                  </a:lnTo>
                  <a:lnTo>
                    <a:pt x="298" y="944"/>
                  </a:lnTo>
                  <a:lnTo>
                    <a:pt x="447" y="696"/>
                  </a:lnTo>
                  <a:lnTo>
                    <a:pt x="447" y="696"/>
                  </a:lnTo>
                  <a:lnTo>
                    <a:pt x="745" y="348"/>
                  </a:lnTo>
                  <a:lnTo>
                    <a:pt x="993" y="150"/>
                  </a:lnTo>
                  <a:lnTo>
                    <a:pt x="993" y="150"/>
                  </a:lnTo>
                  <a:lnTo>
                    <a:pt x="1241" y="50"/>
                  </a:lnTo>
                  <a:lnTo>
                    <a:pt x="1589" y="1"/>
                  </a:lnTo>
                  <a:lnTo>
                    <a:pt x="1589" y="1"/>
                  </a:lnTo>
                  <a:lnTo>
                    <a:pt x="1936" y="50"/>
                  </a:lnTo>
                  <a:lnTo>
                    <a:pt x="2433" y="199"/>
                  </a:lnTo>
                  <a:lnTo>
                    <a:pt x="2433" y="199"/>
                  </a:lnTo>
                  <a:lnTo>
                    <a:pt x="3227" y="596"/>
                  </a:lnTo>
                  <a:lnTo>
                    <a:pt x="3872" y="1043"/>
                  </a:lnTo>
                  <a:lnTo>
                    <a:pt x="3872" y="1043"/>
                  </a:lnTo>
                  <a:lnTo>
                    <a:pt x="4270" y="1341"/>
                  </a:lnTo>
                  <a:lnTo>
                    <a:pt x="4567" y="1689"/>
                  </a:lnTo>
                  <a:lnTo>
                    <a:pt x="4816" y="1986"/>
                  </a:lnTo>
                  <a:lnTo>
                    <a:pt x="5014" y="2284"/>
                  </a:lnTo>
                  <a:lnTo>
                    <a:pt x="5014" y="2284"/>
                  </a:lnTo>
                  <a:lnTo>
                    <a:pt x="5163" y="2582"/>
                  </a:lnTo>
                  <a:lnTo>
                    <a:pt x="5262" y="2880"/>
                  </a:lnTo>
                  <a:lnTo>
                    <a:pt x="5312" y="3228"/>
                  </a:lnTo>
                  <a:lnTo>
                    <a:pt x="5312" y="3575"/>
                  </a:lnTo>
                  <a:lnTo>
                    <a:pt x="5312" y="3575"/>
                  </a:lnTo>
                  <a:lnTo>
                    <a:pt x="5312" y="3972"/>
                  </a:lnTo>
                  <a:lnTo>
                    <a:pt x="5213" y="4369"/>
                  </a:lnTo>
                  <a:lnTo>
                    <a:pt x="5114" y="4866"/>
                  </a:lnTo>
                  <a:lnTo>
                    <a:pt x="4915" y="5362"/>
                  </a:lnTo>
                  <a:lnTo>
                    <a:pt x="4915" y="5362"/>
                  </a:lnTo>
                  <a:lnTo>
                    <a:pt x="4518" y="6107"/>
                  </a:lnTo>
                  <a:lnTo>
                    <a:pt x="3972" y="6901"/>
                  </a:lnTo>
                  <a:lnTo>
                    <a:pt x="3277" y="7745"/>
                  </a:lnTo>
                  <a:lnTo>
                    <a:pt x="2482" y="8589"/>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05" name="Google Shape;12818;p79">
              <a:extLst>
                <a:ext uri="{FF2B5EF4-FFF2-40B4-BE49-F238E27FC236}">
                  <a16:creationId xmlns:a16="http://schemas.microsoft.com/office/drawing/2014/main" id="{44EA0F2D-E613-96C5-CCE3-774C4BDE85E1}"/>
                </a:ext>
              </a:extLst>
            </p:cNvPr>
            <p:cNvSpPr/>
            <p:nvPr/>
          </p:nvSpPr>
          <p:spPr>
            <a:xfrm>
              <a:off x="5436250" y="3318952"/>
              <a:ext cx="451292" cy="494398"/>
            </a:xfrm>
            <a:custGeom>
              <a:avLst/>
              <a:gdLst/>
              <a:ahLst/>
              <a:cxnLst/>
              <a:rect l="l" t="t" r="r" b="b"/>
              <a:pathLst>
                <a:path w="46766" h="51233" fill="none" extrusionOk="0">
                  <a:moveTo>
                    <a:pt x="33262" y="0"/>
                  </a:moveTo>
                  <a:lnTo>
                    <a:pt x="33262" y="0"/>
                  </a:lnTo>
                  <a:lnTo>
                    <a:pt x="32666" y="50"/>
                  </a:lnTo>
                  <a:lnTo>
                    <a:pt x="32071" y="149"/>
                  </a:lnTo>
                  <a:lnTo>
                    <a:pt x="31475" y="298"/>
                  </a:lnTo>
                  <a:lnTo>
                    <a:pt x="30979" y="546"/>
                  </a:lnTo>
                  <a:lnTo>
                    <a:pt x="30979" y="546"/>
                  </a:lnTo>
                  <a:lnTo>
                    <a:pt x="30581" y="745"/>
                  </a:lnTo>
                  <a:lnTo>
                    <a:pt x="30184" y="993"/>
                  </a:lnTo>
                  <a:lnTo>
                    <a:pt x="29886" y="1291"/>
                  </a:lnTo>
                  <a:lnTo>
                    <a:pt x="29539" y="1589"/>
                  </a:lnTo>
                  <a:lnTo>
                    <a:pt x="29539" y="1589"/>
                  </a:lnTo>
                  <a:lnTo>
                    <a:pt x="29142" y="2085"/>
                  </a:lnTo>
                  <a:lnTo>
                    <a:pt x="28745" y="2582"/>
                  </a:lnTo>
                  <a:lnTo>
                    <a:pt x="28447" y="3177"/>
                  </a:lnTo>
                  <a:lnTo>
                    <a:pt x="28198" y="3773"/>
                  </a:lnTo>
                  <a:lnTo>
                    <a:pt x="28198" y="3773"/>
                  </a:lnTo>
                  <a:lnTo>
                    <a:pt x="28000" y="4369"/>
                  </a:lnTo>
                  <a:lnTo>
                    <a:pt x="27851" y="5014"/>
                  </a:lnTo>
                  <a:lnTo>
                    <a:pt x="27801" y="5709"/>
                  </a:lnTo>
                  <a:lnTo>
                    <a:pt x="27752" y="6355"/>
                  </a:lnTo>
                  <a:lnTo>
                    <a:pt x="27752" y="6355"/>
                  </a:lnTo>
                  <a:lnTo>
                    <a:pt x="27752" y="6950"/>
                  </a:lnTo>
                  <a:lnTo>
                    <a:pt x="27851" y="7546"/>
                  </a:lnTo>
                  <a:lnTo>
                    <a:pt x="27950" y="8092"/>
                  </a:lnTo>
                  <a:lnTo>
                    <a:pt x="28099" y="8688"/>
                  </a:lnTo>
                  <a:lnTo>
                    <a:pt x="28248" y="9284"/>
                  </a:lnTo>
                  <a:lnTo>
                    <a:pt x="28496" y="9879"/>
                  </a:lnTo>
                  <a:lnTo>
                    <a:pt x="28745" y="10475"/>
                  </a:lnTo>
                  <a:lnTo>
                    <a:pt x="29042" y="11021"/>
                  </a:lnTo>
                  <a:lnTo>
                    <a:pt x="29042" y="11021"/>
                  </a:lnTo>
                  <a:lnTo>
                    <a:pt x="29291" y="11468"/>
                  </a:lnTo>
                  <a:lnTo>
                    <a:pt x="29291" y="11468"/>
                  </a:lnTo>
                  <a:lnTo>
                    <a:pt x="29986" y="12908"/>
                  </a:lnTo>
                  <a:lnTo>
                    <a:pt x="29986" y="12908"/>
                  </a:lnTo>
                  <a:lnTo>
                    <a:pt x="30979" y="15142"/>
                  </a:lnTo>
                  <a:lnTo>
                    <a:pt x="30979" y="15142"/>
                  </a:lnTo>
                  <a:lnTo>
                    <a:pt x="30035" y="15737"/>
                  </a:lnTo>
                  <a:lnTo>
                    <a:pt x="29092" y="16283"/>
                  </a:lnTo>
                  <a:lnTo>
                    <a:pt x="29092" y="16283"/>
                  </a:lnTo>
                  <a:lnTo>
                    <a:pt x="28447" y="16631"/>
                  </a:lnTo>
                  <a:lnTo>
                    <a:pt x="27851" y="16929"/>
                  </a:lnTo>
                  <a:lnTo>
                    <a:pt x="27851" y="16929"/>
                  </a:lnTo>
                  <a:lnTo>
                    <a:pt x="28000" y="16234"/>
                  </a:lnTo>
                  <a:lnTo>
                    <a:pt x="28149" y="15539"/>
                  </a:lnTo>
                  <a:lnTo>
                    <a:pt x="28248" y="14844"/>
                  </a:lnTo>
                  <a:lnTo>
                    <a:pt x="28248" y="14099"/>
                  </a:lnTo>
                  <a:lnTo>
                    <a:pt x="28248" y="14099"/>
                  </a:lnTo>
                  <a:lnTo>
                    <a:pt x="28248" y="13553"/>
                  </a:lnTo>
                  <a:lnTo>
                    <a:pt x="28198" y="12957"/>
                  </a:lnTo>
                  <a:lnTo>
                    <a:pt x="28099" y="12362"/>
                  </a:lnTo>
                  <a:lnTo>
                    <a:pt x="27950" y="11766"/>
                  </a:lnTo>
                  <a:lnTo>
                    <a:pt x="27950" y="11766"/>
                  </a:lnTo>
                  <a:lnTo>
                    <a:pt x="27801" y="11170"/>
                  </a:lnTo>
                  <a:lnTo>
                    <a:pt x="27553" y="10624"/>
                  </a:lnTo>
                  <a:lnTo>
                    <a:pt x="27305" y="10028"/>
                  </a:lnTo>
                  <a:lnTo>
                    <a:pt x="27007" y="9482"/>
                  </a:lnTo>
                  <a:lnTo>
                    <a:pt x="27007" y="9482"/>
                  </a:lnTo>
                  <a:lnTo>
                    <a:pt x="26461" y="8589"/>
                  </a:lnTo>
                  <a:lnTo>
                    <a:pt x="25816" y="7794"/>
                  </a:lnTo>
                  <a:lnTo>
                    <a:pt x="25518" y="7447"/>
                  </a:lnTo>
                  <a:lnTo>
                    <a:pt x="25170" y="7149"/>
                  </a:lnTo>
                  <a:lnTo>
                    <a:pt x="24773" y="6851"/>
                  </a:lnTo>
                  <a:lnTo>
                    <a:pt x="24426" y="6603"/>
                  </a:lnTo>
                  <a:lnTo>
                    <a:pt x="24426" y="6603"/>
                  </a:lnTo>
                  <a:lnTo>
                    <a:pt x="24028" y="6355"/>
                  </a:lnTo>
                  <a:lnTo>
                    <a:pt x="23631" y="6156"/>
                  </a:lnTo>
                  <a:lnTo>
                    <a:pt x="23234" y="6007"/>
                  </a:lnTo>
                  <a:lnTo>
                    <a:pt x="22837" y="5858"/>
                  </a:lnTo>
                  <a:lnTo>
                    <a:pt x="22390" y="5759"/>
                  </a:lnTo>
                  <a:lnTo>
                    <a:pt x="21993" y="5660"/>
                  </a:lnTo>
                  <a:lnTo>
                    <a:pt x="21546" y="5610"/>
                  </a:lnTo>
                  <a:lnTo>
                    <a:pt x="21149" y="5610"/>
                  </a:lnTo>
                  <a:lnTo>
                    <a:pt x="21149" y="5610"/>
                  </a:lnTo>
                  <a:lnTo>
                    <a:pt x="21149" y="5610"/>
                  </a:lnTo>
                  <a:lnTo>
                    <a:pt x="21149" y="5610"/>
                  </a:lnTo>
                  <a:lnTo>
                    <a:pt x="20504" y="5660"/>
                  </a:lnTo>
                  <a:lnTo>
                    <a:pt x="19908" y="5759"/>
                  </a:lnTo>
                  <a:lnTo>
                    <a:pt x="19312" y="5908"/>
                  </a:lnTo>
                  <a:lnTo>
                    <a:pt x="18717" y="6106"/>
                  </a:lnTo>
                  <a:lnTo>
                    <a:pt x="18717" y="6106"/>
                  </a:lnTo>
                  <a:lnTo>
                    <a:pt x="18319" y="6305"/>
                  </a:lnTo>
                  <a:lnTo>
                    <a:pt x="17922" y="6553"/>
                  </a:lnTo>
                  <a:lnTo>
                    <a:pt x="17525" y="6801"/>
                  </a:lnTo>
                  <a:lnTo>
                    <a:pt x="17178" y="7099"/>
                  </a:lnTo>
                  <a:lnTo>
                    <a:pt x="16830" y="7447"/>
                  </a:lnTo>
                  <a:lnTo>
                    <a:pt x="16532" y="7794"/>
                  </a:lnTo>
                  <a:lnTo>
                    <a:pt x="16234" y="8142"/>
                  </a:lnTo>
                  <a:lnTo>
                    <a:pt x="15936" y="8539"/>
                  </a:lnTo>
                  <a:lnTo>
                    <a:pt x="15936" y="8539"/>
                  </a:lnTo>
                  <a:lnTo>
                    <a:pt x="15738" y="8936"/>
                  </a:lnTo>
                  <a:lnTo>
                    <a:pt x="15490" y="9383"/>
                  </a:lnTo>
                  <a:lnTo>
                    <a:pt x="15341" y="9830"/>
                  </a:lnTo>
                  <a:lnTo>
                    <a:pt x="15192" y="10326"/>
                  </a:lnTo>
                  <a:lnTo>
                    <a:pt x="15043" y="10773"/>
                  </a:lnTo>
                  <a:lnTo>
                    <a:pt x="14944" y="11319"/>
                  </a:lnTo>
                  <a:lnTo>
                    <a:pt x="14894" y="11815"/>
                  </a:lnTo>
                  <a:lnTo>
                    <a:pt x="14894" y="12362"/>
                  </a:lnTo>
                  <a:lnTo>
                    <a:pt x="14894" y="12362"/>
                  </a:lnTo>
                  <a:lnTo>
                    <a:pt x="14944" y="13255"/>
                  </a:lnTo>
                  <a:lnTo>
                    <a:pt x="15093" y="14248"/>
                  </a:lnTo>
                  <a:lnTo>
                    <a:pt x="15390" y="15191"/>
                  </a:lnTo>
                  <a:lnTo>
                    <a:pt x="15788" y="16184"/>
                  </a:lnTo>
                  <a:lnTo>
                    <a:pt x="15788" y="16184"/>
                  </a:lnTo>
                  <a:lnTo>
                    <a:pt x="16085" y="16829"/>
                  </a:lnTo>
                  <a:lnTo>
                    <a:pt x="16433" y="17425"/>
                  </a:lnTo>
                  <a:lnTo>
                    <a:pt x="16830" y="17971"/>
                  </a:lnTo>
                  <a:lnTo>
                    <a:pt x="17277" y="18517"/>
                  </a:lnTo>
                  <a:lnTo>
                    <a:pt x="17724" y="19014"/>
                  </a:lnTo>
                  <a:lnTo>
                    <a:pt x="18220" y="19461"/>
                  </a:lnTo>
                  <a:lnTo>
                    <a:pt x="18717" y="19858"/>
                  </a:lnTo>
                  <a:lnTo>
                    <a:pt x="19263" y="20255"/>
                  </a:lnTo>
                  <a:lnTo>
                    <a:pt x="19263" y="20255"/>
                  </a:lnTo>
                  <a:lnTo>
                    <a:pt x="20107" y="20751"/>
                  </a:lnTo>
                  <a:lnTo>
                    <a:pt x="20107" y="20751"/>
                  </a:lnTo>
                  <a:lnTo>
                    <a:pt x="19858" y="20950"/>
                  </a:lnTo>
                  <a:lnTo>
                    <a:pt x="19858" y="20950"/>
                  </a:lnTo>
                  <a:lnTo>
                    <a:pt x="18915" y="21645"/>
                  </a:lnTo>
                  <a:lnTo>
                    <a:pt x="17922" y="22241"/>
                  </a:lnTo>
                  <a:lnTo>
                    <a:pt x="17922" y="22241"/>
                  </a:lnTo>
                  <a:lnTo>
                    <a:pt x="16532" y="20652"/>
                  </a:lnTo>
                  <a:lnTo>
                    <a:pt x="16532" y="20652"/>
                  </a:lnTo>
                  <a:lnTo>
                    <a:pt x="15291" y="19312"/>
                  </a:lnTo>
                  <a:lnTo>
                    <a:pt x="14050" y="18120"/>
                  </a:lnTo>
                  <a:lnTo>
                    <a:pt x="12809" y="17028"/>
                  </a:lnTo>
                  <a:lnTo>
                    <a:pt x="11617" y="16085"/>
                  </a:lnTo>
                  <a:lnTo>
                    <a:pt x="11617" y="16085"/>
                  </a:lnTo>
                  <a:lnTo>
                    <a:pt x="11022" y="15688"/>
                  </a:lnTo>
                  <a:lnTo>
                    <a:pt x="10426" y="15340"/>
                  </a:lnTo>
                  <a:lnTo>
                    <a:pt x="9830" y="14993"/>
                  </a:lnTo>
                  <a:lnTo>
                    <a:pt x="9235" y="14695"/>
                  </a:lnTo>
                  <a:lnTo>
                    <a:pt x="9235" y="14695"/>
                  </a:lnTo>
                  <a:lnTo>
                    <a:pt x="8639" y="14447"/>
                  </a:lnTo>
                  <a:lnTo>
                    <a:pt x="7993" y="14298"/>
                  </a:lnTo>
                  <a:lnTo>
                    <a:pt x="7993" y="14298"/>
                  </a:lnTo>
                  <a:lnTo>
                    <a:pt x="7348" y="14149"/>
                  </a:lnTo>
                  <a:lnTo>
                    <a:pt x="6703" y="14099"/>
                  </a:lnTo>
                  <a:lnTo>
                    <a:pt x="6703" y="14099"/>
                  </a:lnTo>
                  <a:lnTo>
                    <a:pt x="6703" y="14099"/>
                  </a:lnTo>
                  <a:lnTo>
                    <a:pt x="6703" y="14099"/>
                  </a:lnTo>
                  <a:lnTo>
                    <a:pt x="6008" y="14149"/>
                  </a:lnTo>
                  <a:lnTo>
                    <a:pt x="5362" y="14298"/>
                  </a:lnTo>
                  <a:lnTo>
                    <a:pt x="5362" y="14298"/>
                  </a:lnTo>
                  <a:lnTo>
                    <a:pt x="4767" y="14496"/>
                  </a:lnTo>
                  <a:lnTo>
                    <a:pt x="4171" y="14695"/>
                  </a:lnTo>
                  <a:lnTo>
                    <a:pt x="3625" y="14943"/>
                  </a:lnTo>
                  <a:lnTo>
                    <a:pt x="3128" y="15241"/>
                  </a:lnTo>
                  <a:lnTo>
                    <a:pt x="3128" y="15241"/>
                  </a:lnTo>
                  <a:lnTo>
                    <a:pt x="2433" y="15688"/>
                  </a:lnTo>
                  <a:lnTo>
                    <a:pt x="1788" y="16234"/>
                  </a:lnTo>
                  <a:lnTo>
                    <a:pt x="1788" y="16234"/>
                  </a:lnTo>
                  <a:lnTo>
                    <a:pt x="1391" y="16631"/>
                  </a:lnTo>
                  <a:lnTo>
                    <a:pt x="994" y="17127"/>
                  </a:lnTo>
                  <a:lnTo>
                    <a:pt x="696" y="17624"/>
                  </a:lnTo>
                  <a:lnTo>
                    <a:pt x="448" y="18120"/>
                  </a:lnTo>
                  <a:lnTo>
                    <a:pt x="448" y="18120"/>
                  </a:lnTo>
                  <a:lnTo>
                    <a:pt x="249" y="18666"/>
                  </a:lnTo>
                  <a:lnTo>
                    <a:pt x="100" y="19212"/>
                  </a:lnTo>
                  <a:lnTo>
                    <a:pt x="50" y="19758"/>
                  </a:lnTo>
                  <a:lnTo>
                    <a:pt x="1" y="20304"/>
                  </a:lnTo>
                  <a:lnTo>
                    <a:pt x="1" y="20304"/>
                  </a:lnTo>
                  <a:lnTo>
                    <a:pt x="50" y="20751"/>
                  </a:lnTo>
                  <a:lnTo>
                    <a:pt x="100" y="21198"/>
                  </a:lnTo>
                  <a:lnTo>
                    <a:pt x="249" y="22042"/>
                  </a:lnTo>
                  <a:lnTo>
                    <a:pt x="249" y="22042"/>
                  </a:lnTo>
                  <a:lnTo>
                    <a:pt x="497" y="22787"/>
                  </a:lnTo>
                  <a:lnTo>
                    <a:pt x="845" y="23482"/>
                  </a:lnTo>
                  <a:lnTo>
                    <a:pt x="1192" y="24127"/>
                  </a:lnTo>
                  <a:lnTo>
                    <a:pt x="1639" y="24772"/>
                  </a:lnTo>
                  <a:lnTo>
                    <a:pt x="1639" y="24772"/>
                  </a:lnTo>
                  <a:lnTo>
                    <a:pt x="1987" y="25219"/>
                  </a:lnTo>
                  <a:lnTo>
                    <a:pt x="2384" y="25666"/>
                  </a:lnTo>
                  <a:lnTo>
                    <a:pt x="2781" y="26113"/>
                  </a:lnTo>
                  <a:lnTo>
                    <a:pt x="3178" y="26510"/>
                  </a:lnTo>
                  <a:lnTo>
                    <a:pt x="3674" y="26857"/>
                  </a:lnTo>
                  <a:lnTo>
                    <a:pt x="4121" y="27205"/>
                  </a:lnTo>
                  <a:lnTo>
                    <a:pt x="4618" y="27552"/>
                  </a:lnTo>
                  <a:lnTo>
                    <a:pt x="5114" y="27850"/>
                  </a:lnTo>
                  <a:lnTo>
                    <a:pt x="5114" y="27850"/>
                  </a:lnTo>
                  <a:lnTo>
                    <a:pt x="5660" y="28148"/>
                  </a:lnTo>
                  <a:lnTo>
                    <a:pt x="6206" y="28396"/>
                  </a:lnTo>
                  <a:lnTo>
                    <a:pt x="6752" y="28595"/>
                  </a:lnTo>
                  <a:lnTo>
                    <a:pt x="7348" y="28794"/>
                  </a:lnTo>
                  <a:lnTo>
                    <a:pt x="7348" y="28794"/>
                  </a:lnTo>
                  <a:lnTo>
                    <a:pt x="7944" y="28942"/>
                  </a:lnTo>
                  <a:lnTo>
                    <a:pt x="8540" y="29042"/>
                  </a:lnTo>
                  <a:lnTo>
                    <a:pt x="9185" y="29141"/>
                  </a:lnTo>
                  <a:lnTo>
                    <a:pt x="9781" y="29141"/>
                  </a:lnTo>
                  <a:lnTo>
                    <a:pt x="9781" y="29141"/>
                  </a:lnTo>
                  <a:lnTo>
                    <a:pt x="10525" y="29141"/>
                  </a:lnTo>
                  <a:lnTo>
                    <a:pt x="11220" y="29042"/>
                  </a:lnTo>
                  <a:lnTo>
                    <a:pt x="11220" y="29042"/>
                  </a:lnTo>
                  <a:lnTo>
                    <a:pt x="12660" y="28694"/>
                  </a:lnTo>
                  <a:lnTo>
                    <a:pt x="14050" y="28297"/>
                  </a:lnTo>
                  <a:lnTo>
                    <a:pt x="15490" y="27850"/>
                  </a:lnTo>
                  <a:lnTo>
                    <a:pt x="16880" y="27255"/>
                  </a:lnTo>
                  <a:lnTo>
                    <a:pt x="16880" y="27255"/>
                  </a:lnTo>
                  <a:lnTo>
                    <a:pt x="18170" y="28942"/>
                  </a:lnTo>
                  <a:lnTo>
                    <a:pt x="19461" y="30680"/>
                  </a:lnTo>
                  <a:lnTo>
                    <a:pt x="20752" y="32467"/>
                  </a:lnTo>
                  <a:lnTo>
                    <a:pt x="22043" y="34304"/>
                  </a:lnTo>
                  <a:lnTo>
                    <a:pt x="22043" y="34304"/>
                  </a:lnTo>
                  <a:lnTo>
                    <a:pt x="23532" y="36439"/>
                  </a:lnTo>
                  <a:lnTo>
                    <a:pt x="24922" y="38623"/>
                  </a:lnTo>
                  <a:lnTo>
                    <a:pt x="27702" y="42892"/>
                  </a:lnTo>
                  <a:lnTo>
                    <a:pt x="30234" y="46963"/>
                  </a:lnTo>
                  <a:lnTo>
                    <a:pt x="32468" y="50637"/>
                  </a:lnTo>
                  <a:lnTo>
                    <a:pt x="32468" y="50637"/>
                  </a:lnTo>
                  <a:lnTo>
                    <a:pt x="32815" y="51233"/>
                  </a:lnTo>
                  <a:lnTo>
                    <a:pt x="32815" y="51233"/>
                  </a:lnTo>
                  <a:lnTo>
                    <a:pt x="36241" y="49147"/>
                  </a:lnTo>
                  <a:lnTo>
                    <a:pt x="36241" y="49147"/>
                  </a:lnTo>
                  <a:lnTo>
                    <a:pt x="33510" y="44630"/>
                  </a:lnTo>
                  <a:lnTo>
                    <a:pt x="30333" y="39616"/>
                  </a:lnTo>
                  <a:lnTo>
                    <a:pt x="30333" y="39616"/>
                  </a:lnTo>
                  <a:lnTo>
                    <a:pt x="27503" y="35247"/>
                  </a:lnTo>
                  <a:lnTo>
                    <a:pt x="26014" y="33013"/>
                  </a:lnTo>
                  <a:lnTo>
                    <a:pt x="24475" y="30879"/>
                  </a:lnTo>
                  <a:lnTo>
                    <a:pt x="24475" y="30879"/>
                  </a:lnTo>
                  <a:lnTo>
                    <a:pt x="22489" y="28049"/>
                  </a:lnTo>
                  <a:lnTo>
                    <a:pt x="20454" y="25368"/>
                  </a:lnTo>
                  <a:lnTo>
                    <a:pt x="20454" y="25368"/>
                  </a:lnTo>
                  <a:lnTo>
                    <a:pt x="21149" y="24921"/>
                  </a:lnTo>
                  <a:lnTo>
                    <a:pt x="21149" y="24921"/>
                  </a:lnTo>
                  <a:lnTo>
                    <a:pt x="22192" y="24177"/>
                  </a:lnTo>
                  <a:lnTo>
                    <a:pt x="23184" y="23382"/>
                  </a:lnTo>
                  <a:lnTo>
                    <a:pt x="24128" y="22538"/>
                  </a:lnTo>
                  <a:lnTo>
                    <a:pt x="24972" y="21695"/>
                  </a:lnTo>
                  <a:lnTo>
                    <a:pt x="24972" y="21695"/>
                  </a:lnTo>
                  <a:lnTo>
                    <a:pt x="25667" y="21595"/>
                  </a:lnTo>
                  <a:lnTo>
                    <a:pt x="26312" y="21496"/>
                  </a:lnTo>
                  <a:lnTo>
                    <a:pt x="26957" y="21397"/>
                  </a:lnTo>
                  <a:lnTo>
                    <a:pt x="27652" y="21198"/>
                  </a:lnTo>
                  <a:lnTo>
                    <a:pt x="27652" y="21198"/>
                  </a:lnTo>
                  <a:lnTo>
                    <a:pt x="28496" y="20950"/>
                  </a:lnTo>
                  <a:lnTo>
                    <a:pt x="29340" y="20602"/>
                  </a:lnTo>
                  <a:lnTo>
                    <a:pt x="30184" y="20205"/>
                  </a:lnTo>
                  <a:lnTo>
                    <a:pt x="31028" y="19758"/>
                  </a:lnTo>
                  <a:lnTo>
                    <a:pt x="31028" y="19758"/>
                  </a:lnTo>
                  <a:lnTo>
                    <a:pt x="32567" y="18865"/>
                  </a:lnTo>
                  <a:lnTo>
                    <a:pt x="32567" y="18865"/>
                  </a:lnTo>
                  <a:lnTo>
                    <a:pt x="34603" y="23680"/>
                  </a:lnTo>
                  <a:lnTo>
                    <a:pt x="36787" y="29042"/>
                  </a:lnTo>
                  <a:lnTo>
                    <a:pt x="41156" y="39914"/>
                  </a:lnTo>
                  <a:lnTo>
                    <a:pt x="41156" y="39914"/>
                  </a:lnTo>
                  <a:lnTo>
                    <a:pt x="43241" y="45126"/>
                  </a:lnTo>
                  <a:lnTo>
                    <a:pt x="43241" y="45126"/>
                  </a:lnTo>
                  <a:lnTo>
                    <a:pt x="46765" y="43290"/>
                  </a:lnTo>
                  <a:lnTo>
                    <a:pt x="46765" y="43290"/>
                  </a:lnTo>
                  <a:lnTo>
                    <a:pt x="42397" y="32318"/>
                  </a:lnTo>
                  <a:lnTo>
                    <a:pt x="42397" y="32318"/>
                  </a:lnTo>
                  <a:lnTo>
                    <a:pt x="39368" y="24772"/>
                  </a:lnTo>
                  <a:lnTo>
                    <a:pt x="36489" y="17872"/>
                  </a:lnTo>
                  <a:lnTo>
                    <a:pt x="36489" y="17872"/>
                  </a:lnTo>
                  <a:lnTo>
                    <a:pt x="35893" y="16432"/>
                  </a:lnTo>
                  <a:lnTo>
                    <a:pt x="35893" y="16432"/>
                  </a:lnTo>
                  <a:lnTo>
                    <a:pt x="36539" y="15886"/>
                  </a:lnTo>
                  <a:lnTo>
                    <a:pt x="37085" y="15290"/>
                  </a:lnTo>
                  <a:lnTo>
                    <a:pt x="37680" y="14744"/>
                  </a:lnTo>
                  <a:lnTo>
                    <a:pt x="38177" y="14149"/>
                  </a:lnTo>
                  <a:lnTo>
                    <a:pt x="38177" y="14149"/>
                  </a:lnTo>
                  <a:lnTo>
                    <a:pt x="38822" y="13354"/>
                  </a:lnTo>
                  <a:lnTo>
                    <a:pt x="39368" y="12560"/>
                  </a:lnTo>
                  <a:lnTo>
                    <a:pt x="39865" y="11766"/>
                  </a:lnTo>
                  <a:lnTo>
                    <a:pt x="40262" y="10971"/>
                  </a:lnTo>
                  <a:lnTo>
                    <a:pt x="40262" y="10971"/>
                  </a:lnTo>
                  <a:lnTo>
                    <a:pt x="40609" y="10128"/>
                  </a:lnTo>
                  <a:lnTo>
                    <a:pt x="40858" y="9284"/>
                  </a:lnTo>
                  <a:lnTo>
                    <a:pt x="41007" y="8390"/>
                  </a:lnTo>
                  <a:lnTo>
                    <a:pt x="41056" y="7546"/>
                  </a:lnTo>
                  <a:lnTo>
                    <a:pt x="41056" y="7546"/>
                  </a:lnTo>
                  <a:lnTo>
                    <a:pt x="41007" y="7000"/>
                  </a:lnTo>
                  <a:lnTo>
                    <a:pt x="40957" y="6454"/>
                  </a:lnTo>
                  <a:lnTo>
                    <a:pt x="40858" y="5908"/>
                  </a:lnTo>
                  <a:lnTo>
                    <a:pt x="40709" y="5362"/>
                  </a:lnTo>
                  <a:lnTo>
                    <a:pt x="40709" y="5362"/>
                  </a:lnTo>
                  <a:lnTo>
                    <a:pt x="40361" y="4617"/>
                  </a:lnTo>
                  <a:lnTo>
                    <a:pt x="39964" y="3872"/>
                  </a:lnTo>
                  <a:lnTo>
                    <a:pt x="39468" y="3177"/>
                  </a:lnTo>
                  <a:lnTo>
                    <a:pt x="38872" y="2582"/>
                  </a:lnTo>
                  <a:lnTo>
                    <a:pt x="38872" y="2582"/>
                  </a:lnTo>
                  <a:lnTo>
                    <a:pt x="38227" y="1986"/>
                  </a:lnTo>
                  <a:lnTo>
                    <a:pt x="37482" y="1440"/>
                  </a:lnTo>
                  <a:lnTo>
                    <a:pt x="36638" y="993"/>
                  </a:lnTo>
                  <a:lnTo>
                    <a:pt x="35794" y="546"/>
                  </a:lnTo>
                  <a:lnTo>
                    <a:pt x="35794" y="546"/>
                  </a:lnTo>
                  <a:lnTo>
                    <a:pt x="35149" y="298"/>
                  </a:lnTo>
                  <a:lnTo>
                    <a:pt x="34553" y="149"/>
                  </a:lnTo>
                  <a:lnTo>
                    <a:pt x="33908" y="0"/>
                  </a:lnTo>
                  <a:lnTo>
                    <a:pt x="33312" y="0"/>
                  </a:lnTo>
                  <a:lnTo>
                    <a:pt x="33312" y="0"/>
                  </a:lnTo>
                  <a:lnTo>
                    <a:pt x="33312" y="0"/>
                  </a:lnTo>
                  <a:lnTo>
                    <a:pt x="33312" y="0"/>
                  </a:lnTo>
                  <a:lnTo>
                    <a:pt x="33262"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06" name="Google Shape;12819;p79">
              <a:extLst>
                <a:ext uri="{FF2B5EF4-FFF2-40B4-BE49-F238E27FC236}">
                  <a16:creationId xmlns:a16="http://schemas.microsoft.com/office/drawing/2014/main" id="{42D9F0A1-745B-1BB9-8DD5-4067ABAF8A33}"/>
                </a:ext>
              </a:extLst>
            </p:cNvPr>
            <p:cNvSpPr/>
            <p:nvPr/>
          </p:nvSpPr>
          <p:spPr>
            <a:xfrm>
              <a:off x="5687758" y="3714177"/>
              <a:ext cx="378956" cy="404818"/>
            </a:xfrm>
            <a:custGeom>
              <a:avLst/>
              <a:gdLst/>
              <a:ahLst/>
              <a:cxnLst/>
              <a:rect l="l" t="t" r="r" b="b"/>
              <a:pathLst>
                <a:path w="39270" h="41950" extrusionOk="0">
                  <a:moveTo>
                    <a:pt x="26362" y="0"/>
                  </a:moveTo>
                  <a:lnTo>
                    <a:pt x="26113" y="50"/>
                  </a:lnTo>
                  <a:lnTo>
                    <a:pt x="25667" y="100"/>
                  </a:lnTo>
                  <a:lnTo>
                    <a:pt x="25170" y="298"/>
                  </a:lnTo>
                  <a:lnTo>
                    <a:pt x="24575" y="497"/>
                  </a:lnTo>
                  <a:lnTo>
                    <a:pt x="23085" y="1192"/>
                  </a:lnTo>
                  <a:lnTo>
                    <a:pt x="21248" y="2036"/>
                  </a:lnTo>
                  <a:lnTo>
                    <a:pt x="19213" y="3078"/>
                  </a:lnTo>
                  <a:lnTo>
                    <a:pt x="17029" y="4270"/>
                  </a:lnTo>
                  <a:lnTo>
                    <a:pt x="14695" y="5560"/>
                  </a:lnTo>
                  <a:lnTo>
                    <a:pt x="12312" y="6901"/>
                  </a:lnTo>
                  <a:lnTo>
                    <a:pt x="9979" y="8291"/>
                  </a:lnTo>
                  <a:lnTo>
                    <a:pt x="7745" y="9631"/>
                  </a:lnTo>
                  <a:lnTo>
                    <a:pt x="5710" y="10972"/>
                  </a:lnTo>
                  <a:lnTo>
                    <a:pt x="3823" y="12163"/>
                  </a:lnTo>
                  <a:lnTo>
                    <a:pt x="2284" y="13255"/>
                  </a:lnTo>
                  <a:lnTo>
                    <a:pt x="1043" y="14149"/>
                  </a:lnTo>
                  <a:lnTo>
                    <a:pt x="597" y="14546"/>
                  </a:lnTo>
                  <a:lnTo>
                    <a:pt x="299" y="14844"/>
                  </a:lnTo>
                  <a:lnTo>
                    <a:pt x="50" y="15142"/>
                  </a:lnTo>
                  <a:lnTo>
                    <a:pt x="1" y="15291"/>
                  </a:lnTo>
                  <a:lnTo>
                    <a:pt x="1" y="15489"/>
                  </a:lnTo>
                  <a:lnTo>
                    <a:pt x="50" y="15688"/>
                  </a:lnTo>
                  <a:lnTo>
                    <a:pt x="249" y="16283"/>
                  </a:lnTo>
                  <a:lnTo>
                    <a:pt x="597" y="17028"/>
                  </a:lnTo>
                  <a:lnTo>
                    <a:pt x="1043" y="17922"/>
                  </a:lnTo>
                  <a:lnTo>
                    <a:pt x="2334" y="20205"/>
                  </a:lnTo>
                  <a:lnTo>
                    <a:pt x="3476" y="22241"/>
                  </a:lnTo>
                  <a:lnTo>
                    <a:pt x="4767" y="24375"/>
                  </a:lnTo>
                  <a:lnTo>
                    <a:pt x="6256" y="26808"/>
                  </a:lnTo>
                  <a:lnTo>
                    <a:pt x="8788" y="30829"/>
                  </a:lnTo>
                  <a:lnTo>
                    <a:pt x="10227" y="33162"/>
                  </a:lnTo>
                  <a:lnTo>
                    <a:pt x="10575" y="33609"/>
                  </a:lnTo>
                  <a:lnTo>
                    <a:pt x="11022" y="34354"/>
                  </a:lnTo>
                  <a:lnTo>
                    <a:pt x="11518" y="35098"/>
                  </a:lnTo>
                  <a:lnTo>
                    <a:pt x="12064" y="35843"/>
                  </a:lnTo>
                  <a:lnTo>
                    <a:pt x="12660" y="36538"/>
                  </a:lnTo>
                  <a:lnTo>
                    <a:pt x="13206" y="37134"/>
                  </a:lnTo>
                  <a:lnTo>
                    <a:pt x="13752" y="37680"/>
                  </a:lnTo>
                  <a:lnTo>
                    <a:pt x="14348" y="38176"/>
                  </a:lnTo>
                  <a:lnTo>
                    <a:pt x="14993" y="38673"/>
                  </a:lnTo>
                  <a:lnTo>
                    <a:pt x="15589" y="39120"/>
                  </a:lnTo>
                  <a:lnTo>
                    <a:pt x="16234" y="39566"/>
                  </a:lnTo>
                  <a:lnTo>
                    <a:pt x="16929" y="39963"/>
                  </a:lnTo>
                  <a:lnTo>
                    <a:pt x="17624" y="40311"/>
                  </a:lnTo>
                  <a:lnTo>
                    <a:pt x="18270" y="40658"/>
                  </a:lnTo>
                  <a:lnTo>
                    <a:pt x="19014" y="40907"/>
                  </a:lnTo>
                  <a:lnTo>
                    <a:pt x="19709" y="41155"/>
                  </a:lnTo>
                  <a:lnTo>
                    <a:pt x="20404" y="41403"/>
                  </a:lnTo>
                  <a:lnTo>
                    <a:pt x="21149" y="41602"/>
                  </a:lnTo>
                  <a:lnTo>
                    <a:pt x="21894" y="41701"/>
                  </a:lnTo>
                  <a:lnTo>
                    <a:pt x="22638" y="41850"/>
                  </a:lnTo>
                  <a:lnTo>
                    <a:pt x="23383" y="41900"/>
                  </a:lnTo>
                  <a:lnTo>
                    <a:pt x="24078" y="41949"/>
                  </a:lnTo>
                  <a:lnTo>
                    <a:pt x="24773" y="41949"/>
                  </a:lnTo>
                  <a:lnTo>
                    <a:pt x="25518" y="41900"/>
                  </a:lnTo>
                  <a:lnTo>
                    <a:pt x="26213" y="41800"/>
                  </a:lnTo>
                  <a:lnTo>
                    <a:pt x="26858" y="41701"/>
                  </a:lnTo>
                  <a:lnTo>
                    <a:pt x="27503" y="41552"/>
                  </a:lnTo>
                  <a:lnTo>
                    <a:pt x="28149" y="41403"/>
                  </a:lnTo>
                  <a:lnTo>
                    <a:pt x="28794" y="41205"/>
                  </a:lnTo>
                  <a:lnTo>
                    <a:pt x="29440" y="40956"/>
                  </a:lnTo>
                  <a:lnTo>
                    <a:pt x="30085" y="40708"/>
                  </a:lnTo>
                  <a:lnTo>
                    <a:pt x="30681" y="40410"/>
                  </a:lnTo>
                  <a:lnTo>
                    <a:pt x="31276" y="40063"/>
                  </a:lnTo>
                  <a:lnTo>
                    <a:pt x="32220" y="39566"/>
                  </a:lnTo>
                  <a:lnTo>
                    <a:pt x="32766" y="39219"/>
                  </a:lnTo>
                  <a:lnTo>
                    <a:pt x="33312" y="38822"/>
                  </a:lnTo>
                  <a:lnTo>
                    <a:pt x="33858" y="38425"/>
                  </a:lnTo>
                  <a:lnTo>
                    <a:pt x="34404" y="37978"/>
                  </a:lnTo>
                  <a:lnTo>
                    <a:pt x="34851" y="37531"/>
                  </a:lnTo>
                  <a:lnTo>
                    <a:pt x="35347" y="37084"/>
                  </a:lnTo>
                  <a:lnTo>
                    <a:pt x="35744" y="36588"/>
                  </a:lnTo>
                  <a:lnTo>
                    <a:pt x="36191" y="36042"/>
                  </a:lnTo>
                  <a:lnTo>
                    <a:pt x="36737" y="35247"/>
                  </a:lnTo>
                  <a:lnTo>
                    <a:pt x="37383" y="34205"/>
                  </a:lnTo>
                  <a:lnTo>
                    <a:pt x="37929" y="33063"/>
                  </a:lnTo>
                  <a:lnTo>
                    <a:pt x="38425" y="31921"/>
                  </a:lnTo>
                  <a:lnTo>
                    <a:pt x="38773" y="30680"/>
                  </a:lnTo>
                  <a:lnTo>
                    <a:pt x="39021" y="29439"/>
                  </a:lnTo>
                  <a:lnTo>
                    <a:pt x="39170" y="28198"/>
                  </a:lnTo>
                  <a:lnTo>
                    <a:pt x="39269" y="26907"/>
                  </a:lnTo>
                  <a:lnTo>
                    <a:pt x="39219" y="25616"/>
                  </a:lnTo>
                  <a:lnTo>
                    <a:pt x="39071" y="24276"/>
                  </a:lnTo>
                  <a:lnTo>
                    <a:pt x="38822" y="22985"/>
                  </a:lnTo>
                  <a:lnTo>
                    <a:pt x="38524" y="21893"/>
                  </a:lnTo>
                  <a:lnTo>
                    <a:pt x="38127" y="20801"/>
                  </a:lnTo>
                  <a:lnTo>
                    <a:pt x="37780" y="20007"/>
                  </a:lnTo>
                  <a:lnTo>
                    <a:pt x="37432" y="19212"/>
                  </a:lnTo>
                  <a:lnTo>
                    <a:pt x="36936" y="18319"/>
                  </a:lnTo>
                  <a:lnTo>
                    <a:pt x="36390" y="17127"/>
                  </a:lnTo>
                  <a:lnTo>
                    <a:pt x="34950" y="14099"/>
                  </a:lnTo>
                  <a:lnTo>
                    <a:pt x="34205" y="12510"/>
                  </a:lnTo>
                  <a:lnTo>
                    <a:pt x="32964" y="10078"/>
                  </a:lnTo>
                  <a:lnTo>
                    <a:pt x="31674" y="7546"/>
                  </a:lnTo>
                  <a:lnTo>
                    <a:pt x="30830" y="6007"/>
                  </a:lnTo>
                  <a:lnTo>
                    <a:pt x="29489" y="3724"/>
                  </a:lnTo>
                  <a:lnTo>
                    <a:pt x="28894" y="2731"/>
                  </a:lnTo>
                  <a:lnTo>
                    <a:pt x="28298" y="1837"/>
                  </a:lnTo>
                  <a:lnTo>
                    <a:pt x="27702" y="1092"/>
                  </a:lnTo>
                  <a:lnTo>
                    <a:pt x="27206" y="546"/>
                  </a:lnTo>
                  <a:lnTo>
                    <a:pt x="26759" y="149"/>
                  </a:lnTo>
                  <a:lnTo>
                    <a:pt x="26560" y="50"/>
                  </a:lnTo>
                  <a:lnTo>
                    <a:pt x="26362" y="0"/>
                  </a:lnTo>
                  <a:close/>
                </a:path>
              </a:pathLst>
            </a:custGeom>
            <a:solidFill>
              <a:srgbClr val="454554"/>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07" name="Google Shape;12820;p79">
              <a:extLst>
                <a:ext uri="{FF2B5EF4-FFF2-40B4-BE49-F238E27FC236}">
                  <a16:creationId xmlns:a16="http://schemas.microsoft.com/office/drawing/2014/main" id="{871253D6-2914-D3C1-A6BE-25F52DC0D3CC}"/>
                </a:ext>
              </a:extLst>
            </p:cNvPr>
            <p:cNvSpPr/>
            <p:nvPr/>
          </p:nvSpPr>
          <p:spPr>
            <a:xfrm>
              <a:off x="5687758" y="3714177"/>
              <a:ext cx="378956" cy="404818"/>
            </a:xfrm>
            <a:custGeom>
              <a:avLst/>
              <a:gdLst/>
              <a:ahLst/>
              <a:cxnLst/>
              <a:rect l="l" t="t" r="r" b="b"/>
              <a:pathLst>
                <a:path w="39270" h="41950" fill="none" extrusionOk="0">
                  <a:moveTo>
                    <a:pt x="30830" y="6007"/>
                  </a:moveTo>
                  <a:lnTo>
                    <a:pt x="30830" y="6007"/>
                  </a:lnTo>
                  <a:lnTo>
                    <a:pt x="31674" y="7546"/>
                  </a:lnTo>
                  <a:lnTo>
                    <a:pt x="31674" y="7546"/>
                  </a:lnTo>
                  <a:lnTo>
                    <a:pt x="32964" y="10078"/>
                  </a:lnTo>
                  <a:lnTo>
                    <a:pt x="34205" y="12510"/>
                  </a:lnTo>
                  <a:lnTo>
                    <a:pt x="34205" y="12510"/>
                  </a:lnTo>
                  <a:lnTo>
                    <a:pt x="34950" y="14099"/>
                  </a:lnTo>
                  <a:lnTo>
                    <a:pt x="34950" y="14099"/>
                  </a:lnTo>
                  <a:lnTo>
                    <a:pt x="36390" y="17127"/>
                  </a:lnTo>
                  <a:lnTo>
                    <a:pt x="36936" y="18319"/>
                  </a:lnTo>
                  <a:lnTo>
                    <a:pt x="36936" y="18319"/>
                  </a:lnTo>
                  <a:lnTo>
                    <a:pt x="37432" y="19212"/>
                  </a:lnTo>
                  <a:lnTo>
                    <a:pt x="37432" y="19212"/>
                  </a:lnTo>
                  <a:lnTo>
                    <a:pt x="37780" y="20007"/>
                  </a:lnTo>
                  <a:lnTo>
                    <a:pt x="38127" y="20801"/>
                  </a:lnTo>
                  <a:lnTo>
                    <a:pt x="38127" y="20801"/>
                  </a:lnTo>
                  <a:lnTo>
                    <a:pt x="38524" y="21893"/>
                  </a:lnTo>
                  <a:lnTo>
                    <a:pt x="38822" y="22985"/>
                  </a:lnTo>
                  <a:lnTo>
                    <a:pt x="38822" y="22985"/>
                  </a:lnTo>
                  <a:lnTo>
                    <a:pt x="39071" y="24276"/>
                  </a:lnTo>
                  <a:lnTo>
                    <a:pt x="39219" y="25616"/>
                  </a:lnTo>
                  <a:lnTo>
                    <a:pt x="39219" y="25616"/>
                  </a:lnTo>
                  <a:lnTo>
                    <a:pt x="39269" y="26907"/>
                  </a:lnTo>
                  <a:lnTo>
                    <a:pt x="39170" y="28198"/>
                  </a:lnTo>
                  <a:lnTo>
                    <a:pt x="39021" y="29439"/>
                  </a:lnTo>
                  <a:lnTo>
                    <a:pt x="38773" y="30680"/>
                  </a:lnTo>
                  <a:lnTo>
                    <a:pt x="38425" y="31921"/>
                  </a:lnTo>
                  <a:lnTo>
                    <a:pt x="37929" y="33063"/>
                  </a:lnTo>
                  <a:lnTo>
                    <a:pt x="37383" y="34205"/>
                  </a:lnTo>
                  <a:lnTo>
                    <a:pt x="36737" y="35247"/>
                  </a:lnTo>
                  <a:lnTo>
                    <a:pt x="36737" y="35247"/>
                  </a:lnTo>
                  <a:lnTo>
                    <a:pt x="36191" y="36042"/>
                  </a:lnTo>
                  <a:lnTo>
                    <a:pt x="36191" y="36042"/>
                  </a:lnTo>
                  <a:lnTo>
                    <a:pt x="35744" y="36588"/>
                  </a:lnTo>
                  <a:lnTo>
                    <a:pt x="35347" y="37084"/>
                  </a:lnTo>
                  <a:lnTo>
                    <a:pt x="34851" y="37531"/>
                  </a:lnTo>
                  <a:lnTo>
                    <a:pt x="34404" y="37978"/>
                  </a:lnTo>
                  <a:lnTo>
                    <a:pt x="33858" y="38425"/>
                  </a:lnTo>
                  <a:lnTo>
                    <a:pt x="33312" y="38822"/>
                  </a:lnTo>
                  <a:lnTo>
                    <a:pt x="32766" y="39219"/>
                  </a:lnTo>
                  <a:lnTo>
                    <a:pt x="32220" y="39566"/>
                  </a:lnTo>
                  <a:lnTo>
                    <a:pt x="31276" y="40063"/>
                  </a:lnTo>
                  <a:lnTo>
                    <a:pt x="31276" y="40063"/>
                  </a:lnTo>
                  <a:lnTo>
                    <a:pt x="30681" y="40410"/>
                  </a:lnTo>
                  <a:lnTo>
                    <a:pt x="30085" y="40708"/>
                  </a:lnTo>
                  <a:lnTo>
                    <a:pt x="29440" y="40956"/>
                  </a:lnTo>
                  <a:lnTo>
                    <a:pt x="28794" y="41205"/>
                  </a:lnTo>
                  <a:lnTo>
                    <a:pt x="28149" y="41403"/>
                  </a:lnTo>
                  <a:lnTo>
                    <a:pt x="27503" y="41552"/>
                  </a:lnTo>
                  <a:lnTo>
                    <a:pt x="26858" y="41701"/>
                  </a:lnTo>
                  <a:lnTo>
                    <a:pt x="26213" y="41800"/>
                  </a:lnTo>
                  <a:lnTo>
                    <a:pt x="26213" y="41800"/>
                  </a:lnTo>
                  <a:lnTo>
                    <a:pt x="25518" y="41900"/>
                  </a:lnTo>
                  <a:lnTo>
                    <a:pt x="24773" y="41949"/>
                  </a:lnTo>
                  <a:lnTo>
                    <a:pt x="24078" y="41949"/>
                  </a:lnTo>
                  <a:lnTo>
                    <a:pt x="23383" y="41900"/>
                  </a:lnTo>
                  <a:lnTo>
                    <a:pt x="23383" y="41900"/>
                  </a:lnTo>
                  <a:lnTo>
                    <a:pt x="22638" y="41850"/>
                  </a:lnTo>
                  <a:lnTo>
                    <a:pt x="21894" y="41701"/>
                  </a:lnTo>
                  <a:lnTo>
                    <a:pt x="21149" y="41602"/>
                  </a:lnTo>
                  <a:lnTo>
                    <a:pt x="20404" y="41403"/>
                  </a:lnTo>
                  <a:lnTo>
                    <a:pt x="19709" y="41155"/>
                  </a:lnTo>
                  <a:lnTo>
                    <a:pt x="19014" y="40907"/>
                  </a:lnTo>
                  <a:lnTo>
                    <a:pt x="18270" y="40658"/>
                  </a:lnTo>
                  <a:lnTo>
                    <a:pt x="17624" y="40311"/>
                  </a:lnTo>
                  <a:lnTo>
                    <a:pt x="16929" y="39963"/>
                  </a:lnTo>
                  <a:lnTo>
                    <a:pt x="16234" y="39566"/>
                  </a:lnTo>
                  <a:lnTo>
                    <a:pt x="15589" y="39120"/>
                  </a:lnTo>
                  <a:lnTo>
                    <a:pt x="14993" y="38673"/>
                  </a:lnTo>
                  <a:lnTo>
                    <a:pt x="14348" y="38176"/>
                  </a:lnTo>
                  <a:lnTo>
                    <a:pt x="13752" y="37680"/>
                  </a:lnTo>
                  <a:lnTo>
                    <a:pt x="13206" y="37134"/>
                  </a:lnTo>
                  <a:lnTo>
                    <a:pt x="12660" y="36538"/>
                  </a:lnTo>
                  <a:lnTo>
                    <a:pt x="12660" y="36538"/>
                  </a:lnTo>
                  <a:lnTo>
                    <a:pt x="12064" y="35843"/>
                  </a:lnTo>
                  <a:lnTo>
                    <a:pt x="11518" y="35098"/>
                  </a:lnTo>
                  <a:lnTo>
                    <a:pt x="11518" y="35098"/>
                  </a:lnTo>
                  <a:lnTo>
                    <a:pt x="11022" y="34354"/>
                  </a:lnTo>
                  <a:lnTo>
                    <a:pt x="10575" y="33609"/>
                  </a:lnTo>
                  <a:lnTo>
                    <a:pt x="10575" y="33609"/>
                  </a:lnTo>
                  <a:lnTo>
                    <a:pt x="10227" y="33162"/>
                  </a:lnTo>
                  <a:lnTo>
                    <a:pt x="10227" y="33162"/>
                  </a:lnTo>
                  <a:lnTo>
                    <a:pt x="8788" y="30829"/>
                  </a:lnTo>
                  <a:lnTo>
                    <a:pt x="8788" y="30829"/>
                  </a:lnTo>
                  <a:lnTo>
                    <a:pt x="6256" y="26808"/>
                  </a:lnTo>
                  <a:lnTo>
                    <a:pt x="6256" y="26808"/>
                  </a:lnTo>
                  <a:lnTo>
                    <a:pt x="4767" y="24375"/>
                  </a:lnTo>
                  <a:lnTo>
                    <a:pt x="4767" y="24375"/>
                  </a:lnTo>
                  <a:lnTo>
                    <a:pt x="3476" y="22241"/>
                  </a:lnTo>
                  <a:lnTo>
                    <a:pt x="2334" y="20205"/>
                  </a:lnTo>
                  <a:lnTo>
                    <a:pt x="2334" y="20205"/>
                  </a:lnTo>
                  <a:lnTo>
                    <a:pt x="1043" y="17922"/>
                  </a:lnTo>
                  <a:lnTo>
                    <a:pt x="1043" y="17922"/>
                  </a:lnTo>
                  <a:lnTo>
                    <a:pt x="597" y="17028"/>
                  </a:lnTo>
                  <a:lnTo>
                    <a:pt x="249" y="16283"/>
                  </a:lnTo>
                  <a:lnTo>
                    <a:pt x="50" y="15688"/>
                  </a:lnTo>
                  <a:lnTo>
                    <a:pt x="1" y="15489"/>
                  </a:lnTo>
                  <a:lnTo>
                    <a:pt x="1" y="15291"/>
                  </a:lnTo>
                  <a:lnTo>
                    <a:pt x="1" y="15291"/>
                  </a:lnTo>
                  <a:lnTo>
                    <a:pt x="50" y="15142"/>
                  </a:lnTo>
                  <a:lnTo>
                    <a:pt x="299" y="14844"/>
                  </a:lnTo>
                  <a:lnTo>
                    <a:pt x="597" y="14546"/>
                  </a:lnTo>
                  <a:lnTo>
                    <a:pt x="1043" y="14149"/>
                  </a:lnTo>
                  <a:lnTo>
                    <a:pt x="2284" y="13255"/>
                  </a:lnTo>
                  <a:lnTo>
                    <a:pt x="3823" y="12163"/>
                  </a:lnTo>
                  <a:lnTo>
                    <a:pt x="5710" y="10972"/>
                  </a:lnTo>
                  <a:lnTo>
                    <a:pt x="7745" y="9631"/>
                  </a:lnTo>
                  <a:lnTo>
                    <a:pt x="9979" y="8291"/>
                  </a:lnTo>
                  <a:lnTo>
                    <a:pt x="12312" y="6901"/>
                  </a:lnTo>
                  <a:lnTo>
                    <a:pt x="14695" y="5560"/>
                  </a:lnTo>
                  <a:lnTo>
                    <a:pt x="17029" y="4270"/>
                  </a:lnTo>
                  <a:lnTo>
                    <a:pt x="19213" y="3078"/>
                  </a:lnTo>
                  <a:lnTo>
                    <a:pt x="21248" y="2036"/>
                  </a:lnTo>
                  <a:lnTo>
                    <a:pt x="23085" y="1192"/>
                  </a:lnTo>
                  <a:lnTo>
                    <a:pt x="24575" y="497"/>
                  </a:lnTo>
                  <a:lnTo>
                    <a:pt x="25170" y="298"/>
                  </a:lnTo>
                  <a:lnTo>
                    <a:pt x="25667" y="100"/>
                  </a:lnTo>
                  <a:lnTo>
                    <a:pt x="26113" y="50"/>
                  </a:lnTo>
                  <a:lnTo>
                    <a:pt x="26362" y="0"/>
                  </a:lnTo>
                  <a:lnTo>
                    <a:pt x="26362" y="0"/>
                  </a:lnTo>
                  <a:lnTo>
                    <a:pt x="26560" y="50"/>
                  </a:lnTo>
                  <a:lnTo>
                    <a:pt x="26759" y="149"/>
                  </a:lnTo>
                  <a:lnTo>
                    <a:pt x="27206" y="546"/>
                  </a:lnTo>
                  <a:lnTo>
                    <a:pt x="27702" y="1092"/>
                  </a:lnTo>
                  <a:lnTo>
                    <a:pt x="28298" y="1837"/>
                  </a:lnTo>
                  <a:lnTo>
                    <a:pt x="28894" y="2731"/>
                  </a:lnTo>
                  <a:lnTo>
                    <a:pt x="29489" y="3724"/>
                  </a:lnTo>
                  <a:lnTo>
                    <a:pt x="30830" y="6007"/>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08" name="Google Shape;12821;p79">
              <a:extLst>
                <a:ext uri="{FF2B5EF4-FFF2-40B4-BE49-F238E27FC236}">
                  <a16:creationId xmlns:a16="http://schemas.microsoft.com/office/drawing/2014/main" id="{3F9B6161-4861-8625-96DB-97F460961608}"/>
                </a:ext>
              </a:extLst>
            </p:cNvPr>
            <p:cNvSpPr/>
            <p:nvPr/>
          </p:nvSpPr>
          <p:spPr>
            <a:xfrm>
              <a:off x="6009209" y="3817172"/>
              <a:ext cx="975" cy="2403"/>
            </a:xfrm>
            <a:custGeom>
              <a:avLst/>
              <a:gdLst/>
              <a:ahLst/>
              <a:cxnLst/>
              <a:rect l="l" t="t" r="r" b="b"/>
              <a:pathLst>
                <a:path w="101" h="249" extrusionOk="0">
                  <a:moveTo>
                    <a:pt x="1" y="1"/>
                  </a:moveTo>
                  <a:lnTo>
                    <a:pt x="1" y="1"/>
                  </a:lnTo>
                  <a:lnTo>
                    <a:pt x="100" y="249"/>
                  </a:lnTo>
                  <a:lnTo>
                    <a:pt x="100" y="249"/>
                  </a:lnTo>
                  <a:lnTo>
                    <a:pt x="100" y="249"/>
                  </a:lnTo>
                  <a:lnTo>
                    <a:pt x="100" y="249"/>
                  </a:lnTo>
                  <a:lnTo>
                    <a:pt x="1" y="1"/>
                  </a:lnTo>
                  <a:close/>
                </a:path>
              </a:pathLst>
            </a:custGeom>
            <a:solidFill>
              <a:srgbClr val="1F136D"/>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09" name="Google Shape;12822;p79">
              <a:extLst>
                <a:ext uri="{FF2B5EF4-FFF2-40B4-BE49-F238E27FC236}">
                  <a16:creationId xmlns:a16="http://schemas.microsoft.com/office/drawing/2014/main" id="{0943ACD7-D9CE-C3AA-6A16-B980DB85B3A6}"/>
                </a:ext>
              </a:extLst>
            </p:cNvPr>
            <p:cNvSpPr/>
            <p:nvPr/>
          </p:nvSpPr>
          <p:spPr>
            <a:xfrm>
              <a:off x="6009209" y="3817172"/>
              <a:ext cx="975" cy="2403"/>
            </a:xfrm>
            <a:custGeom>
              <a:avLst/>
              <a:gdLst/>
              <a:ahLst/>
              <a:cxnLst/>
              <a:rect l="l" t="t" r="r" b="b"/>
              <a:pathLst>
                <a:path w="101" h="249" fill="none" extrusionOk="0">
                  <a:moveTo>
                    <a:pt x="1" y="1"/>
                  </a:moveTo>
                  <a:lnTo>
                    <a:pt x="1" y="1"/>
                  </a:lnTo>
                  <a:lnTo>
                    <a:pt x="100" y="249"/>
                  </a:lnTo>
                  <a:lnTo>
                    <a:pt x="100" y="249"/>
                  </a:lnTo>
                  <a:lnTo>
                    <a:pt x="100" y="249"/>
                  </a:lnTo>
                  <a:lnTo>
                    <a:pt x="100" y="249"/>
                  </a:lnTo>
                  <a:lnTo>
                    <a:pt x="1"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10" name="Google Shape;12823;p79">
              <a:extLst>
                <a:ext uri="{FF2B5EF4-FFF2-40B4-BE49-F238E27FC236}">
                  <a16:creationId xmlns:a16="http://schemas.microsoft.com/office/drawing/2014/main" id="{E974EC26-175E-4782-7A6B-F10231DC0E5E}"/>
                </a:ext>
              </a:extLst>
            </p:cNvPr>
            <p:cNvSpPr/>
            <p:nvPr/>
          </p:nvSpPr>
          <p:spPr>
            <a:xfrm>
              <a:off x="5718899" y="3796096"/>
              <a:ext cx="291285" cy="137976"/>
            </a:xfrm>
            <a:custGeom>
              <a:avLst/>
              <a:gdLst/>
              <a:ahLst/>
              <a:cxnLst/>
              <a:rect l="l" t="t" r="r" b="b"/>
              <a:pathLst>
                <a:path w="30185" h="14298" extrusionOk="0">
                  <a:moveTo>
                    <a:pt x="28695" y="0"/>
                  </a:moveTo>
                  <a:lnTo>
                    <a:pt x="1" y="12709"/>
                  </a:lnTo>
                  <a:lnTo>
                    <a:pt x="795" y="14298"/>
                  </a:lnTo>
                  <a:lnTo>
                    <a:pt x="2979" y="13404"/>
                  </a:lnTo>
                  <a:lnTo>
                    <a:pt x="6405" y="11964"/>
                  </a:lnTo>
                  <a:lnTo>
                    <a:pt x="15241" y="8192"/>
                  </a:lnTo>
                  <a:lnTo>
                    <a:pt x="19858" y="6255"/>
                  </a:lnTo>
                  <a:lnTo>
                    <a:pt x="24177" y="4568"/>
                  </a:lnTo>
                  <a:lnTo>
                    <a:pt x="26064" y="3823"/>
                  </a:lnTo>
                  <a:lnTo>
                    <a:pt x="27752" y="3178"/>
                  </a:lnTo>
                  <a:lnTo>
                    <a:pt x="29142" y="2731"/>
                  </a:lnTo>
                  <a:lnTo>
                    <a:pt x="30184" y="2433"/>
                  </a:lnTo>
                  <a:lnTo>
                    <a:pt x="30085" y="2185"/>
                  </a:lnTo>
                  <a:lnTo>
                    <a:pt x="28695" y="0"/>
                  </a:lnTo>
                  <a:close/>
                </a:path>
              </a:pathLst>
            </a:custGeom>
            <a:solidFill>
              <a:srgbClr val="2E2E45"/>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11" name="Google Shape;12824;p79">
              <a:extLst>
                <a:ext uri="{FF2B5EF4-FFF2-40B4-BE49-F238E27FC236}">
                  <a16:creationId xmlns:a16="http://schemas.microsoft.com/office/drawing/2014/main" id="{214D0ECA-EB15-8837-B4F0-91FC3599AF5E}"/>
                </a:ext>
              </a:extLst>
            </p:cNvPr>
            <p:cNvSpPr/>
            <p:nvPr/>
          </p:nvSpPr>
          <p:spPr>
            <a:xfrm>
              <a:off x="5718899" y="3796096"/>
              <a:ext cx="291285" cy="137976"/>
            </a:xfrm>
            <a:custGeom>
              <a:avLst/>
              <a:gdLst/>
              <a:ahLst/>
              <a:cxnLst/>
              <a:rect l="l" t="t" r="r" b="b"/>
              <a:pathLst>
                <a:path w="30185" h="14298" fill="none" extrusionOk="0">
                  <a:moveTo>
                    <a:pt x="28695" y="0"/>
                  </a:moveTo>
                  <a:lnTo>
                    <a:pt x="1" y="12709"/>
                  </a:lnTo>
                  <a:lnTo>
                    <a:pt x="1" y="12709"/>
                  </a:lnTo>
                  <a:lnTo>
                    <a:pt x="795" y="14298"/>
                  </a:lnTo>
                  <a:lnTo>
                    <a:pt x="795" y="14298"/>
                  </a:lnTo>
                  <a:lnTo>
                    <a:pt x="2979" y="13404"/>
                  </a:lnTo>
                  <a:lnTo>
                    <a:pt x="6405" y="11964"/>
                  </a:lnTo>
                  <a:lnTo>
                    <a:pt x="15241" y="8192"/>
                  </a:lnTo>
                  <a:lnTo>
                    <a:pt x="19858" y="6255"/>
                  </a:lnTo>
                  <a:lnTo>
                    <a:pt x="24177" y="4568"/>
                  </a:lnTo>
                  <a:lnTo>
                    <a:pt x="26064" y="3823"/>
                  </a:lnTo>
                  <a:lnTo>
                    <a:pt x="27752" y="3178"/>
                  </a:lnTo>
                  <a:lnTo>
                    <a:pt x="29142" y="2731"/>
                  </a:lnTo>
                  <a:lnTo>
                    <a:pt x="30184" y="2433"/>
                  </a:lnTo>
                  <a:lnTo>
                    <a:pt x="30184" y="2433"/>
                  </a:lnTo>
                  <a:lnTo>
                    <a:pt x="30085" y="2185"/>
                  </a:lnTo>
                  <a:lnTo>
                    <a:pt x="30085" y="2185"/>
                  </a:lnTo>
                  <a:lnTo>
                    <a:pt x="28695"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12" name="Google Shape;12825;p79">
              <a:extLst>
                <a:ext uri="{FF2B5EF4-FFF2-40B4-BE49-F238E27FC236}">
                  <a16:creationId xmlns:a16="http://schemas.microsoft.com/office/drawing/2014/main" id="{2C86816E-2E4F-1E77-E9F0-3B04BA5C05F9}"/>
                </a:ext>
              </a:extLst>
            </p:cNvPr>
            <p:cNvSpPr/>
            <p:nvPr/>
          </p:nvSpPr>
          <p:spPr>
            <a:xfrm>
              <a:off x="5760577" y="3868432"/>
              <a:ext cx="283141" cy="134627"/>
            </a:xfrm>
            <a:custGeom>
              <a:avLst/>
              <a:gdLst/>
              <a:ahLst/>
              <a:cxnLst/>
              <a:rect l="l" t="t" r="r" b="b"/>
              <a:pathLst>
                <a:path w="29341" h="13951" extrusionOk="0">
                  <a:moveTo>
                    <a:pt x="27851" y="1"/>
                  </a:moveTo>
                  <a:lnTo>
                    <a:pt x="1" y="12362"/>
                  </a:lnTo>
                  <a:lnTo>
                    <a:pt x="299" y="13156"/>
                  </a:lnTo>
                  <a:lnTo>
                    <a:pt x="696" y="13950"/>
                  </a:lnTo>
                  <a:lnTo>
                    <a:pt x="2731" y="13156"/>
                  </a:lnTo>
                  <a:lnTo>
                    <a:pt x="5908" y="11816"/>
                  </a:lnTo>
                  <a:lnTo>
                    <a:pt x="14149" y="8291"/>
                  </a:lnTo>
                  <a:lnTo>
                    <a:pt x="18617" y="6454"/>
                  </a:lnTo>
                  <a:lnTo>
                    <a:pt x="22886" y="4717"/>
                  </a:lnTo>
                  <a:lnTo>
                    <a:pt x="26560" y="3277"/>
                  </a:lnTo>
                  <a:lnTo>
                    <a:pt x="28049" y="2731"/>
                  </a:lnTo>
                  <a:lnTo>
                    <a:pt x="29340" y="2334"/>
                  </a:lnTo>
                  <a:lnTo>
                    <a:pt x="27851" y="1"/>
                  </a:lnTo>
                  <a:close/>
                </a:path>
              </a:pathLst>
            </a:custGeom>
            <a:solidFill>
              <a:srgbClr val="2E2E45"/>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13" name="Google Shape;12826;p79">
              <a:extLst>
                <a:ext uri="{FF2B5EF4-FFF2-40B4-BE49-F238E27FC236}">
                  <a16:creationId xmlns:a16="http://schemas.microsoft.com/office/drawing/2014/main" id="{25A67D63-CFB6-706F-0D90-55BF937EF4F1}"/>
                </a:ext>
              </a:extLst>
            </p:cNvPr>
            <p:cNvSpPr/>
            <p:nvPr/>
          </p:nvSpPr>
          <p:spPr>
            <a:xfrm>
              <a:off x="5760577" y="3868432"/>
              <a:ext cx="283141" cy="134627"/>
            </a:xfrm>
            <a:custGeom>
              <a:avLst/>
              <a:gdLst/>
              <a:ahLst/>
              <a:cxnLst/>
              <a:rect l="l" t="t" r="r" b="b"/>
              <a:pathLst>
                <a:path w="29341" h="13951" fill="none" extrusionOk="0">
                  <a:moveTo>
                    <a:pt x="27851" y="1"/>
                  </a:moveTo>
                  <a:lnTo>
                    <a:pt x="1" y="12362"/>
                  </a:lnTo>
                  <a:lnTo>
                    <a:pt x="1" y="12362"/>
                  </a:lnTo>
                  <a:lnTo>
                    <a:pt x="299" y="13156"/>
                  </a:lnTo>
                  <a:lnTo>
                    <a:pt x="696" y="13950"/>
                  </a:lnTo>
                  <a:lnTo>
                    <a:pt x="696" y="13950"/>
                  </a:lnTo>
                  <a:lnTo>
                    <a:pt x="2731" y="13156"/>
                  </a:lnTo>
                  <a:lnTo>
                    <a:pt x="5908" y="11816"/>
                  </a:lnTo>
                  <a:lnTo>
                    <a:pt x="14149" y="8291"/>
                  </a:lnTo>
                  <a:lnTo>
                    <a:pt x="18617" y="6454"/>
                  </a:lnTo>
                  <a:lnTo>
                    <a:pt x="22886" y="4717"/>
                  </a:lnTo>
                  <a:lnTo>
                    <a:pt x="26560" y="3277"/>
                  </a:lnTo>
                  <a:lnTo>
                    <a:pt x="28049" y="2731"/>
                  </a:lnTo>
                  <a:lnTo>
                    <a:pt x="29340" y="2334"/>
                  </a:lnTo>
                  <a:lnTo>
                    <a:pt x="29340" y="2334"/>
                  </a:lnTo>
                  <a:lnTo>
                    <a:pt x="27851"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14" name="Google Shape;12827;p79">
              <a:extLst>
                <a:ext uri="{FF2B5EF4-FFF2-40B4-BE49-F238E27FC236}">
                  <a16:creationId xmlns:a16="http://schemas.microsoft.com/office/drawing/2014/main" id="{33967B93-A30A-685A-7851-C31A377C7B8A}"/>
                </a:ext>
              </a:extLst>
            </p:cNvPr>
            <p:cNvSpPr/>
            <p:nvPr/>
          </p:nvSpPr>
          <p:spPr>
            <a:xfrm>
              <a:off x="5693992" y="3766876"/>
              <a:ext cx="317630" cy="163847"/>
            </a:xfrm>
            <a:custGeom>
              <a:avLst/>
              <a:gdLst/>
              <a:ahLst/>
              <a:cxnLst/>
              <a:rect l="l" t="t" r="r" b="b"/>
              <a:pathLst>
                <a:path w="32915" h="16979" extrusionOk="0">
                  <a:moveTo>
                    <a:pt x="30481" y="0"/>
                  </a:moveTo>
                  <a:lnTo>
                    <a:pt x="30084" y="50"/>
                  </a:lnTo>
                  <a:lnTo>
                    <a:pt x="29638" y="149"/>
                  </a:lnTo>
                  <a:lnTo>
                    <a:pt x="1241" y="12262"/>
                  </a:lnTo>
                  <a:lnTo>
                    <a:pt x="844" y="12461"/>
                  </a:lnTo>
                  <a:lnTo>
                    <a:pt x="546" y="12759"/>
                  </a:lnTo>
                  <a:lnTo>
                    <a:pt x="298" y="13056"/>
                  </a:lnTo>
                  <a:lnTo>
                    <a:pt x="99" y="13454"/>
                  </a:lnTo>
                  <a:lnTo>
                    <a:pt x="0" y="13851"/>
                  </a:lnTo>
                  <a:lnTo>
                    <a:pt x="0" y="14297"/>
                  </a:lnTo>
                  <a:lnTo>
                    <a:pt x="50" y="14744"/>
                  </a:lnTo>
                  <a:lnTo>
                    <a:pt x="199" y="15141"/>
                  </a:lnTo>
                  <a:lnTo>
                    <a:pt x="397" y="15588"/>
                  </a:lnTo>
                  <a:lnTo>
                    <a:pt x="596" y="15985"/>
                  </a:lnTo>
                  <a:lnTo>
                    <a:pt x="894" y="16333"/>
                  </a:lnTo>
                  <a:lnTo>
                    <a:pt x="1241" y="16581"/>
                  </a:lnTo>
                  <a:lnTo>
                    <a:pt x="1589" y="16780"/>
                  </a:lnTo>
                  <a:lnTo>
                    <a:pt x="1986" y="16929"/>
                  </a:lnTo>
                  <a:lnTo>
                    <a:pt x="2433" y="16978"/>
                  </a:lnTo>
                  <a:lnTo>
                    <a:pt x="2830" y="16929"/>
                  </a:lnTo>
                  <a:lnTo>
                    <a:pt x="3277" y="16780"/>
                  </a:lnTo>
                  <a:lnTo>
                    <a:pt x="31673" y="4716"/>
                  </a:lnTo>
                  <a:lnTo>
                    <a:pt x="32070" y="4518"/>
                  </a:lnTo>
                  <a:lnTo>
                    <a:pt x="32368" y="4220"/>
                  </a:lnTo>
                  <a:lnTo>
                    <a:pt x="32616" y="3872"/>
                  </a:lnTo>
                  <a:lnTo>
                    <a:pt x="32815" y="3525"/>
                  </a:lnTo>
                  <a:lnTo>
                    <a:pt x="32914" y="3078"/>
                  </a:lnTo>
                  <a:lnTo>
                    <a:pt x="32914" y="2681"/>
                  </a:lnTo>
                  <a:lnTo>
                    <a:pt x="32864" y="2234"/>
                  </a:lnTo>
                  <a:lnTo>
                    <a:pt x="32715" y="1787"/>
                  </a:lnTo>
                  <a:lnTo>
                    <a:pt x="32567" y="1390"/>
                  </a:lnTo>
                  <a:lnTo>
                    <a:pt x="32318" y="993"/>
                  </a:lnTo>
                  <a:lnTo>
                    <a:pt x="32020" y="645"/>
                  </a:lnTo>
                  <a:lnTo>
                    <a:pt x="31673" y="397"/>
                  </a:lnTo>
                  <a:lnTo>
                    <a:pt x="31325" y="199"/>
                  </a:lnTo>
                  <a:lnTo>
                    <a:pt x="30928" y="50"/>
                  </a:lnTo>
                  <a:lnTo>
                    <a:pt x="30481" y="0"/>
                  </a:lnTo>
                  <a:close/>
                </a:path>
              </a:pathLst>
            </a:custGeom>
            <a:solidFill>
              <a:srgbClr val="5E5E6D"/>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15" name="Google Shape;12828;p79">
              <a:extLst>
                <a:ext uri="{FF2B5EF4-FFF2-40B4-BE49-F238E27FC236}">
                  <a16:creationId xmlns:a16="http://schemas.microsoft.com/office/drawing/2014/main" id="{A9DB2582-7813-CF29-ABE9-A41A9324D3C8}"/>
                </a:ext>
              </a:extLst>
            </p:cNvPr>
            <p:cNvSpPr/>
            <p:nvPr/>
          </p:nvSpPr>
          <p:spPr>
            <a:xfrm>
              <a:off x="5734232" y="3838730"/>
              <a:ext cx="314754" cy="162410"/>
            </a:xfrm>
            <a:custGeom>
              <a:avLst/>
              <a:gdLst/>
              <a:ahLst/>
              <a:cxnLst/>
              <a:rect l="l" t="t" r="r" b="b"/>
              <a:pathLst>
                <a:path w="32617" h="16830" extrusionOk="0">
                  <a:moveTo>
                    <a:pt x="29787" y="1"/>
                  </a:moveTo>
                  <a:lnTo>
                    <a:pt x="29340" y="150"/>
                  </a:lnTo>
                  <a:lnTo>
                    <a:pt x="1241" y="12114"/>
                  </a:lnTo>
                  <a:lnTo>
                    <a:pt x="844" y="12312"/>
                  </a:lnTo>
                  <a:lnTo>
                    <a:pt x="546" y="12610"/>
                  </a:lnTo>
                  <a:lnTo>
                    <a:pt x="298" y="12908"/>
                  </a:lnTo>
                  <a:lnTo>
                    <a:pt x="100" y="13305"/>
                  </a:lnTo>
                  <a:lnTo>
                    <a:pt x="0" y="13702"/>
                  </a:lnTo>
                  <a:lnTo>
                    <a:pt x="0" y="14149"/>
                  </a:lnTo>
                  <a:lnTo>
                    <a:pt x="50" y="14546"/>
                  </a:lnTo>
                  <a:lnTo>
                    <a:pt x="199" y="14993"/>
                  </a:lnTo>
                  <a:lnTo>
                    <a:pt x="397" y="15390"/>
                  </a:lnTo>
                  <a:lnTo>
                    <a:pt x="596" y="15787"/>
                  </a:lnTo>
                  <a:lnTo>
                    <a:pt x="894" y="16135"/>
                  </a:lnTo>
                  <a:lnTo>
                    <a:pt x="1241" y="16433"/>
                  </a:lnTo>
                  <a:lnTo>
                    <a:pt x="1589" y="16631"/>
                  </a:lnTo>
                  <a:lnTo>
                    <a:pt x="1986" y="16780"/>
                  </a:lnTo>
                  <a:lnTo>
                    <a:pt x="2433" y="16830"/>
                  </a:lnTo>
                  <a:lnTo>
                    <a:pt x="2830" y="16780"/>
                  </a:lnTo>
                  <a:lnTo>
                    <a:pt x="3227" y="16631"/>
                  </a:lnTo>
                  <a:lnTo>
                    <a:pt x="31375" y="4667"/>
                  </a:lnTo>
                  <a:lnTo>
                    <a:pt x="31772" y="4469"/>
                  </a:lnTo>
                  <a:lnTo>
                    <a:pt x="32070" y="4171"/>
                  </a:lnTo>
                  <a:lnTo>
                    <a:pt x="32318" y="3873"/>
                  </a:lnTo>
                  <a:lnTo>
                    <a:pt x="32467" y="3476"/>
                  </a:lnTo>
                  <a:lnTo>
                    <a:pt x="32567" y="3079"/>
                  </a:lnTo>
                  <a:lnTo>
                    <a:pt x="32616" y="2632"/>
                  </a:lnTo>
                  <a:lnTo>
                    <a:pt x="32567" y="2235"/>
                  </a:lnTo>
                  <a:lnTo>
                    <a:pt x="32418" y="1788"/>
                  </a:lnTo>
                  <a:lnTo>
                    <a:pt x="32219" y="1391"/>
                  </a:lnTo>
                  <a:lnTo>
                    <a:pt x="32021" y="994"/>
                  </a:lnTo>
                  <a:lnTo>
                    <a:pt x="31723" y="646"/>
                  </a:lnTo>
                  <a:lnTo>
                    <a:pt x="31375" y="348"/>
                  </a:lnTo>
                  <a:lnTo>
                    <a:pt x="31028" y="150"/>
                  </a:lnTo>
                  <a:lnTo>
                    <a:pt x="30631" y="50"/>
                  </a:lnTo>
                  <a:lnTo>
                    <a:pt x="30184" y="1"/>
                  </a:lnTo>
                  <a:close/>
                </a:path>
              </a:pathLst>
            </a:custGeom>
            <a:solidFill>
              <a:srgbClr val="5E5E6D"/>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16" name="Google Shape;12829;p79">
              <a:extLst>
                <a:ext uri="{FF2B5EF4-FFF2-40B4-BE49-F238E27FC236}">
                  <a16:creationId xmlns:a16="http://schemas.microsoft.com/office/drawing/2014/main" id="{31F34B34-E773-3969-2ECF-8D64EFA9D42E}"/>
                </a:ext>
              </a:extLst>
            </p:cNvPr>
            <p:cNvSpPr/>
            <p:nvPr/>
          </p:nvSpPr>
          <p:spPr>
            <a:xfrm>
              <a:off x="5798907" y="3935982"/>
              <a:ext cx="267324" cy="130796"/>
            </a:xfrm>
            <a:custGeom>
              <a:avLst/>
              <a:gdLst/>
              <a:ahLst/>
              <a:cxnLst/>
              <a:rect l="l" t="t" r="r" b="b"/>
              <a:pathLst>
                <a:path w="27702" h="13554" extrusionOk="0">
                  <a:moveTo>
                    <a:pt x="27304" y="0"/>
                  </a:moveTo>
                  <a:lnTo>
                    <a:pt x="0" y="12113"/>
                  </a:lnTo>
                  <a:lnTo>
                    <a:pt x="546" y="12858"/>
                  </a:lnTo>
                  <a:lnTo>
                    <a:pt x="1142" y="13553"/>
                  </a:lnTo>
                  <a:lnTo>
                    <a:pt x="3326" y="12659"/>
                  </a:lnTo>
                  <a:lnTo>
                    <a:pt x="6255" y="11418"/>
                  </a:lnTo>
                  <a:lnTo>
                    <a:pt x="13603" y="8291"/>
                  </a:lnTo>
                  <a:lnTo>
                    <a:pt x="17574" y="6653"/>
                  </a:lnTo>
                  <a:lnTo>
                    <a:pt x="21347" y="5064"/>
                  </a:lnTo>
                  <a:lnTo>
                    <a:pt x="24822" y="3674"/>
                  </a:lnTo>
                  <a:lnTo>
                    <a:pt x="27701" y="2631"/>
                  </a:lnTo>
                  <a:lnTo>
                    <a:pt x="27553" y="1291"/>
                  </a:lnTo>
                  <a:lnTo>
                    <a:pt x="27304" y="0"/>
                  </a:lnTo>
                  <a:close/>
                </a:path>
              </a:pathLst>
            </a:custGeom>
            <a:solidFill>
              <a:srgbClr val="2E2E45"/>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17" name="Google Shape;12830;p79">
              <a:extLst>
                <a:ext uri="{FF2B5EF4-FFF2-40B4-BE49-F238E27FC236}">
                  <a16:creationId xmlns:a16="http://schemas.microsoft.com/office/drawing/2014/main" id="{67336BF6-3552-F2CA-0D9D-6A6F1BB1FD48}"/>
                </a:ext>
              </a:extLst>
            </p:cNvPr>
            <p:cNvSpPr/>
            <p:nvPr/>
          </p:nvSpPr>
          <p:spPr>
            <a:xfrm>
              <a:off x="5798907" y="3935982"/>
              <a:ext cx="267324" cy="130796"/>
            </a:xfrm>
            <a:custGeom>
              <a:avLst/>
              <a:gdLst/>
              <a:ahLst/>
              <a:cxnLst/>
              <a:rect l="l" t="t" r="r" b="b"/>
              <a:pathLst>
                <a:path w="27702" h="13554" fill="none" extrusionOk="0">
                  <a:moveTo>
                    <a:pt x="27304" y="0"/>
                  </a:moveTo>
                  <a:lnTo>
                    <a:pt x="0" y="12113"/>
                  </a:lnTo>
                  <a:lnTo>
                    <a:pt x="0" y="12113"/>
                  </a:lnTo>
                  <a:lnTo>
                    <a:pt x="546" y="12858"/>
                  </a:lnTo>
                  <a:lnTo>
                    <a:pt x="1142" y="13553"/>
                  </a:lnTo>
                  <a:lnTo>
                    <a:pt x="1142" y="13553"/>
                  </a:lnTo>
                  <a:lnTo>
                    <a:pt x="3326" y="12659"/>
                  </a:lnTo>
                  <a:lnTo>
                    <a:pt x="6255" y="11418"/>
                  </a:lnTo>
                  <a:lnTo>
                    <a:pt x="13603" y="8291"/>
                  </a:lnTo>
                  <a:lnTo>
                    <a:pt x="17574" y="6653"/>
                  </a:lnTo>
                  <a:lnTo>
                    <a:pt x="21347" y="5064"/>
                  </a:lnTo>
                  <a:lnTo>
                    <a:pt x="24822" y="3674"/>
                  </a:lnTo>
                  <a:lnTo>
                    <a:pt x="27701" y="2631"/>
                  </a:lnTo>
                  <a:lnTo>
                    <a:pt x="27701" y="2631"/>
                  </a:lnTo>
                  <a:lnTo>
                    <a:pt x="27553" y="1291"/>
                  </a:lnTo>
                  <a:lnTo>
                    <a:pt x="27304" y="0"/>
                  </a:lnTo>
                  <a:lnTo>
                    <a:pt x="27304"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18" name="Google Shape;12831;p79">
              <a:extLst>
                <a:ext uri="{FF2B5EF4-FFF2-40B4-BE49-F238E27FC236}">
                  <a16:creationId xmlns:a16="http://schemas.microsoft.com/office/drawing/2014/main" id="{FF616B4E-D35B-A928-DE57-188C5F4E2268}"/>
                </a:ext>
              </a:extLst>
            </p:cNvPr>
            <p:cNvSpPr/>
            <p:nvPr/>
          </p:nvSpPr>
          <p:spPr>
            <a:xfrm>
              <a:off x="5770159" y="3904359"/>
              <a:ext cx="314754" cy="162419"/>
            </a:xfrm>
            <a:custGeom>
              <a:avLst/>
              <a:gdLst/>
              <a:ahLst/>
              <a:cxnLst/>
              <a:rect l="l" t="t" r="r" b="b"/>
              <a:pathLst>
                <a:path w="32617" h="16831" extrusionOk="0">
                  <a:moveTo>
                    <a:pt x="30184" y="1"/>
                  </a:moveTo>
                  <a:lnTo>
                    <a:pt x="29787" y="50"/>
                  </a:lnTo>
                  <a:lnTo>
                    <a:pt x="29340" y="199"/>
                  </a:lnTo>
                  <a:lnTo>
                    <a:pt x="1242" y="12164"/>
                  </a:lnTo>
                  <a:lnTo>
                    <a:pt x="844" y="12362"/>
                  </a:lnTo>
                  <a:lnTo>
                    <a:pt x="547" y="12660"/>
                  </a:lnTo>
                  <a:lnTo>
                    <a:pt x="298" y="12958"/>
                  </a:lnTo>
                  <a:lnTo>
                    <a:pt x="100" y="13355"/>
                  </a:lnTo>
                  <a:lnTo>
                    <a:pt x="1" y="13752"/>
                  </a:lnTo>
                  <a:lnTo>
                    <a:pt x="1" y="14199"/>
                  </a:lnTo>
                  <a:lnTo>
                    <a:pt x="50" y="14596"/>
                  </a:lnTo>
                  <a:lnTo>
                    <a:pt x="199" y="15043"/>
                  </a:lnTo>
                  <a:lnTo>
                    <a:pt x="398" y="15440"/>
                  </a:lnTo>
                  <a:lnTo>
                    <a:pt x="596" y="15837"/>
                  </a:lnTo>
                  <a:lnTo>
                    <a:pt x="894" y="16185"/>
                  </a:lnTo>
                  <a:lnTo>
                    <a:pt x="1242" y="16483"/>
                  </a:lnTo>
                  <a:lnTo>
                    <a:pt x="1589" y="16681"/>
                  </a:lnTo>
                  <a:lnTo>
                    <a:pt x="1986" y="16780"/>
                  </a:lnTo>
                  <a:lnTo>
                    <a:pt x="2433" y="16830"/>
                  </a:lnTo>
                  <a:lnTo>
                    <a:pt x="2830" y="16830"/>
                  </a:lnTo>
                  <a:lnTo>
                    <a:pt x="3227" y="16681"/>
                  </a:lnTo>
                  <a:lnTo>
                    <a:pt x="31375" y="4717"/>
                  </a:lnTo>
                  <a:lnTo>
                    <a:pt x="31773" y="4518"/>
                  </a:lnTo>
                  <a:lnTo>
                    <a:pt x="32070" y="4221"/>
                  </a:lnTo>
                  <a:lnTo>
                    <a:pt x="32319" y="3923"/>
                  </a:lnTo>
                  <a:lnTo>
                    <a:pt x="32468" y="3526"/>
                  </a:lnTo>
                  <a:lnTo>
                    <a:pt x="32617" y="3128"/>
                  </a:lnTo>
                  <a:lnTo>
                    <a:pt x="32617" y="2682"/>
                  </a:lnTo>
                  <a:lnTo>
                    <a:pt x="32567" y="2284"/>
                  </a:lnTo>
                  <a:lnTo>
                    <a:pt x="32418" y="1838"/>
                  </a:lnTo>
                  <a:lnTo>
                    <a:pt x="32219" y="1440"/>
                  </a:lnTo>
                  <a:lnTo>
                    <a:pt x="32021" y="1043"/>
                  </a:lnTo>
                  <a:lnTo>
                    <a:pt x="31723" y="696"/>
                  </a:lnTo>
                  <a:lnTo>
                    <a:pt x="31375" y="398"/>
                  </a:lnTo>
                  <a:lnTo>
                    <a:pt x="31028" y="199"/>
                  </a:lnTo>
                  <a:lnTo>
                    <a:pt x="30631" y="50"/>
                  </a:lnTo>
                  <a:lnTo>
                    <a:pt x="30184" y="1"/>
                  </a:lnTo>
                  <a:close/>
                </a:path>
              </a:pathLst>
            </a:custGeom>
            <a:solidFill>
              <a:srgbClr val="5E5E6D"/>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19" name="Google Shape;12832;p79">
              <a:extLst>
                <a:ext uri="{FF2B5EF4-FFF2-40B4-BE49-F238E27FC236}">
                  <a16:creationId xmlns:a16="http://schemas.microsoft.com/office/drawing/2014/main" id="{394ADA39-AEDB-261B-4227-A8C45C1802C8}"/>
                </a:ext>
              </a:extLst>
            </p:cNvPr>
            <p:cNvSpPr/>
            <p:nvPr/>
          </p:nvSpPr>
          <p:spPr>
            <a:xfrm>
              <a:off x="6033170" y="3465545"/>
              <a:ext cx="104442" cy="159051"/>
            </a:xfrm>
            <a:custGeom>
              <a:avLst/>
              <a:gdLst/>
              <a:ahLst/>
              <a:cxnLst/>
              <a:rect l="l" t="t" r="r" b="b"/>
              <a:pathLst>
                <a:path w="10823" h="16482" extrusionOk="0">
                  <a:moveTo>
                    <a:pt x="5461" y="0"/>
                  </a:moveTo>
                  <a:lnTo>
                    <a:pt x="5163" y="1986"/>
                  </a:lnTo>
                  <a:lnTo>
                    <a:pt x="4865" y="3575"/>
                  </a:lnTo>
                  <a:lnTo>
                    <a:pt x="4667" y="4319"/>
                  </a:lnTo>
                  <a:lnTo>
                    <a:pt x="4468" y="4915"/>
                  </a:lnTo>
                  <a:lnTo>
                    <a:pt x="4269" y="5511"/>
                  </a:lnTo>
                  <a:lnTo>
                    <a:pt x="3972" y="6007"/>
                  </a:lnTo>
                  <a:lnTo>
                    <a:pt x="3674" y="6454"/>
                  </a:lnTo>
                  <a:lnTo>
                    <a:pt x="3326" y="6801"/>
                  </a:lnTo>
                  <a:lnTo>
                    <a:pt x="2929" y="7149"/>
                  </a:lnTo>
                  <a:lnTo>
                    <a:pt x="2482" y="7447"/>
                  </a:lnTo>
                  <a:lnTo>
                    <a:pt x="1986" y="7695"/>
                  </a:lnTo>
                  <a:lnTo>
                    <a:pt x="1390" y="7894"/>
                  </a:lnTo>
                  <a:lnTo>
                    <a:pt x="745" y="8042"/>
                  </a:lnTo>
                  <a:lnTo>
                    <a:pt x="0" y="8191"/>
                  </a:lnTo>
                  <a:lnTo>
                    <a:pt x="1241" y="8688"/>
                  </a:lnTo>
                  <a:lnTo>
                    <a:pt x="1738" y="8936"/>
                  </a:lnTo>
                  <a:lnTo>
                    <a:pt x="2234" y="9184"/>
                  </a:lnTo>
                  <a:lnTo>
                    <a:pt x="2631" y="9432"/>
                  </a:lnTo>
                  <a:lnTo>
                    <a:pt x="3028" y="9730"/>
                  </a:lnTo>
                  <a:lnTo>
                    <a:pt x="3326" y="10078"/>
                  </a:lnTo>
                  <a:lnTo>
                    <a:pt x="3624" y="10475"/>
                  </a:lnTo>
                  <a:lnTo>
                    <a:pt x="3922" y="10922"/>
                  </a:lnTo>
                  <a:lnTo>
                    <a:pt x="4170" y="11418"/>
                  </a:lnTo>
                  <a:lnTo>
                    <a:pt x="4369" y="12014"/>
                  </a:lnTo>
                  <a:lnTo>
                    <a:pt x="4567" y="12709"/>
                  </a:lnTo>
                  <a:lnTo>
                    <a:pt x="4766" y="13454"/>
                  </a:lnTo>
                  <a:lnTo>
                    <a:pt x="4915" y="14347"/>
                  </a:lnTo>
                  <a:lnTo>
                    <a:pt x="5262" y="16482"/>
                  </a:lnTo>
                  <a:lnTo>
                    <a:pt x="5411" y="15340"/>
                  </a:lnTo>
                  <a:lnTo>
                    <a:pt x="5560" y="14347"/>
                  </a:lnTo>
                  <a:lnTo>
                    <a:pt x="5709" y="13503"/>
                  </a:lnTo>
                  <a:lnTo>
                    <a:pt x="5908" y="12709"/>
                  </a:lnTo>
                  <a:lnTo>
                    <a:pt x="6106" y="12064"/>
                  </a:lnTo>
                  <a:lnTo>
                    <a:pt x="6354" y="11468"/>
                  </a:lnTo>
                  <a:lnTo>
                    <a:pt x="6603" y="10971"/>
                  </a:lnTo>
                  <a:lnTo>
                    <a:pt x="6950" y="10525"/>
                  </a:lnTo>
                  <a:lnTo>
                    <a:pt x="7248" y="10128"/>
                  </a:lnTo>
                  <a:lnTo>
                    <a:pt x="7645" y="9780"/>
                  </a:lnTo>
                  <a:lnTo>
                    <a:pt x="8042" y="9432"/>
                  </a:lnTo>
                  <a:lnTo>
                    <a:pt x="8539" y="9184"/>
                  </a:lnTo>
                  <a:lnTo>
                    <a:pt x="9581" y="8638"/>
                  </a:lnTo>
                  <a:lnTo>
                    <a:pt x="10822" y="8092"/>
                  </a:lnTo>
                  <a:lnTo>
                    <a:pt x="10078" y="7943"/>
                  </a:lnTo>
                  <a:lnTo>
                    <a:pt x="9432" y="7794"/>
                  </a:lnTo>
                  <a:lnTo>
                    <a:pt x="8837" y="7596"/>
                  </a:lnTo>
                  <a:lnTo>
                    <a:pt x="8291" y="7347"/>
                  </a:lnTo>
                  <a:lnTo>
                    <a:pt x="7844" y="7050"/>
                  </a:lnTo>
                  <a:lnTo>
                    <a:pt x="7447" y="6702"/>
                  </a:lnTo>
                  <a:lnTo>
                    <a:pt x="7099" y="6305"/>
                  </a:lnTo>
                  <a:lnTo>
                    <a:pt x="6801" y="5858"/>
                  </a:lnTo>
                  <a:lnTo>
                    <a:pt x="6503" y="5362"/>
                  </a:lnTo>
                  <a:lnTo>
                    <a:pt x="6305" y="4766"/>
                  </a:lnTo>
                  <a:lnTo>
                    <a:pt x="6106" y="4170"/>
                  </a:lnTo>
                  <a:lnTo>
                    <a:pt x="5908" y="3475"/>
                  </a:lnTo>
                  <a:lnTo>
                    <a:pt x="5808" y="2681"/>
                  </a:lnTo>
                  <a:lnTo>
                    <a:pt x="5659" y="1887"/>
                  </a:lnTo>
                  <a:lnTo>
                    <a:pt x="5461"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20" name="Google Shape;12833;p79">
              <a:extLst>
                <a:ext uri="{FF2B5EF4-FFF2-40B4-BE49-F238E27FC236}">
                  <a16:creationId xmlns:a16="http://schemas.microsoft.com/office/drawing/2014/main" id="{595C3A92-587B-7387-8415-6DBEDC5C4120}"/>
                </a:ext>
              </a:extLst>
            </p:cNvPr>
            <p:cNvSpPr/>
            <p:nvPr/>
          </p:nvSpPr>
          <p:spPr>
            <a:xfrm>
              <a:off x="5544996" y="3856939"/>
              <a:ext cx="59415" cy="90546"/>
            </a:xfrm>
            <a:custGeom>
              <a:avLst/>
              <a:gdLst/>
              <a:ahLst/>
              <a:cxnLst/>
              <a:rect l="l" t="t" r="r" b="b"/>
              <a:pathLst>
                <a:path w="6157" h="9383" extrusionOk="0">
                  <a:moveTo>
                    <a:pt x="3128" y="0"/>
                  </a:moveTo>
                  <a:lnTo>
                    <a:pt x="2930" y="1142"/>
                  </a:lnTo>
                  <a:lnTo>
                    <a:pt x="2781" y="2085"/>
                  </a:lnTo>
                  <a:lnTo>
                    <a:pt x="2582" y="2830"/>
                  </a:lnTo>
                  <a:lnTo>
                    <a:pt x="2433" y="3128"/>
                  </a:lnTo>
                  <a:lnTo>
                    <a:pt x="2285" y="3426"/>
                  </a:lnTo>
                  <a:lnTo>
                    <a:pt x="2086" y="3674"/>
                  </a:lnTo>
                  <a:lnTo>
                    <a:pt x="1887" y="3922"/>
                  </a:lnTo>
                  <a:lnTo>
                    <a:pt x="1689" y="4071"/>
                  </a:lnTo>
                  <a:lnTo>
                    <a:pt x="1441" y="4269"/>
                  </a:lnTo>
                  <a:lnTo>
                    <a:pt x="1143" y="4418"/>
                  </a:lnTo>
                  <a:lnTo>
                    <a:pt x="795" y="4518"/>
                  </a:lnTo>
                  <a:lnTo>
                    <a:pt x="1" y="4667"/>
                  </a:lnTo>
                  <a:lnTo>
                    <a:pt x="696" y="4964"/>
                  </a:lnTo>
                  <a:lnTo>
                    <a:pt x="1292" y="5213"/>
                  </a:lnTo>
                  <a:lnTo>
                    <a:pt x="1738" y="5560"/>
                  </a:lnTo>
                  <a:lnTo>
                    <a:pt x="1937" y="5759"/>
                  </a:lnTo>
                  <a:lnTo>
                    <a:pt x="2086" y="5957"/>
                  </a:lnTo>
                  <a:lnTo>
                    <a:pt x="2235" y="6206"/>
                  </a:lnTo>
                  <a:lnTo>
                    <a:pt x="2384" y="6503"/>
                  </a:lnTo>
                  <a:lnTo>
                    <a:pt x="2632" y="7248"/>
                  </a:lnTo>
                  <a:lnTo>
                    <a:pt x="2831" y="8191"/>
                  </a:lnTo>
                  <a:lnTo>
                    <a:pt x="3029" y="9383"/>
                  </a:lnTo>
                  <a:lnTo>
                    <a:pt x="3178" y="8191"/>
                  </a:lnTo>
                  <a:lnTo>
                    <a:pt x="3377" y="7248"/>
                  </a:lnTo>
                  <a:lnTo>
                    <a:pt x="3476" y="6901"/>
                  </a:lnTo>
                  <a:lnTo>
                    <a:pt x="3625" y="6553"/>
                  </a:lnTo>
                  <a:lnTo>
                    <a:pt x="3774" y="6255"/>
                  </a:lnTo>
                  <a:lnTo>
                    <a:pt x="3972" y="6007"/>
                  </a:lnTo>
                  <a:lnTo>
                    <a:pt x="4121" y="5759"/>
                  </a:lnTo>
                  <a:lnTo>
                    <a:pt x="4370" y="5560"/>
                  </a:lnTo>
                  <a:lnTo>
                    <a:pt x="4866" y="5213"/>
                  </a:lnTo>
                  <a:lnTo>
                    <a:pt x="5462" y="4915"/>
                  </a:lnTo>
                  <a:lnTo>
                    <a:pt x="6157" y="4617"/>
                  </a:lnTo>
                  <a:lnTo>
                    <a:pt x="5760" y="4567"/>
                  </a:lnTo>
                  <a:lnTo>
                    <a:pt x="5362" y="4468"/>
                  </a:lnTo>
                  <a:lnTo>
                    <a:pt x="5015" y="4319"/>
                  </a:lnTo>
                  <a:lnTo>
                    <a:pt x="4717" y="4170"/>
                  </a:lnTo>
                  <a:lnTo>
                    <a:pt x="4469" y="4021"/>
                  </a:lnTo>
                  <a:lnTo>
                    <a:pt x="4221" y="3823"/>
                  </a:lnTo>
                  <a:lnTo>
                    <a:pt x="4022" y="3624"/>
                  </a:lnTo>
                  <a:lnTo>
                    <a:pt x="3873" y="3326"/>
                  </a:lnTo>
                  <a:lnTo>
                    <a:pt x="3724" y="3078"/>
                  </a:lnTo>
                  <a:lnTo>
                    <a:pt x="3575" y="2731"/>
                  </a:lnTo>
                  <a:lnTo>
                    <a:pt x="3377" y="1986"/>
                  </a:lnTo>
                  <a:lnTo>
                    <a:pt x="3228" y="1092"/>
                  </a:lnTo>
                  <a:lnTo>
                    <a:pt x="3128"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21" name="Google Shape;12834;p79">
              <a:extLst>
                <a:ext uri="{FF2B5EF4-FFF2-40B4-BE49-F238E27FC236}">
                  <a16:creationId xmlns:a16="http://schemas.microsoft.com/office/drawing/2014/main" id="{DE8D6766-D43D-4871-D620-E77740354B60}"/>
                </a:ext>
              </a:extLst>
            </p:cNvPr>
            <p:cNvSpPr/>
            <p:nvPr/>
          </p:nvSpPr>
          <p:spPr>
            <a:xfrm>
              <a:off x="5253247" y="3176190"/>
              <a:ext cx="117383" cy="178699"/>
            </a:xfrm>
            <a:custGeom>
              <a:avLst/>
              <a:gdLst/>
              <a:ahLst/>
              <a:cxnLst/>
              <a:rect l="l" t="t" r="r" b="b"/>
              <a:pathLst>
                <a:path w="12164" h="18518" extrusionOk="0">
                  <a:moveTo>
                    <a:pt x="6157" y="0"/>
                  </a:moveTo>
                  <a:lnTo>
                    <a:pt x="5809" y="2234"/>
                  </a:lnTo>
                  <a:lnTo>
                    <a:pt x="5660" y="3178"/>
                  </a:lnTo>
                  <a:lnTo>
                    <a:pt x="5462" y="4071"/>
                  </a:lnTo>
                  <a:lnTo>
                    <a:pt x="5263" y="4865"/>
                  </a:lnTo>
                  <a:lnTo>
                    <a:pt x="5015" y="5560"/>
                  </a:lnTo>
                  <a:lnTo>
                    <a:pt x="4767" y="6206"/>
                  </a:lnTo>
                  <a:lnTo>
                    <a:pt x="4469" y="6752"/>
                  </a:lnTo>
                  <a:lnTo>
                    <a:pt x="4121" y="7248"/>
                  </a:lnTo>
                  <a:lnTo>
                    <a:pt x="3774" y="7695"/>
                  </a:lnTo>
                  <a:lnTo>
                    <a:pt x="3327" y="8043"/>
                  </a:lnTo>
                  <a:lnTo>
                    <a:pt x="2781" y="8390"/>
                  </a:lnTo>
                  <a:lnTo>
                    <a:pt x="2235" y="8638"/>
                  </a:lnTo>
                  <a:lnTo>
                    <a:pt x="1589" y="8887"/>
                  </a:lnTo>
                  <a:lnTo>
                    <a:pt x="845" y="9085"/>
                  </a:lnTo>
                  <a:lnTo>
                    <a:pt x="1" y="9234"/>
                  </a:lnTo>
                  <a:lnTo>
                    <a:pt x="1391" y="9780"/>
                  </a:lnTo>
                  <a:lnTo>
                    <a:pt x="1987" y="10028"/>
                  </a:lnTo>
                  <a:lnTo>
                    <a:pt x="2483" y="10326"/>
                  </a:lnTo>
                  <a:lnTo>
                    <a:pt x="2979" y="10624"/>
                  </a:lnTo>
                  <a:lnTo>
                    <a:pt x="3377" y="10972"/>
                  </a:lnTo>
                  <a:lnTo>
                    <a:pt x="3774" y="11319"/>
                  </a:lnTo>
                  <a:lnTo>
                    <a:pt x="4121" y="11766"/>
                  </a:lnTo>
                  <a:lnTo>
                    <a:pt x="4419" y="12262"/>
                  </a:lnTo>
                  <a:lnTo>
                    <a:pt x="4667" y="12858"/>
                  </a:lnTo>
                  <a:lnTo>
                    <a:pt x="4916" y="13503"/>
                  </a:lnTo>
                  <a:lnTo>
                    <a:pt x="5164" y="14298"/>
                  </a:lnTo>
                  <a:lnTo>
                    <a:pt x="5362" y="15142"/>
                  </a:lnTo>
                  <a:lnTo>
                    <a:pt x="5561" y="16135"/>
                  </a:lnTo>
                  <a:lnTo>
                    <a:pt x="5908" y="18517"/>
                  </a:lnTo>
                  <a:lnTo>
                    <a:pt x="6057" y="17276"/>
                  </a:lnTo>
                  <a:lnTo>
                    <a:pt x="6256" y="16184"/>
                  </a:lnTo>
                  <a:lnTo>
                    <a:pt x="6405" y="15191"/>
                  </a:lnTo>
                  <a:lnTo>
                    <a:pt x="6653" y="14347"/>
                  </a:lnTo>
                  <a:lnTo>
                    <a:pt x="6852" y="13553"/>
                  </a:lnTo>
                  <a:lnTo>
                    <a:pt x="7150" y="12908"/>
                  </a:lnTo>
                  <a:lnTo>
                    <a:pt x="7447" y="12312"/>
                  </a:lnTo>
                  <a:lnTo>
                    <a:pt x="7795" y="11816"/>
                  </a:lnTo>
                  <a:lnTo>
                    <a:pt x="8192" y="11369"/>
                  </a:lnTo>
                  <a:lnTo>
                    <a:pt x="8589" y="10972"/>
                  </a:lnTo>
                  <a:lnTo>
                    <a:pt x="9036" y="10624"/>
                  </a:lnTo>
                  <a:lnTo>
                    <a:pt x="9582" y="10326"/>
                  </a:lnTo>
                  <a:lnTo>
                    <a:pt x="10128" y="10028"/>
                  </a:lnTo>
                  <a:lnTo>
                    <a:pt x="10774" y="9731"/>
                  </a:lnTo>
                  <a:lnTo>
                    <a:pt x="12164" y="9085"/>
                  </a:lnTo>
                  <a:lnTo>
                    <a:pt x="11320" y="8936"/>
                  </a:lnTo>
                  <a:lnTo>
                    <a:pt x="10575" y="8787"/>
                  </a:lnTo>
                  <a:lnTo>
                    <a:pt x="9930" y="8539"/>
                  </a:lnTo>
                  <a:lnTo>
                    <a:pt x="9334" y="8241"/>
                  </a:lnTo>
                  <a:lnTo>
                    <a:pt x="8837" y="7894"/>
                  </a:lnTo>
                  <a:lnTo>
                    <a:pt x="8341" y="7546"/>
                  </a:lnTo>
                  <a:lnTo>
                    <a:pt x="7944" y="7099"/>
                  </a:lnTo>
                  <a:lnTo>
                    <a:pt x="7596" y="6603"/>
                  </a:lnTo>
                  <a:lnTo>
                    <a:pt x="7348" y="6007"/>
                  </a:lnTo>
                  <a:lnTo>
                    <a:pt x="7050" y="5362"/>
                  </a:lnTo>
                  <a:lnTo>
                    <a:pt x="6852" y="4667"/>
                  </a:lnTo>
                  <a:lnTo>
                    <a:pt x="6653" y="3922"/>
                  </a:lnTo>
                  <a:lnTo>
                    <a:pt x="6504" y="3029"/>
                  </a:lnTo>
                  <a:lnTo>
                    <a:pt x="6355" y="2135"/>
                  </a:lnTo>
                  <a:lnTo>
                    <a:pt x="6157"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22" name="Google Shape;12835;p79">
              <a:extLst>
                <a:ext uri="{FF2B5EF4-FFF2-40B4-BE49-F238E27FC236}">
                  <a16:creationId xmlns:a16="http://schemas.microsoft.com/office/drawing/2014/main" id="{DC8DA278-A126-D669-261F-AADB04E20FEA}"/>
                </a:ext>
              </a:extLst>
            </p:cNvPr>
            <p:cNvSpPr/>
            <p:nvPr/>
          </p:nvSpPr>
          <p:spPr>
            <a:xfrm>
              <a:off x="5988134" y="4095507"/>
              <a:ext cx="6716" cy="7199"/>
            </a:xfrm>
            <a:custGeom>
              <a:avLst/>
              <a:gdLst/>
              <a:ahLst/>
              <a:cxnLst/>
              <a:rect l="l" t="t" r="r" b="b"/>
              <a:pathLst>
                <a:path w="696" h="746" extrusionOk="0">
                  <a:moveTo>
                    <a:pt x="50" y="1"/>
                  </a:moveTo>
                  <a:lnTo>
                    <a:pt x="0" y="100"/>
                  </a:lnTo>
                  <a:lnTo>
                    <a:pt x="0" y="299"/>
                  </a:lnTo>
                  <a:lnTo>
                    <a:pt x="149" y="547"/>
                  </a:lnTo>
                  <a:lnTo>
                    <a:pt x="249" y="696"/>
                  </a:lnTo>
                  <a:lnTo>
                    <a:pt x="348" y="745"/>
                  </a:lnTo>
                  <a:lnTo>
                    <a:pt x="447" y="696"/>
                  </a:lnTo>
                  <a:lnTo>
                    <a:pt x="547" y="646"/>
                  </a:lnTo>
                  <a:lnTo>
                    <a:pt x="646" y="447"/>
                  </a:lnTo>
                  <a:lnTo>
                    <a:pt x="696" y="348"/>
                  </a:lnTo>
                  <a:lnTo>
                    <a:pt x="497" y="150"/>
                  </a:lnTo>
                  <a:lnTo>
                    <a:pt x="298" y="50"/>
                  </a:lnTo>
                  <a:lnTo>
                    <a:pt x="149" y="1"/>
                  </a:lnTo>
                  <a:close/>
                </a:path>
              </a:pathLst>
            </a:custGeom>
            <a:solidFill>
              <a:srgbClr val="EFAEA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23" name="Google Shape;12836;p79">
              <a:extLst>
                <a:ext uri="{FF2B5EF4-FFF2-40B4-BE49-F238E27FC236}">
                  <a16:creationId xmlns:a16="http://schemas.microsoft.com/office/drawing/2014/main" id="{A54374E2-8181-DEFE-ABA5-DB464F4B822C}"/>
                </a:ext>
              </a:extLst>
            </p:cNvPr>
            <p:cNvSpPr/>
            <p:nvPr/>
          </p:nvSpPr>
          <p:spPr>
            <a:xfrm>
              <a:off x="5988616" y="4086889"/>
              <a:ext cx="21568" cy="25872"/>
            </a:xfrm>
            <a:custGeom>
              <a:avLst/>
              <a:gdLst/>
              <a:ahLst/>
              <a:cxnLst/>
              <a:rect l="l" t="t" r="r" b="b"/>
              <a:pathLst>
                <a:path w="2235" h="2681" extrusionOk="0">
                  <a:moveTo>
                    <a:pt x="1638" y="0"/>
                  </a:moveTo>
                  <a:lnTo>
                    <a:pt x="1341" y="99"/>
                  </a:lnTo>
                  <a:lnTo>
                    <a:pt x="1092" y="199"/>
                  </a:lnTo>
                  <a:lnTo>
                    <a:pt x="894" y="298"/>
                  </a:lnTo>
                  <a:lnTo>
                    <a:pt x="745" y="447"/>
                  </a:lnTo>
                  <a:lnTo>
                    <a:pt x="695" y="546"/>
                  </a:lnTo>
                  <a:lnTo>
                    <a:pt x="695" y="645"/>
                  </a:lnTo>
                  <a:lnTo>
                    <a:pt x="745" y="943"/>
                  </a:lnTo>
                  <a:lnTo>
                    <a:pt x="646" y="1142"/>
                  </a:lnTo>
                  <a:lnTo>
                    <a:pt x="546" y="1192"/>
                  </a:lnTo>
                  <a:lnTo>
                    <a:pt x="397" y="1142"/>
                  </a:lnTo>
                  <a:lnTo>
                    <a:pt x="99" y="1043"/>
                  </a:lnTo>
                  <a:lnTo>
                    <a:pt x="0" y="1043"/>
                  </a:lnTo>
                  <a:lnTo>
                    <a:pt x="0" y="1142"/>
                  </a:lnTo>
                  <a:lnTo>
                    <a:pt x="50" y="1340"/>
                  </a:lnTo>
                  <a:lnTo>
                    <a:pt x="199" y="1589"/>
                  </a:lnTo>
                  <a:lnTo>
                    <a:pt x="646" y="2234"/>
                  </a:lnTo>
                  <a:lnTo>
                    <a:pt x="745" y="2482"/>
                  </a:lnTo>
                  <a:lnTo>
                    <a:pt x="745" y="2433"/>
                  </a:lnTo>
                  <a:lnTo>
                    <a:pt x="794" y="2482"/>
                  </a:lnTo>
                  <a:lnTo>
                    <a:pt x="1489" y="2482"/>
                  </a:lnTo>
                  <a:lnTo>
                    <a:pt x="1787" y="2582"/>
                  </a:lnTo>
                  <a:lnTo>
                    <a:pt x="2085" y="2681"/>
                  </a:lnTo>
                  <a:lnTo>
                    <a:pt x="2036" y="2582"/>
                  </a:lnTo>
                  <a:lnTo>
                    <a:pt x="1986" y="2383"/>
                  </a:lnTo>
                  <a:lnTo>
                    <a:pt x="1936" y="2234"/>
                  </a:lnTo>
                  <a:lnTo>
                    <a:pt x="1887" y="2035"/>
                  </a:lnTo>
                  <a:lnTo>
                    <a:pt x="1887" y="1936"/>
                  </a:lnTo>
                  <a:lnTo>
                    <a:pt x="1887" y="1638"/>
                  </a:lnTo>
                  <a:lnTo>
                    <a:pt x="1887" y="1340"/>
                  </a:lnTo>
                  <a:lnTo>
                    <a:pt x="1887" y="1043"/>
                  </a:lnTo>
                  <a:lnTo>
                    <a:pt x="1986" y="745"/>
                  </a:lnTo>
                  <a:lnTo>
                    <a:pt x="2135" y="447"/>
                  </a:lnTo>
                  <a:lnTo>
                    <a:pt x="2234" y="199"/>
                  </a:lnTo>
                  <a:lnTo>
                    <a:pt x="2234" y="99"/>
                  </a:lnTo>
                  <a:lnTo>
                    <a:pt x="2234" y="50"/>
                  </a:lnTo>
                  <a:lnTo>
                    <a:pt x="2085" y="0"/>
                  </a:lnTo>
                  <a:close/>
                </a:path>
              </a:pathLst>
            </a:custGeom>
            <a:solidFill>
              <a:srgbClr val="EFAEA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24" name="Google Shape;12837;p79">
              <a:extLst>
                <a:ext uri="{FF2B5EF4-FFF2-40B4-BE49-F238E27FC236}">
                  <a16:creationId xmlns:a16="http://schemas.microsoft.com/office/drawing/2014/main" id="{64E4326E-01E1-912D-F387-050FD0B5B157}"/>
                </a:ext>
              </a:extLst>
            </p:cNvPr>
            <p:cNvSpPr/>
            <p:nvPr/>
          </p:nvSpPr>
          <p:spPr>
            <a:xfrm>
              <a:off x="5927773" y="4190839"/>
              <a:ext cx="18210" cy="14861"/>
            </a:xfrm>
            <a:custGeom>
              <a:avLst/>
              <a:gdLst/>
              <a:ahLst/>
              <a:cxnLst/>
              <a:rect l="l" t="t" r="r" b="b"/>
              <a:pathLst>
                <a:path w="1887" h="1540" extrusionOk="0">
                  <a:moveTo>
                    <a:pt x="745" y="1"/>
                  </a:moveTo>
                  <a:lnTo>
                    <a:pt x="646" y="50"/>
                  </a:lnTo>
                  <a:lnTo>
                    <a:pt x="348" y="50"/>
                  </a:lnTo>
                  <a:lnTo>
                    <a:pt x="0" y="994"/>
                  </a:lnTo>
                  <a:lnTo>
                    <a:pt x="249" y="1093"/>
                  </a:lnTo>
                  <a:lnTo>
                    <a:pt x="447" y="1242"/>
                  </a:lnTo>
                  <a:lnTo>
                    <a:pt x="844" y="1540"/>
                  </a:lnTo>
                  <a:lnTo>
                    <a:pt x="944" y="1341"/>
                  </a:lnTo>
                  <a:lnTo>
                    <a:pt x="993" y="1291"/>
                  </a:lnTo>
                  <a:lnTo>
                    <a:pt x="1093" y="1242"/>
                  </a:lnTo>
                  <a:lnTo>
                    <a:pt x="1291" y="1192"/>
                  </a:lnTo>
                  <a:lnTo>
                    <a:pt x="1390" y="1242"/>
                  </a:lnTo>
                  <a:lnTo>
                    <a:pt x="1490" y="1341"/>
                  </a:lnTo>
                  <a:lnTo>
                    <a:pt x="1539" y="1440"/>
                  </a:lnTo>
                  <a:lnTo>
                    <a:pt x="1589" y="1490"/>
                  </a:lnTo>
                  <a:lnTo>
                    <a:pt x="1639" y="1440"/>
                  </a:lnTo>
                  <a:lnTo>
                    <a:pt x="1738" y="1291"/>
                  </a:lnTo>
                  <a:lnTo>
                    <a:pt x="1837" y="1291"/>
                  </a:lnTo>
                  <a:lnTo>
                    <a:pt x="1887" y="1391"/>
                  </a:lnTo>
                  <a:lnTo>
                    <a:pt x="1887" y="1093"/>
                  </a:lnTo>
                  <a:lnTo>
                    <a:pt x="1688" y="1093"/>
                  </a:lnTo>
                  <a:lnTo>
                    <a:pt x="1490" y="1043"/>
                  </a:lnTo>
                  <a:lnTo>
                    <a:pt x="1291" y="944"/>
                  </a:lnTo>
                  <a:lnTo>
                    <a:pt x="1192" y="795"/>
                  </a:lnTo>
                  <a:lnTo>
                    <a:pt x="1043" y="596"/>
                  </a:lnTo>
                  <a:lnTo>
                    <a:pt x="993" y="398"/>
                  </a:lnTo>
                  <a:lnTo>
                    <a:pt x="894" y="1"/>
                  </a:lnTo>
                  <a:close/>
                </a:path>
              </a:pathLst>
            </a:custGeom>
            <a:solidFill>
              <a:srgbClr val="EFAEA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25" name="Google Shape;12838;p79">
              <a:extLst>
                <a:ext uri="{FF2B5EF4-FFF2-40B4-BE49-F238E27FC236}">
                  <a16:creationId xmlns:a16="http://schemas.microsoft.com/office/drawing/2014/main" id="{C9657B12-E91E-8260-DB69-D9001C2C2CC2}"/>
                </a:ext>
              </a:extLst>
            </p:cNvPr>
            <p:cNvSpPr/>
            <p:nvPr/>
          </p:nvSpPr>
          <p:spPr>
            <a:xfrm>
              <a:off x="5927773" y="4190839"/>
              <a:ext cx="18210" cy="14861"/>
            </a:xfrm>
            <a:custGeom>
              <a:avLst/>
              <a:gdLst/>
              <a:ahLst/>
              <a:cxnLst/>
              <a:rect l="l" t="t" r="r" b="b"/>
              <a:pathLst>
                <a:path w="1887" h="1540" fill="none" extrusionOk="0">
                  <a:moveTo>
                    <a:pt x="1093" y="1242"/>
                  </a:moveTo>
                  <a:lnTo>
                    <a:pt x="1093" y="1242"/>
                  </a:lnTo>
                  <a:lnTo>
                    <a:pt x="1291" y="1192"/>
                  </a:lnTo>
                  <a:lnTo>
                    <a:pt x="1390" y="1242"/>
                  </a:lnTo>
                  <a:lnTo>
                    <a:pt x="1490" y="1341"/>
                  </a:lnTo>
                  <a:lnTo>
                    <a:pt x="1539" y="1440"/>
                  </a:lnTo>
                  <a:lnTo>
                    <a:pt x="1539" y="1440"/>
                  </a:lnTo>
                  <a:lnTo>
                    <a:pt x="1589" y="1490"/>
                  </a:lnTo>
                  <a:lnTo>
                    <a:pt x="1589" y="1490"/>
                  </a:lnTo>
                  <a:lnTo>
                    <a:pt x="1639" y="1440"/>
                  </a:lnTo>
                  <a:lnTo>
                    <a:pt x="1639" y="1440"/>
                  </a:lnTo>
                  <a:lnTo>
                    <a:pt x="1738" y="1291"/>
                  </a:lnTo>
                  <a:lnTo>
                    <a:pt x="1837" y="1291"/>
                  </a:lnTo>
                  <a:lnTo>
                    <a:pt x="1887" y="1391"/>
                  </a:lnTo>
                  <a:lnTo>
                    <a:pt x="1887" y="1391"/>
                  </a:lnTo>
                  <a:lnTo>
                    <a:pt x="1887" y="1093"/>
                  </a:lnTo>
                  <a:lnTo>
                    <a:pt x="1887" y="1093"/>
                  </a:lnTo>
                  <a:lnTo>
                    <a:pt x="1688" y="1093"/>
                  </a:lnTo>
                  <a:lnTo>
                    <a:pt x="1490" y="1043"/>
                  </a:lnTo>
                  <a:lnTo>
                    <a:pt x="1291" y="944"/>
                  </a:lnTo>
                  <a:lnTo>
                    <a:pt x="1192" y="795"/>
                  </a:lnTo>
                  <a:lnTo>
                    <a:pt x="1043" y="596"/>
                  </a:lnTo>
                  <a:lnTo>
                    <a:pt x="993" y="398"/>
                  </a:lnTo>
                  <a:lnTo>
                    <a:pt x="894" y="1"/>
                  </a:lnTo>
                  <a:lnTo>
                    <a:pt x="894" y="1"/>
                  </a:lnTo>
                  <a:lnTo>
                    <a:pt x="795" y="1"/>
                  </a:lnTo>
                  <a:lnTo>
                    <a:pt x="795" y="1"/>
                  </a:lnTo>
                  <a:lnTo>
                    <a:pt x="795" y="1"/>
                  </a:lnTo>
                  <a:lnTo>
                    <a:pt x="745" y="1"/>
                  </a:lnTo>
                  <a:lnTo>
                    <a:pt x="646" y="50"/>
                  </a:lnTo>
                  <a:lnTo>
                    <a:pt x="348" y="50"/>
                  </a:lnTo>
                  <a:lnTo>
                    <a:pt x="348" y="50"/>
                  </a:lnTo>
                  <a:lnTo>
                    <a:pt x="0" y="994"/>
                  </a:lnTo>
                  <a:lnTo>
                    <a:pt x="0" y="994"/>
                  </a:lnTo>
                  <a:lnTo>
                    <a:pt x="249" y="1093"/>
                  </a:lnTo>
                  <a:lnTo>
                    <a:pt x="447" y="1242"/>
                  </a:lnTo>
                  <a:lnTo>
                    <a:pt x="844" y="1540"/>
                  </a:lnTo>
                  <a:lnTo>
                    <a:pt x="844" y="1540"/>
                  </a:lnTo>
                  <a:lnTo>
                    <a:pt x="944" y="1341"/>
                  </a:lnTo>
                  <a:lnTo>
                    <a:pt x="993" y="1291"/>
                  </a:lnTo>
                  <a:lnTo>
                    <a:pt x="1093" y="1242"/>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26" name="Google Shape;12839;p79">
              <a:extLst>
                <a:ext uri="{FF2B5EF4-FFF2-40B4-BE49-F238E27FC236}">
                  <a16:creationId xmlns:a16="http://schemas.microsoft.com/office/drawing/2014/main" id="{C4501196-8325-991C-A7B2-799AC73CFE9E}"/>
                </a:ext>
              </a:extLst>
            </p:cNvPr>
            <p:cNvSpPr/>
            <p:nvPr/>
          </p:nvSpPr>
          <p:spPr>
            <a:xfrm>
              <a:off x="5936390" y="4190839"/>
              <a:ext cx="9592" cy="10547"/>
            </a:xfrm>
            <a:custGeom>
              <a:avLst/>
              <a:gdLst/>
              <a:ahLst/>
              <a:cxnLst/>
              <a:rect l="l" t="t" r="r" b="b"/>
              <a:pathLst>
                <a:path w="994" h="1093" extrusionOk="0">
                  <a:moveTo>
                    <a:pt x="1" y="1"/>
                  </a:moveTo>
                  <a:lnTo>
                    <a:pt x="100" y="398"/>
                  </a:lnTo>
                  <a:lnTo>
                    <a:pt x="150" y="596"/>
                  </a:lnTo>
                  <a:lnTo>
                    <a:pt x="299" y="795"/>
                  </a:lnTo>
                  <a:lnTo>
                    <a:pt x="398" y="944"/>
                  </a:lnTo>
                  <a:lnTo>
                    <a:pt x="597" y="1043"/>
                  </a:lnTo>
                  <a:lnTo>
                    <a:pt x="795" y="1093"/>
                  </a:lnTo>
                  <a:lnTo>
                    <a:pt x="994" y="1093"/>
                  </a:lnTo>
                  <a:lnTo>
                    <a:pt x="944" y="50"/>
                  </a:lnTo>
                  <a:lnTo>
                    <a:pt x="398" y="100"/>
                  </a:lnTo>
                  <a:lnTo>
                    <a:pt x="200" y="50"/>
                  </a:lnTo>
                  <a:lnTo>
                    <a:pt x="1" y="1"/>
                  </a:lnTo>
                  <a:close/>
                </a:path>
              </a:pathLst>
            </a:custGeom>
            <a:solidFill>
              <a:srgbClr val="EFAEA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27" name="Google Shape;12840;p79">
              <a:extLst>
                <a:ext uri="{FF2B5EF4-FFF2-40B4-BE49-F238E27FC236}">
                  <a16:creationId xmlns:a16="http://schemas.microsoft.com/office/drawing/2014/main" id="{01D1E0D2-8CE0-2D1D-3C14-D327F2101DE4}"/>
                </a:ext>
              </a:extLst>
            </p:cNvPr>
            <p:cNvSpPr/>
            <p:nvPr/>
          </p:nvSpPr>
          <p:spPr>
            <a:xfrm>
              <a:off x="5936390" y="4190839"/>
              <a:ext cx="9592" cy="10547"/>
            </a:xfrm>
            <a:custGeom>
              <a:avLst/>
              <a:gdLst/>
              <a:ahLst/>
              <a:cxnLst/>
              <a:rect l="l" t="t" r="r" b="b"/>
              <a:pathLst>
                <a:path w="994" h="1093" fill="none" extrusionOk="0">
                  <a:moveTo>
                    <a:pt x="1" y="1"/>
                  </a:moveTo>
                  <a:lnTo>
                    <a:pt x="1" y="1"/>
                  </a:lnTo>
                  <a:lnTo>
                    <a:pt x="100" y="398"/>
                  </a:lnTo>
                  <a:lnTo>
                    <a:pt x="150" y="596"/>
                  </a:lnTo>
                  <a:lnTo>
                    <a:pt x="299" y="795"/>
                  </a:lnTo>
                  <a:lnTo>
                    <a:pt x="398" y="944"/>
                  </a:lnTo>
                  <a:lnTo>
                    <a:pt x="597" y="1043"/>
                  </a:lnTo>
                  <a:lnTo>
                    <a:pt x="795" y="1093"/>
                  </a:lnTo>
                  <a:lnTo>
                    <a:pt x="994" y="1093"/>
                  </a:lnTo>
                  <a:lnTo>
                    <a:pt x="994" y="1093"/>
                  </a:lnTo>
                  <a:lnTo>
                    <a:pt x="944" y="50"/>
                  </a:lnTo>
                  <a:lnTo>
                    <a:pt x="944" y="50"/>
                  </a:lnTo>
                  <a:lnTo>
                    <a:pt x="398" y="100"/>
                  </a:lnTo>
                  <a:lnTo>
                    <a:pt x="200" y="50"/>
                  </a:lnTo>
                  <a:lnTo>
                    <a:pt x="1"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28" name="Google Shape;12841;p79">
              <a:extLst>
                <a:ext uri="{FF2B5EF4-FFF2-40B4-BE49-F238E27FC236}">
                  <a16:creationId xmlns:a16="http://schemas.microsoft.com/office/drawing/2014/main" id="{E08E0568-0400-8BF5-0EF1-45F8CEABEB45}"/>
                </a:ext>
              </a:extLst>
            </p:cNvPr>
            <p:cNvSpPr/>
            <p:nvPr/>
          </p:nvSpPr>
          <p:spPr>
            <a:xfrm>
              <a:off x="5936390" y="4190839"/>
              <a:ext cx="9592" cy="10547"/>
            </a:xfrm>
            <a:custGeom>
              <a:avLst/>
              <a:gdLst/>
              <a:ahLst/>
              <a:cxnLst/>
              <a:rect l="l" t="t" r="r" b="b"/>
              <a:pathLst>
                <a:path w="994" h="1093" extrusionOk="0">
                  <a:moveTo>
                    <a:pt x="1" y="1"/>
                  </a:moveTo>
                  <a:lnTo>
                    <a:pt x="51" y="348"/>
                  </a:lnTo>
                  <a:lnTo>
                    <a:pt x="249" y="745"/>
                  </a:lnTo>
                  <a:lnTo>
                    <a:pt x="348" y="894"/>
                  </a:lnTo>
                  <a:lnTo>
                    <a:pt x="497" y="994"/>
                  </a:lnTo>
                  <a:lnTo>
                    <a:pt x="646" y="1093"/>
                  </a:lnTo>
                  <a:lnTo>
                    <a:pt x="994" y="1093"/>
                  </a:lnTo>
                  <a:lnTo>
                    <a:pt x="944" y="50"/>
                  </a:lnTo>
                  <a:lnTo>
                    <a:pt x="448" y="100"/>
                  </a:lnTo>
                  <a:lnTo>
                    <a:pt x="200" y="50"/>
                  </a:lnTo>
                  <a:lnTo>
                    <a:pt x="1" y="1"/>
                  </a:lnTo>
                  <a:close/>
                </a:path>
              </a:pathLst>
            </a:custGeom>
            <a:solidFill>
              <a:srgbClr val="D29A97"/>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29" name="Google Shape;12842;p79">
              <a:extLst>
                <a:ext uri="{FF2B5EF4-FFF2-40B4-BE49-F238E27FC236}">
                  <a16:creationId xmlns:a16="http://schemas.microsoft.com/office/drawing/2014/main" id="{9B1C7FD7-CBE6-3BC3-BC45-B094A2FC1664}"/>
                </a:ext>
              </a:extLst>
            </p:cNvPr>
            <p:cNvSpPr/>
            <p:nvPr/>
          </p:nvSpPr>
          <p:spPr>
            <a:xfrm>
              <a:off x="5936390" y="4190839"/>
              <a:ext cx="9592" cy="10547"/>
            </a:xfrm>
            <a:custGeom>
              <a:avLst/>
              <a:gdLst/>
              <a:ahLst/>
              <a:cxnLst/>
              <a:rect l="l" t="t" r="r" b="b"/>
              <a:pathLst>
                <a:path w="994" h="1093" fill="none" extrusionOk="0">
                  <a:moveTo>
                    <a:pt x="1" y="1"/>
                  </a:moveTo>
                  <a:lnTo>
                    <a:pt x="1" y="1"/>
                  </a:lnTo>
                  <a:lnTo>
                    <a:pt x="51" y="348"/>
                  </a:lnTo>
                  <a:lnTo>
                    <a:pt x="249" y="745"/>
                  </a:lnTo>
                  <a:lnTo>
                    <a:pt x="348" y="894"/>
                  </a:lnTo>
                  <a:lnTo>
                    <a:pt x="497" y="994"/>
                  </a:lnTo>
                  <a:lnTo>
                    <a:pt x="646" y="1093"/>
                  </a:lnTo>
                  <a:lnTo>
                    <a:pt x="795" y="1093"/>
                  </a:lnTo>
                  <a:lnTo>
                    <a:pt x="795" y="1093"/>
                  </a:lnTo>
                  <a:lnTo>
                    <a:pt x="994" y="1093"/>
                  </a:lnTo>
                  <a:lnTo>
                    <a:pt x="994" y="1093"/>
                  </a:lnTo>
                  <a:lnTo>
                    <a:pt x="944" y="50"/>
                  </a:lnTo>
                  <a:lnTo>
                    <a:pt x="944" y="50"/>
                  </a:lnTo>
                  <a:lnTo>
                    <a:pt x="448" y="100"/>
                  </a:lnTo>
                  <a:lnTo>
                    <a:pt x="448" y="100"/>
                  </a:lnTo>
                  <a:lnTo>
                    <a:pt x="200" y="50"/>
                  </a:lnTo>
                  <a:lnTo>
                    <a:pt x="1"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30" name="Google Shape;12843;p79">
              <a:extLst>
                <a:ext uri="{FF2B5EF4-FFF2-40B4-BE49-F238E27FC236}">
                  <a16:creationId xmlns:a16="http://schemas.microsoft.com/office/drawing/2014/main" id="{9320FEA1-5BB4-8A6F-FE24-821A0EE9E641}"/>
                </a:ext>
              </a:extLst>
            </p:cNvPr>
            <p:cNvSpPr/>
            <p:nvPr/>
          </p:nvSpPr>
          <p:spPr>
            <a:xfrm>
              <a:off x="5923459" y="4203297"/>
              <a:ext cx="23488" cy="77615"/>
            </a:xfrm>
            <a:custGeom>
              <a:avLst/>
              <a:gdLst/>
              <a:ahLst/>
              <a:cxnLst/>
              <a:rect l="l" t="t" r="r" b="b"/>
              <a:pathLst>
                <a:path w="2434" h="8043" extrusionOk="0">
                  <a:moveTo>
                    <a:pt x="2185" y="0"/>
                  </a:moveTo>
                  <a:lnTo>
                    <a:pt x="2086" y="149"/>
                  </a:lnTo>
                  <a:lnTo>
                    <a:pt x="2036" y="199"/>
                  </a:lnTo>
                  <a:lnTo>
                    <a:pt x="2036" y="398"/>
                  </a:lnTo>
                  <a:lnTo>
                    <a:pt x="2036" y="447"/>
                  </a:lnTo>
                  <a:lnTo>
                    <a:pt x="1986" y="497"/>
                  </a:lnTo>
                  <a:lnTo>
                    <a:pt x="1837" y="596"/>
                  </a:lnTo>
                  <a:lnTo>
                    <a:pt x="1688" y="547"/>
                  </a:lnTo>
                  <a:lnTo>
                    <a:pt x="1688" y="596"/>
                  </a:lnTo>
                  <a:lnTo>
                    <a:pt x="1589" y="944"/>
                  </a:lnTo>
                  <a:lnTo>
                    <a:pt x="1440" y="1440"/>
                  </a:lnTo>
                  <a:lnTo>
                    <a:pt x="1192" y="2036"/>
                  </a:lnTo>
                  <a:lnTo>
                    <a:pt x="993" y="2284"/>
                  </a:lnTo>
                  <a:lnTo>
                    <a:pt x="845" y="2532"/>
                  </a:lnTo>
                  <a:lnTo>
                    <a:pt x="646" y="2731"/>
                  </a:lnTo>
                  <a:lnTo>
                    <a:pt x="398" y="2880"/>
                  </a:lnTo>
                  <a:lnTo>
                    <a:pt x="447" y="3922"/>
                  </a:lnTo>
                  <a:lnTo>
                    <a:pt x="447" y="4915"/>
                  </a:lnTo>
                  <a:lnTo>
                    <a:pt x="398" y="5858"/>
                  </a:lnTo>
                  <a:lnTo>
                    <a:pt x="298" y="6653"/>
                  </a:lnTo>
                  <a:lnTo>
                    <a:pt x="1" y="8043"/>
                  </a:lnTo>
                  <a:lnTo>
                    <a:pt x="1" y="8043"/>
                  </a:lnTo>
                  <a:lnTo>
                    <a:pt x="1788" y="7695"/>
                  </a:lnTo>
                  <a:lnTo>
                    <a:pt x="1788" y="7100"/>
                  </a:lnTo>
                  <a:lnTo>
                    <a:pt x="1788" y="6305"/>
                  </a:lnTo>
                  <a:lnTo>
                    <a:pt x="1837" y="5610"/>
                  </a:lnTo>
                  <a:lnTo>
                    <a:pt x="1986" y="4965"/>
                  </a:lnTo>
                  <a:lnTo>
                    <a:pt x="2135" y="4369"/>
                  </a:lnTo>
                  <a:lnTo>
                    <a:pt x="2235" y="3773"/>
                  </a:lnTo>
                  <a:lnTo>
                    <a:pt x="2383" y="3178"/>
                  </a:lnTo>
                  <a:lnTo>
                    <a:pt x="2433" y="2582"/>
                  </a:lnTo>
                  <a:lnTo>
                    <a:pt x="2433" y="1937"/>
                  </a:lnTo>
                  <a:lnTo>
                    <a:pt x="2383" y="1192"/>
                  </a:lnTo>
                  <a:lnTo>
                    <a:pt x="2334" y="398"/>
                  </a:lnTo>
                  <a:lnTo>
                    <a:pt x="2383" y="100"/>
                  </a:lnTo>
                  <a:lnTo>
                    <a:pt x="2334" y="100"/>
                  </a:lnTo>
                  <a:lnTo>
                    <a:pt x="2284"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31" name="Google Shape;12844;p79">
              <a:extLst>
                <a:ext uri="{FF2B5EF4-FFF2-40B4-BE49-F238E27FC236}">
                  <a16:creationId xmlns:a16="http://schemas.microsoft.com/office/drawing/2014/main" id="{905B2BF8-7A0E-5018-FCBC-152D369F75BB}"/>
                </a:ext>
              </a:extLst>
            </p:cNvPr>
            <p:cNvSpPr/>
            <p:nvPr/>
          </p:nvSpPr>
          <p:spPr>
            <a:xfrm>
              <a:off x="5923459" y="4203297"/>
              <a:ext cx="23488" cy="77615"/>
            </a:xfrm>
            <a:custGeom>
              <a:avLst/>
              <a:gdLst/>
              <a:ahLst/>
              <a:cxnLst/>
              <a:rect l="l" t="t" r="r" b="b"/>
              <a:pathLst>
                <a:path w="2434" h="8043" fill="none" extrusionOk="0">
                  <a:moveTo>
                    <a:pt x="2433" y="1937"/>
                  </a:moveTo>
                  <a:lnTo>
                    <a:pt x="2433" y="1937"/>
                  </a:lnTo>
                  <a:lnTo>
                    <a:pt x="2383" y="1192"/>
                  </a:lnTo>
                  <a:lnTo>
                    <a:pt x="2383" y="1192"/>
                  </a:lnTo>
                  <a:lnTo>
                    <a:pt x="2334" y="398"/>
                  </a:lnTo>
                  <a:lnTo>
                    <a:pt x="2334" y="398"/>
                  </a:lnTo>
                  <a:lnTo>
                    <a:pt x="2383" y="100"/>
                  </a:lnTo>
                  <a:lnTo>
                    <a:pt x="2383" y="100"/>
                  </a:lnTo>
                  <a:lnTo>
                    <a:pt x="2383" y="100"/>
                  </a:lnTo>
                  <a:lnTo>
                    <a:pt x="2334" y="100"/>
                  </a:lnTo>
                  <a:lnTo>
                    <a:pt x="2334" y="100"/>
                  </a:lnTo>
                  <a:lnTo>
                    <a:pt x="2284" y="0"/>
                  </a:lnTo>
                  <a:lnTo>
                    <a:pt x="2185" y="0"/>
                  </a:lnTo>
                  <a:lnTo>
                    <a:pt x="2086" y="149"/>
                  </a:lnTo>
                  <a:lnTo>
                    <a:pt x="2086" y="149"/>
                  </a:lnTo>
                  <a:lnTo>
                    <a:pt x="2036" y="199"/>
                  </a:lnTo>
                  <a:lnTo>
                    <a:pt x="2036" y="199"/>
                  </a:lnTo>
                  <a:lnTo>
                    <a:pt x="2036" y="398"/>
                  </a:lnTo>
                  <a:lnTo>
                    <a:pt x="2036" y="447"/>
                  </a:lnTo>
                  <a:lnTo>
                    <a:pt x="1986" y="497"/>
                  </a:lnTo>
                  <a:lnTo>
                    <a:pt x="1986" y="497"/>
                  </a:lnTo>
                  <a:lnTo>
                    <a:pt x="1837" y="596"/>
                  </a:lnTo>
                  <a:lnTo>
                    <a:pt x="1688" y="547"/>
                  </a:lnTo>
                  <a:lnTo>
                    <a:pt x="1688" y="596"/>
                  </a:lnTo>
                  <a:lnTo>
                    <a:pt x="1688" y="596"/>
                  </a:lnTo>
                  <a:lnTo>
                    <a:pt x="1589" y="944"/>
                  </a:lnTo>
                  <a:lnTo>
                    <a:pt x="1440" y="1440"/>
                  </a:lnTo>
                  <a:lnTo>
                    <a:pt x="1192" y="2036"/>
                  </a:lnTo>
                  <a:lnTo>
                    <a:pt x="993" y="2284"/>
                  </a:lnTo>
                  <a:lnTo>
                    <a:pt x="845" y="2532"/>
                  </a:lnTo>
                  <a:lnTo>
                    <a:pt x="845" y="2532"/>
                  </a:lnTo>
                  <a:lnTo>
                    <a:pt x="646" y="2731"/>
                  </a:lnTo>
                  <a:lnTo>
                    <a:pt x="398" y="2880"/>
                  </a:lnTo>
                  <a:lnTo>
                    <a:pt x="398" y="2880"/>
                  </a:lnTo>
                  <a:lnTo>
                    <a:pt x="447" y="3922"/>
                  </a:lnTo>
                  <a:lnTo>
                    <a:pt x="447" y="4915"/>
                  </a:lnTo>
                  <a:lnTo>
                    <a:pt x="398" y="5858"/>
                  </a:lnTo>
                  <a:lnTo>
                    <a:pt x="298" y="6653"/>
                  </a:lnTo>
                  <a:lnTo>
                    <a:pt x="298" y="6653"/>
                  </a:lnTo>
                  <a:lnTo>
                    <a:pt x="1" y="8043"/>
                  </a:lnTo>
                  <a:lnTo>
                    <a:pt x="1788" y="7695"/>
                  </a:lnTo>
                  <a:lnTo>
                    <a:pt x="1788" y="7695"/>
                  </a:lnTo>
                  <a:lnTo>
                    <a:pt x="1788" y="7100"/>
                  </a:lnTo>
                  <a:lnTo>
                    <a:pt x="1788" y="7100"/>
                  </a:lnTo>
                  <a:lnTo>
                    <a:pt x="1788" y="6305"/>
                  </a:lnTo>
                  <a:lnTo>
                    <a:pt x="1837" y="5610"/>
                  </a:lnTo>
                  <a:lnTo>
                    <a:pt x="1986" y="4965"/>
                  </a:lnTo>
                  <a:lnTo>
                    <a:pt x="2135" y="4369"/>
                  </a:lnTo>
                  <a:lnTo>
                    <a:pt x="2235" y="3773"/>
                  </a:lnTo>
                  <a:lnTo>
                    <a:pt x="2383" y="3178"/>
                  </a:lnTo>
                  <a:lnTo>
                    <a:pt x="2433" y="2582"/>
                  </a:lnTo>
                  <a:lnTo>
                    <a:pt x="2433" y="1937"/>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32" name="Google Shape;12845;p79">
              <a:extLst>
                <a:ext uri="{FF2B5EF4-FFF2-40B4-BE49-F238E27FC236}">
                  <a16:creationId xmlns:a16="http://schemas.microsoft.com/office/drawing/2014/main" id="{932A3E66-35CD-D5CC-10A7-07326577863D}"/>
                </a:ext>
              </a:extLst>
            </p:cNvPr>
            <p:cNvSpPr/>
            <p:nvPr/>
          </p:nvSpPr>
          <p:spPr>
            <a:xfrm>
              <a:off x="5925852" y="4200421"/>
              <a:ext cx="10075" cy="17737"/>
            </a:xfrm>
            <a:custGeom>
              <a:avLst/>
              <a:gdLst/>
              <a:ahLst/>
              <a:cxnLst/>
              <a:rect l="l" t="t" r="r" b="b"/>
              <a:pathLst>
                <a:path w="1044" h="1838" extrusionOk="0">
                  <a:moveTo>
                    <a:pt x="1" y="1"/>
                  </a:moveTo>
                  <a:lnTo>
                    <a:pt x="100" y="1837"/>
                  </a:lnTo>
                  <a:lnTo>
                    <a:pt x="398" y="1540"/>
                  </a:lnTo>
                  <a:lnTo>
                    <a:pt x="646" y="1192"/>
                  </a:lnTo>
                  <a:lnTo>
                    <a:pt x="1043" y="596"/>
                  </a:lnTo>
                  <a:lnTo>
                    <a:pt x="1043" y="547"/>
                  </a:lnTo>
                  <a:lnTo>
                    <a:pt x="646" y="249"/>
                  </a:lnTo>
                  <a:lnTo>
                    <a:pt x="448" y="100"/>
                  </a:lnTo>
                  <a:lnTo>
                    <a:pt x="199" y="1"/>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33" name="Google Shape;12846;p79">
              <a:extLst>
                <a:ext uri="{FF2B5EF4-FFF2-40B4-BE49-F238E27FC236}">
                  <a16:creationId xmlns:a16="http://schemas.microsoft.com/office/drawing/2014/main" id="{2F97E6D0-4FA9-A5B7-EB71-D587BFE9D943}"/>
                </a:ext>
              </a:extLst>
            </p:cNvPr>
            <p:cNvSpPr/>
            <p:nvPr/>
          </p:nvSpPr>
          <p:spPr>
            <a:xfrm>
              <a:off x="5940704" y="4110840"/>
              <a:ext cx="70435" cy="166723"/>
            </a:xfrm>
            <a:custGeom>
              <a:avLst/>
              <a:gdLst/>
              <a:ahLst/>
              <a:cxnLst/>
              <a:rect l="l" t="t" r="r" b="b"/>
              <a:pathLst>
                <a:path w="7299" h="17277" extrusionOk="0">
                  <a:moveTo>
                    <a:pt x="5710" y="0"/>
                  </a:moveTo>
                  <a:lnTo>
                    <a:pt x="5412" y="100"/>
                  </a:lnTo>
                  <a:lnTo>
                    <a:pt x="5362" y="149"/>
                  </a:lnTo>
                  <a:lnTo>
                    <a:pt x="5313" y="199"/>
                  </a:lnTo>
                  <a:lnTo>
                    <a:pt x="5362" y="1192"/>
                  </a:lnTo>
                  <a:lnTo>
                    <a:pt x="5412" y="2929"/>
                  </a:lnTo>
                  <a:lnTo>
                    <a:pt x="5362" y="3872"/>
                  </a:lnTo>
                  <a:lnTo>
                    <a:pt x="5313" y="4716"/>
                  </a:lnTo>
                  <a:lnTo>
                    <a:pt x="5213" y="5411"/>
                  </a:lnTo>
                  <a:lnTo>
                    <a:pt x="5164" y="5660"/>
                  </a:lnTo>
                  <a:lnTo>
                    <a:pt x="5064" y="5858"/>
                  </a:lnTo>
                  <a:lnTo>
                    <a:pt x="4816" y="6255"/>
                  </a:lnTo>
                  <a:lnTo>
                    <a:pt x="4518" y="6653"/>
                  </a:lnTo>
                  <a:lnTo>
                    <a:pt x="4171" y="7149"/>
                  </a:lnTo>
                  <a:lnTo>
                    <a:pt x="3674" y="7645"/>
                  </a:lnTo>
                  <a:lnTo>
                    <a:pt x="3079" y="8142"/>
                  </a:lnTo>
                  <a:lnTo>
                    <a:pt x="2384" y="8688"/>
                  </a:lnTo>
                  <a:lnTo>
                    <a:pt x="1540" y="9184"/>
                  </a:lnTo>
                  <a:lnTo>
                    <a:pt x="596" y="9681"/>
                  </a:lnTo>
                  <a:lnTo>
                    <a:pt x="547" y="9979"/>
                  </a:lnTo>
                  <a:lnTo>
                    <a:pt x="596" y="10773"/>
                  </a:lnTo>
                  <a:lnTo>
                    <a:pt x="646" y="11518"/>
                  </a:lnTo>
                  <a:lnTo>
                    <a:pt x="646" y="12163"/>
                  </a:lnTo>
                  <a:lnTo>
                    <a:pt x="596" y="12759"/>
                  </a:lnTo>
                  <a:lnTo>
                    <a:pt x="448" y="13354"/>
                  </a:lnTo>
                  <a:lnTo>
                    <a:pt x="348" y="13950"/>
                  </a:lnTo>
                  <a:lnTo>
                    <a:pt x="199" y="14546"/>
                  </a:lnTo>
                  <a:lnTo>
                    <a:pt x="50" y="15191"/>
                  </a:lnTo>
                  <a:lnTo>
                    <a:pt x="1" y="15886"/>
                  </a:lnTo>
                  <a:lnTo>
                    <a:pt x="1" y="16681"/>
                  </a:lnTo>
                  <a:lnTo>
                    <a:pt x="1" y="17276"/>
                  </a:lnTo>
                  <a:lnTo>
                    <a:pt x="2185" y="16879"/>
                  </a:lnTo>
                  <a:lnTo>
                    <a:pt x="2135" y="16085"/>
                  </a:lnTo>
                  <a:lnTo>
                    <a:pt x="2135" y="15638"/>
                  </a:lnTo>
                  <a:lnTo>
                    <a:pt x="2185" y="15092"/>
                  </a:lnTo>
                  <a:lnTo>
                    <a:pt x="2334" y="14397"/>
                  </a:lnTo>
                  <a:lnTo>
                    <a:pt x="2483" y="13603"/>
                  </a:lnTo>
                  <a:lnTo>
                    <a:pt x="2682" y="12908"/>
                  </a:lnTo>
                  <a:lnTo>
                    <a:pt x="2930" y="12213"/>
                  </a:lnTo>
                  <a:lnTo>
                    <a:pt x="3128" y="11667"/>
                  </a:lnTo>
                  <a:lnTo>
                    <a:pt x="3327" y="11369"/>
                  </a:lnTo>
                  <a:lnTo>
                    <a:pt x="4171" y="10425"/>
                  </a:lnTo>
                  <a:lnTo>
                    <a:pt x="5263" y="9085"/>
                  </a:lnTo>
                  <a:lnTo>
                    <a:pt x="5859" y="8340"/>
                  </a:lnTo>
                  <a:lnTo>
                    <a:pt x="6355" y="7645"/>
                  </a:lnTo>
                  <a:lnTo>
                    <a:pt x="6802" y="7000"/>
                  </a:lnTo>
                  <a:lnTo>
                    <a:pt x="7050" y="6454"/>
                  </a:lnTo>
                  <a:lnTo>
                    <a:pt x="7149" y="6206"/>
                  </a:lnTo>
                  <a:lnTo>
                    <a:pt x="7199" y="5858"/>
                  </a:lnTo>
                  <a:lnTo>
                    <a:pt x="7298" y="5014"/>
                  </a:lnTo>
                  <a:lnTo>
                    <a:pt x="7298" y="4071"/>
                  </a:lnTo>
                  <a:lnTo>
                    <a:pt x="7298" y="3078"/>
                  </a:lnTo>
                  <a:lnTo>
                    <a:pt x="7249" y="1241"/>
                  </a:lnTo>
                  <a:lnTo>
                    <a:pt x="7149" y="298"/>
                  </a:lnTo>
                  <a:lnTo>
                    <a:pt x="7149" y="248"/>
                  </a:lnTo>
                  <a:lnTo>
                    <a:pt x="7050" y="199"/>
                  </a:lnTo>
                  <a:lnTo>
                    <a:pt x="6752" y="100"/>
                  </a:lnTo>
                  <a:lnTo>
                    <a:pt x="6454" y="0"/>
                  </a:lnTo>
                  <a:close/>
                </a:path>
              </a:pathLst>
            </a:custGeom>
            <a:solidFill>
              <a:srgbClr val="D04A02"/>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34" name="Google Shape;12847;p79">
              <a:extLst>
                <a:ext uri="{FF2B5EF4-FFF2-40B4-BE49-F238E27FC236}">
                  <a16:creationId xmlns:a16="http://schemas.microsoft.com/office/drawing/2014/main" id="{B562BC70-9454-D81F-D4D5-2083E1B29177}"/>
                </a:ext>
              </a:extLst>
            </p:cNvPr>
            <p:cNvSpPr/>
            <p:nvPr/>
          </p:nvSpPr>
          <p:spPr>
            <a:xfrm>
              <a:off x="5931121" y="4166888"/>
              <a:ext cx="25399" cy="24926"/>
            </a:xfrm>
            <a:custGeom>
              <a:avLst/>
              <a:gdLst/>
              <a:ahLst/>
              <a:cxnLst/>
              <a:rect l="l" t="t" r="r" b="b"/>
              <a:pathLst>
                <a:path w="2632" h="2583" extrusionOk="0">
                  <a:moveTo>
                    <a:pt x="1043" y="1"/>
                  </a:moveTo>
                  <a:lnTo>
                    <a:pt x="894" y="150"/>
                  </a:lnTo>
                  <a:lnTo>
                    <a:pt x="845" y="249"/>
                  </a:lnTo>
                  <a:lnTo>
                    <a:pt x="795" y="298"/>
                  </a:lnTo>
                  <a:lnTo>
                    <a:pt x="894" y="398"/>
                  </a:lnTo>
                  <a:lnTo>
                    <a:pt x="994" y="497"/>
                  </a:lnTo>
                  <a:lnTo>
                    <a:pt x="994" y="547"/>
                  </a:lnTo>
                  <a:lnTo>
                    <a:pt x="994" y="596"/>
                  </a:lnTo>
                  <a:lnTo>
                    <a:pt x="894" y="696"/>
                  </a:lnTo>
                  <a:lnTo>
                    <a:pt x="845" y="795"/>
                  </a:lnTo>
                  <a:lnTo>
                    <a:pt x="597" y="894"/>
                  </a:lnTo>
                  <a:lnTo>
                    <a:pt x="497" y="944"/>
                  </a:lnTo>
                  <a:lnTo>
                    <a:pt x="398" y="1043"/>
                  </a:lnTo>
                  <a:lnTo>
                    <a:pt x="398" y="1142"/>
                  </a:lnTo>
                  <a:lnTo>
                    <a:pt x="448" y="1192"/>
                  </a:lnTo>
                  <a:lnTo>
                    <a:pt x="696" y="1341"/>
                  </a:lnTo>
                  <a:lnTo>
                    <a:pt x="845" y="1391"/>
                  </a:lnTo>
                  <a:lnTo>
                    <a:pt x="894" y="1490"/>
                  </a:lnTo>
                  <a:lnTo>
                    <a:pt x="944" y="1540"/>
                  </a:lnTo>
                  <a:lnTo>
                    <a:pt x="894" y="1589"/>
                  </a:lnTo>
                  <a:lnTo>
                    <a:pt x="746" y="1688"/>
                  </a:lnTo>
                  <a:lnTo>
                    <a:pt x="547" y="1688"/>
                  </a:lnTo>
                  <a:lnTo>
                    <a:pt x="199" y="1639"/>
                  </a:lnTo>
                  <a:lnTo>
                    <a:pt x="100" y="1639"/>
                  </a:lnTo>
                  <a:lnTo>
                    <a:pt x="1" y="1788"/>
                  </a:lnTo>
                  <a:lnTo>
                    <a:pt x="51" y="1837"/>
                  </a:lnTo>
                  <a:lnTo>
                    <a:pt x="51" y="1937"/>
                  </a:lnTo>
                  <a:lnTo>
                    <a:pt x="249" y="2135"/>
                  </a:lnTo>
                  <a:lnTo>
                    <a:pt x="398" y="2284"/>
                  </a:lnTo>
                  <a:lnTo>
                    <a:pt x="448" y="2383"/>
                  </a:lnTo>
                  <a:lnTo>
                    <a:pt x="448" y="2483"/>
                  </a:lnTo>
                  <a:lnTo>
                    <a:pt x="547" y="2483"/>
                  </a:lnTo>
                  <a:lnTo>
                    <a:pt x="746" y="2532"/>
                  </a:lnTo>
                  <a:lnTo>
                    <a:pt x="944" y="2582"/>
                  </a:lnTo>
                  <a:lnTo>
                    <a:pt x="1490" y="2532"/>
                  </a:lnTo>
                  <a:lnTo>
                    <a:pt x="1788" y="2433"/>
                  </a:lnTo>
                  <a:lnTo>
                    <a:pt x="2086" y="2334"/>
                  </a:lnTo>
                  <a:lnTo>
                    <a:pt x="2334" y="2185"/>
                  </a:lnTo>
                  <a:lnTo>
                    <a:pt x="2582" y="2036"/>
                  </a:lnTo>
                  <a:lnTo>
                    <a:pt x="2632" y="1937"/>
                  </a:lnTo>
                  <a:lnTo>
                    <a:pt x="2582" y="1837"/>
                  </a:lnTo>
                  <a:lnTo>
                    <a:pt x="2384" y="1540"/>
                  </a:lnTo>
                  <a:lnTo>
                    <a:pt x="2136" y="1242"/>
                  </a:lnTo>
                  <a:lnTo>
                    <a:pt x="2086" y="1093"/>
                  </a:lnTo>
                  <a:lnTo>
                    <a:pt x="2136" y="993"/>
                  </a:lnTo>
                  <a:lnTo>
                    <a:pt x="2185" y="993"/>
                  </a:lnTo>
                  <a:lnTo>
                    <a:pt x="2185" y="894"/>
                  </a:lnTo>
                  <a:lnTo>
                    <a:pt x="2086" y="795"/>
                  </a:lnTo>
                  <a:lnTo>
                    <a:pt x="1689" y="497"/>
                  </a:lnTo>
                  <a:lnTo>
                    <a:pt x="1341" y="249"/>
                  </a:lnTo>
                  <a:lnTo>
                    <a:pt x="1043" y="1"/>
                  </a:lnTo>
                  <a:close/>
                </a:path>
              </a:pathLst>
            </a:custGeom>
            <a:solidFill>
              <a:srgbClr val="EFAEA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35" name="Google Shape;12848;p79">
              <a:extLst>
                <a:ext uri="{FF2B5EF4-FFF2-40B4-BE49-F238E27FC236}">
                  <a16:creationId xmlns:a16="http://schemas.microsoft.com/office/drawing/2014/main" id="{2540FD0E-DE62-1929-A04D-07232B470956}"/>
                </a:ext>
              </a:extLst>
            </p:cNvPr>
            <p:cNvSpPr/>
            <p:nvPr/>
          </p:nvSpPr>
          <p:spPr>
            <a:xfrm>
              <a:off x="5916270" y="4157788"/>
              <a:ext cx="27319" cy="33543"/>
            </a:xfrm>
            <a:custGeom>
              <a:avLst/>
              <a:gdLst/>
              <a:ahLst/>
              <a:cxnLst/>
              <a:rect l="l" t="t" r="r" b="b"/>
              <a:pathLst>
                <a:path w="2831" h="3476" extrusionOk="0">
                  <a:moveTo>
                    <a:pt x="2285" y="0"/>
                  </a:moveTo>
                  <a:lnTo>
                    <a:pt x="2136" y="50"/>
                  </a:lnTo>
                  <a:lnTo>
                    <a:pt x="1887" y="298"/>
                  </a:lnTo>
                  <a:lnTo>
                    <a:pt x="1838" y="348"/>
                  </a:lnTo>
                  <a:lnTo>
                    <a:pt x="1738" y="397"/>
                  </a:lnTo>
                  <a:lnTo>
                    <a:pt x="1441" y="348"/>
                  </a:lnTo>
                  <a:lnTo>
                    <a:pt x="1242" y="348"/>
                  </a:lnTo>
                  <a:lnTo>
                    <a:pt x="1043" y="397"/>
                  </a:lnTo>
                  <a:lnTo>
                    <a:pt x="895" y="546"/>
                  </a:lnTo>
                  <a:lnTo>
                    <a:pt x="845" y="695"/>
                  </a:lnTo>
                  <a:lnTo>
                    <a:pt x="845" y="795"/>
                  </a:lnTo>
                  <a:lnTo>
                    <a:pt x="746" y="944"/>
                  </a:lnTo>
                  <a:lnTo>
                    <a:pt x="597" y="993"/>
                  </a:lnTo>
                  <a:lnTo>
                    <a:pt x="348" y="1093"/>
                  </a:lnTo>
                  <a:lnTo>
                    <a:pt x="150" y="1192"/>
                  </a:lnTo>
                  <a:lnTo>
                    <a:pt x="100" y="1241"/>
                  </a:lnTo>
                  <a:lnTo>
                    <a:pt x="51" y="1341"/>
                  </a:lnTo>
                  <a:lnTo>
                    <a:pt x="1" y="1539"/>
                  </a:lnTo>
                  <a:lnTo>
                    <a:pt x="51" y="1639"/>
                  </a:lnTo>
                  <a:lnTo>
                    <a:pt x="51" y="1788"/>
                  </a:lnTo>
                  <a:lnTo>
                    <a:pt x="150" y="1936"/>
                  </a:lnTo>
                  <a:lnTo>
                    <a:pt x="299" y="2135"/>
                  </a:lnTo>
                  <a:lnTo>
                    <a:pt x="448" y="2383"/>
                  </a:lnTo>
                  <a:lnTo>
                    <a:pt x="448" y="2532"/>
                  </a:lnTo>
                  <a:lnTo>
                    <a:pt x="448" y="2731"/>
                  </a:lnTo>
                  <a:lnTo>
                    <a:pt x="497" y="2929"/>
                  </a:lnTo>
                  <a:lnTo>
                    <a:pt x="547" y="3029"/>
                  </a:lnTo>
                  <a:lnTo>
                    <a:pt x="646" y="3128"/>
                  </a:lnTo>
                  <a:lnTo>
                    <a:pt x="895" y="3277"/>
                  </a:lnTo>
                  <a:lnTo>
                    <a:pt x="1192" y="3376"/>
                  </a:lnTo>
                  <a:lnTo>
                    <a:pt x="1540" y="3475"/>
                  </a:lnTo>
                  <a:lnTo>
                    <a:pt x="1838" y="3475"/>
                  </a:lnTo>
                  <a:lnTo>
                    <a:pt x="1937" y="3426"/>
                  </a:lnTo>
                  <a:lnTo>
                    <a:pt x="1987" y="3426"/>
                  </a:lnTo>
                  <a:lnTo>
                    <a:pt x="1987" y="3326"/>
                  </a:lnTo>
                  <a:lnTo>
                    <a:pt x="1937" y="3227"/>
                  </a:lnTo>
                  <a:lnTo>
                    <a:pt x="1788" y="3078"/>
                  </a:lnTo>
                  <a:lnTo>
                    <a:pt x="1590" y="2880"/>
                  </a:lnTo>
                  <a:lnTo>
                    <a:pt x="1590" y="2780"/>
                  </a:lnTo>
                  <a:lnTo>
                    <a:pt x="1540" y="2731"/>
                  </a:lnTo>
                  <a:lnTo>
                    <a:pt x="1639" y="2582"/>
                  </a:lnTo>
                  <a:lnTo>
                    <a:pt x="1738" y="2582"/>
                  </a:lnTo>
                  <a:lnTo>
                    <a:pt x="2086" y="2631"/>
                  </a:lnTo>
                  <a:lnTo>
                    <a:pt x="2285" y="2631"/>
                  </a:lnTo>
                  <a:lnTo>
                    <a:pt x="2433" y="2532"/>
                  </a:lnTo>
                  <a:lnTo>
                    <a:pt x="2483" y="2483"/>
                  </a:lnTo>
                  <a:lnTo>
                    <a:pt x="2433" y="2433"/>
                  </a:lnTo>
                  <a:lnTo>
                    <a:pt x="2384" y="2334"/>
                  </a:lnTo>
                  <a:lnTo>
                    <a:pt x="2235" y="2284"/>
                  </a:lnTo>
                  <a:lnTo>
                    <a:pt x="1987" y="2135"/>
                  </a:lnTo>
                  <a:lnTo>
                    <a:pt x="1937" y="2085"/>
                  </a:lnTo>
                  <a:lnTo>
                    <a:pt x="1937" y="1986"/>
                  </a:lnTo>
                  <a:lnTo>
                    <a:pt x="2036" y="1887"/>
                  </a:lnTo>
                  <a:lnTo>
                    <a:pt x="2136" y="1837"/>
                  </a:lnTo>
                  <a:lnTo>
                    <a:pt x="2384" y="1738"/>
                  </a:lnTo>
                  <a:lnTo>
                    <a:pt x="2433" y="1639"/>
                  </a:lnTo>
                  <a:lnTo>
                    <a:pt x="2533" y="1539"/>
                  </a:lnTo>
                  <a:lnTo>
                    <a:pt x="2533" y="1490"/>
                  </a:lnTo>
                  <a:lnTo>
                    <a:pt x="2533" y="1440"/>
                  </a:lnTo>
                  <a:lnTo>
                    <a:pt x="2433" y="1341"/>
                  </a:lnTo>
                  <a:lnTo>
                    <a:pt x="2334" y="1241"/>
                  </a:lnTo>
                  <a:lnTo>
                    <a:pt x="2384" y="1192"/>
                  </a:lnTo>
                  <a:lnTo>
                    <a:pt x="2433" y="1093"/>
                  </a:lnTo>
                  <a:lnTo>
                    <a:pt x="2582" y="944"/>
                  </a:lnTo>
                  <a:lnTo>
                    <a:pt x="2682" y="795"/>
                  </a:lnTo>
                  <a:lnTo>
                    <a:pt x="2781" y="646"/>
                  </a:lnTo>
                  <a:lnTo>
                    <a:pt x="2831" y="497"/>
                  </a:lnTo>
                  <a:lnTo>
                    <a:pt x="2781" y="298"/>
                  </a:lnTo>
                  <a:lnTo>
                    <a:pt x="2731" y="249"/>
                  </a:lnTo>
                  <a:lnTo>
                    <a:pt x="2632" y="100"/>
                  </a:lnTo>
                  <a:lnTo>
                    <a:pt x="2533" y="0"/>
                  </a:lnTo>
                  <a:close/>
                </a:path>
              </a:pathLst>
            </a:custGeom>
            <a:solidFill>
              <a:srgbClr val="2D2D2D"/>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36" name="Google Shape;12849;p79">
              <a:extLst>
                <a:ext uri="{FF2B5EF4-FFF2-40B4-BE49-F238E27FC236}">
                  <a16:creationId xmlns:a16="http://schemas.microsoft.com/office/drawing/2014/main" id="{B5957D11-FA2C-ECCC-E1A3-3255CDE9EA3C}"/>
                </a:ext>
              </a:extLst>
            </p:cNvPr>
            <p:cNvSpPr/>
            <p:nvPr/>
          </p:nvSpPr>
          <p:spPr>
            <a:xfrm>
              <a:off x="5839620" y="4091675"/>
              <a:ext cx="26364" cy="25399"/>
            </a:xfrm>
            <a:custGeom>
              <a:avLst/>
              <a:gdLst/>
              <a:ahLst/>
              <a:cxnLst/>
              <a:rect l="l" t="t" r="r" b="b"/>
              <a:pathLst>
                <a:path w="2732" h="2632" extrusionOk="0">
                  <a:moveTo>
                    <a:pt x="398" y="1"/>
                  </a:moveTo>
                  <a:lnTo>
                    <a:pt x="150" y="50"/>
                  </a:lnTo>
                  <a:lnTo>
                    <a:pt x="100" y="100"/>
                  </a:lnTo>
                  <a:lnTo>
                    <a:pt x="1" y="149"/>
                  </a:lnTo>
                  <a:lnTo>
                    <a:pt x="1" y="249"/>
                  </a:lnTo>
                  <a:lnTo>
                    <a:pt x="100" y="398"/>
                  </a:lnTo>
                  <a:lnTo>
                    <a:pt x="348" y="993"/>
                  </a:lnTo>
                  <a:lnTo>
                    <a:pt x="696" y="1688"/>
                  </a:lnTo>
                  <a:lnTo>
                    <a:pt x="1043" y="2483"/>
                  </a:lnTo>
                  <a:lnTo>
                    <a:pt x="1093" y="2632"/>
                  </a:lnTo>
                  <a:lnTo>
                    <a:pt x="1689" y="2433"/>
                  </a:lnTo>
                  <a:lnTo>
                    <a:pt x="2285" y="2334"/>
                  </a:lnTo>
                  <a:lnTo>
                    <a:pt x="2285" y="2086"/>
                  </a:lnTo>
                  <a:lnTo>
                    <a:pt x="2334" y="1887"/>
                  </a:lnTo>
                  <a:lnTo>
                    <a:pt x="2384" y="1738"/>
                  </a:lnTo>
                  <a:lnTo>
                    <a:pt x="2582" y="1490"/>
                  </a:lnTo>
                  <a:lnTo>
                    <a:pt x="2731" y="1291"/>
                  </a:lnTo>
                  <a:lnTo>
                    <a:pt x="2731" y="1192"/>
                  </a:lnTo>
                  <a:lnTo>
                    <a:pt x="2682" y="1192"/>
                  </a:lnTo>
                  <a:lnTo>
                    <a:pt x="2334" y="1142"/>
                  </a:lnTo>
                  <a:lnTo>
                    <a:pt x="2185" y="1043"/>
                  </a:lnTo>
                  <a:lnTo>
                    <a:pt x="1987" y="745"/>
                  </a:lnTo>
                  <a:lnTo>
                    <a:pt x="1838" y="646"/>
                  </a:lnTo>
                  <a:lnTo>
                    <a:pt x="1639" y="497"/>
                  </a:lnTo>
                  <a:lnTo>
                    <a:pt x="1043" y="199"/>
                  </a:lnTo>
                  <a:lnTo>
                    <a:pt x="696" y="100"/>
                  </a:lnTo>
                  <a:lnTo>
                    <a:pt x="398" y="1"/>
                  </a:lnTo>
                  <a:close/>
                </a:path>
              </a:pathLst>
            </a:custGeom>
            <a:solidFill>
              <a:srgbClr val="EFAEA6"/>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37" name="Google Shape;12850;p79">
              <a:extLst>
                <a:ext uri="{FF2B5EF4-FFF2-40B4-BE49-F238E27FC236}">
                  <a16:creationId xmlns:a16="http://schemas.microsoft.com/office/drawing/2014/main" id="{E9887BB6-E643-52B6-5ED7-4226FF4265E1}"/>
                </a:ext>
              </a:extLst>
            </p:cNvPr>
            <p:cNvSpPr/>
            <p:nvPr/>
          </p:nvSpPr>
          <p:spPr>
            <a:xfrm>
              <a:off x="5892801" y="4231079"/>
              <a:ext cx="34981" cy="55101"/>
            </a:xfrm>
            <a:custGeom>
              <a:avLst/>
              <a:gdLst/>
              <a:ahLst/>
              <a:cxnLst/>
              <a:rect l="l" t="t" r="r" b="b"/>
              <a:pathLst>
                <a:path w="3625" h="5710" extrusionOk="0">
                  <a:moveTo>
                    <a:pt x="3575" y="1"/>
                  </a:moveTo>
                  <a:lnTo>
                    <a:pt x="3376" y="100"/>
                  </a:lnTo>
                  <a:lnTo>
                    <a:pt x="1837" y="745"/>
                  </a:lnTo>
                  <a:lnTo>
                    <a:pt x="894" y="1093"/>
                  </a:lnTo>
                  <a:lnTo>
                    <a:pt x="100" y="1341"/>
                  </a:lnTo>
                  <a:lnTo>
                    <a:pt x="199" y="3724"/>
                  </a:lnTo>
                  <a:lnTo>
                    <a:pt x="199" y="4221"/>
                  </a:lnTo>
                  <a:lnTo>
                    <a:pt x="149" y="4667"/>
                  </a:lnTo>
                  <a:lnTo>
                    <a:pt x="100" y="5164"/>
                  </a:lnTo>
                  <a:lnTo>
                    <a:pt x="0" y="5710"/>
                  </a:lnTo>
                  <a:lnTo>
                    <a:pt x="0" y="5710"/>
                  </a:lnTo>
                  <a:lnTo>
                    <a:pt x="3178" y="5164"/>
                  </a:lnTo>
                  <a:lnTo>
                    <a:pt x="3475" y="3774"/>
                  </a:lnTo>
                  <a:lnTo>
                    <a:pt x="3575" y="2979"/>
                  </a:lnTo>
                  <a:lnTo>
                    <a:pt x="3624" y="2036"/>
                  </a:lnTo>
                  <a:lnTo>
                    <a:pt x="3624" y="1043"/>
                  </a:lnTo>
                  <a:lnTo>
                    <a:pt x="3575" y="1"/>
                  </a:lnTo>
                  <a:close/>
                </a:path>
              </a:pathLst>
            </a:custGeom>
            <a:solidFill>
              <a:srgbClr val="D04A02"/>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38" name="Google Shape;12851;p79">
              <a:extLst>
                <a:ext uri="{FF2B5EF4-FFF2-40B4-BE49-F238E27FC236}">
                  <a16:creationId xmlns:a16="http://schemas.microsoft.com/office/drawing/2014/main" id="{6F5251FA-176B-B7CC-9751-7003B50EC856}"/>
                </a:ext>
              </a:extLst>
            </p:cNvPr>
            <p:cNvSpPr/>
            <p:nvPr/>
          </p:nvSpPr>
          <p:spPr>
            <a:xfrm>
              <a:off x="5892801" y="4231079"/>
              <a:ext cx="34981" cy="55101"/>
            </a:xfrm>
            <a:custGeom>
              <a:avLst/>
              <a:gdLst/>
              <a:ahLst/>
              <a:cxnLst/>
              <a:rect l="l" t="t" r="r" b="b"/>
              <a:pathLst>
                <a:path w="3625" h="5710" fill="none" extrusionOk="0">
                  <a:moveTo>
                    <a:pt x="3575" y="1"/>
                  </a:moveTo>
                  <a:lnTo>
                    <a:pt x="3575" y="1"/>
                  </a:lnTo>
                  <a:lnTo>
                    <a:pt x="3376" y="100"/>
                  </a:lnTo>
                  <a:lnTo>
                    <a:pt x="3376" y="100"/>
                  </a:lnTo>
                  <a:lnTo>
                    <a:pt x="1837" y="745"/>
                  </a:lnTo>
                  <a:lnTo>
                    <a:pt x="894" y="1093"/>
                  </a:lnTo>
                  <a:lnTo>
                    <a:pt x="100" y="1341"/>
                  </a:lnTo>
                  <a:lnTo>
                    <a:pt x="100" y="1341"/>
                  </a:lnTo>
                  <a:lnTo>
                    <a:pt x="199" y="3724"/>
                  </a:lnTo>
                  <a:lnTo>
                    <a:pt x="199" y="3724"/>
                  </a:lnTo>
                  <a:lnTo>
                    <a:pt x="199" y="4221"/>
                  </a:lnTo>
                  <a:lnTo>
                    <a:pt x="149" y="4667"/>
                  </a:lnTo>
                  <a:lnTo>
                    <a:pt x="100" y="5164"/>
                  </a:lnTo>
                  <a:lnTo>
                    <a:pt x="0" y="5710"/>
                  </a:lnTo>
                  <a:lnTo>
                    <a:pt x="3178" y="5164"/>
                  </a:lnTo>
                  <a:lnTo>
                    <a:pt x="3178" y="5164"/>
                  </a:lnTo>
                  <a:lnTo>
                    <a:pt x="3475" y="3774"/>
                  </a:lnTo>
                  <a:lnTo>
                    <a:pt x="3475" y="3774"/>
                  </a:lnTo>
                  <a:lnTo>
                    <a:pt x="3575" y="2979"/>
                  </a:lnTo>
                  <a:lnTo>
                    <a:pt x="3624" y="2036"/>
                  </a:lnTo>
                  <a:lnTo>
                    <a:pt x="3624" y="1043"/>
                  </a:lnTo>
                  <a:lnTo>
                    <a:pt x="3575"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39" name="Google Shape;12852;p79">
              <a:extLst>
                <a:ext uri="{FF2B5EF4-FFF2-40B4-BE49-F238E27FC236}">
                  <a16:creationId xmlns:a16="http://schemas.microsoft.com/office/drawing/2014/main" id="{53B6C7D6-593F-4355-D540-4EDD595AB3F5}"/>
                </a:ext>
              </a:extLst>
            </p:cNvPr>
            <p:cNvSpPr/>
            <p:nvPr/>
          </p:nvSpPr>
          <p:spPr>
            <a:xfrm>
              <a:off x="5846809" y="4114189"/>
              <a:ext cx="80018" cy="110193"/>
            </a:xfrm>
            <a:custGeom>
              <a:avLst/>
              <a:gdLst/>
              <a:ahLst/>
              <a:cxnLst/>
              <a:rect l="l" t="t" r="r" b="b"/>
              <a:pathLst>
                <a:path w="8292" h="11419" extrusionOk="0">
                  <a:moveTo>
                    <a:pt x="1540" y="1"/>
                  </a:moveTo>
                  <a:lnTo>
                    <a:pt x="944" y="100"/>
                  </a:lnTo>
                  <a:lnTo>
                    <a:pt x="348" y="299"/>
                  </a:lnTo>
                  <a:lnTo>
                    <a:pt x="100" y="398"/>
                  </a:lnTo>
                  <a:lnTo>
                    <a:pt x="50" y="448"/>
                  </a:lnTo>
                  <a:lnTo>
                    <a:pt x="1" y="497"/>
                  </a:lnTo>
                  <a:lnTo>
                    <a:pt x="100" y="1490"/>
                  </a:lnTo>
                  <a:lnTo>
                    <a:pt x="398" y="3377"/>
                  </a:lnTo>
                  <a:lnTo>
                    <a:pt x="596" y="4469"/>
                  </a:lnTo>
                  <a:lnTo>
                    <a:pt x="795" y="5462"/>
                  </a:lnTo>
                  <a:lnTo>
                    <a:pt x="1043" y="6256"/>
                  </a:lnTo>
                  <a:lnTo>
                    <a:pt x="1142" y="6603"/>
                  </a:lnTo>
                  <a:lnTo>
                    <a:pt x="1291" y="6852"/>
                  </a:lnTo>
                  <a:lnTo>
                    <a:pt x="1589" y="7348"/>
                  </a:lnTo>
                  <a:lnTo>
                    <a:pt x="1986" y="7844"/>
                  </a:lnTo>
                  <a:lnTo>
                    <a:pt x="2880" y="8887"/>
                  </a:lnTo>
                  <a:lnTo>
                    <a:pt x="3773" y="9880"/>
                  </a:lnTo>
                  <a:lnTo>
                    <a:pt x="4171" y="10327"/>
                  </a:lnTo>
                  <a:lnTo>
                    <a:pt x="4469" y="10724"/>
                  </a:lnTo>
                  <a:lnTo>
                    <a:pt x="4568" y="10972"/>
                  </a:lnTo>
                  <a:lnTo>
                    <a:pt x="4667" y="11419"/>
                  </a:lnTo>
                  <a:lnTo>
                    <a:pt x="5511" y="11369"/>
                  </a:lnTo>
                  <a:lnTo>
                    <a:pt x="6355" y="11369"/>
                  </a:lnTo>
                  <a:lnTo>
                    <a:pt x="7100" y="11320"/>
                  </a:lnTo>
                  <a:lnTo>
                    <a:pt x="7397" y="11270"/>
                  </a:lnTo>
                  <a:lnTo>
                    <a:pt x="7646" y="11171"/>
                  </a:lnTo>
                  <a:lnTo>
                    <a:pt x="7993" y="10972"/>
                  </a:lnTo>
                  <a:lnTo>
                    <a:pt x="8291" y="10773"/>
                  </a:lnTo>
                  <a:lnTo>
                    <a:pt x="8192" y="8937"/>
                  </a:lnTo>
                  <a:lnTo>
                    <a:pt x="7546" y="8788"/>
                  </a:lnTo>
                  <a:lnTo>
                    <a:pt x="7000" y="8639"/>
                  </a:lnTo>
                  <a:lnTo>
                    <a:pt x="6454" y="8440"/>
                  </a:lnTo>
                  <a:lnTo>
                    <a:pt x="6007" y="8242"/>
                  </a:lnTo>
                  <a:lnTo>
                    <a:pt x="5610" y="8043"/>
                  </a:lnTo>
                  <a:lnTo>
                    <a:pt x="5263" y="7844"/>
                  </a:lnTo>
                  <a:lnTo>
                    <a:pt x="4617" y="7398"/>
                  </a:lnTo>
                  <a:lnTo>
                    <a:pt x="4171" y="6901"/>
                  </a:lnTo>
                  <a:lnTo>
                    <a:pt x="3773" y="6504"/>
                  </a:lnTo>
                  <a:lnTo>
                    <a:pt x="3227" y="5809"/>
                  </a:lnTo>
                  <a:lnTo>
                    <a:pt x="3128" y="5660"/>
                  </a:lnTo>
                  <a:lnTo>
                    <a:pt x="3029" y="5412"/>
                  </a:lnTo>
                  <a:lnTo>
                    <a:pt x="2781" y="4667"/>
                  </a:lnTo>
                  <a:lnTo>
                    <a:pt x="2582" y="3774"/>
                  </a:lnTo>
                  <a:lnTo>
                    <a:pt x="2433" y="2781"/>
                  </a:lnTo>
                  <a:lnTo>
                    <a:pt x="2135" y="944"/>
                  </a:lnTo>
                  <a:lnTo>
                    <a:pt x="1986" y="348"/>
                  </a:lnTo>
                  <a:lnTo>
                    <a:pt x="1937" y="50"/>
                  </a:lnTo>
                  <a:lnTo>
                    <a:pt x="1788" y="1"/>
                  </a:lnTo>
                  <a:close/>
                </a:path>
              </a:pathLst>
            </a:custGeom>
            <a:solidFill>
              <a:srgbClr val="D04A02"/>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40" name="Google Shape;12853;p79">
              <a:extLst>
                <a:ext uri="{FF2B5EF4-FFF2-40B4-BE49-F238E27FC236}">
                  <a16:creationId xmlns:a16="http://schemas.microsoft.com/office/drawing/2014/main" id="{D0C514CF-2390-CB8B-0E54-CB6D4842A0C6}"/>
                </a:ext>
              </a:extLst>
            </p:cNvPr>
            <p:cNvSpPr/>
            <p:nvPr/>
          </p:nvSpPr>
          <p:spPr>
            <a:xfrm>
              <a:off x="5892801" y="4235875"/>
              <a:ext cx="965" cy="8154"/>
            </a:xfrm>
            <a:custGeom>
              <a:avLst/>
              <a:gdLst/>
              <a:ahLst/>
              <a:cxnLst/>
              <a:rect l="l" t="t" r="r" b="b"/>
              <a:pathLst>
                <a:path w="100" h="845" extrusionOk="0">
                  <a:moveTo>
                    <a:pt x="0" y="0"/>
                  </a:moveTo>
                  <a:lnTo>
                    <a:pt x="100" y="844"/>
                  </a:lnTo>
                  <a:lnTo>
                    <a:pt x="50" y="0"/>
                  </a:lnTo>
                  <a:close/>
                </a:path>
              </a:pathLst>
            </a:custGeom>
            <a:solidFill>
              <a:srgbClr val="1E079B"/>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41" name="Google Shape;12854;p79">
              <a:extLst>
                <a:ext uri="{FF2B5EF4-FFF2-40B4-BE49-F238E27FC236}">
                  <a16:creationId xmlns:a16="http://schemas.microsoft.com/office/drawing/2014/main" id="{09AD5028-A63D-579D-3D0B-918ECC861584}"/>
                </a:ext>
              </a:extLst>
            </p:cNvPr>
            <p:cNvSpPr/>
            <p:nvPr/>
          </p:nvSpPr>
          <p:spPr>
            <a:xfrm>
              <a:off x="5892801" y="4235875"/>
              <a:ext cx="965" cy="8154"/>
            </a:xfrm>
            <a:custGeom>
              <a:avLst/>
              <a:gdLst/>
              <a:ahLst/>
              <a:cxnLst/>
              <a:rect l="l" t="t" r="r" b="b"/>
              <a:pathLst>
                <a:path w="100" h="845" fill="none" extrusionOk="0">
                  <a:moveTo>
                    <a:pt x="50" y="0"/>
                  </a:moveTo>
                  <a:lnTo>
                    <a:pt x="0" y="0"/>
                  </a:lnTo>
                  <a:lnTo>
                    <a:pt x="0" y="0"/>
                  </a:lnTo>
                  <a:lnTo>
                    <a:pt x="100" y="844"/>
                  </a:lnTo>
                  <a:lnTo>
                    <a:pt x="100" y="844"/>
                  </a:lnTo>
                  <a:lnTo>
                    <a:pt x="100" y="844"/>
                  </a:lnTo>
                  <a:lnTo>
                    <a:pt x="50"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42" name="Google Shape;12855;p79">
              <a:extLst>
                <a:ext uri="{FF2B5EF4-FFF2-40B4-BE49-F238E27FC236}">
                  <a16:creationId xmlns:a16="http://schemas.microsoft.com/office/drawing/2014/main" id="{8D449D14-148D-0E75-787C-527BCE6F1997}"/>
                </a:ext>
              </a:extLst>
            </p:cNvPr>
            <p:cNvSpPr/>
            <p:nvPr/>
          </p:nvSpPr>
          <p:spPr>
            <a:xfrm>
              <a:off x="5927290" y="4209048"/>
              <a:ext cx="12468" cy="22041"/>
            </a:xfrm>
            <a:custGeom>
              <a:avLst/>
              <a:gdLst/>
              <a:ahLst/>
              <a:cxnLst/>
              <a:rect l="l" t="t" r="r" b="b"/>
              <a:pathLst>
                <a:path w="1292" h="2284" extrusionOk="0">
                  <a:moveTo>
                    <a:pt x="1291" y="0"/>
                  </a:moveTo>
                  <a:lnTo>
                    <a:pt x="894" y="795"/>
                  </a:lnTo>
                  <a:lnTo>
                    <a:pt x="696" y="1092"/>
                  </a:lnTo>
                  <a:lnTo>
                    <a:pt x="497" y="1390"/>
                  </a:lnTo>
                  <a:lnTo>
                    <a:pt x="249" y="1638"/>
                  </a:lnTo>
                  <a:lnTo>
                    <a:pt x="1" y="1887"/>
                  </a:lnTo>
                  <a:lnTo>
                    <a:pt x="1" y="2284"/>
                  </a:lnTo>
                  <a:lnTo>
                    <a:pt x="249" y="2135"/>
                  </a:lnTo>
                  <a:lnTo>
                    <a:pt x="448" y="1936"/>
                  </a:lnTo>
                  <a:lnTo>
                    <a:pt x="596" y="1688"/>
                  </a:lnTo>
                  <a:lnTo>
                    <a:pt x="795" y="1440"/>
                  </a:lnTo>
                  <a:lnTo>
                    <a:pt x="1043" y="844"/>
                  </a:lnTo>
                  <a:lnTo>
                    <a:pt x="1192" y="348"/>
                  </a:lnTo>
                  <a:lnTo>
                    <a:pt x="1291"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43" name="Google Shape;12856;p79">
              <a:extLst>
                <a:ext uri="{FF2B5EF4-FFF2-40B4-BE49-F238E27FC236}">
                  <a16:creationId xmlns:a16="http://schemas.microsoft.com/office/drawing/2014/main" id="{E3DCF94B-D881-F687-CF9F-897E1F5F3D8D}"/>
                </a:ext>
              </a:extLst>
            </p:cNvPr>
            <p:cNvSpPr/>
            <p:nvPr/>
          </p:nvSpPr>
          <p:spPr>
            <a:xfrm>
              <a:off x="5927290" y="4209048"/>
              <a:ext cx="12468" cy="22041"/>
            </a:xfrm>
            <a:custGeom>
              <a:avLst/>
              <a:gdLst/>
              <a:ahLst/>
              <a:cxnLst/>
              <a:rect l="l" t="t" r="r" b="b"/>
              <a:pathLst>
                <a:path w="1292" h="2284" fill="none" extrusionOk="0">
                  <a:moveTo>
                    <a:pt x="1" y="1887"/>
                  </a:moveTo>
                  <a:lnTo>
                    <a:pt x="1" y="1887"/>
                  </a:lnTo>
                  <a:lnTo>
                    <a:pt x="1" y="2284"/>
                  </a:lnTo>
                  <a:lnTo>
                    <a:pt x="1" y="2284"/>
                  </a:lnTo>
                  <a:lnTo>
                    <a:pt x="249" y="2135"/>
                  </a:lnTo>
                  <a:lnTo>
                    <a:pt x="448" y="1936"/>
                  </a:lnTo>
                  <a:lnTo>
                    <a:pt x="448" y="1936"/>
                  </a:lnTo>
                  <a:lnTo>
                    <a:pt x="596" y="1688"/>
                  </a:lnTo>
                  <a:lnTo>
                    <a:pt x="795" y="1440"/>
                  </a:lnTo>
                  <a:lnTo>
                    <a:pt x="1043" y="844"/>
                  </a:lnTo>
                  <a:lnTo>
                    <a:pt x="1192" y="348"/>
                  </a:lnTo>
                  <a:lnTo>
                    <a:pt x="1291" y="0"/>
                  </a:lnTo>
                  <a:lnTo>
                    <a:pt x="1291" y="0"/>
                  </a:lnTo>
                  <a:lnTo>
                    <a:pt x="894" y="795"/>
                  </a:lnTo>
                  <a:lnTo>
                    <a:pt x="696" y="1092"/>
                  </a:lnTo>
                  <a:lnTo>
                    <a:pt x="497" y="1390"/>
                  </a:lnTo>
                  <a:lnTo>
                    <a:pt x="249" y="1638"/>
                  </a:lnTo>
                  <a:lnTo>
                    <a:pt x="1" y="1887"/>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44" name="Google Shape;12857;p79">
              <a:extLst>
                <a:ext uri="{FF2B5EF4-FFF2-40B4-BE49-F238E27FC236}">
                  <a16:creationId xmlns:a16="http://schemas.microsoft.com/office/drawing/2014/main" id="{0AFDA2E6-980D-9A0D-D938-72013D669658}"/>
                </a:ext>
              </a:extLst>
            </p:cNvPr>
            <p:cNvSpPr/>
            <p:nvPr/>
          </p:nvSpPr>
          <p:spPr>
            <a:xfrm>
              <a:off x="5927290" y="4209048"/>
              <a:ext cx="12468" cy="22041"/>
            </a:xfrm>
            <a:custGeom>
              <a:avLst/>
              <a:gdLst/>
              <a:ahLst/>
              <a:cxnLst/>
              <a:rect l="l" t="t" r="r" b="b"/>
              <a:pathLst>
                <a:path w="1292" h="2284" extrusionOk="0">
                  <a:moveTo>
                    <a:pt x="1291" y="0"/>
                  </a:moveTo>
                  <a:lnTo>
                    <a:pt x="894" y="795"/>
                  </a:lnTo>
                  <a:lnTo>
                    <a:pt x="696" y="1092"/>
                  </a:lnTo>
                  <a:lnTo>
                    <a:pt x="497" y="1390"/>
                  </a:lnTo>
                  <a:lnTo>
                    <a:pt x="249" y="1638"/>
                  </a:lnTo>
                  <a:lnTo>
                    <a:pt x="1" y="1887"/>
                  </a:lnTo>
                  <a:lnTo>
                    <a:pt x="1" y="2284"/>
                  </a:lnTo>
                  <a:lnTo>
                    <a:pt x="249" y="2135"/>
                  </a:lnTo>
                  <a:lnTo>
                    <a:pt x="448" y="1936"/>
                  </a:lnTo>
                  <a:lnTo>
                    <a:pt x="596" y="1688"/>
                  </a:lnTo>
                  <a:lnTo>
                    <a:pt x="795" y="1440"/>
                  </a:lnTo>
                  <a:lnTo>
                    <a:pt x="1043" y="844"/>
                  </a:lnTo>
                  <a:lnTo>
                    <a:pt x="1192" y="348"/>
                  </a:lnTo>
                  <a:lnTo>
                    <a:pt x="1291" y="0"/>
                  </a:lnTo>
                  <a:close/>
                </a:path>
              </a:pathLst>
            </a:custGeom>
            <a:solidFill>
              <a:srgbClr val="C9C9D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45" name="Google Shape;12858;p79">
              <a:extLst>
                <a:ext uri="{FF2B5EF4-FFF2-40B4-BE49-F238E27FC236}">
                  <a16:creationId xmlns:a16="http://schemas.microsoft.com/office/drawing/2014/main" id="{7BD4FBDB-1ABD-CAF6-1A27-E7DD2DEEA7F0}"/>
                </a:ext>
              </a:extLst>
            </p:cNvPr>
            <p:cNvSpPr/>
            <p:nvPr/>
          </p:nvSpPr>
          <p:spPr>
            <a:xfrm>
              <a:off x="5927290" y="4209048"/>
              <a:ext cx="12468" cy="22041"/>
            </a:xfrm>
            <a:custGeom>
              <a:avLst/>
              <a:gdLst/>
              <a:ahLst/>
              <a:cxnLst/>
              <a:rect l="l" t="t" r="r" b="b"/>
              <a:pathLst>
                <a:path w="1292" h="2284" fill="none" extrusionOk="0">
                  <a:moveTo>
                    <a:pt x="1291" y="0"/>
                  </a:moveTo>
                  <a:lnTo>
                    <a:pt x="1291" y="0"/>
                  </a:lnTo>
                  <a:lnTo>
                    <a:pt x="894" y="795"/>
                  </a:lnTo>
                  <a:lnTo>
                    <a:pt x="696" y="1092"/>
                  </a:lnTo>
                  <a:lnTo>
                    <a:pt x="497" y="1390"/>
                  </a:lnTo>
                  <a:lnTo>
                    <a:pt x="249" y="1638"/>
                  </a:lnTo>
                  <a:lnTo>
                    <a:pt x="1" y="1887"/>
                  </a:lnTo>
                  <a:lnTo>
                    <a:pt x="1" y="1887"/>
                  </a:lnTo>
                  <a:lnTo>
                    <a:pt x="1" y="2284"/>
                  </a:lnTo>
                  <a:lnTo>
                    <a:pt x="1" y="2284"/>
                  </a:lnTo>
                  <a:lnTo>
                    <a:pt x="1" y="2284"/>
                  </a:lnTo>
                  <a:lnTo>
                    <a:pt x="1" y="2284"/>
                  </a:lnTo>
                  <a:lnTo>
                    <a:pt x="1" y="2284"/>
                  </a:lnTo>
                  <a:lnTo>
                    <a:pt x="1" y="2284"/>
                  </a:lnTo>
                  <a:lnTo>
                    <a:pt x="249" y="2135"/>
                  </a:lnTo>
                  <a:lnTo>
                    <a:pt x="448" y="1936"/>
                  </a:lnTo>
                  <a:lnTo>
                    <a:pt x="448" y="1936"/>
                  </a:lnTo>
                  <a:lnTo>
                    <a:pt x="596" y="1688"/>
                  </a:lnTo>
                  <a:lnTo>
                    <a:pt x="795" y="1440"/>
                  </a:lnTo>
                  <a:lnTo>
                    <a:pt x="1043" y="844"/>
                  </a:lnTo>
                  <a:lnTo>
                    <a:pt x="1192" y="348"/>
                  </a:lnTo>
                  <a:lnTo>
                    <a:pt x="1291" y="0"/>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46" name="Google Shape;12859;p79">
              <a:extLst>
                <a:ext uri="{FF2B5EF4-FFF2-40B4-BE49-F238E27FC236}">
                  <a16:creationId xmlns:a16="http://schemas.microsoft.com/office/drawing/2014/main" id="{5B6A38FE-E948-ECA9-89A8-27E585A8546A}"/>
                </a:ext>
              </a:extLst>
            </p:cNvPr>
            <p:cNvSpPr/>
            <p:nvPr/>
          </p:nvSpPr>
          <p:spPr>
            <a:xfrm>
              <a:off x="5893284" y="4227248"/>
              <a:ext cx="34016" cy="16781"/>
            </a:xfrm>
            <a:custGeom>
              <a:avLst/>
              <a:gdLst/>
              <a:ahLst/>
              <a:cxnLst/>
              <a:rect l="l" t="t" r="r" b="b"/>
              <a:pathLst>
                <a:path w="3525" h="1739" extrusionOk="0">
                  <a:moveTo>
                    <a:pt x="3525" y="1"/>
                  </a:moveTo>
                  <a:lnTo>
                    <a:pt x="3177" y="199"/>
                  </a:lnTo>
                  <a:lnTo>
                    <a:pt x="2879" y="299"/>
                  </a:lnTo>
                  <a:lnTo>
                    <a:pt x="2482" y="398"/>
                  </a:lnTo>
                  <a:lnTo>
                    <a:pt x="1638" y="596"/>
                  </a:lnTo>
                  <a:lnTo>
                    <a:pt x="794" y="745"/>
                  </a:lnTo>
                  <a:lnTo>
                    <a:pt x="0" y="894"/>
                  </a:lnTo>
                  <a:lnTo>
                    <a:pt x="50" y="1738"/>
                  </a:lnTo>
                  <a:lnTo>
                    <a:pt x="844" y="1490"/>
                  </a:lnTo>
                  <a:lnTo>
                    <a:pt x="1787" y="1142"/>
                  </a:lnTo>
                  <a:lnTo>
                    <a:pt x="3326" y="497"/>
                  </a:lnTo>
                  <a:lnTo>
                    <a:pt x="3525" y="398"/>
                  </a:lnTo>
                  <a:lnTo>
                    <a:pt x="3525" y="1"/>
                  </a:lnTo>
                  <a:close/>
                </a:path>
              </a:pathLst>
            </a:custGeom>
            <a:solidFill>
              <a:srgbClr val="D04A02"/>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47" name="Google Shape;12860;p79">
              <a:extLst>
                <a:ext uri="{FF2B5EF4-FFF2-40B4-BE49-F238E27FC236}">
                  <a16:creationId xmlns:a16="http://schemas.microsoft.com/office/drawing/2014/main" id="{D6604637-3B94-9ACD-13E3-81C24A19AC30}"/>
                </a:ext>
              </a:extLst>
            </p:cNvPr>
            <p:cNvSpPr/>
            <p:nvPr/>
          </p:nvSpPr>
          <p:spPr>
            <a:xfrm>
              <a:off x="5893284" y="4227248"/>
              <a:ext cx="34016" cy="16781"/>
            </a:xfrm>
            <a:custGeom>
              <a:avLst/>
              <a:gdLst/>
              <a:ahLst/>
              <a:cxnLst/>
              <a:rect l="l" t="t" r="r" b="b"/>
              <a:pathLst>
                <a:path w="3525" h="1739" fill="none" extrusionOk="0">
                  <a:moveTo>
                    <a:pt x="3326" y="497"/>
                  </a:moveTo>
                  <a:lnTo>
                    <a:pt x="3326" y="497"/>
                  </a:lnTo>
                  <a:lnTo>
                    <a:pt x="3525" y="398"/>
                  </a:lnTo>
                  <a:lnTo>
                    <a:pt x="3525" y="398"/>
                  </a:lnTo>
                  <a:lnTo>
                    <a:pt x="3525" y="1"/>
                  </a:lnTo>
                  <a:lnTo>
                    <a:pt x="3525" y="1"/>
                  </a:lnTo>
                  <a:lnTo>
                    <a:pt x="3177" y="199"/>
                  </a:lnTo>
                  <a:lnTo>
                    <a:pt x="3177" y="199"/>
                  </a:lnTo>
                  <a:lnTo>
                    <a:pt x="2879" y="299"/>
                  </a:lnTo>
                  <a:lnTo>
                    <a:pt x="2482" y="398"/>
                  </a:lnTo>
                  <a:lnTo>
                    <a:pt x="1638" y="596"/>
                  </a:lnTo>
                  <a:lnTo>
                    <a:pt x="794" y="745"/>
                  </a:lnTo>
                  <a:lnTo>
                    <a:pt x="0" y="894"/>
                  </a:lnTo>
                  <a:lnTo>
                    <a:pt x="0" y="894"/>
                  </a:lnTo>
                  <a:lnTo>
                    <a:pt x="50" y="1738"/>
                  </a:lnTo>
                  <a:lnTo>
                    <a:pt x="50" y="1738"/>
                  </a:lnTo>
                  <a:lnTo>
                    <a:pt x="844" y="1490"/>
                  </a:lnTo>
                  <a:lnTo>
                    <a:pt x="1787" y="1142"/>
                  </a:lnTo>
                  <a:lnTo>
                    <a:pt x="3326" y="497"/>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48" name="Google Shape;12861;p79">
              <a:extLst>
                <a:ext uri="{FF2B5EF4-FFF2-40B4-BE49-F238E27FC236}">
                  <a16:creationId xmlns:a16="http://schemas.microsoft.com/office/drawing/2014/main" id="{AD9ABB7F-3842-A5E7-99B2-31C7F70ACB50}"/>
                </a:ext>
              </a:extLst>
            </p:cNvPr>
            <p:cNvSpPr/>
            <p:nvPr/>
          </p:nvSpPr>
          <p:spPr>
            <a:xfrm>
              <a:off x="5893284" y="4227248"/>
              <a:ext cx="34016" cy="16781"/>
            </a:xfrm>
            <a:custGeom>
              <a:avLst/>
              <a:gdLst/>
              <a:ahLst/>
              <a:cxnLst/>
              <a:rect l="l" t="t" r="r" b="b"/>
              <a:pathLst>
                <a:path w="3525" h="1739" extrusionOk="0">
                  <a:moveTo>
                    <a:pt x="3525" y="1"/>
                  </a:moveTo>
                  <a:lnTo>
                    <a:pt x="3177" y="199"/>
                  </a:lnTo>
                  <a:lnTo>
                    <a:pt x="2879" y="299"/>
                  </a:lnTo>
                  <a:lnTo>
                    <a:pt x="2482" y="398"/>
                  </a:lnTo>
                  <a:lnTo>
                    <a:pt x="1638" y="596"/>
                  </a:lnTo>
                  <a:lnTo>
                    <a:pt x="794" y="745"/>
                  </a:lnTo>
                  <a:lnTo>
                    <a:pt x="0" y="894"/>
                  </a:lnTo>
                  <a:lnTo>
                    <a:pt x="50" y="1738"/>
                  </a:lnTo>
                  <a:lnTo>
                    <a:pt x="844" y="1490"/>
                  </a:lnTo>
                  <a:lnTo>
                    <a:pt x="1787" y="1142"/>
                  </a:lnTo>
                  <a:lnTo>
                    <a:pt x="3326" y="497"/>
                  </a:lnTo>
                  <a:lnTo>
                    <a:pt x="3525" y="398"/>
                  </a:lnTo>
                  <a:lnTo>
                    <a:pt x="3525" y="1"/>
                  </a:lnTo>
                  <a:close/>
                </a:path>
              </a:pathLst>
            </a:custGeom>
            <a:solidFill>
              <a:srgbClr val="A6401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49" name="Google Shape;12862;p79">
              <a:extLst>
                <a:ext uri="{FF2B5EF4-FFF2-40B4-BE49-F238E27FC236}">
                  <a16:creationId xmlns:a16="http://schemas.microsoft.com/office/drawing/2014/main" id="{A5C9D72C-B272-F912-9B5D-E51A7D13B59E}"/>
                </a:ext>
              </a:extLst>
            </p:cNvPr>
            <p:cNvSpPr/>
            <p:nvPr/>
          </p:nvSpPr>
          <p:spPr>
            <a:xfrm>
              <a:off x="5893284" y="4227248"/>
              <a:ext cx="34016" cy="16781"/>
            </a:xfrm>
            <a:custGeom>
              <a:avLst/>
              <a:gdLst/>
              <a:ahLst/>
              <a:cxnLst/>
              <a:rect l="l" t="t" r="r" b="b"/>
              <a:pathLst>
                <a:path w="3525" h="1739" fill="none" extrusionOk="0">
                  <a:moveTo>
                    <a:pt x="3525" y="1"/>
                  </a:moveTo>
                  <a:lnTo>
                    <a:pt x="3525" y="1"/>
                  </a:lnTo>
                  <a:lnTo>
                    <a:pt x="3177" y="199"/>
                  </a:lnTo>
                  <a:lnTo>
                    <a:pt x="3177" y="199"/>
                  </a:lnTo>
                  <a:lnTo>
                    <a:pt x="2879" y="299"/>
                  </a:lnTo>
                  <a:lnTo>
                    <a:pt x="2482" y="398"/>
                  </a:lnTo>
                  <a:lnTo>
                    <a:pt x="1638" y="596"/>
                  </a:lnTo>
                  <a:lnTo>
                    <a:pt x="794" y="745"/>
                  </a:lnTo>
                  <a:lnTo>
                    <a:pt x="0" y="894"/>
                  </a:lnTo>
                  <a:lnTo>
                    <a:pt x="0" y="894"/>
                  </a:lnTo>
                  <a:lnTo>
                    <a:pt x="50" y="1738"/>
                  </a:lnTo>
                  <a:lnTo>
                    <a:pt x="50" y="1738"/>
                  </a:lnTo>
                  <a:lnTo>
                    <a:pt x="844" y="1490"/>
                  </a:lnTo>
                  <a:lnTo>
                    <a:pt x="1787" y="1142"/>
                  </a:lnTo>
                  <a:lnTo>
                    <a:pt x="3326" y="497"/>
                  </a:lnTo>
                  <a:lnTo>
                    <a:pt x="3326" y="497"/>
                  </a:lnTo>
                  <a:lnTo>
                    <a:pt x="3525" y="398"/>
                  </a:lnTo>
                  <a:lnTo>
                    <a:pt x="3525" y="398"/>
                  </a:lnTo>
                  <a:lnTo>
                    <a:pt x="3525" y="1"/>
                  </a:lnTo>
                  <a:lnTo>
                    <a:pt x="3525" y="1"/>
                  </a:lnTo>
                </a:path>
              </a:pathLst>
            </a:custGeom>
            <a:no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sp>
          <p:nvSpPr>
            <p:cNvPr id="350" name="Google Shape;12863;p79">
              <a:extLst>
                <a:ext uri="{FF2B5EF4-FFF2-40B4-BE49-F238E27FC236}">
                  <a16:creationId xmlns:a16="http://schemas.microsoft.com/office/drawing/2014/main" id="{564469B6-F7A3-BF61-5175-80E43D3E20FF}"/>
                </a:ext>
              </a:extLst>
            </p:cNvPr>
            <p:cNvSpPr/>
            <p:nvPr/>
          </p:nvSpPr>
          <p:spPr>
            <a:xfrm>
              <a:off x="5809445" y="4202342"/>
              <a:ext cx="133662" cy="73301"/>
            </a:xfrm>
            <a:custGeom>
              <a:avLst/>
              <a:gdLst/>
              <a:ahLst/>
              <a:cxnLst/>
              <a:rect l="l" t="t" r="r" b="b"/>
              <a:pathLst>
                <a:path w="13851" h="7596" extrusionOk="0">
                  <a:moveTo>
                    <a:pt x="13553" y="0"/>
                  </a:moveTo>
                  <a:lnTo>
                    <a:pt x="13355" y="50"/>
                  </a:lnTo>
                  <a:lnTo>
                    <a:pt x="13255" y="99"/>
                  </a:lnTo>
                  <a:lnTo>
                    <a:pt x="13206" y="149"/>
                  </a:lnTo>
                  <a:lnTo>
                    <a:pt x="13106" y="348"/>
                  </a:lnTo>
                  <a:lnTo>
                    <a:pt x="13106" y="397"/>
                  </a:lnTo>
                  <a:lnTo>
                    <a:pt x="12709" y="993"/>
                  </a:lnTo>
                  <a:lnTo>
                    <a:pt x="12461" y="1341"/>
                  </a:lnTo>
                  <a:lnTo>
                    <a:pt x="12163" y="1638"/>
                  </a:lnTo>
                  <a:lnTo>
                    <a:pt x="11865" y="1837"/>
                  </a:lnTo>
                  <a:lnTo>
                    <a:pt x="11518" y="2036"/>
                  </a:lnTo>
                  <a:lnTo>
                    <a:pt x="11269" y="2135"/>
                  </a:lnTo>
                  <a:lnTo>
                    <a:pt x="10972" y="2185"/>
                  </a:lnTo>
                  <a:lnTo>
                    <a:pt x="10227" y="2234"/>
                  </a:lnTo>
                  <a:lnTo>
                    <a:pt x="9383" y="2234"/>
                  </a:lnTo>
                  <a:lnTo>
                    <a:pt x="8539" y="2284"/>
                  </a:lnTo>
                  <a:lnTo>
                    <a:pt x="7943" y="2433"/>
                  </a:lnTo>
                  <a:lnTo>
                    <a:pt x="7695" y="2482"/>
                  </a:lnTo>
                  <a:lnTo>
                    <a:pt x="7497" y="2631"/>
                  </a:lnTo>
                  <a:lnTo>
                    <a:pt x="7099" y="2880"/>
                  </a:lnTo>
                  <a:lnTo>
                    <a:pt x="6851" y="3227"/>
                  </a:lnTo>
                  <a:lnTo>
                    <a:pt x="6355" y="3922"/>
                  </a:lnTo>
                  <a:lnTo>
                    <a:pt x="6107" y="4319"/>
                  </a:lnTo>
                  <a:lnTo>
                    <a:pt x="5759" y="4716"/>
                  </a:lnTo>
                  <a:lnTo>
                    <a:pt x="5362" y="5064"/>
                  </a:lnTo>
                  <a:lnTo>
                    <a:pt x="4816" y="5411"/>
                  </a:lnTo>
                  <a:lnTo>
                    <a:pt x="4220" y="5660"/>
                  </a:lnTo>
                  <a:lnTo>
                    <a:pt x="3575" y="5908"/>
                  </a:lnTo>
                  <a:lnTo>
                    <a:pt x="2929" y="6057"/>
                  </a:lnTo>
                  <a:lnTo>
                    <a:pt x="2334" y="6156"/>
                  </a:lnTo>
                  <a:lnTo>
                    <a:pt x="1291" y="6255"/>
                  </a:lnTo>
                  <a:lnTo>
                    <a:pt x="894" y="6355"/>
                  </a:lnTo>
                  <a:lnTo>
                    <a:pt x="646" y="6404"/>
                  </a:lnTo>
                  <a:lnTo>
                    <a:pt x="348" y="6603"/>
                  </a:lnTo>
                  <a:lnTo>
                    <a:pt x="149" y="6801"/>
                  </a:lnTo>
                  <a:lnTo>
                    <a:pt x="0" y="6950"/>
                  </a:lnTo>
                  <a:lnTo>
                    <a:pt x="0" y="7050"/>
                  </a:lnTo>
                  <a:lnTo>
                    <a:pt x="0" y="7099"/>
                  </a:lnTo>
                  <a:lnTo>
                    <a:pt x="149" y="7248"/>
                  </a:lnTo>
                  <a:lnTo>
                    <a:pt x="348" y="7397"/>
                  </a:lnTo>
                  <a:lnTo>
                    <a:pt x="596" y="7546"/>
                  </a:lnTo>
                  <a:lnTo>
                    <a:pt x="894" y="7596"/>
                  </a:lnTo>
                  <a:lnTo>
                    <a:pt x="1142" y="7546"/>
                  </a:lnTo>
                  <a:lnTo>
                    <a:pt x="1639" y="7447"/>
                  </a:lnTo>
                  <a:lnTo>
                    <a:pt x="2929" y="7149"/>
                  </a:lnTo>
                  <a:lnTo>
                    <a:pt x="4270" y="6702"/>
                  </a:lnTo>
                  <a:lnTo>
                    <a:pt x="4865" y="6553"/>
                  </a:lnTo>
                  <a:lnTo>
                    <a:pt x="5263" y="6355"/>
                  </a:lnTo>
                  <a:lnTo>
                    <a:pt x="5709" y="6057"/>
                  </a:lnTo>
                  <a:lnTo>
                    <a:pt x="6107" y="5709"/>
                  </a:lnTo>
                  <a:lnTo>
                    <a:pt x="6454" y="5312"/>
                  </a:lnTo>
                  <a:lnTo>
                    <a:pt x="6802" y="4915"/>
                  </a:lnTo>
                  <a:lnTo>
                    <a:pt x="7447" y="4170"/>
                  </a:lnTo>
                  <a:lnTo>
                    <a:pt x="7745" y="3872"/>
                  </a:lnTo>
                  <a:lnTo>
                    <a:pt x="8043" y="3674"/>
                  </a:lnTo>
                  <a:lnTo>
                    <a:pt x="8638" y="3475"/>
                  </a:lnTo>
                  <a:lnTo>
                    <a:pt x="8688" y="3475"/>
                  </a:lnTo>
                  <a:lnTo>
                    <a:pt x="9482" y="3326"/>
                  </a:lnTo>
                  <a:lnTo>
                    <a:pt x="10326" y="3177"/>
                  </a:lnTo>
                  <a:lnTo>
                    <a:pt x="11170" y="2979"/>
                  </a:lnTo>
                  <a:lnTo>
                    <a:pt x="11567" y="2880"/>
                  </a:lnTo>
                  <a:lnTo>
                    <a:pt x="11865" y="2780"/>
                  </a:lnTo>
                  <a:lnTo>
                    <a:pt x="12213" y="2582"/>
                  </a:lnTo>
                  <a:lnTo>
                    <a:pt x="12461" y="2333"/>
                  </a:lnTo>
                  <a:lnTo>
                    <a:pt x="12709" y="2085"/>
                  </a:lnTo>
                  <a:lnTo>
                    <a:pt x="12908" y="1787"/>
                  </a:lnTo>
                  <a:lnTo>
                    <a:pt x="13106" y="1490"/>
                  </a:lnTo>
                  <a:lnTo>
                    <a:pt x="13503" y="695"/>
                  </a:lnTo>
                  <a:lnTo>
                    <a:pt x="13503" y="646"/>
                  </a:lnTo>
                  <a:lnTo>
                    <a:pt x="13652" y="695"/>
                  </a:lnTo>
                  <a:lnTo>
                    <a:pt x="13801" y="596"/>
                  </a:lnTo>
                  <a:lnTo>
                    <a:pt x="13851" y="546"/>
                  </a:lnTo>
                  <a:lnTo>
                    <a:pt x="13851" y="497"/>
                  </a:lnTo>
                  <a:lnTo>
                    <a:pt x="13851" y="298"/>
                  </a:lnTo>
                  <a:lnTo>
                    <a:pt x="13801" y="248"/>
                  </a:lnTo>
                  <a:lnTo>
                    <a:pt x="13752" y="149"/>
                  </a:lnTo>
                  <a:lnTo>
                    <a:pt x="13652" y="50"/>
                  </a:lnTo>
                  <a:lnTo>
                    <a:pt x="13553" y="0"/>
                  </a:lnTo>
                  <a:close/>
                </a:path>
              </a:pathLst>
            </a:custGeom>
            <a:solidFill>
              <a:srgbClr val="FFB600"/>
            </a:solidFill>
            <a:ln>
              <a:noFill/>
            </a:ln>
          </p:spPr>
          <p:txBody>
            <a:bodyPr spcFirstLastPara="1" wrap="square" lIns="91425" tIns="91425" rIns="91425" bIns="91425" anchor="ctr" anchorCtr="0">
              <a:noAutofit/>
            </a:bodyPr>
            <a:lstStyle/>
            <a:p>
              <a:pPr>
                <a:buClr>
                  <a:srgbClr val="000000"/>
                </a:buClr>
                <a:buFont typeface="Arial"/>
                <a:buNone/>
              </a:pPr>
              <a:endParaRPr lang="nb-NO" sz="1400" kern="0">
                <a:solidFill>
                  <a:srgbClr val="000000"/>
                </a:solidFill>
                <a:latin typeface="Arial"/>
                <a:cs typeface="Arial"/>
                <a:sym typeface="Arial"/>
              </a:endParaRPr>
            </a:p>
          </p:txBody>
        </p:sp>
      </p:grpSp>
      <p:sp>
        <p:nvSpPr>
          <p:cNvPr id="7" name="TextBox 6">
            <a:extLst>
              <a:ext uri="{FF2B5EF4-FFF2-40B4-BE49-F238E27FC236}">
                <a16:creationId xmlns:a16="http://schemas.microsoft.com/office/drawing/2014/main" id="{F6FBDF05-8933-20D1-B2B5-9F01BDB748AE}"/>
              </a:ext>
            </a:extLst>
          </p:cNvPr>
          <p:cNvSpPr txBox="1"/>
          <p:nvPr/>
        </p:nvSpPr>
        <p:spPr>
          <a:xfrm>
            <a:off x="2863058" y="1690113"/>
            <a:ext cx="3790226" cy="4678204"/>
          </a:xfrm>
          <a:prstGeom prst="rect">
            <a:avLst/>
          </a:prstGeom>
          <a:noFill/>
        </p:spPr>
        <p:txBody>
          <a:bodyPr wrap="square" rtlCol="0">
            <a:spAutoFit/>
          </a:bodyPr>
          <a:lstStyle/>
          <a:p>
            <a:pPr>
              <a:buClr>
                <a:srgbClr val="000000"/>
              </a:buClr>
              <a:buFont typeface="Arial"/>
              <a:buNone/>
            </a:pPr>
            <a:r>
              <a:rPr lang="nb-NO" sz="1100" b="1">
                <a:solidFill>
                  <a:schemeClr val="dk1"/>
                </a:solidFill>
                <a:sym typeface="Arial"/>
              </a:rPr>
              <a:t>Konsept - Bygge en og en komponent på nytt</a:t>
            </a:r>
          </a:p>
          <a:p>
            <a:pPr>
              <a:buClr>
                <a:srgbClr val="000000"/>
              </a:buClr>
              <a:buFont typeface="Arial"/>
              <a:buNone/>
            </a:pPr>
            <a:endParaRPr lang="nb-NO" sz="1100">
              <a:solidFill>
                <a:schemeClr val="dk1"/>
              </a:solidFill>
              <a:sym typeface="Arial"/>
            </a:endParaRPr>
          </a:p>
          <a:p>
            <a:pPr>
              <a:buClr>
                <a:srgbClr val="000000"/>
              </a:buClr>
              <a:buFont typeface="Arial"/>
              <a:buNone/>
            </a:pPr>
            <a:r>
              <a:rPr lang="nb-NO" sz="1100">
                <a:solidFill>
                  <a:schemeClr val="dk1"/>
                </a:solidFill>
                <a:sym typeface="Arial"/>
              </a:rPr>
              <a:t>Ved å bygge en og en komponent på ny arkitektur og ta i bruk disse etterhvert som de ferdigstilles så realiseres gevinstene som ved å bygge nytt. Det vil si at en slik tilnærming på sikt fristiller brukerne av systemet og Novari IKS fra teknisk gjeld, utdatert teknologi og arbeidsmetoder. De nye komponentene vil være koblet mot sentralbasen til siste komponent er ferdig utviklet. Da vil koblingen kun benyttes mot historiske data ved behov og i praksis er et helt nytt VIGO system ferdigstilt. </a:t>
            </a:r>
          </a:p>
          <a:p>
            <a:pPr>
              <a:buClr>
                <a:srgbClr val="000000"/>
              </a:buClr>
              <a:buFont typeface="Arial"/>
              <a:buNone/>
            </a:pPr>
            <a:endParaRPr lang="nb-NO" sz="1100">
              <a:solidFill>
                <a:schemeClr val="dk1"/>
              </a:solidFill>
              <a:sym typeface="Arial"/>
            </a:endParaRPr>
          </a:p>
          <a:p>
            <a:pPr>
              <a:buClr>
                <a:srgbClr val="000000"/>
              </a:buClr>
              <a:buFont typeface="Arial"/>
              <a:buNone/>
            </a:pPr>
            <a:r>
              <a:rPr lang="nb-NO" sz="1100">
                <a:solidFill>
                  <a:schemeClr val="dk1"/>
                </a:solidFill>
                <a:sym typeface="Arial"/>
              </a:rPr>
              <a:t>Det åpner opp for å utforske muligheten til å benytte andre </a:t>
            </a:r>
          </a:p>
          <a:p>
            <a:pPr>
              <a:buClr>
                <a:srgbClr val="000000"/>
              </a:buClr>
              <a:buFont typeface="Arial"/>
              <a:buNone/>
            </a:pPr>
            <a:r>
              <a:rPr lang="nb-NO" sz="1100">
                <a:solidFill>
                  <a:schemeClr val="dk1"/>
                </a:solidFill>
                <a:sym typeface="Arial"/>
              </a:rPr>
              <a:t>leverandører på markedet til moderniseringen. Det gir </a:t>
            </a:r>
          </a:p>
          <a:p>
            <a:pPr>
              <a:buClr>
                <a:srgbClr val="000000"/>
              </a:buClr>
              <a:buFont typeface="Arial"/>
              <a:buNone/>
            </a:pPr>
            <a:r>
              <a:rPr lang="nb-NO" sz="1100">
                <a:solidFill>
                  <a:schemeClr val="dk1"/>
                </a:solidFill>
                <a:sym typeface="Arial"/>
              </a:rPr>
              <a:t>muligheten til å se på brukerbehovene helt på nytt og </a:t>
            </a:r>
          </a:p>
          <a:p>
            <a:pPr>
              <a:buClr>
                <a:srgbClr val="000000"/>
              </a:buClr>
              <a:buFont typeface="Arial"/>
              <a:buNone/>
            </a:pPr>
            <a:r>
              <a:rPr lang="nb-NO" sz="1100">
                <a:solidFill>
                  <a:schemeClr val="dk1"/>
                </a:solidFill>
                <a:sym typeface="Arial"/>
              </a:rPr>
              <a:t>tegne opp nye brukerreiser for de ulike tjenestene som </a:t>
            </a:r>
          </a:p>
          <a:p>
            <a:pPr>
              <a:buClr>
                <a:srgbClr val="000000"/>
              </a:buClr>
              <a:buFont typeface="Arial"/>
              <a:buNone/>
            </a:pPr>
            <a:r>
              <a:rPr lang="nb-NO" sz="1100">
                <a:solidFill>
                  <a:schemeClr val="dk1"/>
                </a:solidFill>
                <a:sym typeface="Arial"/>
              </a:rPr>
              <a:t>utføres ved hjelp av systemet. </a:t>
            </a:r>
          </a:p>
          <a:p>
            <a:pPr>
              <a:buClr>
                <a:srgbClr val="000000"/>
              </a:buClr>
              <a:buFont typeface="Arial"/>
              <a:buNone/>
            </a:pPr>
            <a:endParaRPr lang="nb-NO" sz="1100">
              <a:solidFill>
                <a:schemeClr val="dk1"/>
              </a:solidFill>
              <a:sym typeface="Arial"/>
            </a:endParaRPr>
          </a:p>
          <a:p>
            <a:pPr>
              <a:buClr>
                <a:srgbClr val="000000"/>
              </a:buClr>
              <a:buFont typeface="Arial"/>
              <a:buNone/>
            </a:pPr>
            <a:r>
              <a:rPr lang="nb-NO" sz="1100">
                <a:solidFill>
                  <a:schemeClr val="dk1"/>
                </a:solidFill>
                <a:sym typeface="Arial"/>
              </a:rPr>
              <a:t>Det åpner opp muligheten til å fokusere på data i </a:t>
            </a:r>
          </a:p>
          <a:p>
            <a:pPr>
              <a:buClr>
                <a:srgbClr val="000000"/>
              </a:buClr>
              <a:buFont typeface="Arial"/>
              <a:buNone/>
            </a:pPr>
            <a:r>
              <a:rPr lang="nb-NO" sz="1100">
                <a:solidFill>
                  <a:schemeClr val="dk1"/>
                </a:solidFill>
                <a:sym typeface="Arial"/>
              </a:rPr>
              <a:t>systemet fremfor applikasjoner. Det gir enklere mulighet </a:t>
            </a:r>
          </a:p>
          <a:p>
            <a:pPr>
              <a:buClr>
                <a:srgbClr val="000000"/>
              </a:buClr>
              <a:buFont typeface="Arial"/>
              <a:buNone/>
            </a:pPr>
            <a:r>
              <a:rPr lang="nb-NO" sz="1100">
                <a:solidFill>
                  <a:schemeClr val="dk1"/>
                </a:solidFill>
                <a:sym typeface="Arial"/>
              </a:rPr>
              <a:t>til å åpne mer opp for at eksterne leverandører kan </a:t>
            </a:r>
          </a:p>
          <a:p>
            <a:pPr>
              <a:buClr>
                <a:srgbClr val="000000"/>
              </a:buClr>
              <a:buFont typeface="Arial"/>
              <a:buNone/>
            </a:pPr>
            <a:r>
              <a:rPr lang="nb-NO" sz="1100">
                <a:solidFill>
                  <a:schemeClr val="dk1"/>
                </a:solidFill>
                <a:sym typeface="Arial"/>
              </a:rPr>
              <a:t>løse behovene til utvalgte tjenester.</a:t>
            </a:r>
          </a:p>
          <a:p>
            <a:pPr>
              <a:buClr>
                <a:srgbClr val="000000"/>
              </a:buClr>
              <a:buFont typeface="Arial"/>
              <a:buNone/>
            </a:pPr>
            <a:endParaRPr lang="nb-NO" sz="1200" kern="0">
              <a:solidFill>
                <a:srgbClr val="44546A"/>
              </a:solidFill>
              <a:latin typeface="Arial"/>
              <a:cs typeface="Arial"/>
              <a:sym typeface="Arial"/>
            </a:endParaRPr>
          </a:p>
        </p:txBody>
      </p:sp>
      <p:sp>
        <p:nvSpPr>
          <p:cNvPr id="355" name="Google Shape;9938;p638">
            <a:extLst>
              <a:ext uri="{FF2B5EF4-FFF2-40B4-BE49-F238E27FC236}">
                <a16:creationId xmlns:a16="http://schemas.microsoft.com/office/drawing/2014/main" id="{5EFD6BA3-3D16-96E0-155F-EE2F826CB644}"/>
              </a:ext>
            </a:extLst>
          </p:cNvPr>
          <p:cNvSpPr txBox="1"/>
          <p:nvPr/>
        </p:nvSpPr>
        <p:spPr>
          <a:xfrm>
            <a:off x="7970862" y="1419566"/>
            <a:ext cx="3766031" cy="4250415"/>
          </a:xfrm>
          <a:prstGeom prst="rect">
            <a:avLst/>
          </a:prstGeom>
          <a:solidFill>
            <a:schemeClr val="bg2"/>
          </a:solidFill>
          <a:ln>
            <a:noFill/>
          </a:ln>
        </p:spPr>
        <p:txBody>
          <a:bodyPr spcFirstLastPara="1" wrap="square" lIns="121900" tIns="121900" rIns="121900" bIns="121900" anchor="t" anchorCtr="0">
            <a:noAutofit/>
          </a:bodyPr>
          <a:lstStyle/>
          <a:p>
            <a:pPr>
              <a:buClr>
                <a:srgbClr val="000000"/>
              </a:buClr>
              <a:buSzPts val="1900"/>
              <a:buFont typeface="Arial"/>
              <a:buNone/>
            </a:pPr>
            <a:endParaRPr lang="nb-NO" sz="1900" kern="0">
              <a:solidFill>
                <a:srgbClr val="000000"/>
              </a:solidFill>
              <a:latin typeface="Arial"/>
              <a:ea typeface="Arial"/>
              <a:cs typeface="Arial"/>
              <a:sym typeface="Arial"/>
            </a:endParaRPr>
          </a:p>
        </p:txBody>
      </p:sp>
      <p:sp>
        <p:nvSpPr>
          <p:cNvPr id="353" name="TekstSylinder 352">
            <a:extLst>
              <a:ext uri="{FF2B5EF4-FFF2-40B4-BE49-F238E27FC236}">
                <a16:creationId xmlns:a16="http://schemas.microsoft.com/office/drawing/2014/main" id="{FAEF4657-CA95-A17D-3B35-6D2E8714CB7A}"/>
              </a:ext>
            </a:extLst>
          </p:cNvPr>
          <p:cNvSpPr txBox="1"/>
          <p:nvPr/>
        </p:nvSpPr>
        <p:spPr>
          <a:xfrm>
            <a:off x="8070081" y="1727343"/>
            <a:ext cx="3428545" cy="3893374"/>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pPr>
              <a:buNone/>
            </a:pPr>
            <a:r>
              <a:rPr lang="nb-NO" sz="1100" b="1"/>
              <a:t>Konseptevaluering</a:t>
            </a:r>
            <a:r>
              <a:rPr lang="nb-NO" sz="1100"/>
              <a:t> </a:t>
            </a:r>
          </a:p>
          <a:p>
            <a:pPr>
              <a:buNone/>
            </a:pPr>
            <a:endParaRPr lang="nb-NO" sz="1100"/>
          </a:p>
          <a:p>
            <a:pPr>
              <a:buNone/>
            </a:pPr>
            <a:r>
              <a:rPr lang="nb-NO" sz="1100"/>
              <a:t>Vi har evaluert flere konsepter og valgt å gå videre med </a:t>
            </a:r>
            <a:r>
              <a:rPr lang="nb-NO" sz="1100" b="1"/>
              <a:t>Konsept : Bygge en og en komponent på nytt </a:t>
            </a:r>
            <a:r>
              <a:rPr lang="nb-NO" sz="1100"/>
              <a:t>som vårt foreløpige konseptvalg. Dette valget er basert på et ønske om å redusere risiko og kompleksitet, samtidig som vi unngår en fullstendig overgang til et nytt system på én gang.</a:t>
            </a:r>
          </a:p>
          <a:p>
            <a:pPr>
              <a:buNone/>
            </a:pPr>
            <a:endParaRPr lang="nb-NO" sz="1100"/>
          </a:p>
          <a:p>
            <a:pPr>
              <a:buNone/>
            </a:pPr>
            <a:r>
              <a:rPr lang="nb-NO" sz="1100"/>
              <a:t>Vår tilnærming er </a:t>
            </a:r>
            <a:r>
              <a:rPr lang="nb-NO" sz="1100" b="1"/>
              <a:t>iterativ</a:t>
            </a:r>
            <a:r>
              <a:rPr lang="nb-NO" sz="1100"/>
              <a:t>, der hver modul bygges på en ny arkitektur og tas i bruk trinnvis etter ferdigstillelse. For å realisere dette, må vi analysere hvordan deler av den nye løsningen kan implementeres parallelt med en gradvis utfasing av tilsvarende funksjonalitet i den eksisterende løsningen.</a:t>
            </a:r>
          </a:p>
          <a:p>
            <a:pPr>
              <a:buNone/>
            </a:pPr>
            <a:endParaRPr lang="nb-NO" sz="1100"/>
          </a:p>
          <a:p>
            <a:pPr>
              <a:buNone/>
            </a:pPr>
            <a:r>
              <a:rPr lang="nb-NO" sz="1100"/>
              <a:t>Denne tilnærmingen krever </a:t>
            </a:r>
            <a:r>
              <a:rPr lang="nb-NO" sz="1100" b="1"/>
              <a:t>grundig planlegging og styring</a:t>
            </a:r>
            <a:r>
              <a:rPr lang="nb-NO" sz="1100"/>
              <a:t> av data, prosesser og mennesker for å sikre kontinuitet og integritet i våre tjenester før, under og etter systemimplementeringen.</a:t>
            </a:r>
          </a:p>
          <a:p>
            <a:pPr>
              <a:buNone/>
            </a:pPr>
            <a:endParaRPr lang="nb-NO" sz="1100"/>
          </a:p>
          <a:p>
            <a:r>
              <a:rPr lang="nb-NO" sz="1100"/>
              <a:t>Vi ønsker derfor innspill og forslag til </a:t>
            </a:r>
            <a:r>
              <a:rPr lang="nb-NO" sz="1100" b="1"/>
              <a:t>fremgangsmåte og risikohåndtering</a:t>
            </a:r>
            <a:r>
              <a:rPr lang="nb-NO" sz="1100"/>
              <a:t> for å sikre en vellykket gjennomføring av konseptet.</a:t>
            </a:r>
          </a:p>
        </p:txBody>
      </p:sp>
      <p:sp>
        <p:nvSpPr>
          <p:cNvPr id="356" name="Google Shape;12798;p79">
            <a:extLst>
              <a:ext uri="{FF2B5EF4-FFF2-40B4-BE49-F238E27FC236}">
                <a16:creationId xmlns:a16="http://schemas.microsoft.com/office/drawing/2014/main" id="{306898AC-DFC6-2E27-8355-4C39FE9D1278}"/>
              </a:ext>
            </a:extLst>
          </p:cNvPr>
          <p:cNvSpPr/>
          <p:nvPr/>
        </p:nvSpPr>
        <p:spPr>
          <a:xfrm>
            <a:off x="10198464" y="1152355"/>
            <a:ext cx="1817326" cy="697462"/>
          </a:xfrm>
          <a:custGeom>
            <a:avLst/>
            <a:gdLst/>
            <a:ahLst/>
            <a:cxnLst/>
            <a:rect l="l" t="t" r="r" b="b"/>
            <a:pathLst>
              <a:path w="285750" h="128033" extrusionOk="0">
                <a:moveTo>
                  <a:pt x="95316" y="1"/>
                </a:moveTo>
                <a:lnTo>
                  <a:pt x="85090" y="51"/>
                </a:lnTo>
                <a:lnTo>
                  <a:pt x="73374" y="249"/>
                </a:lnTo>
                <a:lnTo>
                  <a:pt x="61707" y="497"/>
                </a:lnTo>
                <a:lnTo>
                  <a:pt x="51431" y="795"/>
                </a:lnTo>
                <a:lnTo>
                  <a:pt x="23829" y="1788"/>
                </a:lnTo>
                <a:lnTo>
                  <a:pt x="22687" y="1887"/>
                </a:lnTo>
                <a:lnTo>
                  <a:pt x="21595" y="1987"/>
                </a:lnTo>
                <a:lnTo>
                  <a:pt x="20503" y="2185"/>
                </a:lnTo>
                <a:lnTo>
                  <a:pt x="19411" y="2384"/>
                </a:lnTo>
                <a:lnTo>
                  <a:pt x="18319" y="2682"/>
                </a:lnTo>
                <a:lnTo>
                  <a:pt x="17276" y="3029"/>
                </a:lnTo>
                <a:lnTo>
                  <a:pt x="16283" y="3426"/>
                </a:lnTo>
                <a:lnTo>
                  <a:pt x="15241" y="3823"/>
                </a:lnTo>
                <a:lnTo>
                  <a:pt x="14248" y="4320"/>
                </a:lnTo>
                <a:lnTo>
                  <a:pt x="13305" y="4816"/>
                </a:lnTo>
                <a:lnTo>
                  <a:pt x="12361" y="5412"/>
                </a:lnTo>
                <a:lnTo>
                  <a:pt x="11468" y="6008"/>
                </a:lnTo>
                <a:lnTo>
                  <a:pt x="10574" y="6653"/>
                </a:lnTo>
                <a:lnTo>
                  <a:pt x="9730" y="7299"/>
                </a:lnTo>
                <a:lnTo>
                  <a:pt x="8936" y="8043"/>
                </a:lnTo>
                <a:lnTo>
                  <a:pt x="8142" y="8788"/>
                </a:lnTo>
                <a:lnTo>
                  <a:pt x="7347" y="9582"/>
                </a:lnTo>
                <a:lnTo>
                  <a:pt x="6652" y="10426"/>
                </a:lnTo>
                <a:lnTo>
                  <a:pt x="5957" y="11270"/>
                </a:lnTo>
                <a:lnTo>
                  <a:pt x="5312" y="12164"/>
                </a:lnTo>
                <a:lnTo>
                  <a:pt x="4716" y="13057"/>
                </a:lnTo>
                <a:lnTo>
                  <a:pt x="4170" y="14000"/>
                </a:lnTo>
                <a:lnTo>
                  <a:pt x="3674" y="14944"/>
                </a:lnTo>
                <a:lnTo>
                  <a:pt x="3177" y="15937"/>
                </a:lnTo>
                <a:lnTo>
                  <a:pt x="2730" y="16929"/>
                </a:lnTo>
                <a:lnTo>
                  <a:pt x="2383" y="17972"/>
                </a:lnTo>
                <a:lnTo>
                  <a:pt x="2035" y="19014"/>
                </a:lnTo>
                <a:lnTo>
                  <a:pt x="1738" y="20107"/>
                </a:lnTo>
                <a:lnTo>
                  <a:pt x="1539" y="21199"/>
                </a:lnTo>
                <a:lnTo>
                  <a:pt x="1340" y="22291"/>
                </a:lnTo>
                <a:lnTo>
                  <a:pt x="1241" y="23383"/>
                </a:lnTo>
                <a:lnTo>
                  <a:pt x="1142" y="24525"/>
                </a:lnTo>
                <a:lnTo>
                  <a:pt x="50" y="57836"/>
                </a:lnTo>
                <a:lnTo>
                  <a:pt x="0" y="60169"/>
                </a:lnTo>
                <a:lnTo>
                  <a:pt x="50" y="62651"/>
                </a:lnTo>
                <a:lnTo>
                  <a:pt x="149" y="65282"/>
                </a:lnTo>
                <a:lnTo>
                  <a:pt x="298" y="67963"/>
                </a:lnTo>
                <a:lnTo>
                  <a:pt x="546" y="70793"/>
                </a:lnTo>
                <a:lnTo>
                  <a:pt x="844" y="73623"/>
                </a:lnTo>
                <a:lnTo>
                  <a:pt x="1191" y="76502"/>
                </a:lnTo>
                <a:lnTo>
                  <a:pt x="1589" y="79431"/>
                </a:lnTo>
                <a:lnTo>
                  <a:pt x="2035" y="82310"/>
                </a:lnTo>
                <a:lnTo>
                  <a:pt x="2532" y="85189"/>
                </a:lnTo>
                <a:lnTo>
                  <a:pt x="3078" y="88019"/>
                </a:lnTo>
                <a:lnTo>
                  <a:pt x="3674" y="90750"/>
                </a:lnTo>
                <a:lnTo>
                  <a:pt x="4269" y="93381"/>
                </a:lnTo>
                <a:lnTo>
                  <a:pt x="4915" y="95913"/>
                </a:lnTo>
                <a:lnTo>
                  <a:pt x="5610" y="98295"/>
                </a:lnTo>
                <a:lnTo>
                  <a:pt x="6305" y="100529"/>
                </a:lnTo>
                <a:lnTo>
                  <a:pt x="8588" y="107231"/>
                </a:lnTo>
                <a:lnTo>
                  <a:pt x="8936" y="108274"/>
                </a:lnTo>
                <a:lnTo>
                  <a:pt x="9383" y="109316"/>
                </a:lnTo>
                <a:lnTo>
                  <a:pt x="9879" y="110359"/>
                </a:lnTo>
                <a:lnTo>
                  <a:pt x="10425" y="111401"/>
                </a:lnTo>
                <a:lnTo>
                  <a:pt x="11021" y="112394"/>
                </a:lnTo>
                <a:lnTo>
                  <a:pt x="11617" y="113387"/>
                </a:lnTo>
                <a:lnTo>
                  <a:pt x="12312" y="114330"/>
                </a:lnTo>
                <a:lnTo>
                  <a:pt x="13007" y="115274"/>
                </a:lnTo>
                <a:lnTo>
                  <a:pt x="13751" y="116217"/>
                </a:lnTo>
                <a:lnTo>
                  <a:pt x="14546" y="117110"/>
                </a:lnTo>
                <a:lnTo>
                  <a:pt x="15390" y="118004"/>
                </a:lnTo>
                <a:lnTo>
                  <a:pt x="16234" y="118848"/>
                </a:lnTo>
                <a:lnTo>
                  <a:pt x="17127" y="119642"/>
                </a:lnTo>
                <a:lnTo>
                  <a:pt x="18070" y="120437"/>
                </a:lnTo>
                <a:lnTo>
                  <a:pt x="19014" y="121181"/>
                </a:lnTo>
                <a:lnTo>
                  <a:pt x="19957" y="121926"/>
                </a:lnTo>
                <a:lnTo>
                  <a:pt x="20950" y="122571"/>
                </a:lnTo>
                <a:lnTo>
                  <a:pt x="21992" y="123266"/>
                </a:lnTo>
                <a:lnTo>
                  <a:pt x="23035" y="123862"/>
                </a:lnTo>
                <a:lnTo>
                  <a:pt x="24077" y="124458"/>
                </a:lnTo>
                <a:lnTo>
                  <a:pt x="25169" y="125004"/>
                </a:lnTo>
                <a:lnTo>
                  <a:pt x="26212" y="125500"/>
                </a:lnTo>
                <a:lnTo>
                  <a:pt x="27354" y="125947"/>
                </a:lnTo>
                <a:lnTo>
                  <a:pt x="28446" y="126394"/>
                </a:lnTo>
                <a:lnTo>
                  <a:pt x="29588" y="126741"/>
                </a:lnTo>
                <a:lnTo>
                  <a:pt x="30680" y="127089"/>
                </a:lnTo>
                <a:lnTo>
                  <a:pt x="31822" y="127337"/>
                </a:lnTo>
                <a:lnTo>
                  <a:pt x="32964" y="127585"/>
                </a:lnTo>
                <a:lnTo>
                  <a:pt x="34105" y="127784"/>
                </a:lnTo>
                <a:lnTo>
                  <a:pt x="35247" y="127883"/>
                </a:lnTo>
                <a:lnTo>
                  <a:pt x="36389" y="127982"/>
                </a:lnTo>
                <a:lnTo>
                  <a:pt x="37531" y="128032"/>
                </a:lnTo>
                <a:lnTo>
                  <a:pt x="186661" y="128032"/>
                </a:lnTo>
                <a:lnTo>
                  <a:pt x="189044" y="127982"/>
                </a:lnTo>
                <a:lnTo>
                  <a:pt x="191526" y="127933"/>
                </a:lnTo>
                <a:lnTo>
                  <a:pt x="194157" y="127833"/>
                </a:lnTo>
                <a:lnTo>
                  <a:pt x="196888" y="127734"/>
                </a:lnTo>
                <a:lnTo>
                  <a:pt x="202646" y="127387"/>
                </a:lnTo>
                <a:lnTo>
                  <a:pt x="208554" y="126890"/>
                </a:lnTo>
                <a:lnTo>
                  <a:pt x="214412" y="126344"/>
                </a:lnTo>
                <a:lnTo>
                  <a:pt x="220121" y="125699"/>
                </a:lnTo>
                <a:lnTo>
                  <a:pt x="222851" y="125351"/>
                </a:lnTo>
                <a:lnTo>
                  <a:pt x="225433" y="125004"/>
                </a:lnTo>
                <a:lnTo>
                  <a:pt x="227915" y="124607"/>
                </a:lnTo>
                <a:lnTo>
                  <a:pt x="230248" y="124259"/>
                </a:lnTo>
                <a:lnTo>
                  <a:pt x="257999" y="119394"/>
                </a:lnTo>
                <a:lnTo>
                  <a:pt x="259091" y="119195"/>
                </a:lnTo>
                <a:lnTo>
                  <a:pt x="260183" y="118898"/>
                </a:lnTo>
                <a:lnTo>
                  <a:pt x="261276" y="118600"/>
                </a:lnTo>
                <a:lnTo>
                  <a:pt x="262368" y="118203"/>
                </a:lnTo>
                <a:lnTo>
                  <a:pt x="263410" y="117756"/>
                </a:lnTo>
                <a:lnTo>
                  <a:pt x="264453" y="117309"/>
                </a:lnTo>
                <a:lnTo>
                  <a:pt x="265495" y="116763"/>
                </a:lnTo>
                <a:lnTo>
                  <a:pt x="266488" y="116217"/>
                </a:lnTo>
                <a:lnTo>
                  <a:pt x="267481" y="115621"/>
                </a:lnTo>
                <a:lnTo>
                  <a:pt x="268474" y="114976"/>
                </a:lnTo>
                <a:lnTo>
                  <a:pt x="269417" y="114281"/>
                </a:lnTo>
                <a:lnTo>
                  <a:pt x="270311" y="113536"/>
                </a:lnTo>
                <a:lnTo>
                  <a:pt x="271204" y="112791"/>
                </a:lnTo>
                <a:lnTo>
                  <a:pt x="272098" y="111997"/>
                </a:lnTo>
                <a:lnTo>
                  <a:pt x="272942" y="111153"/>
                </a:lnTo>
                <a:lnTo>
                  <a:pt x="273736" y="110309"/>
                </a:lnTo>
                <a:lnTo>
                  <a:pt x="274531" y="109416"/>
                </a:lnTo>
                <a:lnTo>
                  <a:pt x="275226" y="108522"/>
                </a:lnTo>
                <a:lnTo>
                  <a:pt x="275970" y="107579"/>
                </a:lnTo>
                <a:lnTo>
                  <a:pt x="276616" y="106586"/>
                </a:lnTo>
                <a:lnTo>
                  <a:pt x="277261" y="105593"/>
                </a:lnTo>
                <a:lnTo>
                  <a:pt x="277857" y="104600"/>
                </a:lnTo>
                <a:lnTo>
                  <a:pt x="278403" y="103558"/>
                </a:lnTo>
                <a:lnTo>
                  <a:pt x="278899" y="102515"/>
                </a:lnTo>
                <a:lnTo>
                  <a:pt x="279346" y="101473"/>
                </a:lnTo>
                <a:lnTo>
                  <a:pt x="279793" y="100380"/>
                </a:lnTo>
                <a:lnTo>
                  <a:pt x="280140" y="99338"/>
                </a:lnTo>
                <a:lnTo>
                  <a:pt x="280488" y="98196"/>
                </a:lnTo>
                <a:lnTo>
                  <a:pt x="280736" y="97104"/>
                </a:lnTo>
                <a:lnTo>
                  <a:pt x="280984" y="96012"/>
                </a:lnTo>
                <a:lnTo>
                  <a:pt x="281133" y="94870"/>
                </a:lnTo>
                <a:lnTo>
                  <a:pt x="281232" y="93728"/>
                </a:lnTo>
                <a:lnTo>
                  <a:pt x="285700" y="34255"/>
                </a:lnTo>
                <a:lnTo>
                  <a:pt x="285750" y="33163"/>
                </a:lnTo>
                <a:lnTo>
                  <a:pt x="285750" y="32021"/>
                </a:lnTo>
                <a:lnTo>
                  <a:pt x="285700" y="30929"/>
                </a:lnTo>
                <a:lnTo>
                  <a:pt x="285601" y="29837"/>
                </a:lnTo>
                <a:lnTo>
                  <a:pt x="285403" y="28745"/>
                </a:lnTo>
                <a:lnTo>
                  <a:pt x="285204" y="27652"/>
                </a:lnTo>
                <a:lnTo>
                  <a:pt x="284956" y="26560"/>
                </a:lnTo>
                <a:lnTo>
                  <a:pt x="284608" y="25518"/>
                </a:lnTo>
                <a:lnTo>
                  <a:pt x="284261" y="24525"/>
                </a:lnTo>
                <a:lnTo>
                  <a:pt x="283864" y="23482"/>
                </a:lnTo>
                <a:lnTo>
                  <a:pt x="283417" y="22489"/>
                </a:lnTo>
                <a:lnTo>
                  <a:pt x="282871" y="21546"/>
                </a:lnTo>
                <a:lnTo>
                  <a:pt x="282374" y="20603"/>
                </a:lnTo>
                <a:lnTo>
                  <a:pt x="281779" y="19660"/>
                </a:lnTo>
                <a:lnTo>
                  <a:pt x="281133" y="18766"/>
                </a:lnTo>
                <a:lnTo>
                  <a:pt x="280488" y="17922"/>
                </a:lnTo>
                <a:lnTo>
                  <a:pt x="279793" y="17078"/>
                </a:lnTo>
                <a:lnTo>
                  <a:pt x="279048" y="16284"/>
                </a:lnTo>
                <a:lnTo>
                  <a:pt x="278254" y="15490"/>
                </a:lnTo>
                <a:lnTo>
                  <a:pt x="277459" y="14745"/>
                </a:lnTo>
                <a:lnTo>
                  <a:pt x="276616" y="14050"/>
                </a:lnTo>
                <a:lnTo>
                  <a:pt x="275772" y="13405"/>
                </a:lnTo>
                <a:lnTo>
                  <a:pt x="274828" y="12809"/>
                </a:lnTo>
                <a:lnTo>
                  <a:pt x="273935" y="12213"/>
                </a:lnTo>
                <a:lnTo>
                  <a:pt x="272992" y="11667"/>
                </a:lnTo>
                <a:lnTo>
                  <a:pt x="271999" y="11171"/>
                </a:lnTo>
                <a:lnTo>
                  <a:pt x="270956" y="10724"/>
                </a:lnTo>
                <a:lnTo>
                  <a:pt x="269963" y="10376"/>
                </a:lnTo>
                <a:lnTo>
                  <a:pt x="268871" y="10029"/>
                </a:lnTo>
                <a:lnTo>
                  <a:pt x="267829" y="9731"/>
                </a:lnTo>
                <a:lnTo>
                  <a:pt x="266736" y="9483"/>
                </a:lnTo>
                <a:lnTo>
                  <a:pt x="265595" y="9284"/>
                </a:lnTo>
                <a:lnTo>
                  <a:pt x="222603" y="3128"/>
                </a:lnTo>
                <a:lnTo>
                  <a:pt x="217788" y="2483"/>
                </a:lnTo>
                <a:lnTo>
                  <a:pt x="212426" y="1887"/>
                </a:lnTo>
                <a:lnTo>
                  <a:pt x="206717" y="1391"/>
                </a:lnTo>
                <a:lnTo>
                  <a:pt x="200809" y="894"/>
                </a:lnTo>
                <a:lnTo>
                  <a:pt x="194902" y="547"/>
                </a:lnTo>
                <a:lnTo>
                  <a:pt x="189193" y="249"/>
                </a:lnTo>
                <a:lnTo>
                  <a:pt x="183782" y="51"/>
                </a:lnTo>
                <a:lnTo>
                  <a:pt x="178916" y="1"/>
                </a:lnTo>
                <a:close/>
              </a:path>
            </a:pathLst>
          </a:custGeom>
          <a:solidFill>
            <a:schemeClr val="accent6">
              <a:lumMod val="20000"/>
              <a:lumOff val="80000"/>
            </a:schemeClr>
          </a:solidFill>
          <a:ln>
            <a:noFill/>
          </a:ln>
        </p:spPr>
        <p:txBody>
          <a:bodyPr spcFirstLastPara="1" wrap="square" lIns="64007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nb-NO" sz="1050" b="1" i="0" u="none" strike="noStrike" kern="0" cap="none" spc="0" normalizeH="0" baseline="0" noProof="0">
              <a:ln>
                <a:noFill/>
              </a:ln>
              <a:solidFill>
                <a:srgbClr val="44546A"/>
              </a:solidFill>
              <a:effectLst/>
              <a:uLnTx/>
              <a:uFillTx/>
              <a:latin typeface="+mj-lt"/>
              <a:cs typeface="Arial"/>
              <a:sym typeface="Arial"/>
            </a:endParaRPr>
          </a:p>
        </p:txBody>
      </p:sp>
      <p:sp>
        <p:nvSpPr>
          <p:cNvPr id="357" name="TextBox 350">
            <a:extLst>
              <a:ext uri="{FF2B5EF4-FFF2-40B4-BE49-F238E27FC236}">
                <a16:creationId xmlns:a16="http://schemas.microsoft.com/office/drawing/2014/main" id="{04C5D403-D50C-4E5F-1634-E89F64EB3BA4}"/>
              </a:ext>
            </a:extLst>
          </p:cNvPr>
          <p:cNvSpPr txBox="1"/>
          <p:nvPr/>
        </p:nvSpPr>
        <p:spPr>
          <a:xfrm>
            <a:off x="10360862" y="1338204"/>
            <a:ext cx="1876560" cy="307777"/>
          </a:xfrm>
          <a:prstGeom prst="rect">
            <a:avLst/>
          </a:prstGeom>
          <a:noFill/>
        </p:spPr>
        <p:txBody>
          <a:bodyPr wrap="square" rtlCol="0">
            <a:spAutoFit/>
          </a:bodyPr>
          <a:lstStyle/>
          <a:p>
            <a:pPr>
              <a:buClr>
                <a:srgbClr val="000000"/>
              </a:buClr>
              <a:buFont typeface="Arial"/>
              <a:buNone/>
            </a:pPr>
            <a:r>
              <a:rPr lang="nb-NO" sz="1200" b="1" kern="0">
                <a:solidFill>
                  <a:srgbClr val="44546A"/>
                </a:solidFill>
                <a:latin typeface="+mj-lt"/>
                <a:cs typeface="Arial"/>
                <a:sym typeface="Arial"/>
              </a:rPr>
              <a:t>Konseptevaluering</a:t>
            </a:r>
            <a:r>
              <a:rPr lang="nb-NO" sz="1400" kern="0">
                <a:solidFill>
                  <a:srgbClr val="44546A"/>
                </a:solidFill>
                <a:latin typeface="+mj-lt"/>
                <a:cs typeface="Arial"/>
                <a:sym typeface="Arial"/>
              </a:rPr>
              <a:t> </a:t>
            </a:r>
          </a:p>
        </p:txBody>
      </p:sp>
    </p:spTree>
    <p:extLst>
      <p:ext uri="{BB962C8B-B14F-4D97-AF65-F5344CB8AC3E}">
        <p14:creationId xmlns:p14="http://schemas.microsoft.com/office/powerpoint/2010/main" val="9865838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Google Shape;3559;p492">
            <a:extLst>
              <a:ext uri="{FF2B5EF4-FFF2-40B4-BE49-F238E27FC236}">
                <a16:creationId xmlns:a16="http://schemas.microsoft.com/office/drawing/2014/main" id="{3902B112-A337-1D79-8C44-CF9828635124}"/>
              </a:ext>
            </a:extLst>
          </p:cNvPr>
          <p:cNvSpPr txBox="1"/>
          <p:nvPr/>
        </p:nvSpPr>
        <p:spPr>
          <a:xfrm>
            <a:off x="2543570" y="1271247"/>
            <a:ext cx="9359329" cy="4511910"/>
          </a:xfrm>
          <a:prstGeom prst="rect">
            <a:avLst/>
          </a:prstGeom>
          <a:solidFill>
            <a:schemeClr val="bg2"/>
          </a:solidFill>
          <a:ln>
            <a:noFill/>
          </a:ln>
        </p:spPr>
        <p:txBody>
          <a:bodyPr spcFirstLastPara="1" wrap="square" lIns="216000" tIns="144000" rIns="216000" bIns="144000" anchor="ctr" anchorCtr="0">
            <a:noAutofit/>
          </a:bodyPr>
          <a:lstStyle/>
          <a:p>
            <a:endParaRPr lang="nb-NO" sz="1200" b="1">
              <a:solidFill>
                <a:srgbClr val="595959"/>
              </a:solidFill>
              <a:latin typeface="+mj-lt"/>
              <a:ea typeface="Inter" panose="02000503000000020004" pitchFamily="2" charset="0"/>
            </a:endParaRPr>
          </a:p>
        </p:txBody>
      </p:sp>
      <p:sp>
        <p:nvSpPr>
          <p:cNvPr id="3" name="Google Shape;3559;p492">
            <a:extLst>
              <a:ext uri="{FF2B5EF4-FFF2-40B4-BE49-F238E27FC236}">
                <a16:creationId xmlns:a16="http://schemas.microsoft.com/office/drawing/2014/main" id="{20496779-A20C-306E-DE24-BF8A13E6A68C}"/>
              </a:ext>
            </a:extLst>
          </p:cNvPr>
          <p:cNvSpPr txBox="1"/>
          <p:nvPr/>
        </p:nvSpPr>
        <p:spPr>
          <a:xfrm>
            <a:off x="3064024" y="2603304"/>
            <a:ext cx="2477275" cy="780000"/>
          </a:xfrm>
          <a:prstGeom prst="rect">
            <a:avLst/>
          </a:prstGeom>
          <a:noFill/>
          <a:ln>
            <a:noFill/>
          </a:ln>
        </p:spPr>
        <p:txBody>
          <a:bodyPr spcFirstLastPara="1" wrap="square" lIns="0" tIns="0" rIns="0" bIns="121900" anchor="t" anchorCtr="0">
            <a:noAutofit/>
          </a:bodyPr>
          <a:lstStyle/>
          <a:p>
            <a:pPr marL="0" lvl="0" indent="0" rtl="0">
              <a:spcBef>
                <a:spcPts val="0"/>
              </a:spcBef>
              <a:spcAft>
                <a:spcPts val="0"/>
              </a:spcAft>
              <a:buNone/>
            </a:pPr>
            <a:r>
              <a:rPr lang="nb-NO" sz="1400">
                <a:solidFill>
                  <a:srgbClr val="595959"/>
                </a:solidFill>
                <a:latin typeface="+mj-lt"/>
                <a:ea typeface="Inter" panose="02000503000000020004" pitchFamily="2" charset="0"/>
              </a:rPr>
              <a:t>Forbedret </a:t>
            </a:r>
            <a:r>
              <a:rPr lang="nb-NO" sz="1400" b="1">
                <a:solidFill>
                  <a:srgbClr val="595959"/>
                </a:solidFill>
                <a:latin typeface="+mj-lt"/>
                <a:ea typeface="Inter" panose="02000503000000020004" pitchFamily="2" charset="0"/>
              </a:rPr>
              <a:t>brukeropplevelse</a:t>
            </a:r>
            <a:r>
              <a:rPr lang="nb-NO" sz="1400">
                <a:solidFill>
                  <a:srgbClr val="595959"/>
                </a:solidFill>
                <a:latin typeface="+mj-lt"/>
                <a:ea typeface="Inter" panose="02000503000000020004" pitchFamily="2" charset="0"/>
              </a:rPr>
              <a:t> gjennom universell utforming og helhetlig design av tjenestene</a:t>
            </a:r>
          </a:p>
        </p:txBody>
      </p:sp>
      <p:sp>
        <p:nvSpPr>
          <p:cNvPr id="4" name="Google Shape;4707;p526">
            <a:extLst>
              <a:ext uri="{FF2B5EF4-FFF2-40B4-BE49-F238E27FC236}">
                <a16:creationId xmlns:a16="http://schemas.microsoft.com/office/drawing/2014/main" id="{7B5DEA82-9D52-A673-52EB-90FA1CF8A18E}"/>
              </a:ext>
            </a:extLst>
          </p:cNvPr>
          <p:cNvSpPr/>
          <p:nvPr/>
        </p:nvSpPr>
        <p:spPr>
          <a:xfrm>
            <a:off x="6790499" y="1695922"/>
            <a:ext cx="716379" cy="778922"/>
          </a:xfrm>
          <a:custGeom>
            <a:avLst/>
            <a:gdLst/>
            <a:ahLst/>
            <a:cxnLst/>
            <a:rect l="l" t="t" r="r" b="b"/>
            <a:pathLst>
              <a:path w="312" h="340" extrusionOk="0">
                <a:moveTo>
                  <a:pt x="158" y="304"/>
                </a:moveTo>
                <a:cubicBezTo>
                  <a:pt x="158" y="267"/>
                  <a:pt x="158" y="267"/>
                  <a:pt x="158" y="267"/>
                </a:cubicBezTo>
                <a:cubicBezTo>
                  <a:pt x="165" y="270"/>
                  <a:pt x="173" y="271"/>
                  <a:pt x="182" y="271"/>
                </a:cubicBezTo>
                <a:cubicBezTo>
                  <a:pt x="198" y="271"/>
                  <a:pt x="216" y="267"/>
                  <a:pt x="234" y="257"/>
                </a:cubicBezTo>
                <a:cubicBezTo>
                  <a:pt x="262" y="242"/>
                  <a:pt x="282" y="218"/>
                  <a:pt x="285" y="196"/>
                </a:cubicBezTo>
                <a:cubicBezTo>
                  <a:pt x="285" y="190"/>
                  <a:pt x="285" y="190"/>
                  <a:pt x="285" y="190"/>
                </a:cubicBezTo>
                <a:cubicBezTo>
                  <a:pt x="280" y="187"/>
                  <a:pt x="280" y="187"/>
                  <a:pt x="280" y="187"/>
                </a:cubicBezTo>
                <a:cubicBezTo>
                  <a:pt x="260" y="177"/>
                  <a:pt x="229" y="181"/>
                  <a:pt x="201" y="196"/>
                </a:cubicBezTo>
                <a:cubicBezTo>
                  <a:pt x="182" y="206"/>
                  <a:pt x="166" y="220"/>
                  <a:pt x="158" y="235"/>
                </a:cubicBezTo>
                <a:cubicBezTo>
                  <a:pt x="158" y="163"/>
                  <a:pt x="158" y="163"/>
                  <a:pt x="158" y="163"/>
                </a:cubicBezTo>
                <a:cubicBezTo>
                  <a:pt x="173" y="146"/>
                  <a:pt x="182" y="118"/>
                  <a:pt x="182" y="88"/>
                </a:cubicBezTo>
                <a:cubicBezTo>
                  <a:pt x="182" y="51"/>
                  <a:pt x="168" y="18"/>
                  <a:pt x="148" y="3"/>
                </a:cubicBezTo>
                <a:cubicBezTo>
                  <a:pt x="143" y="0"/>
                  <a:pt x="143" y="0"/>
                  <a:pt x="143" y="0"/>
                </a:cubicBezTo>
                <a:cubicBezTo>
                  <a:pt x="138" y="4"/>
                  <a:pt x="138" y="4"/>
                  <a:pt x="138" y="4"/>
                </a:cubicBezTo>
                <a:cubicBezTo>
                  <a:pt x="117" y="18"/>
                  <a:pt x="104" y="52"/>
                  <a:pt x="104" y="88"/>
                </a:cubicBezTo>
                <a:cubicBezTo>
                  <a:pt x="104" y="119"/>
                  <a:pt x="114" y="147"/>
                  <a:pt x="130" y="164"/>
                </a:cubicBezTo>
                <a:cubicBezTo>
                  <a:pt x="130" y="210"/>
                  <a:pt x="130" y="210"/>
                  <a:pt x="130" y="210"/>
                </a:cubicBezTo>
                <a:cubicBezTo>
                  <a:pt x="123" y="195"/>
                  <a:pt x="111" y="179"/>
                  <a:pt x="94" y="167"/>
                </a:cubicBezTo>
                <a:cubicBezTo>
                  <a:pt x="69" y="147"/>
                  <a:pt x="38" y="139"/>
                  <a:pt x="17" y="146"/>
                </a:cubicBezTo>
                <a:cubicBezTo>
                  <a:pt x="11" y="148"/>
                  <a:pt x="11" y="148"/>
                  <a:pt x="11" y="148"/>
                </a:cubicBezTo>
                <a:cubicBezTo>
                  <a:pt x="11" y="153"/>
                  <a:pt x="11" y="153"/>
                  <a:pt x="11" y="153"/>
                </a:cubicBezTo>
                <a:cubicBezTo>
                  <a:pt x="11" y="176"/>
                  <a:pt x="27" y="203"/>
                  <a:pt x="52" y="222"/>
                </a:cubicBezTo>
                <a:cubicBezTo>
                  <a:pt x="71" y="237"/>
                  <a:pt x="94" y="245"/>
                  <a:pt x="113" y="245"/>
                </a:cubicBezTo>
                <a:cubicBezTo>
                  <a:pt x="119" y="245"/>
                  <a:pt x="124" y="245"/>
                  <a:pt x="129" y="243"/>
                </a:cubicBezTo>
                <a:cubicBezTo>
                  <a:pt x="130" y="243"/>
                  <a:pt x="130" y="243"/>
                  <a:pt x="130" y="243"/>
                </a:cubicBezTo>
                <a:cubicBezTo>
                  <a:pt x="130" y="304"/>
                  <a:pt x="130" y="304"/>
                  <a:pt x="130" y="304"/>
                </a:cubicBezTo>
                <a:cubicBezTo>
                  <a:pt x="0" y="304"/>
                  <a:pt x="0" y="304"/>
                  <a:pt x="0" y="304"/>
                </a:cubicBezTo>
                <a:cubicBezTo>
                  <a:pt x="0" y="340"/>
                  <a:pt x="0" y="340"/>
                  <a:pt x="0" y="340"/>
                </a:cubicBezTo>
                <a:cubicBezTo>
                  <a:pt x="312" y="340"/>
                  <a:pt x="312" y="340"/>
                  <a:pt x="312" y="340"/>
                </a:cubicBezTo>
                <a:cubicBezTo>
                  <a:pt x="312" y="304"/>
                  <a:pt x="312" y="304"/>
                  <a:pt x="312" y="304"/>
                </a:cubicBezTo>
                <a:lnTo>
                  <a:pt x="158" y="304"/>
                </a:lnTo>
                <a:close/>
              </a:path>
            </a:pathLst>
          </a:custGeom>
          <a:solidFill>
            <a:schemeClr val="bg2">
              <a:lumMod val="7500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lang="nb-NO" sz="1800" b="0" i="0" u="none" strike="noStrike" cap="none">
              <a:solidFill>
                <a:srgbClr val="000000"/>
              </a:solidFill>
              <a:latin typeface="+mj-lt"/>
              <a:ea typeface="Arial"/>
              <a:cs typeface="Arial"/>
              <a:sym typeface="Arial"/>
            </a:endParaRPr>
          </a:p>
        </p:txBody>
      </p:sp>
      <p:grpSp>
        <p:nvGrpSpPr>
          <p:cNvPr id="5" name="Google Shape;4715;p526">
            <a:extLst>
              <a:ext uri="{FF2B5EF4-FFF2-40B4-BE49-F238E27FC236}">
                <a16:creationId xmlns:a16="http://schemas.microsoft.com/office/drawing/2014/main" id="{ED4BB86B-DAAD-B056-9F3B-7AEE74D87649}"/>
              </a:ext>
            </a:extLst>
          </p:cNvPr>
          <p:cNvGrpSpPr/>
          <p:nvPr/>
        </p:nvGrpSpPr>
        <p:grpSpPr>
          <a:xfrm>
            <a:off x="3793842" y="1697349"/>
            <a:ext cx="702156" cy="776069"/>
            <a:chOff x="8085364" y="1496688"/>
            <a:chExt cx="392113" cy="433388"/>
          </a:xfrm>
          <a:solidFill>
            <a:schemeClr val="bg2">
              <a:lumMod val="75000"/>
            </a:schemeClr>
          </a:solidFill>
        </p:grpSpPr>
        <p:sp>
          <p:nvSpPr>
            <p:cNvPr id="6" name="Google Shape;4716;p526">
              <a:extLst>
                <a:ext uri="{FF2B5EF4-FFF2-40B4-BE49-F238E27FC236}">
                  <a16:creationId xmlns:a16="http://schemas.microsoft.com/office/drawing/2014/main" id="{505465E4-4E78-DBDB-90D3-40EB945A963B}"/>
                </a:ext>
              </a:extLst>
            </p:cNvPr>
            <p:cNvSpPr/>
            <p:nvPr/>
          </p:nvSpPr>
          <p:spPr>
            <a:xfrm>
              <a:off x="8194901" y="1561773"/>
              <a:ext cx="146100" cy="153900"/>
            </a:xfrm>
            <a:prstGeom prst="ellipse">
              <a:avLst/>
            </a:pr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mj-lt"/>
                <a:ea typeface="Arial"/>
                <a:cs typeface="Arial"/>
                <a:sym typeface="Arial"/>
              </a:endParaRPr>
            </a:p>
          </p:txBody>
        </p:sp>
        <p:sp>
          <p:nvSpPr>
            <p:cNvPr id="7" name="Google Shape;4717;p526">
              <a:extLst>
                <a:ext uri="{FF2B5EF4-FFF2-40B4-BE49-F238E27FC236}">
                  <a16:creationId xmlns:a16="http://schemas.microsoft.com/office/drawing/2014/main" id="{F6372C17-262C-671E-DEB8-88EDFDD4EEC4}"/>
                </a:ext>
              </a:extLst>
            </p:cNvPr>
            <p:cNvSpPr/>
            <p:nvPr/>
          </p:nvSpPr>
          <p:spPr>
            <a:xfrm>
              <a:off x="8085364" y="1496688"/>
              <a:ext cx="392113" cy="433388"/>
            </a:xfrm>
            <a:custGeom>
              <a:avLst/>
              <a:gdLst/>
              <a:ahLst/>
              <a:cxnLst/>
              <a:rect l="l" t="t" r="r" b="b"/>
              <a:pathLst>
                <a:path w="305" h="338" extrusionOk="0">
                  <a:moveTo>
                    <a:pt x="240" y="255"/>
                  </a:moveTo>
                  <a:cubicBezTo>
                    <a:pt x="270" y="229"/>
                    <a:pt x="289" y="189"/>
                    <a:pt x="289" y="146"/>
                  </a:cubicBezTo>
                  <a:cubicBezTo>
                    <a:pt x="289" y="66"/>
                    <a:pt x="224" y="0"/>
                    <a:pt x="145" y="0"/>
                  </a:cubicBezTo>
                  <a:cubicBezTo>
                    <a:pt x="65" y="0"/>
                    <a:pt x="0" y="66"/>
                    <a:pt x="0" y="146"/>
                  </a:cubicBezTo>
                  <a:cubicBezTo>
                    <a:pt x="0" y="226"/>
                    <a:pt x="65" y="291"/>
                    <a:pt x="145" y="291"/>
                  </a:cubicBezTo>
                  <a:cubicBezTo>
                    <a:pt x="174" y="291"/>
                    <a:pt x="201" y="283"/>
                    <a:pt x="224" y="268"/>
                  </a:cubicBezTo>
                  <a:cubicBezTo>
                    <a:pt x="291" y="338"/>
                    <a:pt x="291" y="338"/>
                    <a:pt x="291" y="338"/>
                  </a:cubicBezTo>
                  <a:cubicBezTo>
                    <a:pt x="305" y="325"/>
                    <a:pt x="305" y="325"/>
                    <a:pt x="305" y="325"/>
                  </a:cubicBezTo>
                  <a:lnTo>
                    <a:pt x="240" y="255"/>
                  </a:lnTo>
                  <a:close/>
                  <a:moveTo>
                    <a:pt x="145" y="20"/>
                  </a:moveTo>
                  <a:cubicBezTo>
                    <a:pt x="213" y="20"/>
                    <a:pt x="269" y="77"/>
                    <a:pt x="269" y="146"/>
                  </a:cubicBezTo>
                  <a:cubicBezTo>
                    <a:pt x="269" y="172"/>
                    <a:pt x="261" y="197"/>
                    <a:pt x="247" y="217"/>
                  </a:cubicBezTo>
                  <a:cubicBezTo>
                    <a:pt x="216" y="204"/>
                    <a:pt x="180" y="197"/>
                    <a:pt x="142" y="197"/>
                  </a:cubicBezTo>
                  <a:cubicBezTo>
                    <a:pt x="105" y="197"/>
                    <a:pt x="71" y="204"/>
                    <a:pt x="41" y="215"/>
                  </a:cubicBezTo>
                  <a:cubicBezTo>
                    <a:pt x="28" y="195"/>
                    <a:pt x="20" y="171"/>
                    <a:pt x="20" y="146"/>
                  </a:cubicBezTo>
                  <a:cubicBezTo>
                    <a:pt x="20" y="77"/>
                    <a:pt x="76" y="20"/>
                    <a:pt x="145" y="20"/>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mj-lt"/>
                <a:ea typeface="Arial"/>
                <a:cs typeface="Arial"/>
                <a:sym typeface="Arial"/>
              </a:endParaRPr>
            </a:p>
          </p:txBody>
        </p:sp>
      </p:grpSp>
      <p:sp>
        <p:nvSpPr>
          <p:cNvPr id="9" name="Google Shape;13225;p716">
            <a:extLst>
              <a:ext uri="{FF2B5EF4-FFF2-40B4-BE49-F238E27FC236}">
                <a16:creationId xmlns:a16="http://schemas.microsoft.com/office/drawing/2014/main" id="{178418C8-FD93-AA27-FF29-8B6A9CB9ADEA}"/>
              </a:ext>
            </a:extLst>
          </p:cNvPr>
          <p:cNvSpPr txBox="1"/>
          <p:nvPr/>
        </p:nvSpPr>
        <p:spPr>
          <a:xfrm>
            <a:off x="9070807" y="2603304"/>
            <a:ext cx="2477275" cy="1068000"/>
          </a:xfrm>
          <a:prstGeom prst="rect">
            <a:avLst/>
          </a:prstGeom>
          <a:noFill/>
          <a:ln>
            <a:noFill/>
          </a:ln>
        </p:spPr>
        <p:txBody>
          <a:bodyPr spcFirstLastPara="1" wrap="square" lIns="0" tIns="0" rIns="0" bIns="91425" anchor="t" anchorCtr="0">
            <a:noAutofit/>
          </a:bodyPr>
          <a:lstStyle/>
          <a:p>
            <a:pPr marL="0" lvl="0" indent="0" rtl="0">
              <a:spcBef>
                <a:spcPts val="0"/>
              </a:spcBef>
              <a:spcAft>
                <a:spcPts val="0"/>
              </a:spcAft>
              <a:buNone/>
            </a:pPr>
            <a:r>
              <a:rPr lang="nb-NO" sz="1400" b="1">
                <a:solidFill>
                  <a:srgbClr val="595959"/>
                </a:solidFill>
                <a:latin typeface="+mj-lt"/>
                <a:ea typeface="Inter" panose="02000503000000020004" pitchFamily="2" charset="0"/>
              </a:rPr>
              <a:t>Trygg, effektiv og sømløs dataflyt </a:t>
            </a:r>
            <a:r>
              <a:rPr lang="nb-NO" sz="1400">
                <a:solidFill>
                  <a:srgbClr val="595959"/>
                </a:solidFill>
                <a:latin typeface="+mj-lt"/>
                <a:ea typeface="Inter" panose="02000503000000020004" pitchFamily="2" charset="0"/>
              </a:rPr>
              <a:t>gjennom forbedret og standardisert dataflyt </a:t>
            </a:r>
          </a:p>
        </p:txBody>
      </p:sp>
      <p:grpSp>
        <p:nvGrpSpPr>
          <p:cNvPr id="10" name="Google Shape;13247;p716">
            <a:extLst>
              <a:ext uri="{FF2B5EF4-FFF2-40B4-BE49-F238E27FC236}">
                <a16:creationId xmlns:a16="http://schemas.microsoft.com/office/drawing/2014/main" id="{09FC493D-338D-DA92-726E-53AC6C081A99}"/>
              </a:ext>
            </a:extLst>
          </p:cNvPr>
          <p:cNvGrpSpPr/>
          <p:nvPr/>
        </p:nvGrpSpPr>
        <p:grpSpPr>
          <a:xfrm>
            <a:off x="9680573" y="1710255"/>
            <a:ext cx="906751" cy="750256"/>
            <a:chOff x="1022636" y="2287960"/>
            <a:chExt cx="305746" cy="284543"/>
          </a:xfrm>
          <a:solidFill>
            <a:schemeClr val="bg2">
              <a:lumMod val="75000"/>
            </a:schemeClr>
          </a:solidFill>
        </p:grpSpPr>
        <p:sp>
          <p:nvSpPr>
            <p:cNvPr id="11" name="Google Shape;13248;p716">
              <a:extLst>
                <a:ext uri="{FF2B5EF4-FFF2-40B4-BE49-F238E27FC236}">
                  <a16:creationId xmlns:a16="http://schemas.microsoft.com/office/drawing/2014/main" id="{9AAB4E24-9395-E72A-42BB-A83678FD91DF}"/>
                </a:ext>
              </a:extLst>
            </p:cNvPr>
            <p:cNvSpPr/>
            <p:nvPr/>
          </p:nvSpPr>
          <p:spPr>
            <a:xfrm>
              <a:off x="1022636" y="2287960"/>
              <a:ext cx="305746" cy="214176"/>
            </a:xfrm>
            <a:custGeom>
              <a:avLst/>
              <a:gdLst/>
              <a:ahLst/>
              <a:cxnLst/>
              <a:rect l="l" t="t" r="r" b="b"/>
              <a:pathLst>
                <a:path w="995" h="697" extrusionOk="0">
                  <a:moveTo>
                    <a:pt x="475" y="0"/>
                  </a:moveTo>
                  <a:cubicBezTo>
                    <a:pt x="309" y="0"/>
                    <a:pt x="169" y="135"/>
                    <a:pt x="169" y="304"/>
                  </a:cubicBezTo>
                  <a:lnTo>
                    <a:pt x="169" y="330"/>
                  </a:lnTo>
                  <a:cubicBezTo>
                    <a:pt x="74" y="340"/>
                    <a:pt x="1" y="414"/>
                    <a:pt x="1" y="512"/>
                  </a:cubicBezTo>
                  <a:cubicBezTo>
                    <a:pt x="1" y="609"/>
                    <a:pt x="80" y="691"/>
                    <a:pt x="183" y="691"/>
                  </a:cubicBezTo>
                  <a:lnTo>
                    <a:pt x="380" y="691"/>
                  </a:lnTo>
                  <a:cubicBezTo>
                    <a:pt x="391" y="691"/>
                    <a:pt x="396" y="686"/>
                    <a:pt x="396" y="675"/>
                  </a:cubicBezTo>
                  <a:cubicBezTo>
                    <a:pt x="396" y="665"/>
                    <a:pt x="391" y="659"/>
                    <a:pt x="380" y="659"/>
                  </a:cubicBezTo>
                  <a:lnTo>
                    <a:pt x="183" y="659"/>
                  </a:lnTo>
                  <a:cubicBezTo>
                    <a:pt x="101" y="659"/>
                    <a:pt x="35" y="593"/>
                    <a:pt x="35" y="512"/>
                  </a:cubicBezTo>
                  <a:cubicBezTo>
                    <a:pt x="35" y="427"/>
                    <a:pt x="101" y="361"/>
                    <a:pt x="183" y="361"/>
                  </a:cubicBezTo>
                  <a:lnTo>
                    <a:pt x="185" y="361"/>
                  </a:lnTo>
                  <a:cubicBezTo>
                    <a:pt x="193" y="361"/>
                    <a:pt x="196" y="359"/>
                    <a:pt x="198" y="356"/>
                  </a:cubicBezTo>
                  <a:cubicBezTo>
                    <a:pt x="204" y="354"/>
                    <a:pt x="204" y="346"/>
                    <a:pt x="204" y="343"/>
                  </a:cubicBezTo>
                  <a:cubicBezTo>
                    <a:pt x="198" y="327"/>
                    <a:pt x="198" y="317"/>
                    <a:pt x="198" y="304"/>
                  </a:cubicBezTo>
                  <a:cubicBezTo>
                    <a:pt x="198" y="156"/>
                    <a:pt x="322" y="32"/>
                    <a:pt x="472" y="32"/>
                  </a:cubicBezTo>
                  <a:cubicBezTo>
                    <a:pt x="607" y="32"/>
                    <a:pt x="723" y="135"/>
                    <a:pt x="744" y="267"/>
                  </a:cubicBezTo>
                  <a:cubicBezTo>
                    <a:pt x="744" y="275"/>
                    <a:pt x="757" y="280"/>
                    <a:pt x="762" y="280"/>
                  </a:cubicBezTo>
                  <a:cubicBezTo>
                    <a:pt x="868" y="280"/>
                    <a:pt x="955" y="367"/>
                    <a:pt x="955" y="472"/>
                  </a:cubicBezTo>
                  <a:cubicBezTo>
                    <a:pt x="955" y="578"/>
                    <a:pt x="868" y="662"/>
                    <a:pt x="762" y="662"/>
                  </a:cubicBezTo>
                  <a:lnTo>
                    <a:pt x="575" y="662"/>
                  </a:lnTo>
                  <a:cubicBezTo>
                    <a:pt x="565" y="662"/>
                    <a:pt x="559" y="670"/>
                    <a:pt x="559" y="680"/>
                  </a:cubicBezTo>
                  <a:cubicBezTo>
                    <a:pt x="559" y="688"/>
                    <a:pt x="565" y="696"/>
                    <a:pt x="575" y="696"/>
                  </a:cubicBezTo>
                  <a:lnTo>
                    <a:pt x="762" y="696"/>
                  </a:lnTo>
                  <a:cubicBezTo>
                    <a:pt x="886" y="696"/>
                    <a:pt x="986" y="596"/>
                    <a:pt x="994" y="467"/>
                  </a:cubicBezTo>
                  <a:cubicBezTo>
                    <a:pt x="994" y="348"/>
                    <a:pt x="897" y="253"/>
                    <a:pt x="778" y="248"/>
                  </a:cubicBezTo>
                  <a:cubicBezTo>
                    <a:pt x="749" y="106"/>
                    <a:pt x="625" y="0"/>
                    <a:pt x="47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j-lt"/>
              </a:endParaRPr>
            </a:p>
          </p:txBody>
        </p:sp>
        <p:sp>
          <p:nvSpPr>
            <p:cNvPr id="12" name="Google Shape;13249;p716">
              <a:extLst>
                <a:ext uri="{FF2B5EF4-FFF2-40B4-BE49-F238E27FC236}">
                  <a16:creationId xmlns:a16="http://schemas.microsoft.com/office/drawing/2014/main" id="{8B53FCD0-63A1-91E3-A5D8-CABEEE8FBC40}"/>
                </a:ext>
              </a:extLst>
            </p:cNvPr>
            <p:cNvSpPr/>
            <p:nvPr/>
          </p:nvSpPr>
          <p:spPr>
            <a:xfrm>
              <a:off x="1138481" y="2430231"/>
              <a:ext cx="35030" cy="142272"/>
            </a:xfrm>
            <a:custGeom>
              <a:avLst/>
              <a:gdLst/>
              <a:ahLst/>
              <a:cxnLst/>
              <a:rect l="l" t="t" r="r" b="b"/>
              <a:pathLst>
                <a:path w="114" h="463" extrusionOk="0">
                  <a:moveTo>
                    <a:pt x="101" y="0"/>
                  </a:moveTo>
                  <a:cubicBezTo>
                    <a:pt x="97" y="0"/>
                    <a:pt x="91" y="3"/>
                    <a:pt x="88" y="7"/>
                  </a:cubicBezTo>
                  <a:lnTo>
                    <a:pt x="6" y="88"/>
                  </a:lnTo>
                  <a:cubicBezTo>
                    <a:pt x="1" y="94"/>
                    <a:pt x="1" y="104"/>
                    <a:pt x="6" y="112"/>
                  </a:cubicBezTo>
                  <a:cubicBezTo>
                    <a:pt x="10" y="115"/>
                    <a:pt x="14" y="116"/>
                    <a:pt x="18" y="116"/>
                  </a:cubicBezTo>
                  <a:cubicBezTo>
                    <a:pt x="22" y="116"/>
                    <a:pt x="26" y="115"/>
                    <a:pt x="30" y="112"/>
                  </a:cubicBezTo>
                  <a:lnTo>
                    <a:pt x="82" y="59"/>
                  </a:lnTo>
                  <a:lnTo>
                    <a:pt x="82" y="447"/>
                  </a:lnTo>
                  <a:cubicBezTo>
                    <a:pt x="82" y="457"/>
                    <a:pt x="88" y="462"/>
                    <a:pt x="98" y="462"/>
                  </a:cubicBezTo>
                  <a:cubicBezTo>
                    <a:pt x="109" y="462"/>
                    <a:pt x="114" y="457"/>
                    <a:pt x="114" y="447"/>
                  </a:cubicBezTo>
                  <a:lnTo>
                    <a:pt x="114" y="20"/>
                  </a:lnTo>
                  <a:cubicBezTo>
                    <a:pt x="114" y="12"/>
                    <a:pt x="111" y="7"/>
                    <a:pt x="106" y="1"/>
                  </a:cubicBezTo>
                  <a:cubicBezTo>
                    <a:pt x="105" y="1"/>
                    <a:pt x="103" y="0"/>
                    <a:pt x="10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j-lt"/>
              </a:endParaRPr>
            </a:p>
          </p:txBody>
        </p:sp>
        <p:sp>
          <p:nvSpPr>
            <p:cNvPr id="13" name="Google Shape;13250;p716">
              <a:extLst>
                <a:ext uri="{FF2B5EF4-FFF2-40B4-BE49-F238E27FC236}">
                  <a16:creationId xmlns:a16="http://schemas.microsoft.com/office/drawing/2014/main" id="{601148F7-1F2B-ADC1-8E6D-759F76D1C1BD}"/>
                </a:ext>
              </a:extLst>
            </p:cNvPr>
            <p:cNvSpPr/>
            <p:nvPr/>
          </p:nvSpPr>
          <p:spPr>
            <a:xfrm>
              <a:off x="1162757" y="2431153"/>
              <a:ext cx="36874" cy="35337"/>
            </a:xfrm>
            <a:custGeom>
              <a:avLst/>
              <a:gdLst/>
              <a:ahLst/>
              <a:cxnLst/>
              <a:rect l="l" t="t" r="r" b="b"/>
              <a:pathLst>
                <a:path w="120" h="115" extrusionOk="0">
                  <a:moveTo>
                    <a:pt x="19" y="0"/>
                  </a:moveTo>
                  <a:cubicBezTo>
                    <a:pt x="14" y="0"/>
                    <a:pt x="10" y="2"/>
                    <a:pt x="6" y="6"/>
                  </a:cubicBezTo>
                  <a:cubicBezTo>
                    <a:pt x="1" y="11"/>
                    <a:pt x="1" y="22"/>
                    <a:pt x="6" y="30"/>
                  </a:cubicBezTo>
                  <a:lnTo>
                    <a:pt x="90" y="112"/>
                  </a:lnTo>
                  <a:cubicBezTo>
                    <a:pt x="93" y="114"/>
                    <a:pt x="98" y="114"/>
                    <a:pt x="101" y="114"/>
                  </a:cubicBezTo>
                  <a:cubicBezTo>
                    <a:pt x="106" y="114"/>
                    <a:pt x="111" y="112"/>
                    <a:pt x="111" y="112"/>
                  </a:cubicBezTo>
                  <a:cubicBezTo>
                    <a:pt x="119" y="104"/>
                    <a:pt x="119" y="96"/>
                    <a:pt x="111" y="88"/>
                  </a:cubicBezTo>
                  <a:lnTo>
                    <a:pt x="30" y="6"/>
                  </a:lnTo>
                  <a:cubicBezTo>
                    <a:pt x="27" y="2"/>
                    <a:pt x="23" y="0"/>
                    <a:pt x="1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j-lt"/>
              </a:endParaRPr>
            </a:p>
          </p:txBody>
        </p:sp>
      </p:grpSp>
      <p:cxnSp>
        <p:nvCxnSpPr>
          <p:cNvPr id="14" name="Google Shape;13270;p716">
            <a:extLst>
              <a:ext uri="{FF2B5EF4-FFF2-40B4-BE49-F238E27FC236}">
                <a16:creationId xmlns:a16="http://schemas.microsoft.com/office/drawing/2014/main" id="{53BAFF63-D5DB-4DCA-DC11-166303CD1129}"/>
              </a:ext>
            </a:extLst>
          </p:cNvPr>
          <p:cNvCxnSpPr/>
          <p:nvPr/>
        </p:nvCxnSpPr>
        <p:spPr>
          <a:xfrm>
            <a:off x="-3897009" y="5866833"/>
            <a:ext cx="10680900" cy="0"/>
          </a:xfrm>
          <a:prstGeom prst="straightConnector1">
            <a:avLst/>
          </a:prstGeom>
          <a:noFill/>
          <a:ln w="9525" cap="flat" cmpd="sng">
            <a:solidFill>
              <a:srgbClr val="F3F3F3"/>
            </a:solidFill>
            <a:prstDash val="dot"/>
            <a:round/>
            <a:headEnd type="none" w="med" len="med"/>
            <a:tailEnd type="none" w="med" len="med"/>
          </a:ln>
        </p:spPr>
      </p:cxnSp>
      <p:sp>
        <p:nvSpPr>
          <p:cNvPr id="15" name="Google Shape;3559;p492">
            <a:extLst>
              <a:ext uri="{FF2B5EF4-FFF2-40B4-BE49-F238E27FC236}">
                <a16:creationId xmlns:a16="http://schemas.microsoft.com/office/drawing/2014/main" id="{9B290D94-51BF-A701-510A-F3E169C3A4B0}"/>
              </a:ext>
            </a:extLst>
          </p:cNvPr>
          <p:cNvSpPr txBox="1"/>
          <p:nvPr/>
        </p:nvSpPr>
        <p:spPr>
          <a:xfrm>
            <a:off x="5881424" y="2603304"/>
            <a:ext cx="2849257" cy="780000"/>
          </a:xfrm>
          <a:prstGeom prst="rect">
            <a:avLst/>
          </a:prstGeom>
          <a:noFill/>
          <a:ln>
            <a:noFill/>
          </a:ln>
        </p:spPr>
        <p:txBody>
          <a:bodyPr spcFirstLastPara="1" wrap="square" lIns="0" tIns="0" rIns="0" bIns="121900" anchor="t" anchorCtr="0">
            <a:noAutofit/>
          </a:bodyPr>
          <a:lstStyle/>
          <a:p>
            <a:r>
              <a:rPr lang="nb-NO" sz="1400" b="1">
                <a:solidFill>
                  <a:srgbClr val="595959"/>
                </a:solidFill>
                <a:latin typeface="+mj-lt"/>
                <a:ea typeface="Inter" panose="02000503000000020004" pitchFamily="2" charset="0"/>
              </a:rPr>
              <a:t>Effektivisert oppgaveløsning </a:t>
            </a:r>
            <a:r>
              <a:rPr lang="nb-NO" sz="1400">
                <a:solidFill>
                  <a:srgbClr val="595959"/>
                </a:solidFill>
                <a:latin typeface="+mj-lt"/>
                <a:ea typeface="Inter" panose="02000503000000020004" pitchFamily="2" charset="0"/>
              </a:rPr>
              <a:t>gjennom standardiserte prosesser som gir kostnads-besparelser og frigitt tid</a:t>
            </a:r>
          </a:p>
        </p:txBody>
      </p:sp>
      <p:sp>
        <p:nvSpPr>
          <p:cNvPr id="16" name="Google Shape;3559;p492">
            <a:extLst>
              <a:ext uri="{FF2B5EF4-FFF2-40B4-BE49-F238E27FC236}">
                <a16:creationId xmlns:a16="http://schemas.microsoft.com/office/drawing/2014/main" id="{0BBBDFFB-7A15-99E5-4B78-7067F5958EEE}"/>
              </a:ext>
            </a:extLst>
          </p:cNvPr>
          <p:cNvSpPr txBox="1"/>
          <p:nvPr/>
        </p:nvSpPr>
        <p:spPr>
          <a:xfrm>
            <a:off x="289101" y="1271247"/>
            <a:ext cx="2253377" cy="4511910"/>
          </a:xfrm>
          <a:prstGeom prst="rect">
            <a:avLst/>
          </a:prstGeom>
          <a:solidFill>
            <a:schemeClr val="accent1"/>
          </a:solidFill>
          <a:ln>
            <a:noFill/>
          </a:ln>
        </p:spPr>
        <p:txBody>
          <a:bodyPr spcFirstLastPara="1" wrap="square" lIns="216000" tIns="144000" rIns="216000" bIns="144000" anchor="ctr" anchorCtr="0">
            <a:noAutofit/>
          </a:bodyPr>
          <a:lstStyle/>
          <a:p>
            <a:r>
              <a:rPr lang="nb-NO" sz="1600">
                <a:solidFill>
                  <a:schemeClr val="bg1"/>
                </a:solidFill>
                <a:latin typeface="+mj-lt"/>
                <a:ea typeface="Inter" panose="02000503000000020004" pitchFamily="2" charset="0"/>
              </a:rPr>
              <a:t>Effektivisere og forbedre kvaliteten i arbeidet med de viktige samfunnsoppdragene som utføres ved hjelp av VIGO systemet i tillegg til å sikre lik behandling av alle søkere og elever innen videregående opplæring </a:t>
            </a:r>
          </a:p>
        </p:txBody>
      </p:sp>
      <p:pic>
        <p:nvPicPr>
          <p:cNvPr id="17" name="Graphic 16" descr="Robot with solid fill">
            <a:extLst>
              <a:ext uri="{FF2B5EF4-FFF2-40B4-BE49-F238E27FC236}">
                <a16:creationId xmlns:a16="http://schemas.microsoft.com/office/drawing/2014/main" id="{B3EEA5B6-3F59-706A-90C1-A1EB7356EA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173582" y="3685143"/>
            <a:ext cx="914400" cy="914400"/>
          </a:xfrm>
          <a:prstGeom prst="rect">
            <a:avLst/>
          </a:prstGeom>
        </p:spPr>
      </p:pic>
      <p:pic>
        <p:nvPicPr>
          <p:cNvPr id="18" name="Graphic 17" descr="Illustrator with solid fill">
            <a:extLst>
              <a:ext uri="{FF2B5EF4-FFF2-40B4-BE49-F238E27FC236}">
                <a16:creationId xmlns:a16="http://schemas.microsoft.com/office/drawing/2014/main" id="{010E4738-F9F1-AF99-4727-ED2199E057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450961" y="3719501"/>
            <a:ext cx="914400" cy="914400"/>
          </a:xfrm>
          <a:prstGeom prst="rect">
            <a:avLst/>
          </a:prstGeom>
        </p:spPr>
      </p:pic>
      <p:sp>
        <p:nvSpPr>
          <p:cNvPr id="19" name="Google Shape;3559;p492">
            <a:extLst>
              <a:ext uri="{FF2B5EF4-FFF2-40B4-BE49-F238E27FC236}">
                <a16:creationId xmlns:a16="http://schemas.microsoft.com/office/drawing/2014/main" id="{612CE5C7-38C6-3AB1-1E99-701B129C2889}"/>
              </a:ext>
            </a:extLst>
          </p:cNvPr>
          <p:cNvSpPr txBox="1"/>
          <p:nvPr/>
        </p:nvSpPr>
        <p:spPr>
          <a:xfrm>
            <a:off x="4144920" y="4672705"/>
            <a:ext cx="2971725" cy="780000"/>
          </a:xfrm>
          <a:prstGeom prst="rect">
            <a:avLst/>
          </a:prstGeom>
          <a:noFill/>
          <a:ln>
            <a:noFill/>
          </a:ln>
        </p:spPr>
        <p:txBody>
          <a:bodyPr spcFirstLastPara="1" wrap="square" lIns="0" tIns="0" rIns="0" bIns="121900" anchor="t" anchorCtr="0">
            <a:noAutofit/>
          </a:bodyPr>
          <a:lstStyle/>
          <a:p>
            <a:r>
              <a:rPr lang="nb-NO" sz="1400">
                <a:solidFill>
                  <a:srgbClr val="595959"/>
                </a:solidFill>
                <a:latin typeface="+mj-lt"/>
                <a:ea typeface="Inter" panose="02000503000000020004" pitchFamily="2" charset="0"/>
              </a:rPr>
              <a:t>Redusert tid på administrative oppgaver gjennom </a:t>
            </a:r>
            <a:r>
              <a:rPr lang="nb-NO" sz="1400" b="1">
                <a:solidFill>
                  <a:srgbClr val="595959"/>
                </a:solidFill>
                <a:latin typeface="+mj-lt"/>
                <a:ea typeface="Inter" panose="02000503000000020004" pitchFamily="2" charset="0"/>
              </a:rPr>
              <a:t>automatisering </a:t>
            </a:r>
            <a:r>
              <a:rPr lang="nb-NO" sz="1400">
                <a:solidFill>
                  <a:srgbClr val="595959"/>
                </a:solidFill>
                <a:latin typeface="+mj-lt"/>
                <a:ea typeface="Inter" panose="02000503000000020004" pitchFamily="2" charset="0"/>
              </a:rPr>
              <a:t>av manuelle oppgaver</a:t>
            </a:r>
          </a:p>
        </p:txBody>
      </p:sp>
      <p:sp>
        <p:nvSpPr>
          <p:cNvPr id="20" name="Google Shape;13225;p716">
            <a:extLst>
              <a:ext uri="{FF2B5EF4-FFF2-40B4-BE49-F238E27FC236}">
                <a16:creationId xmlns:a16="http://schemas.microsoft.com/office/drawing/2014/main" id="{2E7F3CB8-65EB-B7A1-E605-704CD600B7DA}"/>
              </a:ext>
            </a:extLst>
          </p:cNvPr>
          <p:cNvSpPr txBox="1"/>
          <p:nvPr/>
        </p:nvSpPr>
        <p:spPr>
          <a:xfrm>
            <a:off x="7506878" y="4672705"/>
            <a:ext cx="2802566" cy="1068000"/>
          </a:xfrm>
          <a:prstGeom prst="rect">
            <a:avLst/>
          </a:prstGeom>
          <a:noFill/>
          <a:ln>
            <a:noFill/>
          </a:ln>
        </p:spPr>
        <p:txBody>
          <a:bodyPr spcFirstLastPara="1" wrap="square" lIns="0" tIns="0" rIns="0" bIns="91425" anchor="t" anchorCtr="0">
            <a:noAutofit/>
          </a:bodyPr>
          <a:lstStyle/>
          <a:p>
            <a:pPr marL="0" lvl="0" indent="0" rtl="0">
              <a:spcBef>
                <a:spcPts val="0"/>
              </a:spcBef>
              <a:spcAft>
                <a:spcPts val="0"/>
              </a:spcAft>
              <a:buNone/>
            </a:pPr>
            <a:r>
              <a:rPr lang="nb-NO" sz="1400" b="1">
                <a:solidFill>
                  <a:srgbClr val="595959"/>
                </a:solidFill>
                <a:latin typeface="+mj-lt"/>
                <a:ea typeface="Inter" panose="02000503000000020004" pitchFamily="2" charset="0"/>
              </a:rPr>
              <a:t>Forbedret styringsinformasjon </a:t>
            </a:r>
            <a:br>
              <a:rPr lang="nb-NO" sz="1400" b="1">
                <a:solidFill>
                  <a:srgbClr val="595959"/>
                </a:solidFill>
                <a:latin typeface="+mj-lt"/>
                <a:ea typeface="Inter" panose="02000503000000020004" pitchFamily="2" charset="0"/>
              </a:rPr>
            </a:br>
            <a:r>
              <a:rPr lang="nb-NO" sz="1400">
                <a:solidFill>
                  <a:srgbClr val="595959"/>
                </a:solidFill>
                <a:latin typeface="+mj-lt"/>
                <a:ea typeface="Inter" panose="02000503000000020004" pitchFamily="2" charset="0"/>
              </a:rPr>
              <a:t>ved å øke datakvaliteten gjennom kontroll over dataflyt </a:t>
            </a:r>
          </a:p>
          <a:p>
            <a:pPr marL="0" lvl="0" indent="0" rtl="0">
              <a:spcBef>
                <a:spcPts val="0"/>
              </a:spcBef>
              <a:spcAft>
                <a:spcPts val="0"/>
              </a:spcAft>
              <a:buNone/>
            </a:pPr>
            <a:r>
              <a:rPr lang="nb-NO" sz="1400">
                <a:solidFill>
                  <a:srgbClr val="595959"/>
                </a:solidFill>
                <a:latin typeface="+mj-lt"/>
                <a:ea typeface="Inter" panose="02000503000000020004" pitchFamily="2" charset="0"/>
              </a:rPr>
              <a:t>og integrasjoner</a:t>
            </a:r>
          </a:p>
        </p:txBody>
      </p:sp>
      <p:sp>
        <p:nvSpPr>
          <p:cNvPr id="21" name="Google Shape;1007;g2e0683f995c_0_0">
            <a:extLst>
              <a:ext uri="{FF2B5EF4-FFF2-40B4-BE49-F238E27FC236}">
                <a16:creationId xmlns:a16="http://schemas.microsoft.com/office/drawing/2014/main" id="{B93D2701-448E-14D9-C7E7-572316AA23C4}"/>
              </a:ext>
            </a:extLst>
          </p:cNvPr>
          <p:cNvSpPr txBox="1">
            <a:spLocks/>
          </p:cNvSpPr>
          <p:nvPr/>
        </p:nvSpPr>
        <p:spPr>
          <a:xfrm>
            <a:off x="382000" y="486981"/>
            <a:ext cx="11520900" cy="538974"/>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nb-NO" sz="2200" i="0" u="none" strike="noStrike" kern="0" cap="none" spc="0" normalizeH="0" baseline="0" noProof="0">
                <a:ln>
                  <a:noFill/>
                </a:ln>
                <a:solidFill>
                  <a:schemeClr val="accent1"/>
                </a:solidFill>
                <a:effectLst/>
                <a:uLnTx/>
                <a:uFillTx/>
                <a:latin typeface="Brockmann"/>
                <a:sym typeface="Calibri"/>
              </a:rPr>
              <a:t>Gevinster | </a:t>
            </a:r>
            <a:r>
              <a:rPr kumimoji="0" lang="nb-NO" sz="1800" i="0" u="none" strike="noStrike" kern="0" cap="none" spc="0" normalizeH="0" baseline="0" noProof="0">
                <a:ln>
                  <a:noFill/>
                </a:ln>
                <a:solidFill>
                  <a:schemeClr val="accent1"/>
                </a:solidFill>
                <a:effectLst/>
                <a:uLnTx/>
                <a:uFillTx/>
                <a:latin typeface="Brockmann"/>
                <a:ea typeface="+mn-ea"/>
                <a:cs typeface="Georgia"/>
                <a:sym typeface="Georgia"/>
              </a:rPr>
              <a:t>Overordnede </a:t>
            </a:r>
            <a:r>
              <a:rPr lang="nb-NO" sz="1800">
                <a:solidFill>
                  <a:schemeClr val="accent1"/>
                </a:solidFill>
                <a:latin typeface="Brockmann"/>
                <a:ea typeface="+mn-ea"/>
                <a:cs typeface="Georgia"/>
                <a:sym typeface="Georgia"/>
              </a:rPr>
              <a:t>gevinster </a:t>
            </a:r>
            <a:r>
              <a:rPr kumimoji="0" lang="nb-NO" sz="1800" i="0" u="none" strike="noStrike" kern="0" cap="none" spc="0" normalizeH="0" baseline="0" noProof="0">
                <a:ln>
                  <a:noFill/>
                </a:ln>
                <a:solidFill>
                  <a:schemeClr val="accent1"/>
                </a:solidFill>
                <a:effectLst/>
                <a:uLnTx/>
                <a:uFillTx/>
                <a:latin typeface="Brockmann"/>
                <a:ea typeface="+mn-ea"/>
                <a:cs typeface="Georgia"/>
                <a:sym typeface="Georgia"/>
              </a:rPr>
              <a:t>for moderniseringen av VIGO-systemet </a:t>
            </a:r>
            <a:endParaRPr kumimoji="0" lang="nb-NO" sz="2200" i="0" u="none" strike="noStrike" kern="0" cap="none" spc="0" normalizeH="0" baseline="0" noProof="0">
              <a:ln>
                <a:noFill/>
              </a:ln>
              <a:solidFill>
                <a:schemeClr val="accent1"/>
              </a:solidFill>
              <a:effectLst/>
              <a:uLnTx/>
              <a:uFillTx/>
              <a:latin typeface="Brockmann"/>
              <a:sym typeface="Calibri"/>
            </a:endParaRPr>
          </a:p>
        </p:txBody>
      </p:sp>
    </p:spTree>
    <p:extLst>
      <p:ext uri="{BB962C8B-B14F-4D97-AF65-F5344CB8AC3E}">
        <p14:creationId xmlns:p14="http://schemas.microsoft.com/office/powerpoint/2010/main" val="23678115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F0738F4-DDAA-0220-F4AC-BCC69365400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FF0738F4-DDAA-0220-F4AC-BCC69365400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tel 11">
            <a:extLst>
              <a:ext uri="{FF2B5EF4-FFF2-40B4-BE49-F238E27FC236}">
                <a16:creationId xmlns:a16="http://schemas.microsoft.com/office/drawing/2014/main" id="{EAD93288-1FD7-340B-7F25-335BFAD335CA}"/>
              </a:ext>
            </a:extLst>
          </p:cNvPr>
          <p:cNvSpPr txBox="1">
            <a:spLocks/>
          </p:cNvSpPr>
          <p:nvPr/>
        </p:nvSpPr>
        <p:spPr>
          <a:xfrm>
            <a:off x="539416" y="396343"/>
            <a:ext cx="10154444" cy="384721"/>
          </a:xfrm>
          <a:prstGeom prst="rect">
            <a:avLst/>
          </a:prstGeom>
        </p:spPr>
        <p:txBody>
          <a:bodyPr/>
          <a:lstStyle>
            <a:lvl1pPr algn="l" defTabSz="914400" rtl="0" eaLnBrk="1" fontAlgn="ctr" latinLnBrk="0" hangingPunct="1">
              <a:lnSpc>
                <a:spcPct val="100000"/>
              </a:lnSpc>
              <a:spcBef>
                <a:spcPct val="0"/>
              </a:spcBef>
              <a:buNone/>
              <a:defRPr sz="2500" kern="1200">
                <a:solidFill>
                  <a:schemeClr val="accent1"/>
                </a:solidFill>
                <a:latin typeface="+mj-lt"/>
                <a:ea typeface="+mj-ea"/>
                <a:cs typeface="+mj-cs"/>
              </a:defRPr>
            </a:lvl1pPr>
          </a:lstStyle>
          <a:p>
            <a:r>
              <a:rPr lang="nb-NO"/>
              <a:t>Introduksjon av prosjektet for VIGO-moderniseringen</a:t>
            </a:r>
          </a:p>
        </p:txBody>
      </p:sp>
      <p:cxnSp>
        <p:nvCxnSpPr>
          <p:cNvPr id="6" name="Rett linje 5">
            <a:extLst>
              <a:ext uri="{FF2B5EF4-FFF2-40B4-BE49-F238E27FC236}">
                <a16:creationId xmlns:a16="http://schemas.microsoft.com/office/drawing/2014/main" id="{E7BB403B-9411-9B26-2D32-A3D1BB12D053}"/>
              </a:ext>
            </a:extLst>
          </p:cNvPr>
          <p:cNvCxnSpPr>
            <a:cxnSpLocks/>
          </p:cNvCxnSpPr>
          <p:nvPr/>
        </p:nvCxnSpPr>
        <p:spPr>
          <a:xfrm>
            <a:off x="385763" y="1042988"/>
            <a:ext cx="11558587" cy="0"/>
          </a:xfrm>
          <a:prstGeom prst="line">
            <a:avLst/>
          </a:prstGeom>
          <a:ln w="1905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ekstSylinder 7">
            <a:extLst>
              <a:ext uri="{FF2B5EF4-FFF2-40B4-BE49-F238E27FC236}">
                <a16:creationId xmlns:a16="http://schemas.microsoft.com/office/drawing/2014/main" id="{DB52D55F-4485-BFEF-1927-B5352F195A46}"/>
              </a:ext>
            </a:extLst>
          </p:cNvPr>
          <p:cNvSpPr txBox="1"/>
          <p:nvPr/>
        </p:nvSpPr>
        <p:spPr>
          <a:xfrm>
            <a:off x="2143125" y="-1128713"/>
            <a:ext cx="65" cy="276999"/>
          </a:xfrm>
          <a:prstGeom prst="rect">
            <a:avLst/>
          </a:prstGeom>
          <a:noFill/>
          <a:ln w="6350">
            <a:solidFill>
              <a:schemeClr val="accent1"/>
            </a:solidFill>
          </a:ln>
          <a:effectLst/>
        </p:spPr>
        <p:style>
          <a:lnRef idx="0">
            <a:schemeClr val="accent1"/>
          </a:lnRef>
          <a:fillRef idx="0">
            <a:schemeClr val="accent1"/>
          </a:fillRef>
          <a:effectRef idx="0">
            <a:schemeClr val="accent1"/>
          </a:effectRef>
          <a:fontRef idx="minor">
            <a:schemeClr val="dk1"/>
          </a:fontRef>
        </p:style>
        <p:txBody>
          <a:bodyPr wrap="none" lIns="0" tIns="0" rIns="0" bIns="0" rtlCol="0">
            <a:spAutoFit/>
          </a:bodyPr>
          <a:lstStyle/>
          <a:p>
            <a:pPr algn="l"/>
            <a:endParaRPr lang="nb-NO" err="1">
              <a:solidFill>
                <a:schemeClr val="accent1"/>
              </a:solidFill>
            </a:endParaRPr>
          </a:p>
        </p:txBody>
      </p:sp>
      <p:sp>
        <p:nvSpPr>
          <p:cNvPr id="12" name="Google Shape;2582;p434">
            <a:extLst>
              <a:ext uri="{FF2B5EF4-FFF2-40B4-BE49-F238E27FC236}">
                <a16:creationId xmlns:a16="http://schemas.microsoft.com/office/drawing/2014/main" id="{BE1766D9-E6EE-8191-E879-D2CA511ACE0E}"/>
              </a:ext>
            </a:extLst>
          </p:cNvPr>
          <p:cNvSpPr txBox="1"/>
          <p:nvPr/>
        </p:nvSpPr>
        <p:spPr>
          <a:xfrm>
            <a:off x="4692210" y="4656536"/>
            <a:ext cx="2089486" cy="614084"/>
          </a:xfrm>
          <a:prstGeom prst="rect">
            <a:avLst/>
          </a:prstGeom>
          <a:noFill/>
          <a:ln>
            <a:noFill/>
          </a:ln>
        </p:spPr>
        <p:txBody>
          <a:bodyPr spcFirstLastPara="1" wrap="square" lIns="0" tIns="0" rIns="0" bIns="0" anchor="t" anchorCtr="0">
            <a:noAutofit/>
          </a:bodyPr>
          <a:lstStyle/>
          <a:p>
            <a:pPr algn="ctr"/>
            <a:r>
              <a:rPr lang="nb-NO" sz="1600">
                <a:sym typeface="Calibri"/>
              </a:rPr>
              <a:t>Jonas Bjørkå-Hjortdal</a:t>
            </a:r>
          </a:p>
          <a:p>
            <a:pPr algn="ctr"/>
            <a:r>
              <a:rPr lang="nb-NO" sz="1600">
                <a:sym typeface="Calibri"/>
              </a:rPr>
              <a:t>Produkteier VIGO</a:t>
            </a:r>
          </a:p>
        </p:txBody>
      </p:sp>
      <p:sp>
        <p:nvSpPr>
          <p:cNvPr id="14" name="Google Shape;2582;p434">
            <a:extLst>
              <a:ext uri="{FF2B5EF4-FFF2-40B4-BE49-F238E27FC236}">
                <a16:creationId xmlns:a16="http://schemas.microsoft.com/office/drawing/2014/main" id="{6F11451E-17DB-7BAD-FCD1-4FE57FB24B84}"/>
              </a:ext>
            </a:extLst>
          </p:cNvPr>
          <p:cNvSpPr txBox="1"/>
          <p:nvPr/>
        </p:nvSpPr>
        <p:spPr>
          <a:xfrm>
            <a:off x="971231" y="4656536"/>
            <a:ext cx="2089486" cy="614084"/>
          </a:xfrm>
          <a:prstGeom prst="rect">
            <a:avLst/>
          </a:prstGeom>
          <a:noFill/>
          <a:ln>
            <a:noFill/>
          </a:ln>
        </p:spPr>
        <p:txBody>
          <a:bodyPr spcFirstLastPara="1" wrap="square" lIns="0" tIns="0" rIns="0" bIns="0" anchor="t" anchorCtr="0">
            <a:noAutofit/>
          </a:bodyPr>
          <a:lstStyle/>
          <a:p>
            <a:pPr algn="ctr"/>
            <a:r>
              <a:rPr lang="nb-NO" sz="1600">
                <a:sym typeface="Calibri"/>
              </a:rPr>
              <a:t>Benedicte Glad</a:t>
            </a:r>
          </a:p>
          <a:p>
            <a:pPr algn="ctr"/>
            <a:r>
              <a:rPr lang="nb-NO" sz="1600">
                <a:sym typeface="Calibri"/>
              </a:rPr>
              <a:t>Prosjektleder</a:t>
            </a:r>
          </a:p>
        </p:txBody>
      </p:sp>
      <p:pic>
        <p:nvPicPr>
          <p:cNvPr id="20" name="Bilde 19" descr="Et bilde som inneholder Menneskeansikt, person, klær, smil&#10;&#10;KI-generert innhold kan være feil.">
            <a:extLst>
              <a:ext uri="{FF2B5EF4-FFF2-40B4-BE49-F238E27FC236}">
                <a16:creationId xmlns:a16="http://schemas.microsoft.com/office/drawing/2014/main" id="{845FFFFF-3C43-D23F-E278-CB630509A34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19695" y="2306566"/>
            <a:ext cx="2434516" cy="2244867"/>
          </a:xfrm>
          <a:prstGeom prst="rect">
            <a:avLst/>
          </a:prstGeom>
        </p:spPr>
      </p:pic>
      <p:pic>
        <p:nvPicPr>
          <p:cNvPr id="15" name="Bilde 14" descr="Et bilde som inneholder Menneskeansikt, person, smil, klær&#10;&#10;KI-generert innhold kan være feil.">
            <a:extLst>
              <a:ext uri="{FF2B5EF4-FFF2-40B4-BE49-F238E27FC236}">
                <a16:creationId xmlns:a16="http://schemas.microsoft.com/office/drawing/2014/main" id="{3C4638B2-9133-2AFF-6EA0-6A027B3E131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3540" y="2201464"/>
            <a:ext cx="2244867" cy="2244867"/>
          </a:xfrm>
          <a:prstGeom prst="rect">
            <a:avLst/>
          </a:prstGeom>
          <a:ln>
            <a:noFill/>
          </a:ln>
        </p:spPr>
      </p:pic>
      <p:sp>
        <p:nvSpPr>
          <p:cNvPr id="5" name="Google Shape;2582;p434">
            <a:extLst>
              <a:ext uri="{FF2B5EF4-FFF2-40B4-BE49-F238E27FC236}">
                <a16:creationId xmlns:a16="http://schemas.microsoft.com/office/drawing/2014/main" id="{43E58AE3-2D9E-280E-773D-8EBC42082CA0}"/>
              </a:ext>
            </a:extLst>
          </p:cNvPr>
          <p:cNvSpPr txBox="1"/>
          <p:nvPr/>
        </p:nvSpPr>
        <p:spPr>
          <a:xfrm>
            <a:off x="8413189" y="4656536"/>
            <a:ext cx="2807580" cy="614084"/>
          </a:xfrm>
          <a:prstGeom prst="rect">
            <a:avLst/>
          </a:prstGeom>
          <a:noFill/>
          <a:ln>
            <a:noFill/>
          </a:ln>
        </p:spPr>
        <p:txBody>
          <a:bodyPr spcFirstLastPara="1" wrap="square" lIns="0" tIns="0" rIns="0" bIns="0" anchor="t" anchorCtr="0">
            <a:noAutofit/>
          </a:bodyPr>
          <a:lstStyle/>
          <a:p>
            <a:pPr algn="ctr"/>
            <a:r>
              <a:rPr lang="nb-NO" sz="1600">
                <a:sym typeface="Calibri"/>
              </a:rPr>
              <a:t>Anne Synnøve Sundsteigen</a:t>
            </a:r>
          </a:p>
          <a:p>
            <a:pPr algn="ctr"/>
            <a:r>
              <a:rPr lang="nb-NO" sz="1600">
                <a:sym typeface="Calibri"/>
              </a:rPr>
              <a:t>Kommunikasjonsansvarlig VIGO Moderniseringen</a:t>
            </a:r>
          </a:p>
        </p:txBody>
      </p:sp>
      <p:pic>
        <p:nvPicPr>
          <p:cNvPr id="3" name="Picture 2">
            <a:extLst>
              <a:ext uri="{FF2B5EF4-FFF2-40B4-BE49-F238E27FC236}">
                <a16:creationId xmlns:a16="http://schemas.microsoft.com/office/drawing/2014/main" id="{E6303CBE-1172-5938-C1E6-77A1F844BFA9}"/>
              </a:ext>
            </a:extLst>
          </p:cNvPr>
          <p:cNvPicPr>
            <a:picLocks noChangeAspect="1"/>
          </p:cNvPicPr>
          <p:nvPr/>
        </p:nvPicPr>
        <p:blipFill>
          <a:blip r:embed="rId7"/>
          <a:srcRect l="13250" t="-400" r="20363" b="17806"/>
          <a:stretch>
            <a:fillRect/>
          </a:stretch>
        </p:blipFill>
        <p:spPr>
          <a:xfrm>
            <a:off x="8724144" y="2278098"/>
            <a:ext cx="1969813" cy="2274372"/>
          </a:xfrm>
          <a:prstGeom prst="rect">
            <a:avLst/>
          </a:prstGeom>
        </p:spPr>
      </p:pic>
    </p:spTree>
    <p:extLst>
      <p:ext uri="{BB962C8B-B14F-4D97-AF65-F5344CB8AC3E}">
        <p14:creationId xmlns:p14="http://schemas.microsoft.com/office/powerpoint/2010/main" val="13727175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F0301B-A3ED-2173-AAFD-505EC6C7D36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724206A-51DA-405A-F97F-07D15631BA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5724206A-51DA-405A-F97F-07D15631BA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34B6CCB-EA9E-5312-7228-FE102BF49948}"/>
              </a:ext>
            </a:extLst>
          </p:cNvPr>
          <p:cNvSpPr>
            <a:spLocks noGrp="1"/>
          </p:cNvSpPr>
          <p:nvPr>
            <p:ph type="sldNum" sz="quarter" idx="12"/>
          </p:nvPr>
        </p:nvSpPr>
        <p:spPr/>
        <p:txBody>
          <a:bodyPr/>
          <a:lstStyle/>
          <a:p>
            <a:fld id="{BE2ACD00-28B2-4D17-A930-2C9F8441C7CA}" type="slidenum">
              <a:rPr lang="nb-NO" smtClean="0"/>
              <a:pPr/>
              <a:t>20</a:t>
            </a:fld>
            <a:endParaRPr lang="nb-NO"/>
          </a:p>
        </p:txBody>
      </p:sp>
      <p:sp>
        <p:nvSpPr>
          <p:cNvPr id="5" name="Google Shape;1007;g2e0683f995c_0_0">
            <a:extLst>
              <a:ext uri="{FF2B5EF4-FFF2-40B4-BE49-F238E27FC236}">
                <a16:creationId xmlns:a16="http://schemas.microsoft.com/office/drawing/2014/main" id="{C6C20406-A2AB-43E4-BD5E-205B7AB92278}"/>
              </a:ext>
            </a:extLst>
          </p:cNvPr>
          <p:cNvSpPr txBox="1">
            <a:spLocks/>
          </p:cNvSpPr>
          <p:nvPr/>
        </p:nvSpPr>
        <p:spPr>
          <a:xfrm>
            <a:off x="382000" y="486981"/>
            <a:ext cx="11520900" cy="538974"/>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nb-NO" sz="3200" i="0" u="none" strike="noStrike" kern="0" cap="none" spc="0" normalizeH="0" baseline="0" noProof="0">
                <a:ln>
                  <a:noFill/>
                </a:ln>
                <a:solidFill>
                  <a:schemeClr val="accent1"/>
                </a:solidFill>
                <a:effectLst/>
                <a:uLnTx/>
                <a:uFillTx/>
                <a:latin typeface="Brockmann"/>
                <a:ea typeface="+mn-ea"/>
                <a:cs typeface="Georgia"/>
                <a:sym typeface="Georgia"/>
              </a:rPr>
              <a:t>Nåsituasjon</a:t>
            </a:r>
            <a:endParaRPr kumimoji="0" lang="nb-NO" sz="3200" i="0" u="none" strike="noStrike" kern="0" cap="none" spc="0" normalizeH="0" baseline="0" noProof="0">
              <a:ln>
                <a:noFill/>
              </a:ln>
              <a:solidFill>
                <a:schemeClr val="accent1"/>
              </a:solidFill>
              <a:effectLst/>
              <a:uLnTx/>
              <a:uFillTx/>
              <a:latin typeface="Brockmann"/>
              <a:sym typeface="Calibri"/>
            </a:endParaRPr>
          </a:p>
        </p:txBody>
      </p:sp>
    </p:spTree>
    <p:extLst>
      <p:ext uri="{BB962C8B-B14F-4D97-AF65-F5344CB8AC3E}">
        <p14:creationId xmlns:p14="http://schemas.microsoft.com/office/powerpoint/2010/main" val="34263853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EAD6753-7813-B946-DA18-413DE9155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9EAD6753-7813-B946-DA18-413DE9155E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99693B6-1DEC-1E27-5AC5-84D69CBFC1CB}"/>
              </a:ext>
            </a:extLst>
          </p:cNvPr>
          <p:cNvSpPr/>
          <p:nvPr/>
        </p:nvSpPr>
        <p:spPr>
          <a:xfrm>
            <a:off x="9338220" y="1075133"/>
            <a:ext cx="2628900" cy="272413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rIns="144000" rtlCol="0" anchor="t"/>
          <a:lstStyle/>
          <a:p>
            <a:pPr marL="285750" indent="-285750">
              <a:buFont typeface="Arial" panose="020B0604020202020204" pitchFamily="34" charset="0"/>
              <a:buChar char="•"/>
            </a:pPr>
            <a:endParaRPr lang="nb-NO" sz="1200">
              <a:latin typeface="+mj-lt"/>
            </a:endParaRPr>
          </a:p>
          <a:p>
            <a:pPr marL="285750" indent="-285750">
              <a:buFont typeface="Arial" panose="020B0604020202020204" pitchFamily="34" charset="0"/>
              <a:buChar char="•"/>
            </a:pPr>
            <a:endParaRPr lang="nb-NO" sz="1200">
              <a:latin typeface="+mj-lt"/>
            </a:endParaRPr>
          </a:p>
          <a:p>
            <a:pPr marL="285750" indent="-285750">
              <a:buFont typeface="Arial" panose="020B0604020202020204" pitchFamily="34" charset="0"/>
              <a:buChar char="•"/>
            </a:pPr>
            <a:endParaRPr lang="nb-NO" sz="1200">
              <a:latin typeface="+mj-lt"/>
            </a:endParaRPr>
          </a:p>
          <a:p>
            <a:pPr marL="285750" indent="-285750">
              <a:buFont typeface="Arial" panose="020B0604020202020204" pitchFamily="34" charset="0"/>
              <a:buChar char="•"/>
            </a:pPr>
            <a:endParaRPr lang="nb-NO" sz="1200">
              <a:latin typeface="+mj-lt"/>
            </a:endParaRPr>
          </a:p>
          <a:p>
            <a:pPr marL="285750" indent="-285750">
              <a:buFont typeface="Arial" panose="020B0604020202020204" pitchFamily="34" charset="0"/>
              <a:buChar char="•"/>
            </a:pPr>
            <a:r>
              <a:rPr lang="nb-NO" sz="1200">
                <a:latin typeface="+mj-lt"/>
              </a:rPr>
              <a:t>Stabilt system med høy pålitelighet og oppetid</a:t>
            </a:r>
          </a:p>
          <a:p>
            <a:pPr marL="285750" indent="-285750">
              <a:buFont typeface="Arial" panose="020B0604020202020204" pitchFamily="34" charset="0"/>
              <a:buChar char="•"/>
            </a:pPr>
            <a:r>
              <a:rPr lang="nb-NO" sz="1200">
                <a:latin typeface="+mj-lt"/>
                <a:sym typeface="Arial"/>
              </a:rPr>
              <a:t>Leverandøren yter god brukerstøtte og rask responstid på henvendelser fra brukere</a:t>
            </a:r>
          </a:p>
          <a:p>
            <a:pPr marL="285750" indent="-285750">
              <a:buFont typeface="Arial" panose="020B0604020202020204" pitchFamily="34" charset="0"/>
              <a:buChar char="•"/>
            </a:pPr>
            <a:r>
              <a:rPr lang="nb-NO" sz="1200">
                <a:latin typeface="+mj-lt"/>
                <a:sym typeface="Arial"/>
              </a:rPr>
              <a:t>Stor grad av brukerinvolvering for å løse funksjonelle behov</a:t>
            </a:r>
          </a:p>
          <a:p>
            <a:pPr marL="285750" indent="-285750">
              <a:buFont typeface="Arial" panose="020B0604020202020204" pitchFamily="34" charset="0"/>
              <a:buChar char="•"/>
            </a:pPr>
            <a:endParaRPr lang="nb-NO" sz="1200">
              <a:latin typeface="+mj-lt"/>
            </a:endParaRPr>
          </a:p>
        </p:txBody>
      </p:sp>
      <p:sp>
        <p:nvSpPr>
          <p:cNvPr id="12" name="Rectangle 11">
            <a:extLst>
              <a:ext uri="{FF2B5EF4-FFF2-40B4-BE49-F238E27FC236}">
                <a16:creationId xmlns:a16="http://schemas.microsoft.com/office/drawing/2014/main" id="{6CE65DCC-7D9F-D9E4-B575-A7483446D1A9}"/>
              </a:ext>
            </a:extLst>
          </p:cNvPr>
          <p:cNvSpPr/>
          <p:nvPr/>
        </p:nvSpPr>
        <p:spPr>
          <a:xfrm>
            <a:off x="9338220" y="3843977"/>
            <a:ext cx="2628900" cy="272818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rIns="144000" rtlCol="0" anchor="ctr"/>
          <a:lstStyle/>
          <a:p>
            <a:pPr marL="285750" indent="-285750">
              <a:buFont typeface="Arial" panose="020B0604020202020204" pitchFamily="34" charset="0"/>
              <a:buChar char="•"/>
            </a:pPr>
            <a:endParaRPr lang="nb-NO" sz="1200">
              <a:latin typeface="+mj-lt"/>
              <a:sym typeface="Arial"/>
            </a:endParaRPr>
          </a:p>
          <a:p>
            <a:pPr marL="285750" indent="-285750">
              <a:buFont typeface="Arial" panose="020B0604020202020204" pitchFamily="34" charset="0"/>
              <a:buChar char="•"/>
            </a:pPr>
            <a:r>
              <a:rPr lang="nb-NO" sz="1200">
                <a:latin typeface="+mj-lt"/>
                <a:sym typeface="Arial"/>
              </a:rPr>
              <a:t>Systemet er preget av mye teknisk gjeld og eldre teknologi</a:t>
            </a:r>
          </a:p>
          <a:p>
            <a:pPr marL="285750" indent="-285750">
              <a:buFont typeface="Arial" panose="020B0604020202020204" pitchFamily="34" charset="0"/>
              <a:buChar char="•"/>
            </a:pPr>
            <a:r>
              <a:rPr lang="nb-NO" sz="1200">
                <a:latin typeface="+mj-lt"/>
                <a:sym typeface="Arial"/>
              </a:rPr>
              <a:t>Mangelfull helhetsplan for den tekniske løsningen</a:t>
            </a:r>
          </a:p>
          <a:p>
            <a:pPr marL="285750" indent="-285750">
              <a:buFont typeface="Arial" panose="020B0604020202020204" pitchFamily="34" charset="0"/>
              <a:buChar char="•"/>
            </a:pPr>
            <a:r>
              <a:rPr lang="nb-NO" sz="1200">
                <a:latin typeface="+mj-lt"/>
                <a:sym typeface="Arial"/>
              </a:rPr>
              <a:t>Ønsker sterkere eierskap til systemet og videreutviklingen</a:t>
            </a:r>
          </a:p>
        </p:txBody>
      </p:sp>
      <p:sp>
        <p:nvSpPr>
          <p:cNvPr id="9" name="Rectangle 8">
            <a:extLst>
              <a:ext uri="{FF2B5EF4-FFF2-40B4-BE49-F238E27FC236}">
                <a16:creationId xmlns:a16="http://schemas.microsoft.com/office/drawing/2014/main" id="{42CCF119-7731-8C9F-555A-C3D1F8BECBA5}"/>
              </a:ext>
            </a:extLst>
          </p:cNvPr>
          <p:cNvSpPr/>
          <p:nvPr/>
        </p:nvSpPr>
        <p:spPr>
          <a:xfrm>
            <a:off x="323850" y="1068783"/>
            <a:ext cx="2133600" cy="550337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rIns="144000" rtlCol="0" anchor="ctr"/>
          <a:lstStyle/>
          <a:p>
            <a:pPr algn="ctr"/>
            <a:endParaRPr kumimoji="0" lang="nb-NO" sz="1400" b="0" i="0" u="none" strike="noStrike" kern="0" cap="none" spc="0" normalizeH="0" baseline="0" noProof="0">
              <a:ln>
                <a:noFill/>
              </a:ln>
              <a:effectLst/>
              <a:uLnTx/>
              <a:uFillTx/>
              <a:latin typeface="+mj-lt"/>
              <a:ea typeface="Calibri"/>
              <a:cs typeface="Calibri"/>
              <a:sym typeface="Calibri"/>
            </a:endParaRPr>
          </a:p>
          <a:p>
            <a:pPr algn="ctr"/>
            <a:endParaRPr lang="nb-NO" sz="1400" kern="0">
              <a:latin typeface="+mj-lt"/>
              <a:ea typeface="Calibri"/>
              <a:cs typeface="Calibri"/>
              <a:sym typeface="Calibri"/>
            </a:endParaRPr>
          </a:p>
          <a:p>
            <a:pPr algn="ctr"/>
            <a:endParaRPr kumimoji="0" lang="nb-NO" sz="1200" b="0" i="0" u="none" strike="noStrike" kern="0" cap="none" spc="0" normalizeH="0" baseline="0" noProof="0">
              <a:ln>
                <a:noFill/>
              </a:ln>
              <a:effectLst/>
              <a:uLnTx/>
              <a:uFillTx/>
              <a:latin typeface="+mj-lt"/>
              <a:ea typeface="Calibri"/>
              <a:cs typeface="Calibri"/>
              <a:sym typeface="Calibri"/>
            </a:endParaRPr>
          </a:p>
          <a:p>
            <a:r>
              <a:rPr kumimoji="0" lang="nb-NO" sz="1200" b="0" i="0" u="none" strike="noStrike" kern="0" cap="none" spc="0" normalizeH="0" baseline="0" noProof="0">
                <a:ln>
                  <a:noFill/>
                </a:ln>
                <a:effectLst/>
                <a:uLnTx/>
                <a:uFillTx/>
                <a:latin typeface="+mj-lt"/>
                <a:ea typeface="Calibri"/>
                <a:cs typeface="Calibri"/>
                <a:sym typeface="Calibri"/>
              </a:rPr>
              <a:t>VIGO systemet skal støtte samfunns-oppdraget innenfor videregående opplæring</a:t>
            </a:r>
          </a:p>
          <a:p>
            <a:endParaRPr lang="nb-NO" sz="1200" kern="0">
              <a:latin typeface="+mj-lt"/>
              <a:ea typeface="Calibri"/>
              <a:cs typeface="Calibri"/>
              <a:sym typeface="Calibri"/>
            </a:endParaRPr>
          </a:p>
          <a:p>
            <a:r>
              <a:rPr kumimoji="0" lang="nb-NO" sz="1200" b="0" i="0" u="none" strike="noStrike" kern="0" cap="none" spc="0" normalizeH="0" baseline="0" noProof="0">
                <a:ln>
                  <a:noFill/>
                </a:ln>
                <a:effectLst/>
                <a:uLnTx/>
                <a:uFillTx/>
                <a:latin typeface="+mj-lt"/>
                <a:ea typeface="Calibri"/>
                <a:cs typeface="Calibri"/>
                <a:sym typeface="Calibri"/>
              </a:rPr>
              <a:t>Systemet trenger</a:t>
            </a:r>
          </a:p>
          <a:p>
            <a:r>
              <a:rPr kumimoji="0" lang="nb-NO" sz="1200" b="0" i="0" u="none" strike="noStrike" kern="0" cap="none" spc="0" normalizeH="0" baseline="0" noProof="0">
                <a:ln>
                  <a:noFill/>
                </a:ln>
                <a:effectLst/>
                <a:uLnTx/>
                <a:uFillTx/>
                <a:latin typeface="+mj-lt"/>
                <a:ea typeface="Calibri"/>
                <a:cs typeface="Calibri"/>
                <a:sym typeface="Calibri"/>
              </a:rPr>
              <a:t>en strategi eller visjon for hva systemet skal være utover lovpålagte krav</a:t>
            </a:r>
          </a:p>
          <a:p>
            <a:endParaRPr lang="nb-NO" sz="1200" kern="0">
              <a:latin typeface="+mj-lt"/>
              <a:ea typeface="Calibri"/>
              <a:cs typeface="Calibri"/>
              <a:sym typeface="Calibri"/>
            </a:endParaRPr>
          </a:p>
          <a:p>
            <a:r>
              <a:rPr lang="nb-NO" sz="1200" kern="0">
                <a:latin typeface="+mj-lt"/>
                <a:ea typeface="Calibri"/>
                <a:cs typeface="Calibri"/>
                <a:sym typeface="Calibri"/>
              </a:rPr>
              <a:t>Det foreligger ikke t</a:t>
            </a:r>
            <a:r>
              <a:rPr kumimoji="0" lang="nb-NO" sz="1200" b="0" i="0" u="none" strike="noStrike" kern="0" cap="none" spc="0" normalizeH="0" baseline="0" noProof="0" err="1">
                <a:ln>
                  <a:noFill/>
                </a:ln>
                <a:effectLst/>
                <a:uLnTx/>
                <a:uFillTx/>
                <a:latin typeface="+mj-lt"/>
                <a:ea typeface="Calibri"/>
                <a:cs typeface="Calibri"/>
                <a:sym typeface="Calibri"/>
              </a:rPr>
              <a:t>ilstrekkelig</a:t>
            </a:r>
            <a:r>
              <a:rPr kumimoji="0" lang="nb-NO" sz="1200" b="0" i="0" u="none" strike="noStrike" kern="0" cap="none" spc="0" normalizeH="0" baseline="0" noProof="0">
                <a:ln>
                  <a:noFill/>
                </a:ln>
                <a:effectLst/>
                <a:uLnTx/>
                <a:uFillTx/>
                <a:latin typeface="+mj-lt"/>
                <a:ea typeface="Calibri"/>
                <a:cs typeface="Calibri"/>
                <a:sym typeface="Calibri"/>
              </a:rPr>
              <a:t>  dokumentasjon over systemet og teknisk arkitektur inkludert avhengigheter</a:t>
            </a:r>
          </a:p>
          <a:p>
            <a:pPr algn="ctr"/>
            <a:endParaRPr lang="nb-NO" sz="1400">
              <a:latin typeface="+mj-lt"/>
            </a:endParaRPr>
          </a:p>
        </p:txBody>
      </p:sp>
      <p:sp>
        <p:nvSpPr>
          <p:cNvPr id="10" name="Rectangle 9">
            <a:extLst>
              <a:ext uri="{FF2B5EF4-FFF2-40B4-BE49-F238E27FC236}">
                <a16:creationId xmlns:a16="http://schemas.microsoft.com/office/drawing/2014/main" id="{8ECA367D-C86A-82B5-39C5-6AC064EEE301}"/>
              </a:ext>
            </a:extLst>
          </p:cNvPr>
          <p:cNvSpPr/>
          <p:nvPr/>
        </p:nvSpPr>
        <p:spPr>
          <a:xfrm>
            <a:off x="2457450" y="1070843"/>
            <a:ext cx="6883400" cy="5503378"/>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latin typeface="+mj-lt"/>
            </a:endParaRPr>
          </a:p>
        </p:txBody>
      </p:sp>
      <p:sp>
        <p:nvSpPr>
          <p:cNvPr id="18" name="TextBox 17">
            <a:extLst>
              <a:ext uri="{FF2B5EF4-FFF2-40B4-BE49-F238E27FC236}">
                <a16:creationId xmlns:a16="http://schemas.microsoft.com/office/drawing/2014/main" id="{01B3C7AD-123E-D1AF-818C-AF3E82872620}"/>
              </a:ext>
            </a:extLst>
          </p:cNvPr>
          <p:cNvSpPr txBox="1"/>
          <p:nvPr/>
        </p:nvSpPr>
        <p:spPr>
          <a:xfrm>
            <a:off x="2699013" y="1386283"/>
            <a:ext cx="3030092" cy="369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nb-NO" b="1" i="0" u="none" strike="noStrike" kern="0" cap="none" spc="0" normalizeH="0" baseline="0" noProof="0">
                <a:ln>
                  <a:noFill/>
                </a:ln>
                <a:effectLst/>
                <a:uLnTx/>
                <a:uFillTx/>
                <a:latin typeface="+mj-lt"/>
                <a:ea typeface="Calibri" panose="020F0502020204030204" pitchFamily="34" charset="0"/>
                <a:cs typeface="Calibri" panose="020F0502020204030204" pitchFamily="34" charset="0"/>
                <a:sym typeface="Arial"/>
              </a:rPr>
              <a:t>Teknologi</a:t>
            </a:r>
          </a:p>
        </p:txBody>
      </p:sp>
      <p:sp>
        <p:nvSpPr>
          <p:cNvPr id="19" name="TextBox 18">
            <a:extLst>
              <a:ext uri="{FF2B5EF4-FFF2-40B4-BE49-F238E27FC236}">
                <a16:creationId xmlns:a16="http://schemas.microsoft.com/office/drawing/2014/main" id="{53F7E1C1-6FFD-CA09-83CC-4F42686B88C7}"/>
              </a:ext>
            </a:extLst>
          </p:cNvPr>
          <p:cNvSpPr txBox="1"/>
          <p:nvPr/>
        </p:nvSpPr>
        <p:spPr>
          <a:xfrm>
            <a:off x="6057759" y="1386282"/>
            <a:ext cx="3030093" cy="369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nb-NO" b="1" i="0" u="none" strike="noStrike" kern="0" cap="none" spc="0" normalizeH="0" baseline="0" noProof="0">
                <a:ln>
                  <a:noFill/>
                </a:ln>
                <a:effectLst/>
                <a:uLnTx/>
                <a:uFillTx/>
                <a:latin typeface="+mj-lt"/>
                <a:ea typeface="Calibri" panose="020F0502020204030204" pitchFamily="34" charset="0"/>
                <a:cs typeface="Calibri" panose="020F0502020204030204" pitchFamily="34" charset="0"/>
                <a:sym typeface="Arial"/>
              </a:rPr>
              <a:t>Dataflyt og integrasjoner</a:t>
            </a:r>
          </a:p>
        </p:txBody>
      </p:sp>
      <p:sp>
        <p:nvSpPr>
          <p:cNvPr id="20" name="TextBox 19">
            <a:extLst>
              <a:ext uri="{FF2B5EF4-FFF2-40B4-BE49-F238E27FC236}">
                <a16:creationId xmlns:a16="http://schemas.microsoft.com/office/drawing/2014/main" id="{305B938C-3387-D603-0659-3884ED7D5325}"/>
              </a:ext>
            </a:extLst>
          </p:cNvPr>
          <p:cNvSpPr txBox="1"/>
          <p:nvPr/>
        </p:nvSpPr>
        <p:spPr>
          <a:xfrm>
            <a:off x="2775213" y="1865152"/>
            <a:ext cx="3030092" cy="341632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kumimoji="0" lang="nb-NO" sz="1200" b="0" i="0" u="none" strike="noStrike" kern="0" cap="none" spc="0" normalizeH="0" baseline="0" noProof="0">
                <a:ln>
                  <a:noFill/>
                </a:ln>
                <a:effectLst/>
                <a:uLnTx/>
                <a:uFillTx/>
                <a:latin typeface="+mj-lt"/>
                <a:ea typeface="Calibri"/>
                <a:cs typeface="Calibri"/>
                <a:sym typeface="Calibri"/>
              </a:rPr>
              <a:t>Eldre teknologi og mye teknisk gjeld</a:t>
            </a:r>
          </a:p>
          <a:p>
            <a:pPr marL="285750" marR="0" lvl="0" indent="-28575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endParaRPr lang="nb-NO" sz="1200" kern="0">
              <a:latin typeface="+mj-lt"/>
              <a:ea typeface="Calibri"/>
              <a:cs typeface="Calibri"/>
              <a:sym typeface="Calibri"/>
            </a:endParaRPr>
          </a:p>
          <a:p>
            <a:pPr marL="285750" marR="0" lvl="0" indent="-28575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kumimoji="0" lang="nb-NO" sz="1200" b="0" i="0" u="none" strike="noStrike" kern="0" cap="none" spc="0" normalizeH="0" baseline="0" noProof="0">
                <a:ln>
                  <a:noFill/>
                </a:ln>
                <a:effectLst/>
                <a:uLnTx/>
                <a:uFillTx/>
                <a:latin typeface="+mj-lt"/>
                <a:ea typeface="Calibri"/>
                <a:cs typeface="Calibri"/>
                <a:sym typeface="Calibri"/>
              </a:rPr>
              <a:t>Systemet </a:t>
            </a:r>
            <a:r>
              <a:rPr lang="nb-NO" sz="1200" kern="0">
                <a:latin typeface="+mj-lt"/>
                <a:ea typeface="Calibri"/>
                <a:cs typeface="Calibri"/>
                <a:sym typeface="Calibri"/>
              </a:rPr>
              <a:t>er i mindre grad skalerbart og tilpasningsdyktig til  </a:t>
            </a:r>
            <a:r>
              <a:rPr kumimoji="0" lang="nb-NO" sz="1200" b="0" i="0" u="none" strike="noStrike" kern="0" cap="none" spc="0" normalizeH="0" baseline="0" noProof="0">
                <a:ln>
                  <a:noFill/>
                </a:ln>
                <a:effectLst/>
                <a:uLnTx/>
                <a:uFillTx/>
                <a:latin typeface="+mj-lt"/>
                <a:ea typeface="Calibri"/>
                <a:cs typeface="Calibri"/>
                <a:sym typeface="Calibri"/>
              </a:rPr>
              <a:t>nye myndighetskrav</a:t>
            </a:r>
          </a:p>
          <a:p>
            <a:pPr marR="0" lvl="0" algn="l" defTabSz="914400" rtl="0" eaLnBrk="1" fontAlgn="auto" latinLnBrk="0" hangingPunct="1">
              <a:lnSpc>
                <a:spcPct val="100000"/>
              </a:lnSpc>
              <a:spcBef>
                <a:spcPts val="0"/>
              </a:spcBef>
              <a:spcAft>
                <a:spcPts val="0"/>
              </a:spcAft>
              <a:buClr>
                <a:srgbClr val="000000"/>
              </a:buClr>
              <a:buSzPts val="1100"/>
              <a:tabLst/>
              <a:defRPr/>
            </a:pPr>
            <a:endParaRPr lang="nb-NO" sz="1200" kern="0">
              <a:latin typeface="+mj-lt"/>
              <a:ea typeface="Calibri"/>
              <a:cs typeface="Calibri"/>
              <a:sym typeface="Calibri"/>
            </a:endParaRPr>
          </a:p>
          <a:p>
            <a:pPr marL="285750" marR="0" lvl="0" indent="-28575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nb-NO" sz="1200" kern="0">
                <a:latin typeface="+mj-lt"/>
                <a:ea typeface="Calibri"/>
                <a:cs typeface="Calibri"/>
                <a:sym typeface="Calibri"/>
              </a:rPr>
              <a:t>Systemet er bygget opp med en stor database </a:t>
            </a:r>
          </a:p>
          <a:p>
            <a:pPr marL="285750" marR="0" lvl="0" indent="-28575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endParaRPr lang="nb-NO" sz="1200" kern="0">
              <a:latin typeface="+mj-lt"/>
              <a:ea typeface="Calibri"/>
              <a:cs typeface="Calibri"/>
              <a:sym typeface="Calibri"/>
            </a:endParaRPr>
          </a:p>
          <a:p>
            <a:pPr marL="285750" marR="0" lvl="0" indent="-28575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nb-NO" sz="1200" kern="0">
                <a:latin typeface="+mj-lt"/>
                <a:ea typeface="Calibri"/>
                <a:cs typeface="Calibri"/>
                <a:sym typeface="Calibri"/>
              </a:rPr>
              <a:t>Mange avhengigheter mellom databasen og applikasjonene</a:t>
            </a:r>
          </a:p>
          <a:p>
            <a:pPr marL="285750" marR="0" lvl="0" indent="-28575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endParaRPr lang="nb-NO" sz="1200" kern="0">
              <a:latin typeface="+mj-lt"/>
              <a:ea typeface="Calibri"/>
              <a:cs typeface="Calibri"/>
              <a:sym typeface="Calibri"/>
            </a:endParaRPr>
          </a:p>
          <a:p>
            <a:pPr marL="285750" marR="0" lvl="0" indent="-28575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nb-NO" sz="1200" kern="0">
                <a:latin typeface="+mj-lt"/>
                <a:ea typeface="Calibri"/>
                <a:cs typeface="Calibri"/>
                <a:sym typeface="Calibri"/>
              </a:rPr>
              <a:t>Forretningslogikk er utviklet i databasen og i applikasjonene</a:t>
            </a:r>
          </a:p>
          <a:p>
            <a:pPr marL="285750" marR="0" lvl="0" indent="-28575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endParaRPr kumimoji="0" lang="nb-NO" sz="1200" b="0" i="0" u="none" strike="noStrike" kern="0" cap="none" spc="0" normalizeH="0" baseline="0" noProof="0">
              <a:ln>
                <a:noFill/>
              </a:ln>
              <a:effectLst/>
              <a:uLnTx/>
              <a:uFillTx/>
              <a:latin typeface="+mj-lt"/>
              <a:ea typeface="Calibri"/>
              <a:cs typeface="Calibri"/>
              <a:sym typeface="Calibri"/>
            </a:endParaRPr>
          </a:p>
          <a:p>
            <a:pPr marL="285750" marR="0" lvl="0" indent="-28575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nb-NO" sz="1200" kern="0">
                <a:latin typeface="+mj-lt"/>
                <a:ea typeface="Calibri"/>
                <a:cs typeface="Calibri"/>
                <a:sym typeface="Calibri"/>
              </a:rPr>
              <a:t>Deler av systemet er ikke skalerbart og krever mye vedlikehold</a:t>
            </a:r>
            <a:endParaRPr kumimoji="0" lang="nb-NO" sz="1200" b="0" i="0" u="none" strike="noStrike" kern="0" cap="none" spc="0" normalizeH="0" baseline="0" noProof="0">
              <a:ln>
                <a:noFill/>
              </a:ln>
              <a:effectLst/>
              <a:uLnTx/>
              <a:uFillTx/>
              <a:latin typeface="+mj-lt"/>
              <a:ea typeface="Calibri"/>
              <a:cs typeface="Calibri"/>
              <a:sym typeface="Calibri"/>
            </a:endParaRPr>
          </a:p>
          <a:p>
            <a:pPr marL="171450" marR="0" lvl="0" indent="-17145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endParaRPr lang="nb-NO" sz="1200" kern="0">
              <a:latin typeface="+mj-lt"/>
              <a:ea typeface="Calibri"/>
              <a:cs typeface="Calibri"/>
              <a:sym typeface="Calibri"/>
            </a:endParaRPr>
          </a:p>
          <a:p>
            <a:pPr marL="171450" marR="0" lvl="0" indent="-17145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endParaRPr kumimoji="0" lang="nb-NO" sz="1200" b="0" i="0" u="none" strike="noStrike" kern="0" cap="none" spc="0" normalizeH="0" baseline="0" noProof="0">
              <a:ln>
                <a:noFill/>
              </a:ln>
              <a:effectLst/>
              <a:uLnTx/>
              <a:uFillTx/>
              <a:latin typeface="+mj-lt"/>
              <a:ea typeface="Calibri"/>
              <a:cs typeface="Calibri"/>
              <a:sym typeface="Calibri"/>
            </a:endParaRPr>
          </a:p>
        </p:txBody>
      </p:sp>
      <p:sp>
        <p:nvSpPr>
          <p:cNvPr id="21" name="TextBox 20">
            <a:extLst>
              <a:ext uri="{FF2B5EF4-FFF2-40B4-BE49-F238E27FC236}">
                <a16:creationId xmlns:a16="http://schemas.microsoft.com/office/drawing/2014/main" id="{7934BBEC-FA88-B81E-7229-64BD88B6262A}"/>
              </a:ext>
            </a:extLst>
          </p:cNvPr>
          <p:cNvSpPr txBox="1"/>
          <p:nvPr/>
        </p:nvSpPr>
        <p:spPr>
          <a:xfrm>
            <a:off x="6095999" y="1865152"/>
            <a:ext cx="3030092" cy="3231654"/>
          </a:xfrm>
          <a:prstGeom prst="rect">
            <a:avLst/>
          </a:prstGeom>
          <a:noFill/>
        </p:spPr>
        <p:txBody>
          <a:bodyPr wrap="square" rtlCol="0">
            <a:spAutoFit/>
          </a:bodyPr>
          <a:lstStyle/>
          <a:p>
            <a:pPr marL="285750" marR="0" lvl="0" indent="-285750" algn="l" defTabSz="91440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nb-NO" sz="1200" kern="0">
                <a:latin typeface="+mj-lt"/>
                <a:ea typeface="Calibri"/>
                <a:cs typeface="Calibri"/>
                <a:sym typeface="Calibri"/>
              </a:rPr>
              <a:t>Systemet mangler en integrasjonsplattform</a:t>
            </a:r>
          </a:p>
          <a:p>
            <a:pPr marL="285750" marR="0" lvl="0" indent="-285750" algn="l" defTabSz="91440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endParaRPr kumimoji="0" lang="nb-NO" sz="1200" b="0" i="0" u="none" strike="noStrike" kern="0" cap="none" spc="0" normalizeH="0" baseline="0" noProof="0">
              <a:ln>
                <a:noFill/>
              </a:ln>
              <a:effectLst/>
              <a:uLnTx/>
              <a:uFillTx/>
              <a:latin typeface="+mj-lt"/>
              <a:ea typeface="Calibri"/>
              <a:cs typeface="Calibri"/>
              <a:sym typeface="Calibri"/>
            </a:endParaRPr>
          </a:p>
          <a:p>
            <a:pPr marL="285750" marR="0" lvl="0" indent="-285750" algn="l" defTabSz="91440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nb-NO" sz="1200" kern="0">
                <a:latin typeface="+mj-lt"/>
                <a:ea typeface="Calibri"/>
                <a:cs typeface="Calibri"/>
                <a:sym typeface="Calibri"/>
              </a:rPr>
              <a:t>Dataflyten er preget av manuelle fileksporter og importer</a:t>
            </a:r>
            <a:endParaRPr kumimoji="0" lang="nb-NO" sz="1200" b="0" i="0" u="none" strike="noStrike" kern="0" cap="none" spc="0" normalizeH="0" baseline="0" noProof="0">
              <a:ln>
                <a:noFill/>
              </a:ln>
              <a:effectLst/>
              <a:uLnTx/>
              <a:uFillTx/>
              <a:latin typeface="+mj-lt"/>
              <a:ea typeface="Calibri"/>
              <a:cs typeface="Calibri"/>
              <a:sym typeface="Calibri"/>
            </a:endParaRPr>
          </a:p>
          <a:p>
            <a:pPr marL="285750" marR="0" lvl="0" indent="-285750" algn="l" defTabSz="91440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endParaRPr lang="nb-NO" sz="1200" kern="0">
              <a:latin typeface="+mj-lt"/>
              <a:ea typeface="Calibri"/>
              <a:cs typeface="Calibri"/>
              <a:sym typeface="Calibri"/>
            </a:endParaRPr>
          </a:p>
          <a:p>
            <a:pPr marL="285750" marR="0" lvl="0" indent="-285750" algn="l" defTabSz="91440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nb-NO" sz="1200" kern="0">
                <a:latin typeface="+mj-lt"/>
                <a:ea typeface="Calibri"/>
                <a:cs typeface="Calibri"/>
                <a:sym typeface="Calibri"/>
              </a:rPr>
              <a:t>Systemet er koblet mot et fåtall eksterne </a:t>
            </a:r>
            <a:r>
              <a:rPr lang="nb-NO" sz="1200" kern="0" err="1">
                <a:latin typeface="+mj-lt"/>
                <a:ea typeface="Calibri"/>
                <a:cs typeface="Calibri"/>
                <a:sym typeface="Calibri"/>
              </a:rPr>
              <a:t>API’er</a:t>
            </a:r>
            <a:endParaRPr lang="nb-NO" sz="1200" kern="0">
              <a:latin typeface="+mj-lt"/>
              <a:ea typeface="Calibri"/>
              <a:cs typeface="Calibri"/>
              <a:sym typeface="Calibri"/>
            </a:endParaRPr>
          </a:p>
          <a:p>
            <a:pPr marL="285750" lvl="0" indent="-285750" fontAlgn="auto">
              <a:buClr>
                <a:srgbClr val="000000"/>
              </a:buClr>
              <a:buSzPts val="1100"/>
              <a:buFont typeface="Arial" panose="020B0604020202020204" pitchFamily="34" charset="0"/>
              <a:buChar char="•"/>
              <a:defRPr/>
            </a:pPr>
            <a:endParaRPr lang="nb-NO" sz="1200" kern="0">
              <a:latin typeface="+mj-lt"/>
              <a:ea typeface="Calibri"/>
              <a:cs typeface="Calibri"/>
              <a:sym typeface="Calibri"/>
            </a:endParaRPr>
          </a:p>
          <a:p>
            <a:pPr marL="285750" lvl="0" indent="-285750" fontAlgn="auto">
              <a:buClr>
                <a:srgbClr val="000000"/>
              </a:buClr>
              <a:buSzPts val="1100"/>
              <a:buFont typeface="Arial" panose="020B0604020202020204" pitchFamily="34" charset="0"/>
              <a:buChar char="•"/>
              <a:defRPr/>
            </a:pPr>
            <a:r>
              <a:rPr lang="nb-NO" sz="1200" kern="0">
                <a:latin typeface="+mj-lt"/>
                <a:ea typeface="Calibri"/>
                <a:cs typeface="Calibri"/>
                <a:sym typeface="Calibri"/>
              </a:rPr>
              <a:t>Det er utviklet </a:t>
            </a:r>
            <a:r>
              <a:rPr lang="nb-NO" sz="1200" kern="0" err="1">
                <a:latin typeface="+mj-lt"/>
                <a:ea typeface="Calibri"/>
                <a:cs typeface="Calibri"/>
                <a:sym typeface="Calibri"/>
              </a:rPr>
              <a:t>API’er</a:t>
            </a:r>
            <a:r>
              <a:rPr lang="nb-NO" sz="1200" kern="0">
                <a:latin typeface="+mj-lt"/>
                <a:ea typeface="Calibri"/>
                <a:cs typeface="Calibri"/>
                <a:sym typeface="Calibri"/>
              </a:rPr>
              <a:t> per forespørsel som har medført til stor grad av skreddersøm</a:t>
            </a:r>
          </a:p>
          <a:p>
            <a:pPr marL="285750" lvl="0" indent="-285750" fontAlgn="auto">
              <a:buClr>
                <a:srgbClr val="000000"/>
              </a:buClr>
              <a:buSzPts val="1100"/>
              <a:buFont typeface="Arial" panose="020B0604020202020204" pitchFamily="34" charset="0"/>
              <a:buChar char="•"/>
              <a:defRPr/>
            </a:pPr>
            <a:endParaRPr kumimoji="0" lang="nb-NO" sz="1200" b="0" i="0" u="none" strike="noStrike" kern="0" cap="none" spc="0" normalizeH="0" baseline="0" noProof="0">
              <a:ln>
                <a:noFill/>
              </a:ln>
              <a:effectLst/>
              <a:uLnTx/>
              <a:uFillTx/>
              <a:latin typeface="+mj-lt"/>
              <a:ea typeface="Calibri"/>
              <a:cs typeface="Calibri"/>
              <a:sym typeface="Calibri"/>
            </a:endParaRPr>
          </a:p>
          <a:p>
            <a:pPr marL="285750" lvl="0" indent="-285750" fontAlgn="auto">
              <a:buClr>
                <a:srgbClr val="000000"/>
              </a:buClr>
              <a:buSzPts val="1100"/>
              <a:buFont typeface="Arial" panose="020B0604020202020204" pitchFamily="34" charset="0"/>
              <a:buChar char="•"/>
              <a:defRPr/>
            </a:pPr>
            <a:r>
              <a:rPr kumimoji="0" lang="nb-NO" sz="1200" b="0" i="0" u="none" strike="noStrike" kern="0" cap="none" spc="0" normalizeH="0" baseline="0" noProof="0">
                <a:ln>
                  <a:noFill/>
                </a:ln>
                <a:effectLst/>
                <a:uLnTx/>
                <a:uFillTx/>
                <a:latin typeface="+mj-lt"/>
                <a:ea typeface="Calibri"/>
                <a:cs typeface="Calibri"/>
                <a:sym typeface="Calibri"/>
              </a:rPr>
              <a:t>VIGO systemet er en veldig viktig kilde til data og statistikk for ulike offentlige aktører</a:t>
            </a:r>
            <a:endParaRPr lang="nb-NO" sz="1200" kern="0">
              <a:latin typeface="+mj-lt"/>
              <a:ea typeface="Calibri"/>
              <a:cs typeface="Calibri"/>
              <a:sym typeface="Calibri"/>
            </a:endParaRPr>
          </a:p>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nb-NO" sz="1200" b="0" i="0" u="none" strike="noStrike" kern="0" cap="none" spc="0" normalizeH="0" baseline="0" noProof="0">
              <a:ln>
                <a:noFill/>
              </a:ln>
              <a:effectLst/>
              <a:uLnTx/>
              <a:uFillTx/>
              <a:latin typeface="+mj-lt"/>
              <a:cs typeface="Arial"/>
              <a:sym typeface="Arial"/>
            </a:endParaRPr>
          </a:p>
        </p:txBody>
      </p:sp>
      <p:pic>
        <p:nvPicPr>
          <p:cNvPr id="26" name="Graphic 25" descr="Excellent outline">
            <a:extLst>
              <a:ext uri="{FF2B5EF4-FFF2-40B4-BE49-F238E27FC236}">
                <a16:creationId xmlns:a16="http://schemas.microsoft.com/office/drawing/2014/main" id="{1A966DEA-F645-78CD-70E6-803E1AC0E5D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68022" y="1155056"/>
            <a:ext cx="612641" cy="612641"/>
          </a:xfrm>
          <a:prstGeom prst="rect">
            <a:avLst/>
          </a:prstGeom>
        </p:spPr>
      </p:pic>
      <p:pic>
        <p:nvPicPr>
          <p:cNvPr id="24" name="Graphic 23" descr="High voltage outline">
            <a:extLst>
              <a:ext uri="{FF2B5EF4-FFF2-40B4-BE49-F238E27FC236}">
                <a16:creationId xmlns:a16="http://schemas.microsoft.com/office/drawing/2014/main" id="{40151C44-23D5-2B58-5E08-7EF323DD670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404199" y="3949271"/>
            <a:ext cx="540287" cy="540287"/>
          </a:xfrm>
          <a:prstGeom prst="rect">
            <a:avLst/>
          </a:prstGeom>
        </p:spPr>
      </p:pic>
      <p:grpSp>
        <p:nvGrpSpPr>
          <p:cNvPr id="2" name="Google Shape;1397;p95">
            <a:extLst>
              <a:ext uri="{FF2B5EF4-FFF2-40B4-BE49-F238E27FC236}">
                <a16:creationId xmlns:a16="http://schemas.microsoft.com/office/drawing/2014/main" id="{6E5CF1A4-A348-DF83-1574-7C17E42CC4E1}"/>
              </a:ext>
            </a:extLst>
          </p:cNvPr>
          <p:cNvGrpSpPr/>
          <p:nvPr/>
        </p:nvGrpSpPr>
        <p:grpSpPr>
          <a:xfrm>
            <a:off x="1118326" y="1516032"/>
            <a:ext cx="512563" cy="698241"/>
            <a:chOff x="1082141" y="1320288"/>
            <a:chExt cx="223122" cy="303949"/>
          </a:xfrm>
          <a:solidFill>
            <a:schemeClr val="bg1"/>
          </a:solidFill>
        </p:grpSpPr>
        <p:sp>
          <p:nvSpPr>
            <p:cNvPr id="3" name="Google Shape;1398;p95">
              <a:extLst>
                <a:ext uri="{FF2B5EF4-FFF2-40B4-BE49-F238E27FC236}">
                  <a16:creationId xmlns:a16="http://schemas.microsoft.com/office/drawing/2014/main" id="{53F46DD8-12BA-3ED9-2F7B-AE7E2C3B0F9D}"/>
                </a:ext>
              </a:extLst>
            </p:cNvPr>
            <p:cNvSpPr/>
            <p:nvPr/>
          </p:nvSpPr>
          <p:spPr>
            <a:xfrm>
              <a:off x="1082141" y="1320288"/>
              <a:ext cx="223122" cy="303949"/>
            </a:xfrm>
            <a:custGeom>
              <a:avLst/>
              <a:gdLst/>
              <a:ahLst/>
              <a:cxnLst/>
              <a:rect l="l" t="t" r="r" b="b"/>
              <a:pathLst>
                <a:path w="726" h="989" extrusionOk="0">
                  <a:moveTo>
                    <a:pt x="470" y="34"/>
                  </a:moveTo>
                  <a:lnTo>
                    <a:pt x="691" y="287"/>
                  </a:lnTo>
                  <a:lnTo>
                    <a:pt x="691" y="938"/>
                  </a:lnTo>
                  <a:cubicBezTo>
                    <a:pt x="691" y="949"/>
                    <a:pt x="686" y="957"/>
                    <a:pt x="675" y="957"/>
                  </a:cubicBezTo>
                  <a:lnTo>
                    <a:pt x="48" y="957"/>
                  </a:lnTo>
                  <a:cubicBezTo>
                    <a:pt x="40" y="957"/>
                    <a:pt x="32" y="949"/>
                    <a:pt x="32" y="938"/>
                  </a:cubicBezTo>
                  <a:lnTo>
                    <a:pt x="32" y="50"/>
                  </a:lnTo>
                  <a:cubicBezTo>
                    <a:pt x="32" y="40"/>
                    <a:pt x="40" y="34"/>
                    <a:pt x="48" y="34"/>
                  </a:cubicBezTo>
                  <a:close/>
                  <a:moveTo>
                    <a:pt x="48" y="0"/>
                  </a:moveTo>
                  <a:cubicBezTo>
                    <a:pt x="22" y="0"/>
                    <a:pt x="1" y="24"/>
                    <a:pt x="1" y="50"/>
                  </a:cubicBezTo>
                  <a:lnTo>
                    <a:pt x="1" y="938"/>
                  </a:lnTo>
                  <a:cubicBezTo>
                    <a:pt x="1" y="965"/>
                    <a:pt x="22" y="988"/>
                    <a:pt x="48" y="988"/>
                  </a:cubicBezTo>
                  <a:lnTo>
                    <a:pt x="675" y="988"/>
                  </a:lnTo>
                  <a:cubicBezTo>
                    <a:pt x="702" y="988"/>
                    <a:pt x="725" y="965"/>
                    <a:pt x="725" y="938"/>
                  </a:cubicBezTo>
                  <a:lnTo>
                    <a:pt x="725" y="279"/>
                  </a:lnTo>
                  <a:cubicBezTo>
                    <a:pt x="725" y="277"/>
                    <a:pt x="725" y="274"/>
                    <a:pt x="720" y="272"/>
                  </a:cubicBezTo>
                  <a:lnTo>
                    <a:pt x="491" y="8"/>
                  </a:lnTo>
                  <a:cubicBezTo>
                    <a:pt x="488" y="3"/>
                    <a:pt x="480" y="0"/>
                    <a:pt x="478"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Google Shape;1399;p95">
              <a:extLst>
                <a:ext uri="{FF2B5EF4-FFF2-40B4-BE49-F238E27FC236}">
                  <a16:creationId xmlns:a16="http://schemas.microsoft.com/office/drawing/2014/main" id="{5B50A838-426B-38CC-3CE0-5CC52D4A9749}"/>
                </a:ext>
              </a:extLst>
            </p:cNvPr>
            <p:cNvSpPr/>
            <p:nvPr/>
          </p:nvSpPr>
          <p:spPr>
            <a:xfrm>
              <a:off x="1223820" y="1320288"/>
              <a:ext cx="81442" cy="91584"/>
            </a:xfrm>
            <a:custGeom>
              <a:avLst/>
              <a:gdLst/>
              <a:ahLst/>
              <a:cxnLst/>
              <a:rect l="l" t="t" r="r" b="b"/>
              <a:pathLst>
                <a:path w="265" h="298" extrusionOk="0">
                  <a:moveTo>
                    <a:pt x="17" y="0"/>
                  </a:moveTo>
                  <a:cubicBezTo>
                    <a:pt x="6" y="0"/>
                    <a:pt x="1" y="8"/>
                    <a:pt x="1" y="16"/>
                  </a:cubicBezTo>
                  <a:lnTo>
                    <a:pt x="1" y="248"/>
                  </a:lnTo>
                  <a:cubicBezTo>
                    <a:pt x="1" y="274"/>
                    <a:pt x="22" y="298"/>
                    <a:pt x="48" y="298"/>
                  </a:cubicBezTo>
                  <a:lnTo>
                    <a:pt x="246" y="298"/>
                  </a:lnTo>
                  <a:cubicBezTo>
                    <a:pt x="257" y="298"/>
                    <a:pt x="264" y="290"/>
                    <a:pt x="264" y="279"/>
                  </a:cubicBezTo>
                  <a:cubicBezTo>
                    <a:pt x="264" y="272"/>
                    <a:pt x="257" y="264"/>
                    <a:pt x="246" y="264"/>
                  </a:cubicBezTo>
                  <a:lnTo>
                    <a:pt x="48" y="264"/>
                  </a:lnTo>
                  <a:cubicBezTo>
                    <a:pt x="40" y="264"/>
                    <a:pt x="33" y="258"/>
                    <a:pt x="33" y="248"/>
                  </a:cubicBezTo>
                  <a:lnTo>
                    <a:pt x="33" y="16"/>
                  </a:lnTo>
                  <a:cubicBezTo>
                    <a:pt x="33" y="8"/>
                    <a:pt x="27" y="0"/>
                    <a:pt x="1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400;p95">
              <a:extLst>
                <a:ext uri="{FF2B5EF4-FFF2-40B4-BE49-F238E27FC236}">
                  <a16:creationId xmlns:a16="http://schemas.microsoft.com/office/drawing/2014/main" id="{4E4E0217-C25F-8E86-8F04-EE3BE2B266B3}"/>
                </a:ext>
              </a:extLst>
            </p:cNvPr>
            <p:cNvSpPr/>
            <p:nvPr/>
          </p:nvSpPr>
          <p:spPr>
            <a:xfrm>
              <a:off x="1132543" y="1441684"/>
              <a:ext cx="121703" cy="10757"/>
            </a:xfrm>
            <a:custGeom>
              <a:avLst/>
              <a:gdLst/>
              <a:ahLst/>
              <a:cxnLst/>
              <a:rect l="l" t="t" r="r" b="b"/>
              <a:pathLst>
                <a:path w="396" h="35" extrusionOk="0">
                  <a:moveTo>
                    <a:pt x="16" y="0"/>
                  </a:moveTo>
                  <a:cubicBezTo>
                    <a:pt x="8" y="0"/>
                    <a:pt x="0" y="8"/>
                    <a:pt x="0" y="16"/>
                  </a:cubicBezTo>
                  <a:cubicBezTo>
                    <a:pt x="0" y="27"/>
                    <a:pt x="8" y="35"/>
                    <a:pt x="16" y="35"/>
                  </a:cubicBezTo>
                  <a:lnTo>
                    <a:pt x="380" y="35"/>
                  </a:lnTo>
                  <a:cubicBezTo>
                    <a:pt x="390" y="35"/>
                    <a:pt x="395" y="27"/>
                    <a:pt x="395" y="16"/>
                  </a:cubicBezTo>
                  <a:cubicBezTo>
                    <a:pt x="395" y="8"/>
                    <a:pt x="390" y="0"/>
                    <a:pt x="3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401;p95">
              <a:extLst>
                <a:ext uri="{FF2B5EF4-FFF2-40B4-BE49-F238E27FC236}">
                  <a16:creationId xmlns:a16="http://schemas.microsoft.com/office/drawing/2014/main" id="{7BDA04C3-C839-22D4-4C23-9D2506A9E998}"/>
                </a:ext>
              </a:extLst>
            </p:cNvPr>
            <p:cNvSpPr/>
            <p:nvPr/>
          </p:nvSpPr>
          <p:spPr>
            <a:xfrm>
              <a:off x="1132543" y="1492701"/>
              <a:ext cx="121703" cy="10142"/>
            </a:xfrm>
            <a:custGeom>
              <a:avLst/>
              <a:gdLst/>
              <a:ahLst/>
              <a:cxnLst/>
              <a:rect l="l" t="t" r="r" b="b"/>
              <a:pathLst>
                <a:path w="396" h="33" extrusionOk="0">
                  <a:moveTo>
                    <a:pt x="16" y="0"/>
                  </a:moveTo>
                  <a:cubicBezTo>
                    <a:pt x="8" y="0"/>
                    <a:pt x="0" y="6"/>
                    <a:pt x="0" y="16"/>
                  </a:cubicBezTo>
                  <a:cubicBezTo>
                    <a:pt x="0" y="27"/>
                    <a:pt x="8" y="32"/>
                    <a:pt x="16" y="32"/>
                  </a:cubicBezTo>
                  <a:lnTo>
                    <a:pt x="380" y="32"/>
                  </a:lnTo>
                  <a:cubicBezTo>
                    <a:pt x="390" y="32"/>
                    <a:pt x="395" y="27"/>
                    <a:pt x="395" y="16"/>
                  </a:cubicBezTo>
                  <a:cubicBezTo>
                    <a:pt x="395" y="6"/>
                    <a:pt x="390" y="0"/>
                    <a:pt x="3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402;p95">
              <a:extLst>
                <a:ext uri="{FF2B5EF4-FFF2-40B4-BE49-F238E27FC236}">
                  <a16:creationId xmlns:a16="http://schemas.microsoft.com/office/drawing/2014/main" id="{C24A00E4-7D86-4E1D-2421-794D54844A37}"/>
                </a:ext>
              </a:extLst>
            </p:cNvPr>
            <p:cNvSpPr/>
            <p:nvPr/>
          </p:nvSpPr>
          <p:spPr>
            <a:xfrm>
              <a:off x="1132543" y="1542796"/>
              <a:ext cx="121703" cy="11064"/>
            </a:xfrm>
            <a:custGeom>
              <a:avLst/>
              <a:gdLst/>
              <a:ahLst/>
              <a:cxnLst/>
              <a:rect l="l" t="t" r="r" b="b"/>
              <a:pathLst>
                <a:path w="396" h="36" extrusionOk="0">
                  <a:moveTo>
                    <a:pt x="16" y="1"/>
                  </a:moveTo>
                  <a:cubicBezTo>
                    <a:pt x="8" y="1"/>
                    <a:pt x="0" y="9"/>
                    <a:pt x="0" y="17"/>
                  </a:cubicBezTo>
                  <a:cubicBezTo>
                    <a:pt x="0" y="27"/>
                    <a:pt x="8" y="35"/>
                    <a:pt x="16" y="35"/>
                  </a:cubicBezTo>
                  <a:lnTo>
                    <a:pt x="380" y="35"/>
                  </a:lnTo>
                  <a:cubicBezTo>
                    <a:pt x="390" y="35"/>
                    <a:pt x="395" y="27"/>
                    <a:pt x="395" y="17"/>
                  </a:cubicBezTo>
                  <a:cubicBezTo>
                    <a:pt x="395" y="9"/>
                    <a:pt x="390" y="1"/>
                    <a:pt x="380"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Google Shape;1007;g2e0683f995c_0_0">
            <a:extLst>
              <a:ext uri="{FF2B5EF4-FFF2-40B4-BE49-F238E27FC236}">
                <a16:creationId xmlns:a16="http://schemas.microsoft.com/office/drawing/2014/main" id="{55114DAA-1842-A45A-49FC-22A0BF9D63CC}"/>
              </a:ext>
            </a:extLst>
          </p:cNvPr>
          <p:cNvSpPr txBox="1">
            <a:spLocks/>
          </p:cNvSpPr>
          <p:nvPr/>
        </p:nvSpPr>
        <p:spPr>
          <a:xfrm>
            <a:off x="382000" y="486981"/>
            <a:ext cx="11520900" cy="538974"/>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nb-NO" sz="2200" i="0" u="none" strike="noStrike" kern="0" cap="none" spc="0" normalizeH="0" baseline="0" noProof="0">
                <a:ln>
                  <a:noFill/>
                </a:ln>
                <a:solidFill>
                  <a:schemeClr val="accent1"/>
                </a:solidFill>
                <a:effectLst/>
                <a:uLnTx/>
                <a:uFillTx/>
                <a:latin typeface="Brockmann"/>
                <a:sym typeface="Calibri"/>
              </a:rPr>
              <a:t>VIGO-systemet | </a:t>
            </a:r>
            <a:r>
              <a:rPr kumimoji="0" lang="nb-NO" sz="2200" i="0" u="none" strike="noStrike" kern="0" cap="none" spc="0" normalizeH="0" baseline="0" noProof="0">
                <a:ln>
                  <a:noFill/>
                </a:ln>
                <a:solidFill>
                  <a:schemeClr val="accent1"/>
                </a:solidFill>
                <a:effectLst/>
                <a:uLnTx/>
                <a:uFillTx/>
                <a:latin typeface="Brockmann"/>
                <a:ea typeface="+mn-ea"/>
                <a:cs typeface="Georgia"/>
                <a:sym typeface="Georgia"/>
              </a:rPr>
              <a:t>Nåsituasjon teknologi</a:t>
            </a:r>
            <a:endParaRPr kumimoji="0" lang="nb-NO" sz="2200" i="0" u="none" strike="noStrike" kern="0" cap="none" spc="0" normalizeH="0" baseline="0" noProof="0">
              <a:ln>
                <a:noFill/>
              </a:ln>
              <a:solidFill>
                <a:schemeClr val="accent1"/>
              </a:solidFill>
              <a:effectLst/>
              <a:uLnTx/>
              <a:uFillTx/>
              <a:latin typeface="Brockmann"/>
              <a:sym typeface="Calibri"/>
            </a:endParaRPr>
          </a:p>
        </p:txBody>
      </p:sp>
    </p:spTree>
    <p:extLst>
      <p:ext uri="{BB962C8B-B14F-4D97-AF65-F5344CB8AC3E}">
        <p14:creationId xmlns:p14="http://schemas.microsoft.com/office/powerpoint/2010/main" val="25856755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5B10F6-0A56-CFEB-4947-1E64CC2B5E76}"/>
            </a:ext>
          </a:extLst>
        </p:cNvPr>
        <p:cNvGrpSpPr/>
        <p:nvPr/>
      </p:nvGrpSpPr>
      <p:grpSpPr>
        <a:xfrm>
          <a:off x="0" y="0"/>
          <a:ext cx="0" cy="0"/>
          <a:chOff x="0" y="0"/>
          <a:chExt cx="0" cy="0"/>
        </a:xfrm>
      </p:grpSpPr>
      <p:sp>
        <p:nvSpPr>
          <p:cNvPr id="8" name="Avrundet rektangel 7">
            <a:extLst>
              <a:ext uri="{FF2B5EF4-FFF2-40B4-BE49-F238E27FC236}">
                <a16:creationId xmlns:a16="http://schemas.microsoft.com/office/drawing/2014/main" id="{96182537-8BA4-655A-D5E1-8C8EAC87878F}"/>
              </a:ext>
            </a:extLst>
          </p:cNvPr>
          <p:cNvSpPr/>
          <p:nvPr/>
        </p:nvSpPr>
        <p:spPr>
          <a:xfrm>
            <a:off x="549728" y="1109605"/>
            <a:ext cx="11242879" cy="1216755"/>
          </a:xfrm>
          <a:prstGeom prst="roundRect">
            <a:avLst>
              <a:gd name="adj" fmla="val 19430"/>
            </a:avLst>
          </a:prstGeom>
          <a:noFill/>
          <a:ln w="381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lIns="1692000" tIns="45720" rIns="360000" bIns="45720" rtlCol="0" anchor="ctr"/>
          <a:lstStyle/>
          <a:p>
            <a:pPr marL="285750" indent="-285750">
              <a:buFont typeface="Arial" panose="020B0604020202020204" pitchFamily="34" charset="0"/>
              <a:buChar char="•"/>
              <a:defRPr/>
            </a:pPr>
            <a:r>
              <a:rPr lang="nb-NO" sz="1100" b="1">
                <a:solidFill>
                  <a:schemeClr val="tx1"/>
                </a:solidFill>
              </a:rPr>
              <a:t>Strategisk styring</a:t>
            </a:r>
            <a:r>
              <a:rPr lang="nb-NO" sz="1100" b="1" noProof="0">
                <a:solidFill>
                  <a:schemeClr val="tx1"/>
                </a:solidFill>
              </a:rPr>
              <a:t>: </a:t>
            </a:r>
            <a:r>
              <a:rPr lang="nb-NO" sz="1100">
                <a:solidFill>
                  <a:schemeClr val="tx1"/>
                </a:solidFill>
                <a:ea typeface="+mn-lt"/>
                <a:cs typeface="+mn-lt"/>
              </a:rPr>
              <a:t>Novari IKS har i dag </a:t>
            </a:r>
            <a:r>
              <a:rPr lang="nb-NO" sz="1100" noProof="0">
                <a:solidFill>
                  <a:schemeClr val="tx1"/>
                </a:solidFill>
                <a:ea typeface="+mn-lt"/>
                <a:cs typeface="+mn-lt"/>
              </a:rPr>
              <a:t>begrenset </a:t>
            </a:r>
            <a:r>
              <a:rPr lang="nb-NO" sz="1100">
                <a:solidFill>
                  <a:schemeClr val="tx1"/>
                </a:solidFill>
                <a:ea typeface="+mn-lt"/>
                <a:cs typeface="+mn-lt"/>
              </a:rPr>
              <a:t>styring over utviklingsprosessen.</a:t>
            </a:r>
          </a:p>
          <a:p>
            <a:pPr marL="285750" indent="-285750">
              <a:buFont typeface="Arial" panose="020B0604020202020204" pitchFamily="34" charset="0"/>
              <a:buChar char="•"/>
              <a:defRPr/>
            </a:pPr>
            <a:r>
              <a:rPr lang="nb-NO" sz="1100" b="1">
                <a:solidFill>
                  <a:schemeClr val="tx1"/>
                </a:solidFill>
                <a:ea typeface="+mn-lt"/>
                <a:cs typeface="+mn-lt"/>
              </a:rPr>
              <a:t>Redusert mulighet til å utøve aktivt systemeierskap: </a:t>
            </a:r>
            <a:r>
              <a:rPr lang="nb-NO" sz="1100">
                <a:solidFill>
                  <a:schemeClr val="tx1"/>
                </a:solidFill>
                <a:ea typeface="+mn-lt"/>
                <a:cs typeface="+mn-lt"/>
              </a:rPr>
              <a:t>Novari IKS kan ikke agere som en fullverdig systemeier på vegne av fylkeskommunene, fordi rollen er begrenset av eksisterende organisasjonsmodell.</a:t>
            </a:r>
          </a:p>
          <a:p>
            <a:pPr marL="285750" indent="-285750">
              <a:buFont typeface="Arial" panose="020B0604020202020204" pitchFamily="34" charset="0"/>
              <a:buChar char="•"/>
              <a:defRPr/>
            </a:pPr>
            <a:r>
              <a:rPr lang="nb-NO" sz="1100" b="1" noProof="0">
                <a:solidFill>
                  <a:schemeClr val="tx1"/>
                </a:solidFill>
              </a:rPr>
              <a:t>Begrenset handlingsrom: </a:t>
            </a:r>
            <a:r>
              <a:rPr lang="nb-NO" sz="1100" noProof="0">
                <a:solidFill>
                  <a:schemeClr val="tx1"/>
                </a:solidFill>
              </a:rPr>
              <a:t> Manglende oversikt over systemets oppbygning begrenser muligheten til tilpasninger til nye brukerbehov. </a:t>
            </a:r>
          </a:p>
        </p:txBody>
      </p:sp>
      <p:sp>
        <p:nvSpPr>
          <p:cNvPr id="9" name="Avrundet rektangel 8">
            <a:extLst>
              <a:ext uri="{FF2B5EF4-FFF2-40B4-BE49-F238E27FC236}">
                <a16:creationId xmlns:a16="http://schemas.microsoft.com/office/drawing/2014/main" id="{E75C6418-2F6A-0EC7-2F7F-799E798986FC}"/>
              </a:ext>
            </a:extLst>
          </p:cNvPr>
          <p:cNvSpPr/>
          <p:nvPr/>
        </p:nvSpPr>
        <p:spPr>
          <a:xfrm>
            <a:off x="549728" y="2418143"/>
            <a:ext cx="11242879" cy="1216755"/>
          </a:xfrm>
          <a:prstGeom prst="roundRect">
            <a:avLst>
              <a:gd name="adj" fmla="val 18156"/>
            </a:avLst>
          </a:prstGeom>
          <a:noFill/>
          <a:ln w="381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lIns="1692000" rIns="360000" rtlCol="0" anchor="ct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nb-NO" sz="1100" b="1" noProof="0">
                <a:solidFill>
                  <a:schemeClr val="tx1"/>
                </a:solidFill>
              </a:rPr>
              <a:t>Manuelle arbeidsoppgaver: </a:t>
            </a:r>
            <a:r>
              <a:rPr lang="nb-NO" sz="1100" noProof="0">
                <a:solidFill>
                  <a:schemeClr val="tx1"/>
                </a:solidFill>
              </a:rPr>
              <a:t>Systemet dekker komplekse arbeidsprosesser, men enkelte oppgaver krever manuelle operasjoner som bør effektiviseres gjennom automatisering.</a:t>
            </a:r>
          </a:p>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nb-NO" sz="1100" b="1" noProof="0">
                <a:solidFill>
                  <a:schemeClr val="tx1"/>
                </a:solidFill>
              </a:rPr>
              <a:t>Arbeidsprosesser: </a:t>
            </a:r>
            <a:r>
              <a:rPr lang="nb-NO" sz="1100" noProof="0">
                <a:solidFill>
                  <a:schemeClr val="tx1"/>
                </a:solidFill>
              </a:rPr>
              <a:t>Standardisering av arbeidsprosesser vil gi bedre samhandling og redusere administrativt arbeid.</a:t>
            </a:r>
          </a:p>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nb-NO" sz="1100" b="1" noProof="0">
                <a:solidFill>
                  <a:schemeClr val="tx1"/>
                </a:solidFill>
              </a:rPr>
              <a:t>Støtte for arbeidsflyt: </a:t>
            </a:r>
            <a:r>
              <a:rPr lang="nb-NO" sz="1100" noProof="0">
                <a:solidFill>
                  <a:schemeClr val="tx1"/>
                </a:solidFill>
              </a:rPr>
              <a:t>Systemet er utviklet over lang tid med ulike tilpasninger, noe som har ført til fragmenterte prosesser der brukere må navigere mellom flere moduler for å utføre sine oppgaver.</a:t>
            </a:r>
          </a:p>
        </p:txBody>
      </p:sp>
      <p:sp>
        <p:nvSpPr>
          <p:cNvPr id="10" name="Avrundet rektangel 9">
            <a:extLst>
              <a:ext uri="{FF2B5EF4-FFF2-40B4-BE49-F238E27FC236}">
                <a16:creationId xmlns:a16="http://schemas.microsoft.com/office/drawing/2014/main" id="{DEE57882-D259-9F02-C427-1B883584D4DB}"/>
              </a:ext>
            </a:extLst>
          </p:cNvPr>
          <p:cNvSpPr/>
          <p:nvPr/>
        </p:nvSpPr>
        <p:spPr>
          <a:xfrm>
            <a:off x="549728" y="3726681"/>
            <a:ext cx="11242879" cy="1216755"/>
          </a:xfrm>
          <a:prstGeom prst="roundRect">
            <a:avLst>
              <a:gd name="adj" fmla="val 19430"/>
            </a:avLst>
          </a:prstGeom>
          <a:noFill/>
          <a:ln w="381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lIns="1692000" rIns="360000" rtlCol="0" anchor="ctr"/>
          <a:lstStyle/>
          <a:p>
            <a:pPr marL="285750" marR="0" lvl="0" indent="-285750" algn="l">
              <a:lnSpc>
                <a:spcPct val="100000"/>
              </a:lnSpc>
              <a:spcBef>
                <a:spcPts val="0"/>
              </a:spcBef>
              <a:spcAft>
                <a:spcPts val="0"/>
              </a:spcAft>
              <a:buClrTx/>
              <a:buSzTx/>
              <a:buFont typeface="Arial" panose="020B0604020202020204" pitchFamily="34" charset="0"/>
              <a:buChar char="•"/>
            </a:pPr>
            <a:r>
              <a:rPr lang="nb-NO" sz="1100" b="1" noProof="0">
                <a:solidFill>
                  <a:schemeClr val="tx1"/>
                </a:solidFill>
              </a:rPr>
              <a:t>Arkitektur for fremtidige behov:</a:t>
            </a:r>
            <a:r>
              <a:rPr lang="nb-NO" sz="1100" noProof="0">
                <a:solidFill>
                  <a:schemeClr val="tx1"/>
                </a:solidFill>
              </a:rPr>
              <a:t> For å sikre fleksibilitet, </a:t>
            </a:r>
            <a:r>
              <a:rPr lang="nb-NO" sz="1100" noProof="0" err="1">
                <a:solidFill>
                  <a:schemeClr val="tx1"/>
                </a:solidFill>
              </a:rPr>
              <a:t>skalerbarhet</a:t>
            </a:r>
            <a:r>
              <a:rPr lang="nb-NO" sz="1100" noProof="0">
                <a:solidFill>
                  <a:schemeClr val="tx1"/>
                </a:solidFill>
              </a:rPr>
              <a:t> og sikkerhet for fremtiden, er det behov for en ny arkitektur som møter disse kravene.</a:t>
            </a:r>
          </a:p>
          <a:p>
            <a:pPr marL="285750" indent="-285750">
              <a:buFont typeface="Arial" panose="020B0604020202020204" pitchFamily="34" charset="0"/>
              <a:buChar char="•"/>
            </a:pPr>
            <a:r>
              <a:rPr lang="nb-NO" sz="1100" b="1" noProof="0">
                <a:solidFill>
                  <a:schemeClr val="tx1"/>
                </a:solidFill>
              </a:rPr>
              <a:t>Teknisk gjeld:</a:t>
            </a:r>
            <a:r>
              <a:rPr lang="nb-NO" sz="1100" noProof="0">
                <a:solidFill>
                  <a:schemeClr val="tx1"/>
                </a:solidFill>
              </a:rPr>
              <a:t> Systemets lange levetid og kontinuerlige tilpasninger har ført til teknisk gjeld, noe som gjør vedlikehold og videreutvikling krevende.</a:t>
            </a:r>
          </a:p>
          <a:p>
            <a:pPr marL="285750" indent="-285750">
              <a:buFont typeface="Arial" panose="020B0604020202020204" pitchFamily="34" charset="0"/>
              <a:buChar char="•"/>
            </a:pPr>
            <a:r>
              <a:rPr lang="nb-NO" sz="1100" b="1" noProof="0">
                <a:solidFill>
                  <a:schemeClr val="tx1"/>
                </a:solidFill>
              </a:rPr>
              <a:t>Begrenset mulighet for modulære endringer:</a:t>
            </a:r>
            <a:r>
              <a:rPr lang="nb-NO" sz="1100" noProof="0">
                <a:solidFill>
                  <a:schemeClr val="tx1"/>
                </a:solidFill>
              </a:rPr>
              <a:t> Dagens struktur gjør det vanskelig å innføre nye funksjoner eller oppdatere enkeltkomponenter uten omfattende endringer i hele systemet</a:t>
            </a:r>
          </a:p>
        </p:txBody>
      </p:sp>
      <p:sp>
        <p:nvSpPr>
          <p:cNvPr id="11" name="Avrundet rektangel 10">
            <a:extLst>
              <a:ext uri="{FF2B5EF4-FFF2-40B4-BE49-F238E27FC236}">
                <a16:creationId xmlns:a16="http://schemas.microsoft.com/office/drawing/2014/main" id="{FC74A4D5-1F74-D412-05BD-DC1D37231EB5}"/>
              </a:ext>
            </a:extLst>
          </p:cNvPr>
          <p:cNvSpPr/>
          <p:nvPr/>
        </p:nvSpPr>
        <p:spPr>
          <a:xfrm>
            <a:off x="549728" y="5035219"/>
            <a:ext cx="11242879" cy="1216755"/>
          </a:xfrm>
          <a:prstGeom prst="roundRect">
            <a:avLst>
              <a:gd name="adj" fmla="val 19430"/>
            </a:avLst>
          </a:prstGeom>
          <a:noFill/>
          <a:ln w="381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lIns="1692000" rIns="360000" rtlCol="0" anchor="ctr"/>
          <a:lstStyle/>
          <a:p>
            <a:pPr marL="285750" lvl="0" indent="-285750" algn="l" rtl="0" eaLnBrk="1" latinLnBrk="0" hangingPunct="1">
              <a:lnSpc>
                <a:spcPct val="100000"/>
              </a:lnSpc>
              <a:spcBef>
                <a:spcPts val="0"/>
              </a:spcBef>
              <a:spcAft>
                <a:spcPts val="0"/>
              </a:spcAft>
              <a:buFont typeface="Arial" panose="020B0604020202020204" pitchFamily="34" charset="0"/>
              <a:buChar char="•"/>
            </a:pPr>
            <a:r>
              <a:rPr lang="nb-NO" sz="1100" b="1" kern="1200" noProof="0">
                <a:solidFill>
                  <a:schemeClr val="tx1"/>
                </a:solidFill>
                <a:latin typeface="+mn-lt"/>
                <a:ea typeface="+mn-ea"/>
                <a:cs typeface="+mn-cs"/>
              </a:rPr>
              <a:t>Begrensede muligheter for sanntidsrapportering: </a:t>
            </a:r>
            <a:r>
              <a:rPr lang="nb-NO" sz="1100" kern="1200" noProof="0">
                <a:solidFill>
                  <a:schemeClr val="tx1"/>
                </a:solidFill>
                <a:latin typeface="+mn-lt"/>
                <a:ea typeface="+mn-ea"/>
                <a:cs typeface="+mn-cs"/>
              </a:rPr>
              <a:t>VIGO-systemet håndterer store mengder data, men dagens arkitektur gir begrensede muligheter for sanntidsdata og API-drevet integrasjon.</a:t>
            </a:r>
          </a:p>
          <a:p>
            <a:pPr marL="285750" lvl="0" indent="-285750" algn="l" rtl="0" eaLnBrk="1" latinLnBrk="0" hangingPunct="1">
              <a:lnSpc>
                <a:spcPct val="100000"/>
              </a:lnSpc>
              <a:spcBef>
                <a:spcPts val="0"/>
              </a:spcBef>
              <a:spcAft>
                <a:spcPts val="0"/>
              </a:spcAft>
              <a:buFont typeface="Arial" panose="020B0604020202020204" pitchFamily="34" charset="0"/>
              <a:buChar char="•"/>
            </a:pPr>
            <a:r>
              <a:rPr lang="nb-NO" sz="1100" b="1" kern="1200" noProof="0">
                <a:solidFill>
                  <a:schemeClr val="tx1"/>
                </a:solidFill>
                <a:latin typeface="+mn-lt"/>
                <a:ea typeface="+mn-ea"/>
                <a:cs typeface="+mn-cs"/>
              </a:rPr>
              <a:t>Fragmentert datahåndtering</a:t>
            </a:r>
            <a:r>
              <a:rPr lang="nb-NO" sz="1100" kern="1200" noProof="0">
                <a:solidFill>
                  <a:schemeClr val="tx1"/>
                </a:solidFill>
                <a:latin typeface="+mn-lt"/>
                <a:ea typeface="+mn-ea"/>
                <a:cs typeface="+mn-cs"/>
              </a:rPr>
              <a:t>: En mer helhetlig strategi for dataflyt og integrasjoner vil forbedre kvalitet og tilgjengelighet av informasjon.</a:t>
            </a:r>
          </a:p>
          <a:p>
            <a:pPr marL="285750" lvl="0" indent="-285750" algn="l" rtl="0" eaLnBrk="1" latinLnBrk="0" hangingPunct="1">
              <a:lnSpc>
                <a:spcPct val="100000"/>
              </a:lnSpc>
              <a:spcBef>
                <a:spcPts val="0"/>
              </a:spcBef>
              <a:spcAft>
                <a:spcPts val="0"/>
              </a:spcAft>
              <a:buFont typeface="Arial" panose="020B0604020202020204" pitchFamily="34" charset="0"/>
              <a:buChar char="•"/>
            </a:pPr>
            <a:r>
              <a:rPr lang="nb-NO" sz="1100" b="1" kern="1200" noProof="0">
                <a:solidFill>
                  <a:schemeClr val="tx1"/>
                </a:solidFill>
                <a:latin typeface="+mn-lt"/>
                <a:ea typeface="+mn-ea"/>
                <a:cs typeface="+mn-cs"/>
              </a:rPr>
              <a:t>Integrasjon med eksterne systemer:</a:t>
            </a:r>
            <a:r>
              <a:rPr lang="nb-NO" sz="1100" kern="1200" noProof="0">
                <a:solidFill>
                  <a:schemeClr val="tx1"/>
                </a:solidFill>
                <a:latin typeface="+mn-lt"/>
                <a:ea typeface="+mn-ea"/>
                <a:cs typeface="+mn-cs"/>
              </a:rPr>
              <a:t> Integrasjoner er i stor grad spesialtilpassede, noe som fører til økt kompleksitet og manuelle operasjoner ved datautveksling</a:t>
            </a:r>
          </a:p>
        </p:txBody>
      </p:sp>
      <p:pic>
        <p:nvPicPr>
          <p:cNvPr id="3" name="Picture 9">
            <a:extLst>
              <a:ext uri="{FF2B5EF4-FFF2-40B4-BE49-F238E27FC236}">
                <a16:creationId xmlns:a16="http://schemas.microsoft.com/office/drawing/2014/main" id="{ADB13DF4-B4D8-DD73-3868-D1CF585CDC1F}"/>
              </a:ext>
            </a:extLst>
          </p:cNvPr>
          <p:cNvPicPr>
            <a:picLocks noChangeAspect="1"/>
          </p:cNvPicPr>
          <p:nvPr/>
        </p:nvPicPr>
        <p:blipFill>
          <a:blip r:embed="rId3">
            <a:biLevel thresh="75000"/>
          </a:blip>
          <a:stretch>
            <a:fillRect/>
          </a:stretch>
        </p:blipFill>
        <p:spPr>
          <a:xfrm>
            <a:off x="1188539" y="1266574"/>
            <a:ext cx="642215" cy="642215"/>
          </a:xfrm>
          <a:prstGeom prst="rect">
            <a:avLst/>
          </a:prstGeom>
          <a:ln>
            <a:noFill/>
          </a:ln>
        </p:spPr>
      </p:pic>
      <p:pic>
        <p:nvPicPr>
          <p:cNvPr id="4" name="Picture 10">
            <a:extLst>
              <a:ext uri="{FF2B5EF4-FFF2-40B4-BE49-F238E27FC236}">
                <a16:creationId xmlns:a16="http://schemas.microsoft.com/office/drawing/2014/main" id="{5ED0405D-E7F1-3047-E089-E52032E67F40}"/>
              </a:ext>
            </a:extLst>
          </p:cNvPr>
          <p:cNvPicPr>
            <a:picLocks noChangeAspect="1"/>
          </p:cNvPicPr>
          <p:nvPr/>
        </p:nvPicPr>
        <p:blipFill>
          <a:blip r:embed="rId4">
            <a:biLevel thresh="75000"/>
          </a:blip>
          <a:stretch>
            <a:fillRect/>
          </a:stretch>
        </p:blipFill>
        <p:spPr>
          <a:xfrm>
            <a:off x="1188532" y="2551153"/>
            <a:ext cx="642149" cy="642149"/>
          </a:xfrm>
          <a:prstGeom prst="rect">
            <a:avLst/>
          </a:prstGeom>
          <a:ln>
            <a:noFill/>
          </a:ln>
        </p:spPr>
      </p:pic>
      <p:pic>
        <p:nvPicPr>
          <p:cNvPr id="5" name="Picture 11">
            <a:extLst>
              <a:ext uri="{FF2B5EF4-FFF2-40B4-BE49-F238E27FC236}">
                <a16:creationId xmlns:a16="http://schemas.microsoft.com/office/drawing/2014/main" id="{CC385349-D8AE-BC94-DDFF-950A74FCB1F0}"/>
              </a:ext>
            </a:extLst>
          </p:cNvPr>
          <p:cNvPicPr>
            <a:picLocks noChangeAspect="1"/>
          </p:cNvPicPr>
          <p:nvPr/>
        </p:nvPicPr>
        <p:blipFill>
          <a:blip r:embed="rId5">
            <a:biLevel thresh="75000"/>
          </a:blip>
          <a:stretch>
            <a:fillRect/>
          </a:stretch>
        </p:blipFill>
        <p:spPr>
          <a:xfrm>
            <a:off x="1229633" y="3900848"/>
            <a:ext cx="559945" cy="559945"/>
          </a:xfrm>
          <a:prstGeom prst="rect">
            <a:avLst/>
          </a:prstGeom>
          <a:ln>
            <a:noFill/>
          </a:ln>
        </p:spPr>
      </p:pic>
      <p:pic>
        <p:nvPicPr>
          <p:cNvPr id="6" name="Graphic 13" descr="Statistics outline">
            <a:extLst>
              <a:ext uri="{FF2B5EF4-FFF2-40B4-BE49-F238E27FC236}">
                <a16:creationId xmlns:a16="http://schemas.microsoft.com/office/drawing/2014/main" id="{F2B76BA9-C9C2-73DC-D726-816AB1E78D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77965" y="5148456"/>
            <a:ext cx="541511" cy="541511"/>
          </a:xfrm>
          <a:prstGeom prst="rect">
            <a:avLst/>
          </a:prstGeom>
        </p:spPr>
      </p:pic>
      <p:sp>
        <p:nvSpPr>
          <p:cNvPr id="18" name="TekstSylinder 17">
            <a:extLst>
              <a:ext uri="{FF2B5EF4-FFF2-40B4-BE49-F238E27FC236}">
                <a16:creationId xmlns:a16="http://schemas.microsoft.com/office/drawing/2014/main" id="{59D79CCA-B03D-660B-071F-24860EA671E2}"/>
              </a:ext>
            </a:extLst>
          </p:cNvPr>
          <p:cNvSpPr txBox="1"/>
          <p:nvPr/>
        </p:nvSpPr>
        <p:spPr>
          <a:xfrm>
            <a:off x="691977" y="1916801"/>
            <a:ext cx="1635256" cy="339887"/>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rIns="0" bIns="108000">
            <a:spAutoFit/>
          </a:bodyPr>
          <a:lstStyle/>
          <a:p>
            <a:pPr algn="ctr"/>
            <a:r>
              <a:rPr lang="nb-NO" sz="1200" b="1" noProof="0">
                <a:solidFill>
                  <a:schemeClr val="tx1"/>
                </a:solidFill>
              </a:rPr>
              <a:t>Organisering</a:t>
            </a:r>
            <a:endParaRPr lang="nb-NO" sz="1200"/>
          </a:p>
        </p:txBody>
      </p:sp>
      <p:sp>
        <p:nvSpPr>
          <p:cNvPr id="19" name="TekstSylinder 18">
            <a:extLst>
              <a:ext uri="{FF2B5EF4-FFF2-40B4-BE49-F238E27FC236}">
                <a16:creationId xmlns:a16="http://schemas.microsoft.com/office/drawing/2014/main" id="{289B0F2D-519E-D18A-DCA3-9F67CFFF2E31}"/>
              </a:ext>
            </a:extLst>
          </p:cNvPr>
          <p:cNvSpPr txBox="1"/>
          <p:nvPr/>
        </p:nvSpPr>
        <p:spPr>
          <a:xfrm>
            <a:off x="610214" y="5738322"/>
            <a:ext cx="1798782" cy="52455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rIns="0" bIns="108000">
            <a:spAutoFit/>
          </a:bodyPr>
          <a:lstStyle/>
          <a:p>
            <a:pPr algn="ctr"/>
            <a:r>
              <a:rPr lang="nb-NO" sz="1200" b="1" kern="1200" noProof="0">
                <a:solidFill>
                  <a:schemeClr val="tx1"/>
                </a:solidFill>
                <a:latin typeface="+mn-lt"/>
                <a:ea typeface="+mn-ea"/>
                <a:cs typeface="+mn-cs"/>
              </a:rPr>
              <a:t>Data, integrasjon </a:t>
            </a:r>
            <a:br>
              <a:rPr lang="nb-NO" sz="1200" b="1" kern="1200" noProof="0">
                <a:solidFill>
                  <a:schemeClr val="tx1"/>
                </a:solidFill>
                <a:latin typeface="+mn-lt"/>
                <a:ea typeface="+mn-ea"/>
                <a:cs typeface="+mn-cs"/>
              </a:rPr>
            </a:br>
            <a:r>
              <a:rPr lang="nb-NO" sz="1200" b="1" kern="1200" noProof="0">
                <a:solidFill>
                  <a:schemeClr val="tx1"/>
                </a:solidFill>
                <a:latin typeface="+mn-lt"/>
                <a:ea typeface="+mn-ea"/>
                <a:cs typeface="+mn-cs"/>
              </a:rPr>
              <a:t>og rapportering</a:t>
            </a:r>
          </a:p>
        </p:txBody>
      </p:sp>
      <p:sp>
        <p:nvSpPr>
          <p:cNvPr id="20" name="TekstSylinder 19">
            <a:extLst>
              <a:ext uri="{FF2B5EF4-FFF2-40B4-BE49-F238E27FC236}">
                <a16:creationId xmlns:a16="http://schemas.microsoft.com/office/drawing/2014/main" id="{B8D36025-9B0D-F690-EFCA-D08CD727A555}"/>
              </a:ext>
            </a:extLst>
          </p:cNvPr>
          <p:cNvSpPr txBox="1"/>
          <p:nvPr/>
        </p:nvSpPr>
        <p:spPr>
          <a:xfrm>
            <a:off x="691977" y="3237601"/>
            <a:ext cx="1635256" cy="339887"/>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rIns="0" bIns="108000">
            <a:spAutoFit/>
          </a:bodyPr>
          <a:lstStyle/>
          <a:p>
            <a:pPr algn="ctr"/>
            <a:r>
              <a:rPr lang="nb-NO" sz="1200" b="1" noProof="0">
                <a:solidFill>
                  <a:schemeClr val="tx1"/>
                </a:solidFill>
              </a:rPr>
              <a:t>Prosess</a:t>
            </a:r>
            <a:endParaRPr lang="nb-NO" sz="1200"/>
          </a:p>
        </p:txBody>
      </p:sp>
      <p:sp>
        <p:nvSpPr>
          <p:cNvPr id="21" name="TekstSylinder 20">
            <a:extLst>
              <a:ext uri="{FF2B5EF4-FFF2-40B4-BE49-F238E27FC236}">
                <a16:creationId xmlns:a16="http://schemas.microsoft.com/office/drawing/2014/main" id="{17333D99-28A4-2CC3-6B0B-3A79B066D7C7}"/>
              </a:ext>
            </a:extLst>
          </p:cNvPr>
          <p:cNvSpPr txBox="1"/>
          <p:nvPr/>
        </p:nvSpPr>
        <p:spPr>
          <a:xfrm>
            <a:off x="691977" y="4549567"/>
            <a:ext cx="1635256" cy="339887"/>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rIns="0" bIns="108000">
            <a:spAutoFit/>
          </a:bodyPr>
          <a:lstStyle/>
          <a:p>
            <a:pPr algn="ctr"/>
            <a:r>
              <a:rPr lang="nb-NO" sz="1200" b="1" noProof="0">
                <a:solidFill>
                  <a:schemeClr val="tx1"/>
                </a:solidFill>
              </a:rPr>
              <a:t>Teknologi</a:t>
            </a:r>
            <a:endParaRPr lang="nb-NO" sz="1200"/>
          </a:p>
        </p:txBody>
      </p:sp>
      <p:sp>
        <p:nvSpPr>
          <p:cNvPr id="2" name="Google Shape;1007;g2e0683f995c_0_0">
            <a:extLst>
              <a:ext uri="{FF2B5EF4-FFF2-40B4-BE49-F238E27FC236}">
                <a16:creationId xmlns:a16="http://schemas.microsoft.com/office/drawing/2014/main" id="{ACBC6DBC-317D-BDFE-DC32-3E3C67930396}"/>
              </a:ext>
            </a:extLst>
          </p:cNvPr>
          <p:cNvSpPr txBox="1">
            <a:spLocks/>
          </p:cNvSpPr>
          <p:nvPr/>
        </p:nvSpPr>
        <p:spPr>
          <a:xfrm>
            <a:off x="382000" y="486981"/>
            <a:ext cx="11520900" cy="538974"/>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nb-NO" sz="2200" i="0" u="none" strike="noStrike" kern="0" cap="none" spc="0" normalizeH="0" baseline="0" noProof="0">
                <a:ln>
                  <a:noFill/>
                </a:ln>
                <a:solidFill>
                  <a:schemeClr val="accent1"/>
                </a:solidFill>
                <a:effectLst/>
                <a:uLnTx/>
                <a:uFillTx/>
                <a:latin typeface="Brockmann"/>
                <a:sym typeface="Calibri"/>
              </a:rPr>
              <a:t>VIGO-</a:t>
            </a:r>
            <a:r>
              <a:rPr lang="nb-NO" sz="2200" kern="0">
                <a:solidFill>
                  <a:schemeClr val="accent1"/>
                </a:solidFill>
                <a:latin typeface="Brockmann"/>
              </a:rPr>
              <a:t>s</a:t>
            </a:r>
            <a:r>
              <a:rPr kumimoji="0" lang="nb-NO" sz="2200" i="0" u="none" strike="noStrike" kern="0" cap="none" spc="0" normalizeH="0" baseline="0" noProof="0" err="1">
                <a:ln>
                  <a:noFill/>
                </a:ln>
                <a:solidFill>
                  <a:schemeClr val="accent1"/>
                </a:solidFill>
                <a:effectLst/>
                <a:uLnTx/>
                <a:uFillTx/>
                <a:latin typeface="Brockmann"/>
                <a:sym typeface="Calibri"/>
              </a:rPr>
              <a:t>ystemet</a:t>
            </a:r>
            <a:r>
              <a:rPr kumimoji="0" lang="nb-NO" sz="2200" i="0" u="none" strike="noStrike" kern="0" cap="none" spc="0" normalizeH="0" baseline="0" noProof="0">
                <a:ln>
                  <a:noFill/>
                </a:ln>
                <a:solidFill>
                  <a:schemeClr val="accent1"/>
                </a:solidFill>
                <a:effectLst/>
                <a:uLnTx/>
                <a:uFillTx/>
                <a:latin typeface="Brockmann"/>
                <a:sym typeface="Calibri"/>
              </a:rPr>
              <a:t> | </a:t>
            </a:r>
            <a:r>
              <a:rPr kumimoji="0" lang="nb-NO" sz="2200" i="0" u="none" strike="noStrike" kern="0" cap="none" spc="0" normalizeH="0" baseline="0" noProof="0">
                <a:ln>
                  <a:noFill/>
                </a:ln>
                <a:solidFill>
                  <a:schemeClr val="accent1"/>
                </a:solidFill>
                <a:effectLst/>
                <a:uLnTx/>
                <a:uFillTx/>
                <a:latin typeface="Brockmann"/>
                <a:ea typeface="+mn-ea"/>
                <a:cs typeface="Georgia"/>
                <a:sym typeface="Georgia"/>
              </a:rPr>
              <a:t>Dagens utfordringer</a:t>
            </a:r>
            <a:endParaRPr kumimoji="0" lang="nb-NO" sz="2200" i="0" u="none" strike="noStrike" kern="0" cap="none" spc="0" normalizeH="0" baseline="0" noProof="0">
              <a:ln>
                <a:noFill/>
              </a:ln>
              <a:solidFill>
                <a:schemeClr val="accent1"/>
              </a:solidFill>
              <a:effectLst/>
              <a:uLnTx/>
              <a:uFillTx/>
              <a:latin typeface="Brockmann"/>
              <a:sym typeface="Calibri"/>
            </a:endParaRPr>
          </a:p>
        </p:txBody>
      </p:sp>
    </p:spTree>
    <p:extLst>
      <p:ext uri="{BB962C8B-B14F-4D97-AF65-F5344CB8AC3E}">
        <p14:creationId xmlns:p14="http://schemas.microsoft.com/office/powerpoint/2010/main" val="479300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BEFB6A16-6EA2-F507-4642-D68A4A33ADAB}"/>
            </a:ext>
          </a:extLst>
        </p:cNvPr>
        <p:cNvGrpSpPr/>
        <p:nvPr/>
      </p:nvGrpSpPr>
      <p:grpSpPr>
        <a:xfrm>
          <a:off x="0" y="0"/>
          <a:ext cx="0" cy="0"/>
          <a:chOff x="0" y="0"/>
          <a:chExt cx="0" cy="0"/>
        </a:xfrm>
      </p:grpSpPr>
      <p:sp>
        <p:nvSpPr>
          <p:cNvPr id="507" name="Slide Number Placeholder 2">
            <a:extLst>
              <a:ext uri="{FF2B5EF4-FFF2-40B4-BE49-F238E27FC236}">
                <a16:creationId xmlns:a16="http://schemas.microsoft.com/office/drawing/2014/main" id="{9D55B45A-B4C7-1D28-0EEA-8E4E1762166B}"/>
              </a:ext>
            </a:extLst>
          </p:cNvPr>
          <p:cNvSpPr>
            <a:spLocks noGrp="1"/>
          </p:cNvSpPr>
          <p:nvPr>
            <p:ph type="sldNum" sz="quarter" idx="12"/>
          </p:nvPr>
        </p:nvSpPr>
        <p:spPr>
          <a:xfrm>
            <a:off x="10792460" y="6348715"/>
            <a:ext cx="391477" cy="153889"/>
          </a:xfrm>
        </p:spPr>
        <p:txBody>
          <a:bodyPr/>
          <a:lstStyle/>
          <a:p>
            <a:pPr>
              <a:spcAft>
                <a:spcPts val="600"/>
              </a:spcAft>
            </a:pPr>
            <a:fld id="{BE2ACD00-28B2-4D17-A930-2C9F8441C7CA}" type="slidenum">
              <a:rPr lang="nb-NO" smtClean="0"/>
              <a:pPr>
                <a:spcAft>
                  <a:spcPts val="600"/>
                </a:spcAft>
              </a:pPr>
              <a:t>23</a:t>
            </a:fld>
            <a:endParaRPr lang="nb-NO"/>
          </a:p>
        </p:txBody>
      </p:sp>
      <p:grpSp>
        <p:nvGrpSpPr>
          <p:cNvPr id="2" name="Gruppe 1">
            <a:extLst>
              <a:ext uri="{FF2B5EF4-FFF2-40B4-BE49-F238E27FC236}">
                <a16:creationId xmlns:a16="http://schemas.microsoft.com/office/drawing/2014/main" id="{43C94758-4039-0857-7243-587B888A2117}"/>
              </a:ext>
            </a:extLst>
          </p:cNvPr>
          <p:cNvGrpSpPr/>
          <p:nvPr/>
        </p:nvGrpSpPr>
        <p:grpSpPr>
          <a:xfrm>
            <a:off x="1029494" y="1806271"/>
            <a:ext cx="9524206" cy="4279966"/>
            <a:chOff x="1029494" y="1806271"/>
            <a:chExt cx="9524206" cy="4279966"/>
          </a:xfrm>
        </p:grpSpPr>
        <p:sp>
          <p:nvSpPr>
            <p:cNvPr id="4" name="Avrundet rektangel 3">
              <a:extLst>
                <a:ext uri="{FF2B5EF4-FFF2-40B4-BE49-F238E27FC236}">
                  <a16:creationId xmlns:a16="http://schemas.microsoft.com/office/drawing/2014/main" id="{F662038B-7E07-C1BD-76A2-57F3F205467E}"/>
                </a:ext>
              </a:extLst>
            </p:cNvPr>
            <p:cNvSpPr/>
            <p:nvPr/>
          </p:nvSpPr>
          <p:spPr>
            <a:xfrm>
              <a:off x="1029494" y="1806271"/>
              <a:ext cx="9524206" cy="1222847"/>
            </a:xfrm>
            <a:prstGeom prst="roundRect">
              <a:avLst>
                <a:gd name="adj" fmla="val 10000"/>
              </a:avLst>
            </a:prstGeom>
            <a:solidFill>
              <a:schemeClr val="bg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r>
                <a:rPr lang="nb-NO"/>
                <a:t> </a:t>
              </a:r>
            </a:p>
          </p:txBody>
        </p:sp>
        <p:sp>
          <p:nvSpPr>
            <p:cNvPr id="6" name="Friform 5">
              <a:extLst>
                <a:ext uri="{FF2B5EF4-FFF2-40B4-BE49-F238E27FC236}">
                  <a16:creationId xmlns:a16="http://schemas.microsoft.com/office/drawing/2014/main" id="{6B19107C-44F0-5C47-906F-FAAB0E34725E}"/>
                </a:ext>
              </a:extLst>
            </p:cNvPr>
            <p:cNvSpPr/>
            <p:nvPr/>
          </p:nvSpPr>
          <p:spPr>
            <a:xfrm>
              <a:off x="2441882" y="1806271"/>
              <a:ext cx="8111817" cy="1222847"/>
            </a:xfrm>
            <a:custGeom>
              <a:avLst/>
              <a:gdLst>
                <a:gd name="connsiteX0" fmla="*/ 0 w 6209198"/>
                <a:gd name="connsiteY0" fmla="*/ 0 h 1222847"/>
                <a:gd name="connsiteX1" fmla="*/ 6209198 w 6209198"/>
                <a:gd name="connsiteY1" fmla="*/ 0 h 1222847"/>
                <a:gd name="connsiteX2" fmla="*/ 6209198 w 6209198"/>
                <a:gd name="connsiteY2" fmla="*/ 1222847 h 1222847"/>
                <a:gd name="connsiteX3" fmla="*/ 0 w 6209198"/>
                <a:gd name="connsiteY3" fmla="*/ 1222847 h 1222847"/>
                <a:gd name="connsiteX4" fmla="*/ 0 w 6209198"/>
                <a:gd name="connsiteY4" fmla="*/ 0 h 1222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09198" h="1222847">
                  <a:moveTo>
                    <a:pt x="0" y="0"/>
                  </a:moveTo>
                  <a:lnTo>
                    <a:pt x="6209198" y="0"/>
                  </a:lnTo>
                  <a:lnTo>
                    <a:pt x="6209198" y="1222847"/>
                  </a:lnTo>
                  <a:lnTo>
                    <a:pt x="0" y="12228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9418" tIns="129418" rIns="129418" bIns="129418" numCol="1" spcCol="1270" anchor="ctr" anchorCtr="0">
              <a:noAutofit/>
            </a:bodyPr>
            <a:lstStyle/>
            <a:p>
              <a:pPr lvl="0"/>
              <a:r>
                <a:rPr lang="nb-NO" sz="2800"/>
                <a:t>Faggruppene for de ulike områdene bistår i kartleggingen av behovene</a:t>
              </a:r>
              <a:endParaRPr lang="en-US" sz="2800"/>
            </a:p>
          </p:txBody>
        </p:sp>
        <p:sp>
          <p:nvSpPr>
            <p:cNvPr id="7" name="Avrundet rektangel 6">
              <a:extLst>
                <a:ext uri="{FF2B5EF4-FFF2-40B4-BE49-F238E27FC236}">
                  <a16:creationId xmlns:a16="http://schemas.microsoft.com/office/drawing/2014/main" id="{4BDEC64C-2AE8-A535-DE45-98EA2FE77D8F}"/>
                </a:ext>
              </a:extLst>
            </p:cNvPr>
            <p:cNvSpPr/>
            <p:nvPr/>
          </p:nvSpPr>
          <p:spPr>
            <a:xfrm>
              <a:off x="1029494" y="3334831"/>
              <a:ext cx="9524206" cy="1222847"/>
            </a:xfrm>
            <a:prstGeom prst="roundRect">
              <a:avLst>
                <a:gd name="adj" fmla="val 10000"/>
              </a:avLst>
            </a:prstGeom>
            <a:solidFill>
              <a:schemeClr val="bg2"/>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r>
                <a:rPr lang="nb-NO"/>
                <a:t>   </a:t>
              </a:r>
            </a:p>
          </p:txBody>
        </p:sp>
        <p:sp>
          <p:nvSpPr>
            <p:cNvPr id="8" name="Rektangel 7" descr="Dele med heldekkende fyll">
              <a:extLst>
                <a:ext uri="{FF2B5EF4-FFF2-40B4-BE49-F238E27FC236}">
                  <a16:creationId xmlns:a16="http://schemas.microsoft.com/office/drawing/2014/main" id="{1C50E769-57FC-7967-A261-1C3E981D65A0}"/>
                </a:ext>
              </a:extLst>
            </p:cNvPr>
            <p:cNvSpPr/>
            <p:nvPr/>
          </p:nvSpPr>
          <p:spPr>
            <a:xfrm>
              <a:off x="1399405" y="3609971"/>
              <a:ext cx="672566" cy="672566"/>
            </a:xfrm>
            <a:prstGeom prst="rect">
              <a:avLst/>
            </a:prstGeom>
            <a:blipFill>
              <a:blip r:embed="rId2">
                <a:extLst>
                  <a:ext uri="{96DAC541-7B7A-43D3-8B79-37D633B846F1}">
                    <asvg:svgBlip xmlns:asvg="http://schemas.microsoft.com/office/drawing/2016/SVG/main" r:embed="rId3"/>
                  </a:ext>
                </a:extLst>
              </a:blip>
              <a:srcRect/>
              <a:stretch>
                <a:fillRect/>
              </a:stretch>
            </a:blip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nb-NO"/>
            </a:p>
          </p:txBody>
        </p:sp>
        <p:sp>
          <p:nvSpPr>
            <p:cNvPr id="9" name="Friform 8">
              <a:extLst>
                <a:ext uri="{FF2B5EF4-FFF2-40B4-BE49-F238E27FC236}">
                  <a16:creationId xmlns:a16="http://schemas.microsoft.com/office/drawing/2014/main" id="{E5E882EE-997D-F7E3-46D3-D271F24E0D32}"/>
                </a:ext>
              </a:extLst>
            </p:cNvPr>
            <p:cNvSpPr/>
            <p:nvPr/>
          </p:nvSpPr>
          <p:spPr>
            <a:xfrm>
              <a:off x="2441883" y="3334831"/>
              <a:ext cx="8111816" cy="1222847"/>
            </a:xfrm>
            <a:custGeom>
              <a:avLst/>
              <a:gdLst>
                <a:gd name="connsiteX0" fmla="*/ 0 w 6209198"/>
                <a:gd name="connsiteY0" fmla="*/ 0 h 1222847"/>
                <a:gd name="connsiteX1" fmla="*/ 6209198 w 6209198"/>
                <a:gd name="connsiteY1" fmla="*/ 0 h 1222847"/>
                <a:gd name="connsiteX2" fmla="*/ 6209198 w 6209198"/>
                <a:gd name="connsiteY2" fmla="*/ 1222847 h 1222847"/>
                <a:gd name="connsiteX3" fmla="*/ 0 w 6209198"/>
                <a:gd name="connsiteY3" fmla="*/ 1222847 h 1222847"/>
                <a:gd name="connsiteX4" fmla="*/ 0 w 6209198"/>
                <a:gd name="connsiteY4" fmla="*/ 0 h 1222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09198" h="1222847">
                  <a:moveTo>
                    <a:pt x="0" y="0"/>
                  </a:moveTo>
                  <a:lnTo>
                    <a:pt x="6209198" y="0"/>
                  </a:lnTo>
                  <a:lnTo>
                    <a:pt x="6209198" y="1222847"/>
                  </a:lnTo>
                  <a:lnTo>
                    <a:pt x="0" y="12228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9418" tIns="129418" rIns="129418" bIns="129418" numCol="1" spcCol="1270" anchor="ctr" anchorCtr="0">
              <a:noAutofit/>
            </a:bodyPr>
            <a:lstStyle/>
            <a:p>
              <a:pPr lvl="0"/>
              <a:r>
                <a:rPr lang="nb-NO" sz="2800"/>
                <a:t>Referansegrupper med involvering av alle fylker</a:t>
              </a:r>
              <a:endParaRPr lang="en-US" sz="2800"/>
            </a:p>
          </p:txBody>
        </p:sp>
        <p:sp>
          <p:nvSpPr>
            <p:cNvPr id="10" name="Avrundet rektangel 9">
              <a:extLst>
                <a:ext uri="{FF2B5EF4-FFF2-40B4-BE49-F238E27FC236}">
                  <a16:creationId xmlns:a16="http://schemas.microsoft.com/office/drawing/2014/main" id="{BD99CB3F-311C-5415-92D9-A6A4A69A3C0E}"/>
                </a:ext>
              </a:extLst>
            </p:cNvPr>
            <p:cNvSpPr/>
            <p:nvPr/>
          </p:nvSpPr>
          <p:spPr>
            <a:xfrm>
              <a:off x="1029494" y="4863390"/>
              <a:ext cx="9524206" cy="1222847"/>
            </a:xfrm>
            <a:prstGeom prst="roundRect">
              <a:avLst>
                <a:gd name="adj" fmla="val 10000"/>
              </a:avLst>
            </a:prstGeom>
            <a:solidFill>
              <a:schemeClr val="bg2"/>
            </a:solidFill>
            <a:ln>
              <a:no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nb-NO"/>
            </a:p>
          </p:txBody>
        </p:sp>
        <p:sp>
          <p:nvSpPr>
            <p:cNvPr id="11" name="Rektangel 10" descr="Gruppe idédugnad med heldekkende fyll">
              <a:extLst>
                <a:ext uri="{FF2B5EF4-FFF2-40B4-BE49-F238E27FC236}">
                  <a16:creationId xmlns:a16="http://schemas.microsoft.com/office/drawing/2014/main" id="{4975FF0D-43B0-0835-AF43-CED4D86D9DA9}"/>
                </a:ext>
              </a:extLst>
            </p:cNvPr>
            <p:cNvSpPr/>
            <p:nvPr/>
          </p:nvSpPr>
          <p:spPr>
            <a:xfrm>
              <a:off x="1399405" y="5138531"/>
              <a:ext cx="672566" cy="672566"/>
            </a:xfrm>
            <a:prstGeom prst="rect">
              <a:avLst/>
            </a:prstGeom>
            <a:blipFill>
              <a:blip r:embed="rId4">
                <a:extLst>
                  <a:ext uri="{96DAC541-7B7A-43D3-8B79-37D633B846F1}">
                    <asvg:svgBlip xmlns:asvg="http://schemas.microsoft.com/office/drawing/2016/SVG/main" r:embed="rId5"/>
                  </a:ext>
                </a:extLst>
              </a:blip>
              <a:srcRect/>
              <a:stretch>
                <a:fillRect/>
              </a:stretch>
            </a:blip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nb-NO"/>
            </a:p>
          </p:txBody>
        </p:sp>
        <p:sp>
          <p:nvSpPr>
            <p:cNvPr id="12" name="Friform 11">
              <a:extLst>
                <a:ext uri="{FF2B5EF4-FFF2-40B4-BE49-F238E27FC236}">
                  <a16:creationId xmlns:a16="http://schemas.microsoft.com/office/drawing/2014/main" id="{A52147F8-3AF7-36F0-33A5-EEC19D9EBB0E}"/>
                </a:ext>
              </a:extLst>
            </p:cNvPr>
            <p:cNvSpPr/>
            <p:nvPr/>
          </p:nvSpPr>
          <p:spPr>
            <a:xfrm>
              <a:off x="2441883" y="4863390"/>
              <a:ext cx="6209198" cy="1222847"/>
            </a:xfrm>
            <a:custGeom>
              <a:avLst/>
              <a:gdLst>
                <a:gd name="connsiteX0" fmla="*/ 0 w 6209198"/>
                <a:gd name="connsiteY0" fmla="*/ 0 h 1222847"/>
                <a:gd name="connsiteX1" fmla="*/ 6209198 w 6209198"/>
                <a:gd name="connsiteY1" fmla="*/ 0 h 1222847"/>
                <a:gd name="connsiteX2" fmla="*/ 6209198 w 6209198"/>
                <a:gd name="connsiteY2" fmla="*/ 1222847 h 1222847"/>
                <a:gd name="connsiteX3" fmla="*/ 0 w 6209198"/>
                <a:gd name="connsiteY3" fmla="*/ 1222847 h 1222847"/>
                <a:gd name="connsiteX4" fmla="*/ 0 w 6209198"/>
                <a:gd name="connsiteY4" fmla="*/ 0 h 1222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09198" h="1222847">
                  <a:moveTo>
                    <a:pt x="0" y="0"/>
                  </a:moveTo>
                  <a:lnTo>
                    <a:pt x="6209198" y="0"/>
                  </a:lnTo>
                  <a:lnTo>
                    <a:pt x="6209198" y="1222847"/>
                  </a:lnTo>
                  <a:lnTo>
                    <a:pt x="0" y="12228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9418" tIns="129418" rIns="129418" bIns="129418" numCol="1" spcCol="1270" anchor="ctr" anchorCtr="0">
              <a:noAutofit/>
            </a:bodyPr>
            <a:lstStyle/>
            <a:p>
              <a:pPr marL="0" lvl="0" indent="0" algn="l" defTabSz="1111250">
                <a:lnSpc>
                  <a:spcPct val="100000"/>
                </a:lnSpc>
                <a:spcBef>
                  <a:spcPct val="0"/>
                </a:spcBef>
                <a:spcAft>
                  <a:spcPct val="35000"/>
                </a:spcAft>
                <a:buNone/>
              </a:pPr>
              <a:r>
                <a:rPr lang="nb-NO" sz="2500"/>
                <a:t>Tverrfaglige team i utviklingsfasen</a:t>
              </a:r>
              <a:endParaRPr lang="en-US" sz="2500" kern="1200"/>
            </a:p>
          </p:txBody>
        </p:sp>
      </p:grpSp>
      <p:sp>
        <p:nvSpPr>
          <p:cNvPr id="3" name="Google Shape;1007;g2e0683f995c_0_0">
            <a:extLst>
              <a:ext uri="{FF2B5EF4-FFF2-40B4-BE49-F238E27FC236}">
                <a16:creationId xmlns:a16="http://schemas.microsoft.com/office/drawing/2014/main" id="{7BBF7804-5F3D-4567-E9C7-9C58D06CDDD6}"/>
              </a:ext>
            </a:extLst>
          </p:cNvPr>
          <p:cNvSpPr txBox="1">
            <a:spLocks/>
          </p:cNvSpPr>
          <p:nvPr/>
        </p:nvSpPr>
        <p:spPr>
          <a:xfrm>
            <a:off x="335550" y="771239"/>
            <a:ext cx="11520900" cy="538974"/>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lvl="0" indent="0" fontAlgn="auto">
              <a:lnSpc>
                <a:spcPct val="100000"/>
              </a:lnSpc>
              <a:buClr>
                <a:srgbClr val="000000"/>
              </a:buClr>
              <a:buSzPts val="2800"/>
              <a:tabLst/>
              <a:defRPr/>
            </a:pPr>
            <a:r>
              <a:rPr lang="nb-NO" sz="3600" kern="0">
                <a:solidFill>
                  <a:schemeClr val="accent1"/>
                </a:solidFill>
                <a:latin typeface="Brockmann"/>
              </a:rPr>
              <a:t>Hvordan blir dere involvert i de ulike fasene fremover? </a:t>
            </a:r>
          </a:p>
        </p:txBody>
      </p:sp>
      <p:pic>
        <p:nvPicPr>
          <p:cNvPr id="14" name="Grafikk 13" descr="Kompass med heldekkende fyll">
            <a:extLst>
              <a:ext uri="{FF2B5EF4-FFF2-40B4-BE49-F238E27FC236}">
                <a16:creationId xmlns:a16="http://schemas.microsoft.com/office/drawing/2014/main" id="{5BDC5FAC-40F1-527F-152F-7E301C6B3CA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81959" y="2051783"/>
            <a:ext cx="690012" cy="690012"/>
          </a:xfrm>
          <a:prstGeom prst="rect">
            <a:avLst/>
          </a:prstGeom>
        </p:spPr>
      </p:pic>
    </p:spTree>
    <p:extLst>
      <p:ext uri="{BB962C8B-B14F-4D97-AF65-F5344CB8AC3E}">
        <p14:creationId xmlns:p14="http://schemas.microsoft.com/office/powerpoint/2010/main" val="21644934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12A2D17-615D-FD0E-90A3-1AE2CF9F02E0}"/>
              </a:ext>
            </a:extLst>
          </p:cNvPr>
          <p:cNvGraphicFramePr>
            <a:graphicFrameLocks noChangeAspect="1"/>
          </p:cNvGraphicFramePr>
          <p:nvPr>
            <p:custDataLst>
              <p:tags r:id="rId1"/>
            </p:custDataLst>
            <p:extLst>
              <p:ext uri="{D42A27DB-BD31-4B8C-83A1-F6EECF244321}">
                <p14:modId xmlns:p14="http://schemas.microsoft.com/office/powerpoint/2010/main" val="37455309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612A2D17-615D-FD0E-90A3-1AE2CF9F02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219F3AC9-8BA4-6801-E3E6-783B4A24AA5D}"/>
              </a:ext>
            </a:extLst>
          </p:cNvPr>
          <p:cNvSpPr>
            <a:spLocks noGrp="1"/>
          </p:cNvSpPr>
          <p:nvPr>
            <p:ph type="ctrTitle"/>
          </p:nvPr>
        </p:nvSpPr>
        <p:spPr>
          <a:xfrm>
            <a:off x="1029494" y="1554162"/>
            <a:ext cx="10154444" cy="3678237"/>
          </a:xfrm>
        </p:spPr>
        <p:txBody>
          <a:bodyPr vert="horz"/>
          <a:lstStyle/>
          <a:p>
            <a:r>
              <a:rPr lang="nb-NO" sz="4400">
                <a:solidFill>
                  <a:schemeClr val="accent1"/>
                </a:solidFill>
              </a:rPr>
              <a:t>Alle spørsmål angående VIGO moderniseringen kan rettes til:</a:t>
            </a:r>
            <a:br>
              <a:rPr lang="nb-NO" sz="4400">
                <a:solidFill>
                  <a:schemeClr val="accent1"/>
                </a:solidFill>
              </a:rPr>
            </a:br>
            <a:br>
              <a:rPr lang="nb-NO" sz="3600">
                <a:solidFill>
                  <a:schemeClr val="accent1"/>
                </a:solidFill>
              </a:rPr>
            </a:br>
            <a:r>
              <a:rPr lang="nb-NO" sz="3600">
                <a:solidFill>
                  <a:schemeClr val="accent1"/>
                </a:solidFill>
              </a:rPr>
              <a:t>Anne Synnøve Sundsteigen</a:t>
            </a:r>
            <a:br>
              <a:rPr lang="nb-NO" sz="3600">
                <a:solidFill>
                  <a:schemeClr val="accent1"/>
                </a:solidFill>
              </a:rPr>
            </a:br>
            <a:r>
              <a:rPr lang="nb-NO" sz="3600">
                <a:solidFill>
                  <a:schemeClr val="accent1"/>
                </a:solidFill>
              </a:rPr>
              <a:t>anne.synnove.sundsteigen@novari.no</a:t>
            </a:r>
            <a:br>
              <a:rPr lang="nb-NO">
                <a:solidFill>
                  <a:schemeClr val="accent1"/>
                </a:solidFill>
              </a:rPr>
            </a:br>
            <a:br>
              <a:rPr lang="nb-NO">
                <a:solidFill>
                  <a:schemeClr val="accent1"/>
                </a:solidFill>
              </a:rPr>
            </a:br>
            <a:endParaRPr lang="nb-NO">
              <a:solidFill>
                <a:schemeClr val="accent1"/>
              </a:solidFill>
            </a:endParaRPr>
          </a:p>
        </p:txBody>
      </p:sp>
      <p:sp>
        <p:nvSpPr>
          <p:cNvPr id="3" name="Plassholder for lysbildenummer 2">
            <a:extLst>
              <a:ext uri="{FF2B5EF4-FFF2-40B4-BE49-F238E27FC236}">
                <a16:creationId xmlns:a16="http://schemas.microsoft.com/office/drawing/2014/main" id="{1E15916A-B3D1-4C45-AF44-61B30382D0D5}"/>
              </a:ext>
            </a:extLst>
          </p:cNvPr>
          <p:cNvSpPr>
            <a:spLocks noGrp="1"/>
          </p:cNvSpPr>
          <p:nvPr>
            <p:ph type="sldNum" sz="quarter" idx="16"/>
          </p:nvPr>
        </p:nvSpPr>
        <p:spPr/>
        <p:txBody>
          <a:bodyPr/>
          <a:lstStyle/>
          <a:p>
            <a:fld id="{BE2ACD00-28B2-4D17-A930-2C9F8441C7CA}" type="slidenum">
              <a:rPr lang="nb-NO" smtClean="0"/>
              <a:pPr/>
              <a:t>24</a:t>
            </a:fld>
            <a:endParaRPr lang="nb-NO"/>
          </a:p>
        </p:txBody>
      </p:sp>
    </p:spTree>
    <p:extLst>
      <p:ext uri="{BB962C8B-B14F-4D97-AF65-F5344CB8AC3E}">
        <p14:creationId xmlns:p14="http://schemas.microsoft.com/office/powerpoint/2010/main" val="14418355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 name="Slide Number Placeholder 2">
            <a:extLst>
              <a:ext uri="{FF2B5EF4-FFF2-40B4-BE49-F238E27FC236}">
                <a16:creationId xmlns:a16="http://schemas.microsoft.com/office/drawing/2014/main" id="{863334C0-03EF-8208-60B2-8DCCA28C1088}"/>
              </a:ext>
            </a:extLst>
          </p:cNvPr>
          <p:cNvSpPr>
            <a:spLocks noGrp="1"/>
          </p:cNvSpPr>
          <p:nvPr>
            <p:ph type="sldNum" sz="quarter" idx="12"/>
          </p:nvPr>
        </p:nvSpPr>
        <p:spPr>
          <a:xfrm>
            <a:off x="10792460" y="6348715"/>
            <a:ext cx="391477" cy="153889"/>
          </a:xfrm>
        </p:spPr>
        <p:txBody>
          <a:bodyPr/>
          <a:lstStyle/>
          <a:p>
            <a:pPr>
              <a:spcAft>
                <a:spcPts val="600"/>
              </a:spcAft>
            </a:pPr>
            <a:fld id="{BE2ACD00-28B2-4D17-A930-2C9F8441C7CA}" type="slidenum">
              <a:rPr lang="nb-NO" smtClean="0"/>
              <a:pPr>
                <a:spcAft>
                  <a:spcPts val="600"/>
                </a:spcAft>
              </a:pPr>
              <a:t>3</a:t>
            </a:fld>
            <a:endParaRPr lang="nb-NO"/>
          </a:p>
        </p:txBody>
      </p:sp>
      <p:graphicFrame>
        <p:nvGraphicFramePr>
          <p:cNvPr id="503" name="TekstSylinder 5">
            <a:extLst>
              <a:ext uri="{FF2B5EF4-FFF2-40B4-BE49-F238E27FC236}">
                <a16:creationId xmlns:a16="http://schemas.microsoft.com/office/drawing/2014/main" id="{1BF7A599-9884-A8CE-5AEE-D0EE872BD81F}"/>
              </a:ext>
            </a:extLst>
          </p:cNvPr>
          <p:cNvGraphicFramePr/>
          <p:nvPr>
            <p:extLst>
              <p:ext uri="{D42A27DB-BD31-4B8C-83A1-F6EECF244321}">
                <p14:modId xmlns:p14="http://schemas.microsoft.com/office/powerpoint/2010/main" val="3199774294"/>
              </p:ext>
            </p:extLst>
          </p:nvPr>
        </p:nvGraphicFramePr>
        <p:xfrm>
          <a:off x="510232" y="1481036"/>
          <a:ext cx="7621588" cy="42810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Google Shape;1007;g2e0683f995c_0_0">
            <a:extLst>
              <a:ext uri="{FF2B5EF4-FFF2-40B4-BE49-F238E27FC236}">
                <a16:creationId xmlns:a16="http://schemas.microsoft.com/office/drawing/2014/main" id="{3DBF386A-29FA-A66D-8798-85EB2D2D5093}"/>
              </a:ext>
            </a:extLst>
          </p:cNvPr>
          <p:cNvSpPr txBox="1">
            <a:spLocks/>
          </p:cNvSpPr>
          <p:nvPr/>
        </p:nvSpPr>
        <p:spPr>
          <a:xfrm>
            <a:off x="510232" y="355396"/>
            <a:ext cx="11520900" cy="538974"/>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lvl="0" indent="0" fontAlgn="auto">
              <a:lnSpc>
                <a:spcPct val="100000"/>
              </a:lnSpc>
              <a:buClr>
                <a:srgbClr val="000000"/>
              </a:buClr>
              <a:buSzPts val="2800"/>
              <a:tabLst/>
              <a:defRPr/>
            </a:pPr>
            <a:r>
              <a:rPr lang="nb-NO" sz="3600" kern="0">
                <a:solidFill>
                  <a:schemeClr val="accent1"/>
                </a:solidFill>
                <a:latin typeface="Brockmann"/>
              </a:rPr>
              <a:t>Agenda, informasjonsmøte 12.06.2025</a:t>
            </a:r>
          </a:p>
        </p:txBody>
      </p:sp>
      <p:grpSp>
        <p:nvGrpSpPr>
          <p:cNvPr id="7" name="Google Shape;14105;p81">
            <a:extLst>
              <a:ext uri="{FF2B5EF4-FFF2-40B4-BE49-F238E27FC236}">
                <a16:creationId xmlns:a16="http://schemas.microsoft.com/office/drawing/2014/main" id="{E10B863D-AE4E-69C6-1926-CA8E1797737F}"/>
              </a:ext>
            </a:extLst>
          </p:cNvPr>
          <p:cNvGrpSpPr/>
          <p:nvPr/>
        </p:nvGrpSpPr>
        <p:grpSpPr>
          <a:xfrm>
            <a:off x="9075780" y="2624520"/>
            <a:ext cx="2468520" cy="1994044"/>
            <a:chOff x="546150" y="238125"/>
            <a:chExt cx="6527700" cy="5238750"/>
          </a:xfrm>
        </p:grpSpPr>
        <p:sp>
          <p:nvSpPr>
            <p:cNvPr id="8" name="Google Shape;14106;p81">
              <a:extLst>
                <a:ext uri="{FF2B5EF4-FFF2-40B4-BE49-F238E27FC236}">
                  <a16:creationId xmlns:a16="http://schemas.microsoft.com/office/drawing/2014/main" id="{08B268B6-701E-F0B6-5817-31EF331512F2}"/>
                </a:ext>
              </a:extLst>
            </p:cNvPr>
            <p:cNvSpPr/>
            <p:nvPr/>
          </p:nvSpPr>
          <p:spPr>
            <a:xfrm>
              <a:off x="1029075" y="4567175"/>
              <a:ext cx="4062125" cy="145150"/>
            </a:xfrm>
            <a:custGeom>
              <a:avLst/>
              <a:gdLst/>
              <a:ahLst/>
              <a:cxnLst/>
              <a:rect l="l" t="t" r="r" b="b"/>
              <a:pathLst>
                <a:path w="162485" h="5806" extrusionOk="0">
                  <a:moveTo>
                    <a:pt x="3870" y="1451"/>
                  </a:moveTo>
                  <a:lnTo>
                    <a:pt x="2212" y="1693"/>
                  </a:lnTo>
                  <a:lnTo>
                    <a:pt x="1520" y="1832"/>
                  </a:lnTo>
                  <a:lnTo>
                    <a:pt x="968" y="1970"/>
                  </a:lnTo>
                  <a:lnTo>
                    <a:pt x="553" y="2074"/>
                  </a:lnTo>
                  <a:lnTo>
                    <a:pt x="242" y="2212"/>
                  </a:lnTo>
                  <a:lnTo>
                    <a:pt x="35" y="2350"/>
                  </a:lnTo>
                  <a:lnTo>
                    <a:pt x="0" y="2419"/>
                  </a:lnTo>
                  <a:lnTo>
                    <a:pt x="0" y="2488"/>
                  </a:lnTo>
                  <a:lnTo>
                    <a:pt x="0" y="2557"/>
                  </a:lnTo>
                  <a:lnTo>
                    <a:pt x="35" y="2592"/>
                  </a:lnTo>
                  <a:lnTo>
                    <a:pt x="207" y="2730"/>
                  </a:lnTo>
                  <a:lnTo>
                    <a:pt x="518" y="2868"/>
                  </a:lnTo>
                  <a:lnTo>
                    <a:pt x="898" y="2972"/>
                  </a:lnTo>
                  <a:lnTo>
                    <a:pt x="1417" y="3110"/>
                  </a:lnTo>
                  <a:lnTo>
                    <a:pt x="2039" y="3214"/>
                  </a:lnTo>
                  <a:lnTo>
                    <a:pt x="3594" y="3456"/>
                  </a:lnTo>
                  <a:lnTo>
                    <a:pt x="3870" y="1451"/>
                  </a:lnTo>
                  <a:close/>
                  <a:moveTo>
                    <a:pt x="147107" y="0"/>
                  </a:moveTo>
                  <a:lnTo>
                    <a:pt x="146934" y="346"/>
                  </a:lnTo>
                  <a:lnTo>
                    <a:pt x="146830" y="518"/>
                  </a:lnTo>
                  <a:lnTo>
                    <a:pt x="146623" y="657"/>
                  </a:lnTo>
                  <a:lnTo>
                    <a:pt x="146346" y="829"/>
                  </a:lnTo>
                  <a:lnTo>
                    <a:pt x="146001" y="968"/>
                  </a:lnTo>
                  <a:lnTo>
                    <a:pt x="145828" y="2903"/>
                  </a:lnTo>
                  <a:lnTo>
                    <a:pt x="145828" y="3663"/>
                  </a:lnTo>
                  <a:lnTo>
                    <a:pt x="145828" y="4251"/>
                  </a:lnTo>
                  <a:lnTo>
                    <a:pt x="150977" y="3940"/>
                  </a:lnTo>
                  <a:lnTo>
                    <a:pt x="155469" y="3594"/>
                  </a:lnTo>
                  <a:lnTo>
                    <a:pt x="159270" y="3248"/>
                  </a:lnTo>
                  <a:lnTo>
                    <a:pt x="160860" y="3076"/>
                  </a:lnTo>
                  <a:lnTo>
                    <a:pt x="162277" y="2903"/>
                  </a:lnTo>
                  <a:lnTo>
                    <a:pt x="162484" y="899"/>
                  </a:lnTo>
                  <a:lnTo>
                    <a:pt x="161171" y="795"/>
                  </a:lnTo>
                  <a:lnTo>
                    <a:pt x="159650" y="657"/>
                  </a:lnTo>
                  <a:lnTo>
                    <a:pt x="156126" y="415"/>
                  </a:lnTo>
                  <a:lnTo>
                    <a:pt x="151910" y="207"/>
                  </a:lnTo>
                  <a:lnTo>
                    <a:pt x="147107" y="0"/>
                  </a:lnTo>
                  <a:close/>
                  <a:moveTo>
                    <a:pt x="18073" y="380"/>
                  </a:moveTo>
                  <a:lnTo>
                    <a:pt x="12959" y="657"/>
                  </a:lnTo>
                  <a:lnTo>
                    <a:pt x="8605" y="968"/>
                  </a:lnTo>
                  <a:lnTo>
                    <a:pt x="7913" y="3905"/>
                  </a:lnTo>
                  <a:lnTo>
                    <a:pt x="10298" y="4112"/>
                  </a:lnTo>
                  <a:lnTo>
                    <a:pt x="12924" y="4285"/>
                  </a:lnTo>
                  <a:lnTo>
                    <a:pt x="15827" y="4458"/>
                  </a:lnTo>
                  <a:lnTo>
                    <a:pt x="18971" y="4631"/>
                  </a:lnTo>
                  <a:lnTo>
                    <a:pt x="18591" y="2972"/>
                  </a:lnTo>
                  <a:lnTo>
                    <a:pt x="18384" y="2074"/>
                  </a:lnTo>
                  <a:lnTo>
                    <a:pt x="18073" y="380"/>
                  </a:lnTo>
                  <a:close/>
                  <a:moveTo>
                    <a:pt x="137085" y="2454"/>
                  </a:moveTo>
                  <a:lnTo>
                    <a:pt x="133768" y="2730"/>
                  </a:lnTo>
                  <a:lnTo>
                    <a:pt x="130070" y="2972"/>
                  </a:lnTo>
                  <a:lnTo>
                    <a:pt x="129759" y="3663"/>
                  </a:lnTo>
                  <a:lnTo>
                    <a:pt x="129483" y="4285"/>
                  </a:lnTo>
                  <a:lnTo>
                    <a:pt x="129241" y="5011"/>
                  </a:lnTo>
                  <a:lnTo>
                    <a:pt x="137154" y="4700"/>
                  </a:lnTo>
                  <a:lnTo>
                    <a:pt x="137085" y="3663"/>
                  </a:lnTo>
                  <a:lnTo>
                    <a:pt x="137085" y="2454"/>
                  </a:lnTo>
                  <a:close/>
                  <a:moveTo>
                    <a:pt x="25295" y="69"/>
                  </a:moveTo>
                  <a:lnTo>
                    <a:pt x="23913" y="104"/>
                  </a:lnTo>
                  <a:lnTo>
                    <a:pt x="24259" y="4838"/>
                  </a:lnTo>
                  <a:lnTo>
                    <a:pt x="30064" y="5045"/>
                  </a:lnTo>
                  <a:lnTo>
                    <a:pt x="36353" y="5253"/>
                  </a:lnTo>
                  <a:lnTo>
                    <a:pt x="43057" y="5425"/>
                  </a:lnTo>
                  <a:lnTo>
                    <a:pt x="50176" y="5564"/>
                  </a:lnTo>
                  <a:lnTo>
                    <a:pt x="57640" y="5667"/>
                  </a:lnTo>
                  <a:lnTo>
                    <a:pt x="65450" y="5736"/>
                  </a:lnTo>
                  <a:lnTo>
                    <a:pt x="73501" y="5806"/>
                  </a:lnTo>
                  <a:lnTo>
                    <a:pt x="81830" y="5806"/>
                  </a:lnTo>
                  <a:lnTo>
                    <a:pt x="92231" y="5771"/>
                  </a:lnTo>
                  <a:lnTo>
                    <a:pt x="102321" y="5667"/>
                  </a:lnTo>
                  <a:lnTo>
                    <a:pt x="112032" y="5495"/>
                  </a:lnTo>
                  <a:lnTo>
                    <a:pt x="121224" y="5253"/>
                  </a:lnTo>
                  <a:lnTo>
                    <a:pt x="121535" y="3318"/>
                  </a:lnTo>
                  <a:lnTo>
                    <a:pt x="115142" y="3525"/>
                  </a:lnTo>
                  <a:lnTo>
                    <a:pt x="108300" y="3629"/>
                  </a:lnTo>
                  <a:lnTo>
                    <a:pt x="101216" y="3698"/>
                  </a:lnTo>
                  <a:lnTo>
                    <a:pt x="93890" y="3732"/>
                  </a:lnTo>
                  <a:lnTo>
                    <a:pt x="88153" y="3732"/>
                  </a:lnTo>
                  <a:lnTo>
                    <a:pt x="82417" y="3698"/>
                  </a:lnTo>
                  <a:lnTo>
                    <a:pt x="76715" y="3629"/>
                  </a:lnTo>
                  <a:lnTo>
                    <a:pt x="71082" y="3525"/>
                  </a:lnTo>
                  <a:lnTo>
                    <a:pt x="65588" y="3421"/>
                  </a:lnTo>
                  <a:lnTo>
                    <a:pt x="60266" y="3283"/>
                  </a:lnTo>
                  <a:lnTo>
                    <a:pt x="55152" y="3110"/>
                  </a:lnTo>
                  <a:lnTo>
                    <a:pt x="50314" y="2937"/>
                  </a:lnTo>
                  <a:lnTo>
                    <a:pt x="45753" y="2730"/>
                  </a:lnTo>
                  <a:lnTo>
                    <a:pt x="41571" y="2523"/>
                  </a:lnTo>
                  <a:lnTo>
                    <a:pt x="37805" y="2281"/>
                  </a:lnTo>
                  <a:lnTo>
                    <a:pt x="34487" y="2039"/>
                  </a:lnTo>
                  <a:lnTo>
                    <a:pt x="31619" y="1797"/>
                  </a:lnTo>
                  <a:lnTo>
                    <a:pt x="29338" y="1521"/>
                  </a:lnTo>
                  <a:lnTo>
                    <a:pt x="28405" y="1382"/>
                  </a:lnTo>
                  <a:lnTo>
                    <a:pt x="27645" y="1210"/>
                  </a:lnTo>
                  <a:lnTo>
                    <a:pt x="27023" y="1071"/>
                  </a:lnTo>
                  <a:lnTo>
                    <a:pt x="26574" y="933"/>
                  </a:lnTo>
                  <a:lnTo>
                    <a:pt x="26228" y="760"/>
                  </a:lnTo>
                  <a:lnTo>
                    <a:pt x="25883" y="588"/>
                  </a:lnTo>
                  <a:lnTo>
                    <a:pt x="25572" y="346"/>
                  </a:lnTo>
                  <a:lnTo>
                    <a:pt x="25295" y="69"/>
                  </a:lnTo>
                  <a:close/>
                </a:path>
              </a:pathLst>
            </a:custGeom>
            <a:solidFill>
              <a:srgbClr val="E6E6E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9" name="Google Shape;14107;p81">
              <a:extLst>
                <a:ext uri="{FF2B5EF4-FFF2-40B4-BE49-F238E27FC236}">
                  <a16:creationId xmlns:a16="http://schemas.microsoft.com/office/drawing/2014/main" id="{224458B0-4C48-1087-EF8B-8AA721590C96}"/>
                </a:ext>
              </a:extLst>
            </p:cNvPr>
            <p:cNvSpPr/>
            <p:nvPr/>
          </p:nvSpPr>
          <p:spPr>
            <a:xfrm>
              <a:off x="4260075" y="4628500"/>
              <a:ext cx="197875" cy="63950"/>
            </a:xfrm>
            <a:custGeom>
              <a:avLst/>
              <a:gdLst/>
              <a:ahLst/>
              <a:cxnLst/>
              <a:rect l="l" t="t" r="r" b="b"/>
              <a:pathLst>
                <a:path w="7915" h="2558" fill="none" extrusionOk="0">
                  <a:moveTo>
                    <a:pt x="7845" y="1"/>
                  </a:moveTo>
                  <a:lnTo>
                    <a:pt x="7845" y="1"/>
                  </a:lnTo>
                  <a:lnTo>
                    <a:pt x="4528" y="277"/>
                  </a:lnTo>
                  <a:lnTo>
                    <a:pt x="830" y="519"/>
                  </a:lnTo>
                  <a:lnTo>
                    <a:pt x="830" y="519"/>
                  </a:lnTo>
                  <a:lnTo>
                    <a:pt x="519" y="1210"/>
                  </a:lnTo>
                  <a:lnTo>
                    <a:pt x="519" y="1210"/>
                  </a:lnTo>
                  <a:lnTo>
                    <a:pt x="243" y="1832"/>
                  </a:lnTo>
                  <a:lnTo>
                    <a:pt x="1" y="2558"/>
                  </a:lnTo>
                  <a:lnTo>
                    <a:pt x="1" y="2558"/>
                  </a:lnTo>
                  <a:lnTo>
                    <a:pt x="7914" y="2247"/>
                  </a:lnTo>
                  <a:lnTo>
                    <a:pt x="7914" y="2247"/>
                  </a:lnTo>
                  <a:lnTo>
                    <a:pt x="7845" y="1210"/>
                  </a:lnTo>
                  <a:lnTo>
                    <a:pt x="7845"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0" name="Google Shape;14108;p81">
              <a:extLst>
                <a:ext uri="{FF2B5EF4-FFF2-40B4-BE49-F238E27FC236}">
                  <a16:creationId xmlns:a16="http://schemas.microsoft.com/office/drawing/2014/main" id="{5FC84105-62E1-FE12-E4F4-F08A3B101708}"/>
                </a:ext>
              </a:extLst>
            </p:cNvPr>
            <p:cNvSpPr/>
            <p:nvPr/>
          </p:nvSpPr>
          <p:spPr>
            <a:xfrm>
              <a:off x="1029075" y="4603450"/>
              <a:ext cx="96775" cy="50125"/>
            </a:xfrm>
            <a:custGeom>
              <a:avLst/>
              <a:gdLst/>
              <a:ahLst/>
              <a:cxnLst/>
              <a:rect l="l" t="t" r="r" b="b"/>
              <a:pathLst>
                <a:path w="3871" h="2005" fill="none" extrusionOk="0">
                  <a:moveTo>
                    <a:pt x="3870" y="0"/>
                  </a:moveTo>
                  <a:lnTo>
                    <a:pt x="3870" y="0"/>
                  </a:lnTo>
                  <a:lnTo>
                    <a:pt x="2212" y="242"/>
                  </a:lnTo>
                  <a:lnTo>
                    <a:pt x="1520" y="381"/>
                  </a:lnTo>
                  <a:lnTo>
                    <a:pt x="968" y="519"/>
                  </a:lnTo>
                  <a:lnTo>
                    <a:pt x="553" y="623"/>
                  </a:lnTo>
                  <a:lnTo>
                    <a:pt x="242" y="761"/>
                  </a:lnTo>
                  <a:lnTo>
                    <a:pt x="35" y="899"/>
                  </a:lnTo>
                  <a:lnTo>
                    <a:pt x="0" y="968"/>
                  </a:lnTo>
                  <a:lnTo>
                    <a:pt x="0" y="1037"/>
                  </a:lnTo>
                  <a:lnTo>
                    <a:pt x="0" y="1037"/>
                  </a:lnTo>
                  <a:lnTo>
                    <a:pt x="0" y="1106"/>
                  </a:lnTo>
                  <a:lnTo>
                    <a:pt x="35" y="1141"/>
                  </a:lnTo>
                  <a:lnTo>
                    <a:pt x="207" y="1279"/>
                  </a:lnTo>
                  <a:lnTo>
                    <a:pt x="518" y="1417"/>
                  </a:lnTo>
                  <a:lnTo>
                    <a:pt x="898" y="1521"/>
                  </a:lnTo>
                  <a:lnTo>
                    <a:pt x="1417" y="1659"/>
                  </a:lnTo>
                  <a:lnTo>
                    <a:pt x="2039" y="1763"/>
                  </a:lnTo>
                  <a:lnTo>
                    <a:pt x="3594" y="2005"/>
                  </a:lnTo>
                  <a:lnTo>
                    <a:pt x="3594" y="2005"/>
                  </a:lnTo>
                  <a:lnTo>
                    <a:pt x="3870"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1" name="Google Shape;14109;p81">
              <a:extLst>
                <a:ext uri="{FF2B5EF4-FFF2-40B4-BE49-F238E27FC236}">
                  <a16:creationId xmlns:a16="http://schemas.microsoft.com/office/drawing/2014/main" id="{7CBFD4DC-4CDE-83CC-1F46-BE784F7B2E5A}"/>
                </a:ext>
              </a:extLst>
            </p:cNvPr>
            <p:cNvSpPr/>
            <p:nvPr/>
          </p:nvSpPr>
          <p:spPr>
            <a:xfrm>
              <a:off x="1226900" y="4576675"/>
              <a:ext cx="276475" cy="106275"/>
            </a:xfrm>
            <a:custGeom>
              <a:avLst/>
              <a:gdLst/>
              <a:ahLst/>
              <a:cxnLst/>
              <a:rect l="l" t="t" r="r" b="b"/>
              <a:pathLst>
                <a:path w="11059" h="4251" fill="none" extrusionOk="0">
                  <a:moveTo>
                    <a:pt x="10160" y="0"/>
                  </a:moveTo>
                  <a:lnTo>
                    <a:pt x="10160" y="0"/>
                  </a:lnTo>
                  <a:lnTo>
                    <a:pt x="5046" y="277"/>
                  </a:lnTo>
                  <a:lnTo>
                    <a:pt x="692" y="588"/>
                  </a:lnTo>
                  <a:lnTo>
                    <a:pt x="692" y="588"/>
                  </a:lnTo>
                  <a:lnTo>
                    <a:pt x="0" y="3525"/>
                  </a:lnTo>
                  <a:lnTo>
                    <a:pt x="0" y="3525"/>
                  </a:lnTo>
                  <a:lnTo>
                    <a:pt x="2385" y="3732"/>
                  </a:lnTo>
                  <a:lnTo>
                    <a:pt x="5011" y="3905"/>
                  </a:lnTo>
                  <a:lnTo>
                    <a:pt x="7914" y="4078"/>
                  </a:lnTo>
                  <a:lnTo>
                    <a:pt x="11058" y="4251"/>
                  </a:lnTo>
                  <a:lnTo>
                    <a:pt x="11058" y="4251"/>
                  </a:lnTo>
                  <a:lnTo>
                    <a:pt x="10678" y="2592"/>
                  </a:lnTo>
                  <a:lnTo>
                    <a:pt x="10678" y="2592"/>
                  </a:lnTo>
                  <a:lnTo>
                    <a:pt x="10471" y="1694"/>
                  </a:lnTo>
                  <a:lnTo>
                    <a:pt x="10160"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2" name="Google Shape;14110;p81">
              <a:extLst>
                <a:ext uri="{FF2B5EF4-FFF2-40B4-BE49-F238E27FC236}">
                  <a16:creationId xmlns:a16="http://schemas.microsoft.com/office/drawing/2014/main" id="{D4616715-4535-7D0B-B029-7C5F1AD4407D}"/>
                </a:ext>
              </a:extLst>
            </p:cNvPr>
            <p:cNvSpPr/>
            <p:nvPr/>
          </p:nvSpPr>
          <p:spPr>
            <a:xfrm>
              <a:off x="1626900" y="4568900"/>
              <a:ext cx="2440550" cy="143425"/>
            </a:xfrm>
            <a:custGeom>
              <a:avLst/>
              <a:gdLst/>
              <a:ahLst/>
              <a:cxnLst/>
              <a:rect l="l" t="t" r="r" b="b"/>
              <a:pathLst>
                <a:path w="97622" h="5737" fill="none" extrusionOk="0">
                  <a:moveTo>
                    <a:pt x="1382" y="0"/>
                  </a:moveTo>
                  <a:lnTo>
                    <a:pt x="1382" y="0"/>
                  </a:lnTo>
                  <a:lnTo>
                    <a:pt x="0" y="35"/>
                  </a:lnTo>
                  <a:lnTo>
                    <a:pt x="0" y="35"/>
                  </a:lnTo>
                  <a:lnTo>
                    <a:pt x="346" y="4769"/>
                  </a:lnTo>
                  <a:lnTo>
                    <a:pt x="346" y="4769"/>
                  </a:lnTo>
                  <a:lnTo>
                    <a:pt x="6151" y="4976"/>
                  </a:lnTo>
                  <a:lnTo>
                    <a:pt x="12440" y="5184"/>
                  </a:lnTo>
                  <a:lnTo>
                    <a:pt x="19144" y="5356"/>
                  </a:lnTo>
                  <a:lnTo>
                    <a:pt x="26263" y="5495"/>
                  </a:lnTo>
                  <a:lnTo>
                    <a:pt x="33727" y="5598"/>
                  </a:lnTo>
                  <a:lnTo>
                    <a:pt x="41537" y="5667"/>
                  </a:lnTo>
                  <a:lnTo>
                    <a:pt x="49588" y="5737"/>
                  </a:lnTo>
                  <a:lnTo>
                    <a:pt x="57917" y="5737"/>
                  </a:lnTo>
                  <a:lnTo>
                    <a:pt x="57917" y="5737"/>
                  </a:lnTo>
                  <a:lnTo>
                    <a:pt x="68318" y="5702"/>
                  </a:lnTo>
                  <a:lnTo>
                    <a:pt x="78408" y="5598"/>
                  </a:lnTo>
                  <a:lnTo>
                    <a:pt x="88119" y="5426"/>
                  </a:lnTo>
                  <a:lnTo>
                    <a:pt x="97311" y="5184"/>
                  </a:lnTo>
                  <a:lnTo>
                    <a:pt x="97311" y="5184"/>
                  </a:lnTo>
                  <a:lnTo>
                    <a:pt x="97622" y="3249"/>
                  </a:lnTo>
                  <a:lnTo>
                    <a:pt x="97622" y="3249"/>
                  </a:lnTo>
                  <a:lnTo>
                    <a:pt x="91229" y="3456"/>
                  </a:lnTo>
                  <a:lnTo>
                    <a:pt x="84387" y="3560"/>
                  </a:lnTo>
                  <a:lnTo>
                    <a:pt x="77303" y="3629"/>
                  </a:lnTo>
                  <a:lnTo>
                    <a:pt x="69977" y="3663"/>
                  </a:lnTo>
                  <a:lnTo>
                    <a:pt x="69977" y="3663"/>
                  </a:lnTo>
                  <a:lnTo>
                    <a:pt x="64240" y="3663"/>
                  </a:lnTo>
                  <a:lnTo>
                    <a:pt x="58504" y="3629"/>
                  </a:lnTo>
                  <a:lnTo>
                    <a:pt x="52802" y="3560"/>
                  </a:lnTo>
                  <a:lnTo>
                    <a:pt x="47169" y="3456"/>
                  </a:lnTo>
                  <a:lnTo>
                    <a:pt x="41675" y="3352"/>
                  </a:lnTo>
                  <a:lnTo>
                    <a:pt x="36353" y="3214"/>
                  </a:lnTo>
                  <a:lnTo>
                    <a:pt x="31239" y="3041"/>
                  </a:lnTo>
                  <a:lnTo>
                    <a:pt x="26401" y="2868"/>
                  </a:lnTo>
                  <a:lnTo>
                    <a:pt x="21840" y="2661"/>
                  </a:lnTo>
                  <a:lnTo>
                    <a:pt x="17658" y="2454"/>
                  </a:lnTo>
                  <a:lnTo>
                    <a:pt x="13892" y="2212"/>
                  </a:lnTo>
                  <a:lnTo>
                    <a:pt x="10574" y="1970"/>
                  </a:lnTo>
                  <a:lnTo>
                    <a:pt x="7706" y="1728"/>
                  </a:lnTo>
                  <a:lnTo>
                    <a:pt x="5425" y="1452"/>
                  </a:lnTo>
                  <a:lnTo>
                    <a:pt x="4492" y="1313"/>
                  </a:lnTo>
                  <a:lnTo>
                    <a:pt x="3732" y="1141"/>
                  </a:lnTo>
                  <a:lnTo>
                    <a:pt x="3110" y="1002"/>
                  </a:lnTo>
                  <a:lnTo>
                    <a:pt x="2661" y="864"/>
                  </a:lnTo>
                  <a:lnTo>
                    <a:pt x="2661" y="864"/>
                  </a:lnTo>
                  <a:lnTo>
                    <a:pt x="2315" y="691"/>
                  </a:lnTo>
                  <a:lnTo>
                    <a:pt x="1970" y="519"/>
                  </a:lnTo>
                  <a:lnTo>
                    <a:pt x="1659" y="277"/>
                  </a:lnTo>
                  <a:lnTo>
                    <a:pt x="1382"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3" name="Google Shape;14111;p81">
              <a:extLst>
                <a:ext uri="{FF2B5EF4-FFF2-40B4-BE49-F238E27FC236}">
                  <a16:creationId xmlns:a16="http://schemas.microsoft.com/office/drawing/2014/main" id="{99B08277-C35D-B42B-D3E7-E61602E6A188}"/>
                </a:ext>
              </a:extLst>
            </p:cNvPr>
            <p:cNvSpPr/>
            <p:nvPr/>
          </p:nvSpPr>
          <p:spPr>
            <a:xfrm>
              <a:off x="4674750" y="4567175"/>
              <a:ext cx="416450" cy="106275"/>
            </a:xfrm>
            <a:custGeom>
              <a:avLst/>
              <a:gdLst/>
              <a:ahLst/>
              <a:cxnLst/>
              <a:rect l="l" t="t" r="r" b="b"/>
              <a:pathLst>
                <a:path w="16658" h="4251" fill="none" extrusionOk="0">
                  <a:moveTo>
                    <a:pt x="1280" y="0"/>
                  </a:moveTo>
                  <a:lnTo>
                    <a:pt x="1280" y="0"/>
                  </a:lnTo>
                  <a:lnTo>
                    <a:pt x="1107" y="346"/>
                  </a:lnTo>
                  <a:lnTo>
                    <a:pt x="1107" y="346"/>
                  </a:lnTo>
                  <a:lnTo>
                    <a:pt x="1003" y="518"/>
                  </a:lnTo>
                  <a:lnTo>
                    <a:pt x="796" y="657"/>
                  </a:lnTo>
                  <a:lnTo>
                    <a:pt x="519" y="829"/>
                  </a:lnTo>
                  <a:lnTo>
                    <a:pt x="174" y="968"/>
                  </a:lnTo>
                  <a:lnTo>
                    <a:pt x="174" y="968"/>
                  </a:lnTo>
                  <a:lnTo>
                    <a:pt x="1" y="2903"/>
                  </a:lnTo>
                  <a:lnTo>
                    <a:pt x="1" y="3663"/>
                  </a:lnTo>
                  <a:lnTo>
                    <a:pt x="1" y="4251"/>
                  </a:lnTo>
                  <a:lnTo>
                    <a:pt x="1" y="4251"/>
                  </a:lnTo>
                  <a:lnTo>
                    <a:pt x="5150" y="3940"/>
                  </a:lnTo>
                  <a:lnTo>
                    <a:pt x="9642" y="3594"/>
                  </a:lnTo>
                  <a:lnTo>
                    <a:pt x="13443" y="3248"/>
                  </a:lnTo>
                  <a:lnTo>
                    <a:pt x="15033" y="3076"/>
                  </a:lnTo>
                  <a:lnTo>
                    <a:pt x="16450" y="2903"/>
                  </a:lnTo>
                  <a:lnTo>
                    <a:pt x="16657" y="899"/>
                  </a:lnTo>
                  <a:lnTo>
                    <a:pt x="16657" y="899"/>
                  </a:lnTo>
                  <a:lnTo>
                    <a:pt x="15344" y="795"/>
                  </a:lnTo>
                  <a:lnTo>
                    <a:pt x="13823" y="657"/>
                  </a:lnTo>
                  <a:lnTo>
                    <a:pt x="10299" y="415"/>
                  </a:lnTo>
                  <a:lnTo>
                    <a:pt x="6083" y="207"/>
                  </a:lnTo>
                  <a:lnTo>
                    <a:pt x="1280"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4" name="Google Shape;14112;p81">
              <a:extLst>
                <a:ext uri="{FF2B5EF4-FFF2-40B4-BE49-F238E27FC236}">
                  <a16:creationId xmlns:a16="http://schemas.microsoft.com/office/drawing/2014/main" id="{CDF1D355-D69D-90A0-08DF-678EEDC4ABF3}"/>
                </a:ext>
              </a:extLst>
            </p:cNvPr>
            <p:cNvSpPr/>
            <p:nvPr/>
          </p:nvSpPr>
          <p:spPr>
            <a:xfrm>
              <a:off x="1544825" y="238125"/>
              <a:ext cx="3225000" cy="4422375"/>
            </a:xfrm>
            <a:custGeom>
              <a:avLst/>
              <a:gdLst/>
              <a:ahLst/>
              <a:cxnLst/>
              <a:rect l="l" t="t" r="r" b="b"/>
              <a:pathLst>
                <a:path w="129000" h="176895" extrusionOk="0">
                  <a:moveTo>
                    <a:pt x="61545" y="0"/>
                  </a:moveTo>
                  <a:lnTo>
                    <a:pt x="56051" y="69"/>
                  </a:lnTo>
                  <a:lnTo>
                    <a:pt x="50591" y="173"/>
                  </a:lnTo>
                  <a:lnTo>
                    <a:pt x="45200" y="311"/>
                  </a:lnTo>
                  <a:lnTo>
                    <a:pt x="39913" y="518"/>
                  </a:lnTo>
                  <a:lnTo>
                    <a:pt x="34764" y="795"/>
                  </a:lnTo>
                  <a:lnTo>
                    <a:pt x="29822" y="1106"/>
                  </a:lnTo>
                  <a:lnTo>
                    <a:pt x="27438" y="1313"/>
                  </a:lnTo>
                  <a:lnTo>
                    <a:pt x="25123" y="1520"/>
                  </a:lnTo>
                  <a:lnTo>
                    <a:pt x="22877" y="1728"/>
                  </a:lnTo>
                  <a:lnTo>
                    <a:pt x="20699" y="1970"/>
                  </a:lnTo>
                  <a:lnTo>
                    <a:pt x="18626" y="2246"/>
                  </a:lnTo>
                  <a:lnTo>
                    <a:pt x="16622" y="2523"/>
                  </a:lnTo>
                  <a:lnTo>
                    <a:pt x="14687" y="2799"/>
                  </a:lnTo>
                  <a:lnTo>
                    <a:pt x="12855" y="3145"/>
                  </a:lnTo>
                  <a:lnTo>
                    <a:pt x="11127" y="3456"/>
                  </a:lnTo>
                  <a:lnTo>
                    <a:pt x="9503" y="3836"/>
                  </a:lnTo>
                  <a:lnTo>
                    <a:pt x="7983" y="4181"/>
                  </a:lnTo>
                  <a:lnTo>
                    <a:pt x="6600" y="4596"/>
                  </a:lnTo>
                  <a:lnTo>
                    <a:pt x="5322" y="5011"/>
                  </a:lnTo>
                  <a:lnTo>
                    <a:pt x="4147" y="5460"/>
                  </a:lnTo>
                  <a:lnTo>
                    <a:pt x="3145" y="5909"/>
                  </a:lnTo>
                  <a:lnTo>
                    <a:pt x="2661" y="6151"/>
                  </a:lnTo>
                  <a:lnTo>
                    <a:pt x="2246" y="6393"/>
                  </a:lnTo>
                  <a:lnTo>
                    <a:pt x="1866" y="6669"/>
                  </a:lnTo>
                  <a:lnTo>
                    <a:pt x="1486" y="6911"/>
                  </a:lnTo>
                  <a:lnTo>
                    <a:pt x="1175" y="7188"/>
                  </a:lnTo>
                  <a:lnTo>
                    <a:pt x="899" y="7464"/>
                  </a:lnTo>
                  <a:lnTo>
                    <a:pt x="657" y="7706"/>
                  </a:lnTo>
                  <a:lnTo>
                    <a:pt x="449" y="8017"/>
                  </a:lnTo>
                  <a:lnTo>
                    <a:pt x="277" y="8294"/>
                  </a:lnTo>
                  <a:lnTo>
                    <a:pt x="138" y="8570"/>
                  </a:lnTo>
                  <a:lnTo>
                    <a:pt x="35" y="8881"/>
                  </a:lnTo>
                  <a:lnTo>
                    <a:pt x="0" y="9192"/>
                  </a:lnTo>
                  <a:lnTo>
                    <a:pt x="0" y="9503"/>
                  </a:lnTo>
                  <a:lnTo>
                    <a:pt x="35" y="9814"/>
                  </a:lnTo>
                  <a:lnTo>
                    <a:pt x="553" y="12924"/>
                  </a:lnTo>
                  <a:lnTo>
                    <a:pt x="1037" y="16103"/>
                  </a:lnTo>
                  <a:lnTo>
                    <a:pt x="1452" y="19282"/>
                  </a:lnTo>
                  <a:lnTo>
                    <a:pt x="1866" y="22496"/>
                  </a:lnTo>
                  <a:lnTo>
                    <a:pt x="2212" y="25745"/>
                  </a:lnTo>
                  <a:lnTo>
                    <a:pt x="2523" y="29027"/>
                  </a:lnTo>
                  <a:lnTo>
                    <a:pt x="2799" y="32310"/>
                  </a:lnTo>
                  <a:lnTo>
                    <a:pt x="3041" y="35628"/>
                  </a:lnTo>
                  <a:lnTo>
                    <a:pt x="3248" y="38945"/>
                  </a:lnTo>
                  <a:lnTo>
                    <a:pt x="3421" y="42297"/>
                  </a:lnTo>
                  <a:lnTo>
                    <a:pt x="3594" y="45684"/>
                  </a:lnTo>
                  <a:lnTo>
                    <a:pt x="3698" y="49036"/>
                  </a:lnTo>
                  <a:lnTo>
                    <a:pt x="3801" y="52422"/>
                  </a:lnTo>
                  <a:lnTo>
                    <a:pt x="3870" y="55809"/>
                  </a:lnTo>
                  <a:lnTo>
                    <a:pt x="3905" y="59195"/>
                  </a:lnTo>
                  <a:lnTo>
                    <a:pt x="3940" y="62582"/>
                  </a:lnTo>
                  <a:lnTo>
                    <a:pt x="3940" y="65968"/>
                  </a:lnTo>
                  <a:lnTo>
                    <a:pt x="3905" y="69355"/>
                  </a:lnTo>
                  <a:lnTo>
                    <a:pt x="3801" y="76093"/>
                  </a:lnTo>
                  <a:lnTo>
                    <a:pt x="3663" y="82797"/>
                  </a:lnTo>
                  <a:lnTo>
                    <a:pt x="3421" y="89397"/>
                  </a:lnTo>
                  <a:lnTo>
                    <a:pt x="3179" y="95929"/>
                  </a:lnTo>
                  <a:lnTo>
                    <a:pt x="2903" y="102321"/>
                  </a:lnTo>
                  <a:lnTo>
                    <a:pt x="2281" y="114693"/>
                  </a:lnTo>
                  <a:lnTo>
                    <a:pt x="1693" y="126373"/>
                  </a:lnTo>
                  <a:lnTo>
                    <a:pt x="1452" y="131902"/>
                  </a:lnTo>
                  <a:lnTo>
                    <a:pt x="1210" y="137154"/>
                  </a:lnTo>
                  <a:lnTo>
                    <a:pt x="1071" y="142165"/>
                  </a:lnTo>
                  <a:lnTo>
                    <a:pt x="968" y="146899"/>
                  </a:lnTo>
                  <a:lnTo>
                    <a:pt x="933" y="151322"/>
                  </a:lnTo>
                  <a:lnTo>
                    <a:pt x="933" y="153430"/>
                  </a:lnTo>
                  <a:lnTo>
                    <a:pt x="968" y="155435"/>
                  </a:lnTo>
                  <a:lnTo>
                    <a:pt x="1037" y="157370"/>
                  </a:lnTo>
                  <a:lnTo>
                    <a:pt x="1141" y="159201"/>
                  </a:lnTo>
                  <a:lnTo>
                    <a:pt x="1244" y="160929"/>
                  </a:lnTo>
                  <a:lnTo>
                    <a:pt x="1417" y="162588"/>
                  </a:lnTo>
                  <a:lnTo>
                    <a:pt x="1590" y="164143"/>
                  </a:lnTo>
                  <a:lnTo>
                    <a:pt x="1797" y="165594"/>
                  </a:lnTo>
                  <a:lnTo>
                    <a:pt x="2039" y="166942"/>
                  </a:lnTo>
                  <a:lnTo>
                    <a:pt x="2315" y="168186"/>
                  </a:lnTo>
                  <a:lnTo>
                    <a:pt x="2626" y="169326"/>
                  </a:lnTo>
                  <a:lnTo>
                    <a:pt x="2972" y="170363"/>
                  </a:lnTo>
                  <a:lnTo>
                    <a:pt x="3352" y="171296"/>
                  </a:lnTo>
                  <a:lnTo>
                    <a:pt x="3559" y="171711"/>
                  </a:lnTo>
                  <a:lnTo>
                    <a:pt x="3767" y="172091"/>
                  </a:lnTo>
                  <a:lnTo>
                    <a:pt x="4009" y="172436"/>
                  </a:lnTo>
                  <a:lnTo>
                    <a:pt x="4251" y="172782"/>
                  </a:lnTo>
                  <a:lnTo>
                    <a:pt x="4493" y="173058"/>
                  </a:lnTo>
                  <a:lnTo>
                    <a:pt x="4769" y="173335"/>
                  </a:lnTo>
                  <a:lnTo>
                    <a:pt x="5045" y="173577"/>
                  </a:lnTo>
                  <a:lnTo>
                    <a:pt x="5322" y="173784"/>
                  </a:lnTo>
                  <a:lnTo>
                    <a:pt x="5633" y="173957"/>
                  </a:lnTo>
                  <a:lnTo>
                    <a:pt x="5944" y="174095"/>
                  </a:lnTo>
                  <a:lnTo>
                    <a:pt x="6359" y="174233"/>
                  </a:lnTo>
                  <a:lnTo>
                    <a:pt x="6911" y="174372"/>
                  </a:lnTo>
                  <a:lnTo>
                    <a:pt x="7637" y="174510"/>
                  </a:lnTo>
                  <a:lnTo>
                    <a:pt x="8466" y="174648"/>
                  </a:lnTo>
                  <a:lnTo>
                    <a:pt x="10574" y="174890"/>
                  </a:lnTo>
                  <a:lnTo>
                    <a:pt x="13132" y="175132"/>
                  </a:lnTo>
                  <a:lnTo>
                    <a:pt x="16138" y="175374"/>
                  </a:lnTo>
                  <a:lnTo>
                    <a:pt x="19559" y="175616"/>
                  </a:lnTo>
                  <a:lnTo>
                    <a:pt x="23360" y="175823"/>
                  </a:lnTo>
                  <a:lnTo>
                    <a:pt x="27507" y="175996"/>
                  </a:lnTo>
                  <a:lnTo>
                    <a:pt x="31930" y="176169"/>
                  </a:lnTo>
                  <a:lnTo>
                    <a:pt x="36595" y="176341"/>
                  </a:lnTo>
                  <a:lnTo>
                    <a:pt x="41502" y="176480"/>
                  </a:lnTo>
                  <a:lnTo>
                    <a:pt x="46548" y="176618"/>
                  </a:lnTo>
                  <a:lnTo>
                    <a:pt x="51766" y="176721"/>
                  </a:lnTo>
                  <a:lnTo>
                    <a:pt x="57087" y="176791"/>
                  </a:lnTo>
                  <a:lnTo>
                    <a:pt x="62478" y="176860"/>
                  </a:lnTo>
                  <a:lnTo>
                    <a:pt x="67869" y="176894"/>
                  </a:lnTo>
                  <a:lnTo>
                    <a:pt x="78616" y="176894"/>
                  </a:lnTo>
                  <a:lnTo>
                    <a:pt x="83834" y="176860"/>
                  </a:lnTo>
                  <a:lnTo>
                    <a:pt x="88983" y="176791"/>
                  </a:lnTo>
                  <a:lnTo>
                    <a:pt x="93924" y="176687"/>
                  </a:lnTo>
                  <a:lnTo>
                    <a:pt x="98659" y="176549"/>
                  </a:lnTo>
                  <a:lnTo>
                    <a:pt x="103151" y="176410"/>
                  </a:lnTo>
                  <a:lnTo>
                    <a:pt x="107367" y="176238"/>
                  </a:lnTo>
                  <a:lnTo>
                    <a:pt x="111272" y="175996"/>
                  </a:lnTo>
                  <a:lnTo>
                    <a:pt x="114831" y="175754"/>
                  </a:lnTo>
                  <a:lnTo>
                    <a:pt x="117941" y="175477"/>
                  </a:lnTo>
                  <a:lnTo>
                    <a:pt x="119358" y="175305"/>
                  </a:lnTo>
                  <a:lnTo>
                    <a:pt x="120637" y="175166"/>
                  </a:lnTo>
                  <a:lnTo>
                    <a:pt x="121811" y="174994"/>
                  </a:lnTo>
                  <a:lnTo>
                    <a:pt x="122883" y="174786"/>
                  </a:lnTo>
                  <a:lnTo>
                    <a:pt x="123816" y="174613"/>
                  </a:lnTo>
                  <a:lnTo>
                    <a:pt x="124576" y="174406"/>
                  </a:lnTo>
                  <a:lnTo>
                    <a:pt x="125232" y="174199"/>
                  </a:lnTo>
                  <a:lnTo>
                    <a:pt x="125751" y="173957"/>
                  </a:lnTo>
                  <a:lnTo>
                    <a:pt x="125958" y="173853"/>
                  </a:lnTo>
                  <a:lnTo>
                    <a:pt x="126096" y="173750"/>
                  </a:lnTo>
                  <a:lnTo>
                    <a:pt x="126235" y="173611"/>
                  </a:lnTo>
                  <a:lnTo>
                    <a:pt x="126304" y="173508"/>
                  </a:lnTo>
                  <a:lnTo>
                    <a:pt x="126442" y="173231"/>
                  </a:lnTo>
                  <a:lnTo>
                    <a:pt x="126546" y="172920"/>
                  </a:lnTo>
                  <a:lnTo>
                    <a:pt x="126788" y="172160"/>
                  </a:lnTo>
                  <a:lnTo>
                    <a:pt x="126995" y="171158"/>
                  </a:lnTo>
                  <a:lnTo>
                    <a:pt x="127202" y="169983"/>
                  </a:lnTo>
                  <a:lnTo>
                    <a:pt x="127410" y="168601"/>
                  </a:lnTo>
                  <a:lnTo>
                    <a:pt x="127582" y="167080"/>
                  </a:lnTo>
                  <a:lnTo>
                    <a:pt x="127755" y="165352"/>
                  </a:lnTo>
                  <a:lnTo>
                    <a:pt x="127928" y="163452"/>
                  </a:lnTo>
                  <a:lnTo>
                    <a:pt x="128066" y="161378"/>
                  </a:lnTo>
                  <a:lnTo>
                    <a:pt x="128204" y="159167"/>
                  </a:lnTo>
                  <a:lnTo>
                    <a:pt x="128446" y="154329"/>
                  </a:lnTo>
                  <a:lnTo>
                    <a:pt x="128654" y="148938"/>
                  </a:lnTo>
                  <a:lnTo>
                    <a:pt x="128826" y="143063"/>
                  </a:lnTo>
                  <a:lnTo>
                    <a:pt x="128930" y="136740"/>
                  </a:lnTo>
                  <a:lnTo>
                    <a:pt x="128999" y="130105"/>
                  </a:lnTo>
                  <a:lnTo>
                    <a:pt x="128999" y="123124"/>
                  </a:lnTo>
                  <a:lnTo>
                    <a:pt x="128999" y="115868"/>
                  </a:lnTo>
                  <a:lnTo>
                    <a:pt x="128930" y="108438"/>
                  </a:lnTo>
                  <a:lnTo>
                    <a:pt x="128826" y="100870"/>
                  </a:lnTo>
                  <a:lnTo>
                    <a:pt x="128688" y="93199"/>
                  </a:lnTo>
                  <a:lnTo>
                    <a:pt x="128515" y="85493"/>
                  </a:lnTo>
                  <a:lnTo>
                    <a:pt x="128273" y="77786"/>
                  </a:lnTo>
                  <a:lnTo>
                    <a:pt x="128032" y="70184"/>
                  </a:lnTo>
                  <a:lnTo>
                    <a:pt x="127721" y="62720"/>
                  </a:lnTo>
                  <a:lnTo>
                    <a:pt x="127375" y="55428"/>
                  </a:lnTo>
                  <a:lnTo>
                    <a:pt x="126995" y="48379"/>
                  </a:lnTo>
                  <a:lnTo>
                    <a:pt x="126580" y="41640"/>
                  </a:lnTo>
                  <a:lnTo>
                    <a:pt x="126131" y="35213"/>
                  </a:lnTo>
                  <a:lnTo>
                    <a:pt x="125613" y="29235"/>
                  </a:lnTo>
                  <a:lnTo>
                    <a:pt x="125371" y="26436"/>
                  </a:lnTo>
                  <a:lnTo>
                    <a:pt x="125094" y="23706"/>
                  </a:lnTo>
                  <a:lnTo>
                    <a:pt x="124818" y="21149"/>
                  </a:lnTo>
                  <a:lnTo>
                    <a:pt x="124507" y="18730"/>
                  </a:lnTo>
                  <a:lnTo>
                    <a:pt x="124196" y="16414"/>
                  </a:lnTo>
                  <a:lnTo>
                    <a:pt x="123885" y="14306"/>
                  </a:lnTo>
                  <a:lnTo>
                    <a:pt x="123574" y="12302"/>
                  </a:lnTo>
                  <a:lnTo>
                    <a:pt x="123263" y="10505"/>
                  </a:lnTo>
                  <a:lnTo>
                    <a:pt x="122917" y="8846"/>
                  </a:lnTo>
                  <a:lnTo>
                    <a:pt x="122572" y="7395"/>
                  </a:lnTo>
                  <a:lnTo>
                    <a:pt x="122226" y="6116"/>
                  </a:lnTo>
                  <a:lnTo>
                    <a:pt x="121846" y="5045"/>
                  </a:lnTo>
                  <a:lnTo>
                    <a:pt x="121673" y="4561"/>
                  </a:lnTo>
                  <a:lnTo>
                    <a:pt x="121500" y="4147"/>
                  </a:lnTo>
                  <a:lnTo>
                    <a:pt x="121293" y="3767"/>
                  </a:lnTo>
                  <a:lnTo>
                    <a:pt x="121120" y="3456"/>
                  </a:lnTo>
                  <a:lnTo>
                    <a:pt x="120913" y="3214"/>
                  </a:lnTo>
                  <a:lnTo>
                    <a:pt x="120706" y="3006"/>
                  </a:lnTo>
                  <a:lnTo>
                    <a:pt x="120533" y="2834"/>
                  </a:lnTo>
                  <a:lnTo>
                    <a:pt x="120325" y="2765"/>
                  </a:lnTo>
                  <a:lnTo>
                    <a:pt x="119842" y="2626"/>
                  </a:lnTo>
                  <a:lnTo>
                    <a:pt x="119220" y="2488"/>
                  </a:lnTo>
                  <a:lnTo>
                    <a:pt x="118425" y="2350"/>
                  </a:lnTo>
                  <a:lnTo>
                    <a:pt x="117526" y="2212"/>
                  </a:lnTo>
                  <a:lnTo>
                    <a:pt x="115315" y="1935"/>
                  </a:lnTo>
                  <a:lnTo>
                    <a:pt x="112585" y="1659"/>
                  </a:lnTo>
                  <a:lnTo>
                    <a:pt x="109406" y="1417"/>
                  </a:lnTo>
                  <a:lnTo>
                    <a:pt x="105812" y="1175"/>
                  </a:lnTo>
                  <a:lnTo>
                    <a:pt x="101872" y="933"/>
                  </a:lnTo>
                  <a:lnTo>
                    <a:pt x="97553" y="726"/>
                  </a:lnTo>
                  <a:lnTo>
                    <a:pt x="92957" y="518"/>
                  </a:lnTo>
                  <a:lnTo>
                    <a:pt x="88119" y="346"/>
                  </a:lnTo>
                  <a:lnTo>
                    <a:pt x="83074" y="207"/>
                  </a:lnTo>
                  <a:lnTo>
                    <a:pt x="77856" y="104"/>
                  </a:lnTo>
                  <a:lnTo>
                    <a:pt x="72499" y="35"/>
                  </a:lnTo>
                  <a:lnTo>
                    <a:pt x="67040" y="0"/>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5" name="Google Shape;14113;p81">
              <a:extLst>
                <a:ext uri="{FF2B5EF4-FFF2-40B4-BE49-F238E27FC236}">
                  <a16:creationId xmlns:a16="http://schemas.microsoft.com/office/drawing/2014/main" id="{66063A95-9682-F623-73E6-466C25A40A82}"/>
                </a:ext>
              </a:extLst>
            </p:cNvPr>
            <p:cNvSpPr/>
            <p:nvPr/>
          </p:nvSpPr>
          <p:spPr>
            <a:xfrm>
              <a:off x="1544825" y="238125"/>
              <a:ext cx="3225000" cy="4422375"/>
            </a:xfrm>
            <a:custGeom>
              <a:avLst/>
              <a:gdLst/>
              <a:ahLst/>
              <a:cxnLst/>
              <a:rect l="l" t="t" r="r" b="b"/>
              <a:pathLst>
                <a:path w="129000" h="176895" fill="none" extrusionOk="0">
                  <a:moveTo>
                    <a:pt x="35" y="9814"/>
                  </a:moveTo>
                  <a:lnTo>
                    <a:pt x="35" y="9814"/>
                  </a:lnTo>
                  <a:lnTo>
                    <a:pt x="553" y="12924"/>
                  </a:lnTo>
                  <a:lnTo>
                    <a:pt x="1037" y="16103"/>
                  </a:lnTo>
                  <a:lnTo>
                    <a:pt x="1452" y="19282"/>
                  </a:lnTo>
                  <a:lnTo>
                    <a:pt x="1866" y="22496"/>
                  </a:lnTo>
                  <a:lnTo>
                    <a:pt x="2212" y="25745"/>
                  </a:lnTo>
                  <a:lnTo>
                    <a:pt x="2523" y="29027"/>
                  </a:lnTo>
                  <a:lnTo>
                    <a:pt x="2799" y="32310"/>
                  </a:lnTo>
                  <a:lnTo>
                    <a:pt x="3041" y="35628"/>
                  </a:lnTo>
                  <a:lnTo>
                    <a:pt x="3248" y="38945"/>
                  </a:lnTo>
                  <a:lnTo>
                    <a:pt x="3421" y="42297"/>
                  </a:lnTo>
                  <a:lnTo>
                    <a:pt x="3594" y="45684"/>
                  </a:lnTo>
                  <a:lnTo>
                    <a:pt x="3698" y="49036"/>
                  </a:lnTo>
                  <a:lnTo>
                    <a:pt x="3801" y="52422"/>
                  </a:lnTo>
                  <a:lnTo>
                    <a:pt x="3870" y="55809"/>
                  </a:lnTo>
                  <a:lnTo>
                    <a:pt x="3905" y="59195"/>
                  </a:lnTo>
                  <a:lnTo>
                    <a:pt x="3940" y="62582"/>
                  </a:lnTo>
                  <a:lnTo>
                    <a:pt x="3940" y="65968"/>
                  </a:lnTo>
                  <a:lnTo>
                    <a:pt x="3905" y="69355"/>
                  </a:lnTo>
                  <a:lnTo>
                    <a:pt x="3801" y="76093"/>
                  </a:lnTo>
                  <a:lnTo>
                    <a:pt x="3663" y="82797"/>
                  </a:lnTo>
                  <a:lnTo>
                    <a:pt x="3421" y="89397"/>
                  </a:lnTo>
                  <a:lnTo>
                    <a:pt x="3179" y="95929"/>
                  </a:lnTo>
                  <a:lnTo>
                    <a:pt x="2903" y="102321"/>
                  </a:lnTo>
                  <a:lnTo>
                    <a:pt x="2281" y="114693"/>
                  </a:lnTo>
                  <a:lnTo>
                    <a:pt x="1693" y="126373"/>
                  </a:lnTo>
                  <a:lnTo>
                    <a:pt x="1452" y="131902"/>
                  </a:lnTo>
                  <a:lnTo>
                    <a:pt x="1210" y="137154"/>
                  </a:lnTo>
                  <a:lnTo>
                    <a:pt x="1071" y="142165"/>
                  </a:lnTo>
                  <a:lnTo>
                    <a:pt x="968" y="146899"/>
                  </a:lnTo>
                  <a:lnTo>
                    <a:pt x="933" y="151322"/>
                  </a:lnTo>
                  <a:lnTo>
                    <a:pt x="933" y="153430"/>
                  </a:lnTo>
                  <a:lnTo>
                    <a:pt x="968" y="155435"/>
                  </a:lnTo>
                  <a:lnTo>
                    <a:pt x="1037" y="157370"/>
                  </a:lnTo>
                  <a:lnTo>
                    <a:pt x="1141" y="159201"/>
                  </a:lnTo>
                  <a:lnTo>
                    <a:pt x="1244" y="160929"/>
                  </a:lnTo>
                  <a:lnTo>
                    <a:pt x="1417" y="162588"/>
                  </a:lnTo>
                  <a:lnTo>
                    <a:pt x="1590" y="164143"/>
                  </a:lnTo>
                  <a:lnTo>
                    <a:pt x="1797" y="165594"/>
                  </a:lnTo>
                  <a:lnTo>
                    <a:pt x="2039" y="166942"/>
                  </a:lnTo>
                  <a:lnTo>
                    <a:pt x="2315" y="168186"/>
                  </a:lnTo>
                  <a:lnTo>
                    <a:pt x="2626" y="169326"/>
                  </a:lnTo>
                  <a:lnTo>
                    <a:pt x="2972" y="170363"/>
                  </a:lnTo>
                  <a:lnTo>
                    <a:pt x="3352" y="171296"/>
                  </a:lnTo>
                  <a:lnTo>
                    <a:pt x="3559" y="171711"/>
                  </a:lnTo>
                  <a:lnTo>
                    <a:pt x="3767" y="172091"/>
                  </a:lnTo>
                  <a:lnTo>
                    <a:pt x="4009" y="172436"/>
                  </a:lnTo>
                  <a:lnTo>
                    <a:pt x="4251" y="172782"/>
                  </a:lnTo>
                  <a:lnTo>
                    <a:pt x="4493" y="173058"/>
                  </a:lnTo>
                  <a:lnTo>
                    <a:pt x="4769" y="173335"/>
                  </a:lnTo>
                  <a:lnTo>
                    <a:pt x="5045" y="173577"/>
                  </a:lnTo>
                  <a:lnTo>
                    <a:pt x="5322" y="173784"/>
                  </a:lnTo>
                  <a:lnTo>
                    <a:pt x="5633" y="173957"/>
                  </a:lnTo>
                  <a:lnTo>
                    <a:pt x="5944" y="174095"/>
                  </a:lnTo>
                  <a:lnTo>
                    <a:pt x="5944" y="174095"/>
                  </a:lnTo>
                  <a:lnTo>
                    <a:pt x="6359" y="174233"/>
                  </a:lnTo>
                  <a:lnTo>
                    <a:pt x="6911" y="174372"/>
                  </a:lnTo>
                  <a:lnTo>
                    <a:pt x="7637" y="174510"/>
                  </a:lnTo>
                  <a:lnTo>
                    <a:pt x="8466" y="174648"/>
                  </a:lnTo>
                  <a:lnTo>
                    <a:pt x="10574" y="174890"/>
                  </a:lnTo>
                  <a:lnTo>
                    <a:pt x="13132" y="175132"/>
                  </a:lnTo>
                  <a:lnTo>
                    <a:pt x="16138" y="175374"/>
                  </a:lnTo>
                  <a:lnTo>
                    <a:pt x="19559" y="175616"/>
                  </a:lnTo>
                  <a:lnTo>
                    <a:pt x="23360" y="175823"/>
                  </a:lnTo>
                  <a:lnTo>
                    <a:pt x="27507" y="175996"/>
                  </a:lnTo>
                  <a:lnTo>
                    <a:pt x="31930" y="176169"/>
                  </a:lnTo>
                  <a:lnTo>
                    <a:pt x="36595" y="176341"/>
                  </a:lnTo>
                  <a:lnTo>
                    <a:pt x="41502" y="176480"/>
                  </a:lnTo>
                  <a:lnTo>
                    <a:pt x="46548" y="176618"/>
                  </a:lnTo>
                  <a:lnTo>
                    <a:pt x="51766" y="176721"/>
                  </a:lnTo>
                  <a:lnTo>
                    <a:pt x="57087" y="176791"/>
                  </a:lnTo>
                  <a:lnTo>
                    <a:pt x="62478" y="176860"/>
                  </a:lnTo>
                  <a:lnTo>
                    <a:pt x="67869" y="176894"/>
                  </a:lnTo>
                  <a:lnTo>
                    <a:pt x="73260" y="176894"/>
                  </a:lnTo>
                  <a:lnTo>
                    <a:pt x="78616" y="176894"/>
                  </a:lnTo>
                  <a:lnTo>
                    <a:pt x="83834" y="176860"/>
                  </a:lnTo>
                  <a:lnTo>
                    <a:pt x="88983" y="176791"/>
                  </a:lnTo>
                  <a:lnTo>
                    <a:pt x="93924" y="176687"/>
                  </a:lnTo>
                  <a:lnTo>
                    <a:pt x="98659" y="176549"/>
                  </a:lnTo>
                  <a:lnTo>
                    <a:pt x="103151" y="176410"/>
                  </a:lnTo>
                  <a:lnTo>
                    <a:pt x="107367" y="176238"/>
                  </a:lnTo>
                  <a:lnTo>
                    <a:pt x="111272" y="175996"/>
                  </a:lnTo>
                  <a:lnTo>
                    <a:pt x="114831" y="175754"/>
                  </a:lnTo>
                  <a:lnTo>
                    <a:pt x="117941" y="175477"/>
                  </a:lnTo>
                  <a:lnTo>
                    <a:pt x="119358" y="175305"/>
                  </a:lnTo>
                  <a:lnTo>
                    <a:pt x="120637" y="175166"/>
                  </a:lnTo>
                  <a:lnTo>
                    <a:pt x="121811" y="174994"/>
                  </a:lnTo>
                  <a:lnTo>
                    <a:pt x="122883" y="174786"/>
                  </a:lnTo>
                  <a:lnTo>
                    <a:pt x="123816" y="174613"/>
                  </a:lnTo>
                  <a:lnTo>
                    <a:pt x="124576" y="174406"/>
                  </a:lnTo>
                  <a:lnTo>
                    <a:pt x="125232" y="174199"/>
                  </a:lnTo>
                  <a:lnTo>
                    <a:pt x="125751" y="173957"/>
                  </a:lnTo>
                  <a:lnTo>
                    <a:pt x="125958" y="173853"/>
                  </a:lnTo>
                  <a:lnTo>
                    <a:pt x="126096" y="173750"/>
                  </a:lnTo>
                  <a:lnTo>
                    <a:pt x="126235" y="173611"/>
                  </a:lnTo>
                  <a:lnTo>
                    <a:pt x="126304" y="173508"/>
                  </a:lnTo>
                  <a:lnTo>
                    <a:pt x="126304" y="173508"/>
                  </a:lnTo>
                  <a:lnTo>
                    <a:pt x="126442" y="173231"/>
                  </a:lnTo>
                  <a:lnTo>
                    <a:pt x="126546" y="172920"/>
                  </a:lnTo>
                  <a:lnTo>
                    <a:pt x="126788" y="172160"/>
                  </a:lnTo>
                  <a:lnTo>
                    <a:pt x="126995" y="171158"/>
                  </a:lnTo>
                  <a:lnTo>
                    <a:pt x="127202" y="169983"/>
                  </a:lnTo>
                  <a:lnTo>
                    <a:pt x="127410" y="168601"/>
                  </a:lnTo>
                  <a:lnTo>
                    <a:pt x="127582" y="167080"/>
                  </a:lnTo>
                  <a:lnTo>
                    <a:pt x="127755" y="165352"/>
                  </a:lnTo>
                  <a:lnTo>
                    <a:pt x="127928" y="163452"/>
                  </a:lnTo>
                  <a:lnTo>
                    <a:pt x="128066" y="161378"/>
                  </a:lnTo>
                  <a:lnTo>
                    <a:pt x="128204" y="159167"/>
                  </a:lnTo>
                  <a:lnTo>
                    <a:pt x="128446" y="154329"/>
                  </a:lnTo>
                  <a:lnTo>
                    <a:pt x="128654" y="148938"/>
                  </a:lnTo>
                  <a:lnTo>
                    <a:pt x="128826" y="143063"/>
                  </a:lnTo>
                  <a:lnTo>
                    <a:pt x="128930" y="136740"/>
                  </a:lnTo>
                  <a:lnTo>
                    <a:pt x="128999" y="130105"/>
                  </a:lnTo>
                  <a:lnTo>
                    <a:pt x="128999" y="123124"/>
                  </a:lnTo>
                  <a:lnTo>
                    <a:pt x="128999" y="115868"/>
                  </a:lnTo>
                  <a:lnTo>
                    <a:pt x="128930" y="108438"/>
                  </a:lnTo>
                  <a:lnTo>
                    <a:pt x="128826" y="100870"/>
                  </a:lnTo>
                  <a:lnTo>
                    <a:pt x="128688" y="93199"/>
                  </a:lnTo>
                  <a:lnTo>
                    <a:pt x="128515" y="85493"/>
                  </a:lnTo>
                  <a:lnTo>
                    <a:pt x="128273" y="77786"/>
                  </a:lnTo>
                  <a:lnTo>
                    <a:pt x="128032" y="70184"/>
                  </a:lnTo>
                  <a:lnTo>
                    <a:pt x="127721" y="62720"/>
                  </a:lnTo>
                  <a:lnTo>
                    <a:pt x="127375" y="55428"/>
                  </a:lnTo>
                  <a:lnTo>
                    <a:pt x="126995" y="48379"/>
                  </a:lnTo>
                  <a:lnTo>
                    <a:pt x="126580" y="41640"/>
                  </a:lnTo>
                  <a:lnTo>
                    <a:pt x="126131" y="35213"/>
                  </a:lnTo>
                  <a:lnTo>
                    <a:pt x="125613" y="29235"/>
                  </a:lnTo>
                  <a:lnTo>
                    <a:pt x="125371" y="26436"/>
                  </a:lnTo>
                  <a:lnTo>
                    <a:pt x="125094" y="23706"/>
                  </a:lnTo>
                  <a:lnTo>
                    <a:pt x="124818" y="21149"/>
                  </a:lnTo>
                  <a:lnTo>
                    <a:pt x="124507" y="18730"/>
                  </a:lnTo>
                  <a:lnTo>
                    <a:pt x="124196" y="16414"/>
                  </a:lnTo>
                  <a:lnTo>
                    <a:pt x="123885" y="14306"/>
                  </a:lnTo>
                  <a:lnTo>
                    <a:pt x="123574" y="12302"/>
                  </a:lnTo>
                  <a:lnTo>
                    <a:pt x="123263" y="10505"/>
                  </a:lnTo>
                  <a:lnTo>
                    <a:pt x="122917" y="8846"/>
                  </a:lnTo>
                  <a:lnTo>
                    <a:pt x="122572" y="7395"/>
                  </a:lnTo>
                  <a:lnTo>
                    <a:pt x="122226" y="6116"/>
                  </a:lnTo>
                  <a:lnTo>
                    <a:pt x="121846" y="5045"/>
                  </a:lnTo>
                  <a:lnTo>
                    <a:pt x="121673" y="4561"/>
                  </a:lnTo>
                  <a:lnTo>
                    <a:pt x="121500" y="4147"/>
                  </a:lnTo>
                  <a:lnTo>
                    <a:pt x="121293" y="3767"/>
                  </a:lnTo>
                  <a:lnTo>
                    <a:pt x="121120" y="3456"/>
                  </a:lnTo>
                  <a:lnTo>
                    <a:pt x="120913" y="3214"/>
                  </a:lnTo>
                  <a:lnTo>
                    <a:pt x="120706" y="3006"/>
                  </a:lnTo>
                  <a:lnTo>
                    <a:pt x="120533" y="2834"/>
                  </a:lnTo>
                  <a:lnTo>
                    <a:pt x="120325" y="2765"/>
                  </a:lnTo>
                  <a:lnTo>
                    <a:pt x="120325" y="2765"/>
                  </a:lnTo>
                  <a:lnTo>
                    <a:pt x="119842" y="2626"/>
                  </a:lnTo>
                  <a:lnTo>
                    <a:pt x="119220" y="2488"/>
                  </a:lnTo>
                  <a:lnTo>
                    <a:pt x="118425" y="2350"/>
                  </a:lnTo>
                  <a:lnTo>
                    <a:pt x="117526" y="2212"/>
                  </a:lnTo>
                  <a:lnTo>
                    <a:pt x="115315" y="1935"/>
                  </a:lnTo>
                  <a:lnTo>
                    <a:pt x="112585" y="1659"/>
                  </a:lnTo>
                  <a:lnTo>
                    <a:pt x="109406" y="1417"/>
                  </a:lnTo>
                  <a:lnTo>
                    <a:pt x="105812" y="1175"/>
                  </a:lnTo>
                  <a:lnTo>
                    <a:pt x="101872" y="933"/>
                  </a:lnTo>
                  <a:lnTo>
                    <a:pt x="97553" y="726"/>
                  </a:lnTo>
                  <a:lnTo>
                    <a:pt x="92957" y="518"/>
                  </a:lnTo>
                  <a:lnTo>
                    <a:pt x="88119" y="346"/>
                  </a:lnTo>
                  <a:lnTo>
                    <a:pt x="83074" y="207"/>
                  </a:lnTo>
                  <a:lnTo>
                    <a:pt x="77856" y="104"/>
                  </a:lnTo>
                  <a:lnTo>
                    <a:pt x="72499" y="35"/>
                  </a:lnTo>
                  <a:lnTo>
                    <a:pt x="67040" y="0"/>
                  </a:lnTo>
                  <a:lnTo>
                    <a:pt x="61545" y="0"/>
                  </a:lnTo>
                  <a:lnTo>
                    <a:pt x="56051" y="69"/>
                  </a:lnTo>
                  <a:lnTo>
                    <a:pt x="50591" y="173"/>
                  </a:lnTo>
                  <a:lnTo>
                    <a:pt x="45200" y="311"/>
                  </a:lnTo>
                  <a:lnTo>
                    <a:pt x="39913" y="518"/>
                  </a:lnTo>
                  <a:lnTo>
                    <a:pt x="34764" y="795"/>
                  </a:lnTo>
                  <a:lnTo>
                    <a:pt x="29822" y="1106"/>
                  </a:lnTo>
                  <a:lnTo>
                    <a:pt x="27438" y="1313"/>
                  </a:lnTo>
                  <a:lnTo>
                    <a:pt x="25123" y="1520"/>
                  </a:lnTo>
                  <a:lnTo>
                    <a:pt x="22877" y="1728"/>
                  </a:lnTo>
                  <a:lnTo>
                    <a:pt x="20699" y="1970"/>
                  </a:lnTo>
                  <a:lnTo>
                    <a:pt x="18626" y="2246"/>
                  </a:lnTo>
                  <a:lnTo>
                    <a:pt x="16622" y="2523"/>
                  </a:lnTo>
                  <a:lnTo>
                    <a:pt x="14687" y="2799"/>
                  </a:lnTo>
                  <a:lnTo>
                    <a:pt x="12855" y="3145"/>
                  </a:lnTo>
                  <a:lnTo>
                    <a:pt x="11127" y="3456"/>
                  </a:lnTo>
                  <a:lnTo>
                    <a:pt x="9503" y="3836"/>
                  </a:lnTo>
                  <a:lnTo>
                    <a:pt x="7983" y="4181"/>
                  </a:lnTo>
                  <a:lnTo>
                    <a:pt x="6600" y="4596"/>
                  </a:lnTo>
                  <a:lnTo>
                    <a:pt x="5322" y="5011"/>
                  </a:lnTo>
                  <a:lnTo>
                    <a:pt x="4147" y="5460"/>
                  </a:lnTo>
                  <a:lnTo>
                    <a:pt x="3145" y="5909"/>
                  </a:lnTo>
                  <a:lnTo>
                    <a:pt x="2661" y="6151"/>
                  </a:lnTo>
                  <a:lnTo>
                    <a:pt x="2246" y="6393"/>
                  </a:lnTo>
                  <a:lnTo>
                    <a:pt x="1866" y="6669"/>
                  </a:lnTo>
                  <a:lnTo>
                    <a:pt x="1486" y="6911"/>
                  </a:lnTo>
                  <a:lnTo>
                    <a:pt x="1175" y="7188"/>
                  </a:lnTo>
                  <a:lnTo>
                    <a:pt x="899" y="7464"/>
                  </a:lnTo>
                  <a:lnTo>
                    <a:pt x="657" y="7706"/>
                  </a:lnTo>
                  <a:lnTo>
                    <a:pt x="449" y="8017"/>
                  </a:lnTo>
                  <a:lnTo>
                    <a:pt x="277" y="8294"/>
                  </a:lnTo>
                  <a:lnTo>
                    <a:pt x="138" y="8570"/>
                  </a:lnTo>
                  <a:lnTo>
                    <a:pt x="35" y="8881"/>
                  </a:lnTo>
                  <a:lnTo>
                    <a:pt x="0" y="9192"/>
                  </a:lnTo>
                  <a:lnTo>
                    <a:pt x="0" y="9503"/>
                  </a:lnTo>
                  <a:lnTo>
                    <a:pt x="35" y="9814"/>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6" name="Google Shape;14114;p81">
              <a:extLst>
                <a:ext uri="{FF2B5EF4-FFF2-40B4-BE49-F238E27FC236}">
                  <a16:creationId xmlns:a16="http://schemas.microsoft.com/office/drawing/2014/main" id="{E326FCC9-1AED-49F7-F944-A9C39BE21A5F}"/>
                </a:ext>
              </a:extLst>
            </p:cNvPr>
            <p:cNvSpPr/>
            <p:nvPr/>
          </p:nvSpPr>
          <p:spPr>
            <a:xfrm>
              <a:off x="3648425" y="917150"/>
              <a:ext cx="567625" cy="568475"/>
            </a:xfrm>
            <a:custGeom>
              <a:avLst/>
              <a:gdLst/>
              <a:ahLst/>
              <a:cxnLst/>
              <a:rect l="l" t="t" r="r" b="b"/>
              <a:pathLst>
                <a:path w="22705" h="22739" extrusionOk="0">
                  <a:moveTo>
                    <a:pt x="10748" y="0"/>
                  </a:moveTo>
                  <a:lnTo>
                    <a:pt x="10195" y="35"/>
                  </a:lnTo>
                  <a:lnTo>
                    <a:pt x="9608" y="104"/>
                  </a:lnTo>
                  <a:lnTo>
                    <a:pt x="9055" y="208"/>
                  </a:lnTo>
                  <a:lnTo>
                    <a:pt x="8502" y="346"/>
                  </a:lnTo>
                  <a:lnTo>
                    <a:pt x="7983" y="484"/>
                  </a:lnTo>
                  <a:lnTo>
                    <a:pt x="7431" y="691"/>
                  </a:lnTo>
                  <a:lnTo>
                    <a:pt x="6912" y="899"/>
                  </a:lnTo>
                  <a:lnTo>
                    <a:pt x="6428" y="1106"/>
                  </a:lnTo>
                  <a:lnTo>
                    <a:pt x="5945" y="1348"/>
                  </a:lnTo>
                  <a:lnTo>
                    <a:pt x="5461" y="1624"/>
                  </a:lnTo>
                  <a:lnTo>
                    <a:pt x="5012" y="1935"/>
                  </a:lnTo>
                  <a:lnTo>
                    <a:pt x="4562" y="2246"/>
                  </a:lnTo>
                  <a:lnTo>
                    <a:pt x="4113" y="2592"/>
                  </a:lnTo>
                  <a:lnTo>
                    <a:pt x="3698" y="2938"/>
                  </a:lnTo>
                  <a:lnTo>
                    <a:pt x="3318" y="3318"/>
                  </a:lnTo>
                  <a:lnTo>
                    <a:pt x="2938" y="3732"/>
                  </a:lnTo>
                  <a:lnTo>
                    <a:pt x="2593" y="4147"/>
                  </a:lnTo>
                  <a:lnTo>
                    <a:pt x="2247" y="4562"/>
                  </a:lnTo>
                  <a:lnTo>
                    <a:pt x="1936" y="5011"/>
                  </a:lnTo>
                  <a:lnTo>
                    <a:pt x="1625" y="5460"/>
                  </a:lnTo>
                  <a:lnTo>
                    <a:pt x="1349" y="5944"/>
                  </a:lnTo>
                  <a:lnTo>
                    <a:pt x="1107" y="6428"/>
                  </a:lnTo>
                  <a:lnTo>
                    <a:pt x="899" y="6946"/>
                  </a:lnTo>
                  <a:lnTo>
                    <a:pt x="692" y="7465"/>
                  </a:lnTo>
                  <a:lnTo>
                    <a:pt x="519" y="7983"/>
                  </a:lnTo>
                  <a:lnTo>
                    <a:pt x="347" y="8536"/>
                  </a:lnTo>
                  <a:lnTo>
                    <a:pt x="208" y="9089"/>
                  </a:lnTo>
                  <a:lnTo>
                    <a:pt x="139" y="9642"/>
                  </a:lnTo>
                  <a:lnTo>
                    <a:pt x="36" y="10194"/>
                  </a:lnTo>
                  <a:lnTo>
                    <a:pt x="1" y="10782"/>
                  </a:lnTo>
                  <a:lnTo>
                    <a:pt x="1" y="11369"/>
                  </a:lnTo>
                  <a:lnTo>
                    <a:pt x="1" y="11957"/>
                  </a:lnTo>
                  <a:lnTo>
                    <a:pt x="36" y="12544"/>
                  </a:lnTo>
                  <a:lnTo>
                    <a:pt x="139" y="13097"/>
                  </a:lnTo>
                  <a:lnTo>
                    <a:pt x="208" y="13650"/>
                  </a:lnTo>
                  <a:lnTo>
                    <a:pt x="347" y="14203"/>
                  </a:lnTo>
                  <a:lnTo>
                    <a:pt x="519" y="14756"/>
                  </a:lnTo>
                  <a:lnTo>
                    <a:pt x="692" y="15274"/>
                  </a:lnTo>
                  <a:lnTo>
                    <a:pt x="899" y="15793"/>
                  </a:lnTo>
                  <a:lnTo>
                    <a:pt x="1107" y="16311"/>
                  </a:lnTo>
                  <a:lnTo>
                    <a:pt x="1349" y="16795"/>
                  </a:lnTo>
                  <a:lnTo>
                    <a:pt x="1625" y="17279"/>
                  </a:lnTo>
                  <a:lnTo>
                    <a:pt x="1936" y="17728"/>
                  </a:lnTo>
                  <a:lnTo>
                    <a:pt x="2247" y="18177"/>
                  </a:lnTo>
                  <a:lnTo>
                    <a:pt x="2593" y="18626"/>
                  </a:lnTo>
                  <a:lnTo>
                    <a:pt x="2938" y="19041"/>
                  </a:lnTo>
                  <a:lnTo>
                    <a:pt x="3318" y="19421"/>
                  </a:lnTo>
                  <a:lnTo>
                    <a:pt x="3698" y="19801"/>
                  </a:lnTo>
                  <a:lnTo>
                    <a:pt x="4113" y="20147"/>
                  </a:lnTo>
                  <a:lnTo>
                    <a:pt x="4562" y="20492"/>
                  </a:lnTo>
                  <a:lnTo>
                    <a:pt x="5012" y="20803"/>
                  </a:lnTo>
                  <a:lnTo>
                    <a:pt x="5461" y="21114"/>
                  </a:lnTo>
                  <a:lnTo>
                    <a:pt x="5945" y="21391"/>
                  </a:lnTo>
                  <a:lnTo>
                    <a:pt x="6428" y="21633"/>
                  </a:lnTo>
                  <a:lnTo>
                    <a:pt x="6912" y="21875"/>
                  </a:lnTo>
                  <a:lnTo>
                    <a:pt x="7431" y="22047"/>
                  </a:lnTo>
                  <a:lnTo>
                    <a:pt x="7983" y="22255"/>
                  </a:lnTo>
                  <a:lnTo>
                    <a:pt x="8502" y="22393"/>
                  </a:lnTo>
                  <a:lnTo>
                    <a:pt x="9055" y="22531"/>
                  </a:lnTo>
                  <a:lnTo>
                    <a:pt x="9608" y="22635"/>
                  </a:lnTo>
                  <a:lnTo>
                    <a:pt x="10195" y="22704"/>
                  </a:lnTo>
                  <a:lnTo>
                    <a:pt x="10748" y="22738"/>
                  </a:lnTo>
                  <a:lnTo>
                    <a:pt x="11819" y="22738"/>
                  </a:lnTo>
                  <a:lnTo>
                    <a:pt x="12338" y="22704"/>
                  </a:lnTo>
                  <a:lnTo>
                    <a:pt x="13271" y="22600"/>
                  </a:lnTo>
                  <a:lnTo>
                    <a:pt x="14204" y="22393"/>
                  </a:lnTo>
                  <a:lnTo>
                    <a:pt x="15102" y="22116"/>
                  </a:lnTo>
                  <a:lnTo>
                    <a:pt x="15966" y="21771"/>
                  </a:lnTo>
                  <a:lnTo>
                    <a:pt x="16795" y="21356"/>
                  </a:lnTo>
                  <a:lnTo>
                    <a:pt x="17590" y="20872"/>
                  </a:lnTo>
                  <a:lnTo>
                    <a:pt x="18350" y="20354"/>
                  </a:lnTo>
                  <a:lnTo>
                    <a:pt x="19042" y="19732"/>
                  </a:lnTo>
                  <a:lnTo>
                    <a:pt x="19664" y="19110"/>
                  </a:lnTo>
                  <a:lnTo>
                    <a:pt x="20286" y="18384"/>
                  </a:lnTo>
                  <a:lnTo>
                    <a:pt x="20804" y="17659"/>
                  </a:lnTo>
                  <a:lnTo>
                    <a:pt x="21288" y="16864"/>
                  </a:lnTo>
                  <a:lnTo>
                    <a:pt x="21702" y="16034"/>
                  </a:lnTo>
                  <a:lnTo>
                    <a:pt x="22048" y="15171"/>
                  </a:lnTo>
                  <a:lnTo>
                    <a:pt x="22324" y="14272"/>
                  </a:lnTo>
                  <a:lnTo>
                    <a:pt x="22497" y="13546"/>
                  </a:lnTo>
                  <a:lnTo>
                    <a:pt x="22601" y="12855"/>
                  </a:lnTo>
                  <a:lnTo>
                    <a:pt x="22670" y="12130"/>
                  </a:lnTo>
                  <a:lnTo>
                    <a:pt x="22705" y="11369"/>
                  </a:lnTo>
                  <a:lnTo>
                    <a:pt x="22670" y="10609"/>
                  </a:lnTo>
                  <a:lnTo>
                    <a:pt x="22601" y="9883"/>
                  </a:lnTo>
                  <a:lnTo>
                    <a:pt x="22497" y="9158"/>
                  </a:lnTo>
                  <a:lnTo>
                    <a:pt x="22324" y="8467"/>
                  </a:lnTo>
                  <a:lnTo>
                    <a:pt x="22117" y="7776"/>
                  </a:lnTo>
                  <a:lnTo>
                    <a:pt x="21875" y="7084"/>
                  </a:lnTo>
                  <a:lnTo>
                    <a:pt x="21564" y="6428"/>
                  </a:lnTo>
                  <a:lnTo>
                    <a:pt x="21253" y="5806"/>
                  </a:lnTo>
                  <a:lnTo>
                    <a:pt x="20873" y="5184"/>
                  </a:lnTo>
                  <a:lnTo>
                    <a:pt x="20458" y="4562"/>
                  </a:lnTo>
                  <a:lnTo>
                    <a:pt x="19975" y="3974"/>
                  </a:lnTo>
                  <a:lnTo>
                    <a:pt x="19491" y="3421"/>
                  </a:lnTo>
                  <a:lnTo>
                    <a:pt x="18938" y="2938"/>
                  </a:lnTo>
                  <a:lnTo>
                    <a:pt x="18385" y="2454"/>
                  </a:lnTo>
                  <a:lnTo>
                    <a:pt x="17798" y="2005"/>
                  </a:lnTo>
                  <a:lnTo>
                    <a:pt x="17175" y="1590"/>
                  </a:lnTo>
                  <a:lnTo>
                    <a:pt x="16519" y="1244"/>
                  </a:lnTo>
                  <a:lnTo>
                    <a:pt x="15828" y="899"/>
                  </a:lnTo>
                  <a:lnTo>
                    <a:pt x="15137" y="622"/>
                  </a:lnTo>
                  <a:lnTo>
                    <a:pt x="14411" y="415"/>
                  </a:lnTo>
                  <a:lnTo>
                    <a:pt x="13685" y="242"/>
                  </a:lnTo>
                  <a:lnTo>
                    <a:pt x="12925" y="104"/>
                  </a:lnTo>
                  <a:lnTo>
                    <a:pt x="12130" y="0"/>
                  </a:lnTo>
                  <a:close/>
                </a:path>
              </a:pathLst>
            </a:custGeom>
            <a:solidFill>
              <a:srgbClr val="E0301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7" name="Google Shape;14115;p81">
              <a:extLst>
                <a:ext uri="{FF2B5EF4-FFF2-40B4-BE49-F238E27FC236}">
                  <a16:creationId xmlns:a16="http://schemas.microsoft.com/office/drawing/2014/main" id="{1D99A6E1-AD76-7409-8269-DE02DB2EEBC4}"/>
                </a:ext>
              </a:extLst>
            </p:cNvPr>
            <p:cNvSpPr/>
            <p:nvPr/>
          </p:nvSpPr>
          <p:spPr>
            <a:xfrm>
              <a:off x="3699400" y="968125"/>
              <a:ext cx="465675" cy="466525"/>
            </a:xfrm>
            <a:custGeom>
              <a:avLst/>
              <a:gdLst/>
              <a:ahLst/>
              <a:cxnLst/>
              <a:rect l="l" t="t" r="r" b="b"/>
              <a:pathLst>
                <a:path w="18627" h="18661" extrusionOk="0">
                  <a:moveTo>
                    <a:pt x="8813" y="0"/>
                  </a:moveTo>
                  <a:lnTo>
                    <a:pt x="8363" y="35"/>
                  </a:lnTo>
                  <a:lnTo>
                    <a:pt x="7880" y="104"/>
                  </a:lnTo>
                  <a:lnTo>
                    <a:pt x="7430" y="173"/>
                  </a:lnTo>
                  <a:lnTo>
                    <a:pt x="6981" y="277"/>
                  </a:lnTo>
                  <a:lnTo>
                    <a:pt x="6532" y="415"/>
                  </a:lnTo>
                  <a:lnTo>
                    <a:pt x="6117" y="553"/>
                  </a:lnTo>
                  <a:lnTo>
                    <a:pt x="5668" y="726"/>
                  </a:lnTo>
                  <a:lnTo>
                    <a:pt x="5253" y="899"/>
                  </a:lnTo>
                  <a:lnTo>
                    <a:pt x="4873" y="1106"/>
                  </a:lnTo>
                  <a:lnTo>
                    <a:pt x="4459" y="1348"/>
                  </a:lnTo>
                  <a:lnTo>
                    <a:pt x="4113" y="1590"/>
                  </a:lnTo>
                  <a:lnTo>
                    <a:pt x="3733" y="1832"/>
                  </a:lnTo>
                  <a:lnTo>
                    <a:pt x="3387" y="2108"/>
                  </a:lnTo>
                  <a:lnTo>
                    <a:pt x="3042" y="2419"/>
                  </a:lnTo>
                  <a:lnTo>
                    <a:pt x="2731" y="2730"/>
                  </a:lnTo>
                  <a:lnTo>
                    <a:pt x="2420" y="3041"/>
                  </a:lnTo>
                  <a:lnTo>
                    <a:pt x="2109" y="3387"/>
                  </a:lnTo>
                  <a:lnTo>
                    <a:pt x="1832" y="3732"/>
                  </a:lnTo>
                  <a:lnTo>
                    <a:pt x="1590" y="4112"/>
                  </a:lnTo>
                  <a:lnTo>
                    <a:pt x="1348" y="4492"/>
                  </a:lnTo>
                  <a:lnTo>
                    <a:pt x="1107" y="4873"/>
                  </a:lnTo>
                  <a:lnTo>
                    <a:pt x="899" y="5287"/>
                  </a:lnTo>
                  <a:lnTo>
                    <a:pt x="726" y="5702"/>
                  </a:lnTo>
                  <a:lnTo>
                    <a:pt x="554" y="6117"/>
                  </a:lnTo>
                  <a:lnTo>
                    <a:pt x="415" y="6566"/>
                  </a:lnTo>
                  <a:lnTo>
                    <a:pt x="277" y="6981"/>
                  </a:lnTo>
                  <a:lnTo>
                    <a:pt x="174" y="7464"/>
                  </a:lnTo>
                  <a:lnTo>
                    <a:pt x="104" y="7914"/>
                  </a:lnTo>
                  <a:lnTo>
                    <a:pt x="35" y="8363"/>
                  </a:lnTo>
                  <a:lnTo>
                    <a:pt x="1" y="8847"/>
                  </a:lnTo>
                  <a:lnTo>
                    <a:pt x="1" y="9330"/>
                  </a:lnTo>
                  <a:lnTo>
                    <a:pt x="1" y="9814"/>
                  </a:lnTo>
                  <a:lnTo>
                    <a:pt x="35" y="10298"/>
                  </a:lnTo>
                  <a:lnTo>
                    <a:pt x="104" y="10747"/>
                  </a:lnTo>
                  <a:lnTo>
                    <a:pt x="174" y="11231"/>
                  </a:lnTo>
                  <a:lnTo>
                    <a:pt x="277" y="11680"/>
                  </a:lnTo>
                  <a:lnTo>
                    <a:pt x="415" y="12095"/>
                  </a:lnTo>
                  <a:lnTo>
                    <a:pt x="554" y="12544"/>
                  </a:lnTo>
                  <a:lnTo>
                    <a:pt x="726" y="12959"/>
                  </a:lnTo>
                  <a:lnTo>
                    <a:pt x="899" y="13373"/>
                  </a:lnTo>
                  <a:lnTo>
                    <a:pt x="1107" y="13788"/>
                  </a:lnTo>
                  <a:lnTo>
                    <a:pt x="1348" y="14168"/>
                  </a:lnTo>
                  <a:lnTo>
                    <a:pt x="1590" y="14548"/>
                  </a:lnTo>
                  <a:lnTo>
                    <a:pt x="1832" y="14929"/>
                  </a:lnTo>
                  <a:lnTo>
                    <a:pt x="2109" y="15274"/>
                  </a:lnTo>
                  <a:lnTo>
                    <a:pt x="2420" y="15620"/>
                  </a:lnTo>
                  <a:lnTo>
                    <a:pt x="2731" y="15931"/>
                  </a:lnTo>
                  <a:lnTo>
                    <a:pt x="3042" y="16242"/>
                  </a:lnTo>
                  <a:lnTo>
                    <a:pt x="3387" y="16553"/>
                  </a:lnTo>
                  <a:lnTo>
                    <a:pt x="3733" y="16829"/>
                  </a:lnTo>
                  <a:lnTo>
                    <a:pt x="4113" y="17071"/>
                  </a:lnTo>
                  <a:lnTo>
                    <a:pt x="4459" y="17313"/>
                  </a:lnTo>
                  <a:lnTo>
                    <a:pt x="4873" y="17555"/>
                  </a:lnTo>
                  <a:lnTo>
                    <a:pt x="5253" y="17762"/>
                  </a:lnTo>
                  <a:lnTo>
                    <a:pt x="5668" y="17935"/>
                  </a:lnTo>
                  <a:lnTo>
                    <a:pt x="6117" y="18108"/>
                  </a:lnTo>
                  <a:lnTo>
                    <a:pt x="6532" y="18246"/>
                  </a:lnTo>
                  <a:lnTo>
                    <a:pt x="6981" y="18384"/>
                  </a:lnTo>
                  <a:lnTo>
                    <a:pt x="7430" y="18488"/>
                  </a:lnTo>
                  <a:lnTo>
                    <a:pt x="7880" y="18557"/>
                  </a:lnTo>
                  <a:lnTo>
                    <a:pt x="8363" y="18626"/>
                  </a:lnTo>
                  <a:lnTo>
                    <a:pt x="8813" y="18661"/>
                  </a:lnTo>
                  <a:lnTo>
                    <a:pt x="9296" y="18661"/>
                  </a:lnTo>
                  <a:lnTo>
                    <a:pt x="10091" y="18626"/>
                  </a:lnTo>
                  <a:lnTo>
                    <a:pt x="10886" y="18522"/>
                  </a:lnTo>
                  <a:lnTo>
                    <a:pt x="11646" y="18384"/>
                  </a:lnTo>
                  <a:lnTo>
                    <a:pt x="12407" y="18142"/>
                  </a:lnTo>
                  <a:lnTo>
                    <a:pt x="13098" y="17866"/>
                  </a:lnTo>
                  <a:lnTo>
                    <a:pt x="13789" y="17520"/>
                  </a:lnTo>
                  <a:lnTo>
                    <a:pt x="14445" y="17140"/>
                  </a:lnTo>
                  <a:lnTo>
                    <a:pt x="15033" y="16691"/>
                  </a:lnTo>
                  <a:lnTo>
                    <a:pt x="15620" y="16207"/>
                  </a:lnTo>
                  <a:lnTo>
                    <a:pt x="16139" y="15689"/>
                  </a:lnTo>
                  <a:lnTo>
                    <a:pt x="16622" y="15101"/>
                  </a:lnTo>
                  <a:lnTo>
                    <a:pt x="17072" y="14479"/>
                  </a:lnTo>
                  <a:lnTo>
                    <a:pt x="17452" y="13823"/>
                  </a:lnTo>
                  <a:lnTo>
                    <a:pt x="17797" y="13166"/>
                  </a:lnTo>
                  <a:lnTo>
                    <a:pt x="18074" y="12440"/>
                  </a:lnTo>
                  <a:lnTo>
                    <a:pt x="18316" y="11715"/>
                  </a:lnTo>
                  <a:lnTo>
                    <a:pt x="18454" y="11127"/>
                  </a:lnTo>
                  <a:lnTo>
                    <a:pt x="18558" y="10540"/>
                  </a:lnTo>
                  <a:lnTo>
                    <a:pt x="18592" y="9952"/>
                  </a:lnTo>
                  <a:lnTo>
                    <a:pt x="18627" y="9330"/>
                  </a:lnTo>
                  <a:lnTo>
                    <a:pt x="18592" y="8708"/>
                  </a:lnTo>
                  <a:lnTo>
                    <a:pt x="18558" y="8121"/>
                  </a:lnTo>
                  <a:lnTo>
                    <a:pt x="18454" y="7499"/>
                  </a:lnTo>
                  <a:lnTo>
                    <a:pt x="18316" y="6946"/>
                  </a:lnTo>
                  <a:lnTo>
                    <a:pt x="18143" y="6359"/>
                  </a:lnTo>
                  <a:lnTo>
                    <a:pt x="17936" y="5806"/>
                  </a:lnTo>
                  <a:lnTo>
                    <a:pt x="17694" y="5287"/>
                  </a:lnTo>
                  <a:lnTo>
                    <a:pt x="17452" y="4769"/>
                  </a:lnTo>
                  <a:lnTo>
                    <a:pt x="17106" y="4251"/>
                  </a:lnTo>
                  <a:lnTo>
                    <a:pt x="16761" y="3732"/>
                  </a:lnTo>
                  <a:lnTo>
                    <a:pt x="16381" y="3283"/>
                  </a:lnTo>
                  <a:lnTo>
                    <a:pt x="16000" y="2834"/>
                  </a:lnTo>
                  <a:lnTo>
                    <a:pt x="15551" y="2385"/>
                  </a:lnTo>
                  <a:lnTo>
                    <a:pt x="15067" y="2004"/>
                  </a:lnTo>
                  <a:lnTo>
                    <a:pt x="14584" y="1624"/>
                  </a:lnTo>
                  <a:lnTo>
                    <a:pt x="14065" y="1313"/>
                  </a:lnTo>
                  <a:lnTo>
                    <a:pt x="13547" y="1002"/>
                  </a:lnTo>
                  <a:lnTo>
                    <a:pt x="12994" y="760"/>
                  </a:lnTo>
                  <a:lnTo>
                    <a:pt x="12407" y="519"/>
                  </a:lnTo>
                  <a:lnTo>
                    <a:pt x="11819" y="346"/>
                  </a:lnTo>
                  <a:lnTo>
                    <a:pt x="11232" y="173"/>
                  </a:lnTo>
                  <a:lnTo>
                    <a:pt x="10575" y="69"/>
                  </a:lnTo>
                  <a:lnTo>
                    <a:pt x="9953" y="0"/>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8" name="Google Shape;14116;p81">
              <a:extLst>
                <a:ext uri="{FF2B5EF4-FFF2-40B4-BE49-F238E27FC236}">
                  <a16:creationId xmlns:a16="http://schemas.microsoft.com/office/drawing/2014/main" id="{4E3F25ED-ECE7-4391-0FB2-4A658F6F3D97}"/>
                </a:ext>
              </a:extLst>
            </p:cNvPr>
            <p:cNvSpPr/>
            <p:nvPr/>
          </p:nvSpPr>
          <p:spPr>
            <a:xfrm>
              <a:off x="3753825" y="1023400"/>
              <a:ext cx="355975" cy="355975"/>
            </a:xfrm>
            <a:custGeom>
              <a:avLst/>
              <a:gdLst/>
              <a:ahLst/>
              <a:cxnLst/>
              <a:rect l="l" t="t" r="r" b="b"/>
              <a:pathLst>
                <a:path w="14239" h="14239" extrusionOk="0">
                  <a:moveTo>
                    <a:pt x="7119" y="1"/>
                  </a:moveTo>
                  <a:lnTo>
                    <a:pt x="6394" y="35"/>
                  </a:lnTo>
                  <a:lnTo>
                    <a:pt x="5703" y="139"/>
                  </a:lnTo>
                  <a:lnTo>
                    <a:pt x="5012" y="312"/>
                  </a:lnTo>
                  <a:lnTo>
                    <a:pt x="4355" y="554"/>
                  </a:lnTo>
                  <a:lnTo>
                    <a:pt x="3733" y="865"/>
                  </a:lnTo>
                  <a:lnTo>
                    <a:pt x="3145" y="1210"/>
                  </a:lnTo>
                  <a:lnTo>
                    <a:pt x="2593" y="1625"/>
                  </a:lnTo>
                  <a:lnTo>
                    <a:pt x="2109" y="2074"/>
                  </a:lnTo>
                  <a:lnTo>
                    <a:pt x="1625" y="2592"/>
                  </a:lnTo>
                  <a:lnTo>
                    <a:pt x="1245" y="3145"/>
                  </a:lnTo>
                  <a:lnTo>
                    <a:pt x="865" y="3733"/>
                  </a:lnTo>
                  <a:lnTo>
                    <a:pt x="588" y="4355"/>
                  </a:lnTo>
                  <a:lnTo>
                    <a:pt x="346" y="5011"/>
                  </a:lnTo>
                  <a:lnTo>
                    <a:pt x="174" y="5668"/>
                  </a:lnTo>
                  <a:lnTo>
                    <a:pt x="70" y="6394"/>
                  </a:lnTo>
                  <a:lnTo>
                    <a:pt x="1" y="7119"/>
                  </a:lnTo>
                  <a:lnTo>
                    <a:pt x="70" y="7845"/>
                  </a:lnTo>
                  <a:lnTo>
                    <a:pt x="174" y="8571"/>
                  </a:lnTo>
                  <a:lnTo>
                    <a:pt x="346" y="9227"/>
                  </a:lnTo>
                  <a:lnTo>
                    <a:pt x="588" y="9884"/>
                  </a:lnTo>
                  <a:lnTo>
                    <a:pt x="865" y="10506"/>
                  </a:lnTo>
                  <a:lnTo>
                    <a:pt x="1245" y="11093"/>
                  </a:lnTo>
                  <a:lnTo>
                    <a:pt x="1625" y="11646"/>
                  </a:lnTo>
                  <a:lnTo>
                    <a:pt x="2109" y="12165"/>
                  </a:lnTo>
                  <a:lnTo>
                    <a:pt x="2593" y="12614"/>
                  </a:lnTo>
                  <a:lnTo>
                    <a:pt x="3145" y="13029"/>
                  </a:lnTo>
                  <a:lnTo>
                    <a:pt x="3733" y="13374"/>
                  </a:lnTo>
                  <a:lnTo>
                    <a:pt x="4355" y="13685"/>
                  </a:lnTo>
                  <a:lnTo>
                    <a:pt x="5012" y="13927"/>
                  </a:lnTo>
                  <a:lnTo>
                    <a:pt x="5703" y="14100"/>
                  </a:lnTo>
                  <a:lnTo>
                    <a:pt x="6394" y="14203"/>
                  </a:lnTo>
                  <a:lnTo>
                    <a:pt x="7119" y="14238"/>
                  </a:lnTo>
                  <a:lnTo>
                    <a:pt x="7845" y="14203"/>
                  </a:lnTo>
                  <a:lnTo>
                    <a:pt x="8571" y="14100"/>
                  </a:lnTo>
                  <a:lnTo>
                    <a:pt x="9227" y="13927"/>
                  </a:lnTo>
                  <a:lnTo>
                    <a:pt x="9884" y="13685"/>
                  </a:lnTo>
                  <a:lnTo>
                    <a:pt x="10506" y="13374"/>
                  </a:lnTo>
                  <a:lnTo>
                    <a:pt x="11093" y="13029"/>
                  </a:lnTo>
                  <a:lnTo>
                    <a:pt x="11646" y="12614"/>
                  </a:lnTo>
                  <a:lnTo>
                    <a:pt x="12165" y="12165"/>
                  </a:lnTo>
                  <a:lnTo>
                    <a:pt x="12614" y="11646"/>
                  </a:lnTo>
                  <a:lnTo>
                    <a:pt x="13029" y="11093"/>
                  </a:lnTo>
                  <a:lnTo>
                    <a:pt x="13374" y="10506"/>
                  </a:lnTo>
                  <a:lnTo>
                    <a:pt x="13685" y="9884"/>
                  </a:lnTo>
                  <a:lnTo>
                    <a:pt x="13927" y="9227"/>
                  </a:lnTo>
                  <a:lnTo>
                    <a:pt x="14100" y="8571"/>
                  </a:lnTo>
                  <a:lnTo>
                    <a:pt x="14204" y="7845"/>
                  </a:lnTo>
                  <a:lnTo>
                    <a:pt x="14238" y="7119"/>
                  </a:lnTo>
                  <a:lnTo>
                    <a:pt x="14204" y="6394"/>
                  </a:lnTo>
                  <a:lnTo>
                    <a:pt x="14100" y="5668"/>
                  </a:lnTo>
                  <a:lnTo>
                    <a:pt x="13927" y="5011"/>
                  </a:lnTo>
                  <a:lnTo>
                    <a:pt x="13685" y="4355"/>
                  </a:lnTo>
                  <a:lnTo>
                    <a:pt x="13374" y="3733"/>
                  </a:lnTo>
                  <a:lnTo>
                    <a:pt x="13029" y="3145"/>
                  </a:lnTo>
                  <a:lnTo>
                    <a:pt x="12614" y="2592"/>
                  </a:lnTo>
                  <a:lnTo>
                    <a:pt x="12165" y="2074"/>
                  </a:lnTo>
                  <a:lnTo>
                    <a:pt x="11646" y="1625"/>
                  </a:lnTo>
                  <a:lnTo>
                    <a:pt x="11093" y="1210"/>
                  </a:lnTo>
                  <a:lnTo>
                    <a:pt x="10506" y="865"/>
                  </a:lnTo>
                  <a:lnTo>
                    <a:pt x="9884" y="554"/>
                  </a:lnTo>
                  <a:lnTo>
                    <a:pt x="9227" y="312"/>
                  </a:lnTo>
                  <a:lnTo>
                    <a:pt x="8571" y="139"/>
                  </a:lnTo>
                  <a:lnTo>
                    <a:pt x="7845" y="35"/>
                  </a:lnTo>
                  <a:lnTo>
                    <a:pt x="7119" y="1"/>
                  </a:lnTo>
                  <a:close/>
                </a:path>
              </a:pathLst>
            </a:custGeom>
            <a:solidFill>
              <a:srgbClr val="E0301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9" name="Google Shape;14117;p81">
              <a:extLst>
                <a:ext uri="{FF2B5EF4-FFF2-40B4-BE49-F238E27FC236}">
                  <a16:creationId xmlns:a16="http://schemas.microsoft.com/office/drawing/2014/main" id="{8C688324-CEEA-EEB5-2149-A177DC13A24F}"/>
                </a:ext>
              </a:extLst>
            </p:cNvPr>
            <p:cNvSpPr/>
            <p:nvPr/>
          </p:nvSpPr>
          <p:spPr>
            <a:xfrm>
              <a:off x="3809125" y="1077825"/>
              <a:ext cx="246250" cy="247100"/>
            </a:xfrm>
            <a:custGeom>
              <a:avLst/>
              <a:gdLst/>
              <a:ahLst/>
              <a:cxnLst/>
              <a:rect l="l" t="t" r="r" b="b"/>
              <a:pathLst>
                <a:path w="9850" h="9884" extrusionOk="0">
                  <a:moveTo>
                    <a:pt x="4907" y="1"/>
                  </a:moveTo>
                  <a:lnTo>
                    <a:pt x="4424" y="35"/>
                  </a:lnTo>
                  <a:lnTo>
                    <a:pt x="3940" y="104"/>
                  </a:lnTo>
                  <a:lnTo>
                    <a:pt x="3456" y="243"/>
                  </a:lnTo>
                  <a:lnTo>
                    <a:pt x="3007" y="415"/>
                  </a:lnTo>
                  <a:lnTo>
                    <a:pt x="2558" y="623"/>
                  </a:lnTo>
                  <a:lnTo>
                    <a:pt x="2178" y="865"/>
                  </a:lnTo>
                  <a:lnTo>
                    <a:pt x="1797" y="1141"/>
                  </a:lnTo>
                  <a:lnTo>
                    <a:pt x="1452" y="1452"/>
                  </a:lnTo>
                  <a:lnTo>
                    <a:pt x="1106" y="1798"/>
                  </a:lnTo>
                  <a:lnTo>
                    <a:pt x="830" y="2178"/>
                  </a:lnTo>
                  <a:lnTo>
                    <a:pt x="588" y="2593"/>
                  </a:lnTo>
                  <a:lnTo>
                    <a:pt x="381" y="3042"/>
                  </a:lnTo>
                  <a:lnTo>
                    <a:pt x="208" y="3491"/>
                  </a:lnTo>
                  <a:lnTo>
                    <a:pt x="104" y="3940"/>
                  </a:lnTo>
                  <a:lnTo>
                    <a:pt x="35" y="4424"/>
                  </a:lnTo>
                  <a:lnTo>
                    <a:pt x="0" y="4942"/>
                  </a:lnTo>
                  <a:lnTo>
                    <a:pt x="35" y="5461"/>
                  </a:lnTo>
                  <a:lnTo>
                    <a:pt x="104" y="5945"/>
                  </a:lnTo>
                  <a:lnTo>
                    <a:pt x="208" y="6394"/>
                  </a:lnTo>
                  <a:lnTo>
                    <a:pt x="381" y="6878"/>
                  </a:lnTo>
                  <a:lnTo>
                    <a:pt x="588" y="7292"/>
                  </a:lnTo>
                  <a:lnTo>
                    <a:pt x="830" y="7707"/>
                  </a:lnTo>
                  <a:lnTo>
                    <a:pt x="1106" y="8087"/>
                  </a:lnTo>
                  <a:lnTo>
                    <a:pt x="1452" y="8433"/>
                  </a:lnTo>
                  <a:lnTo>
                    <a:pt x="1797" y="8744"/>
                  </a:lnTo>
                  <a:lnTo>
                    <a:pt x="2178" y="9020"/>
                  </a:lnTo>
                  <a:lnTo>
                    <a:pt x="2558" y="9262"/>
                  </a:lnTo>
                  <a:lnTo>
                    <a:pt x="3007" y="9504"/>
                  </a:lnTo>
                  <a:lnTo>
                    <a:pt x="3456" y="9642"/>
                  </a:lnTo>
                  <a:lnTo>
                    <a:pt x="3940" y="9780"/>
                  </a:lnTo>
                  <a:lnTo>
                    <a:pt x="4424" y="9849"/>
                  </a:lnTo>
                  <a:lnTo>
                    <a:pt x="4907" y="9884"/>
                  </a:lnTo>
                  <a:lnTo>
                    <a:pt x="5426" y="9849"/>
                  </a:lnTo>
                  <a:lnTo>
                    <a:pt x="5910" y="9780"/>
                  </a:lnTo>
                  <a:lnTo>
                    <a:pt x="6393" y="9642"/>
                  </a:lnTo>
                  <a:lnTo>
                    <a:pt x="6843" y="9504"/>
                  </a:lnTo>
                  <a:lnTo>
                    <a:pt x="7257" y="9262"/>
                  </a:lnTo>
                  <a:lnTo>
                    <a:pt x="7672" y="9020"/>
                  </a:lnTo>
                  <a:lnTo>
                    <a:pt x="8052" y="8744"/>
                  </a:lnTo>
                  <a:lnTo>
                    <a:pt x="8398" y="8433"/>
                  </a:lnTo>
                  <a:lnTo>
                    <a:pt x="8709" y="8087"/>
                  </a:lnTo>
                  <a:lnTo>
                    <a:pt x="8985" y="7707"/>
                  </a:lnTo>
                  <a:lnTo>
                    <a:pt x="9227" y="7292"/>
                  </a:lnTo>
                  <a:lnTo>
                    <a:pt x="9434" y="6878"/>
                  </a:lnTo>
                  <a:lnTo>
                    <a:pt x="9607" y="6394"/>
                  </a:lnTo>
                  <a:lnTo>
                    <a:pt x="9745" y="5945"/>
                  </a:lnTo>
                  <a:lnTo>
                    <a:pt x="9814" y="5461"/>
                  </a:lnTo>
                  <a:lnTo>
                    <a:pt x="9849" y="4942"/>
                  </a:lnTo>
                  <a:lnTo>
                    <a:pt x="9814" y="4424"/>
                  </a:lnTo>
                  <a:lnTo>
                    <a:pt x="9745" y="3940"/>
                  </a:lnTo>
                  <a:lnTo>
                    <a:pt x="9607" y="3491"/>
                  </a:lnTo>
                  <a:lnTo>
                    <a:pt x="9434" y="3042"/>
                  </a:lnTo>
                  <a:lnTo>
                    <a:pt x="9227" y="2593"/>
                  </a:lnTo>
                  <a:lnTo>
                    <a:pt x="8985" y="2178"/>
                  </a:lnTo>
                  <a:lnTo>
                    <a:pt x="8709" y="1798"/>
                  </a:lnTo>
                  <a:lnTo>
                    <a:pt x="8398" y="1452"/>
                  </a:lnTo>
                  <a:lnTo>
                    <a:pt x="8052" y="1141"/>
                  </a:lnTo>
                  <a:lnTo>
                    <a:pt x="7672" y="865"/>
                  </a:lnTo>
                  <a:lnTo>
                    <a:pt x="7257" y="623"/>
                  </a:lnTo>
                  <a:lnTo>
                    <a:pt x="6843" y="415"/>
                  </a:lnTo>
                  <a:lnTo>
                    <a:pt x="6393" y="243"/>
                  </a:lnTo>
                  <a:lnTo>
                    <a:pt x="5910" y="104"/>
                  </a:lnTo>
                  <a:lnTo>
                    <a:pt x="5426" y="35"/>
                  </a:lnTo>
                  <a:lnTo>
                    <a:pt x="4907" y="1"/>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0" name="Google Shape;14118;p81">
              <a:extLst>
                <a:ext uri="{FF2B5EF4-FFF2-40B4-BE49-F238E27FC236}">
                  <a16:creationId xmlns:a16="http://schemas.microsoft.com/office/drawing/2014/main" id="{0B6C2317-82FF-2A4B-9EC9-08BE4DB63F48}"/>
                </a:ext>
              </a:extLst>
            </p:cNvPr>
            <p:cNvSpPr/>
            <p:nvPr/>
          </p:nvSpPr>
          <p:spPr>
            <a:xfrm>
              <a:off x="3867875" y="1137450"/>
              <a:ext cx="127875" cy="127875"/>
            </a:xfrm>
            <a:custGeom>
              <a:avLst/>
              <a:gdLst/>
              <a:ahLst/>
              <a:cxnLst/>
              <a:rect l="l" t="t" r="r" b="b"/>
              <a:pathLst>
                <a:path w="5115" h="5115" extrusionOk="0">
                  <a:moveTo>
                    <a:pt x="2316" y="0"/>
                  </a:moveTo>
                  <a:lnTo>
                    <a:pt x="2039" y="35"/>
                  </a:lnTo>
                  <a:lnTo>
                    <a:pt x="1797" y="104"/>
                  </a:lnTo>
                  <a:lnTo>
                    <a:pt x="1555" y="208"/>
                  </a:lnTo>
                  <a:lnTo>
                    <a:pt x="1348" y="311"/>
                  </a:lnTo>
                  <a:lnTo>
                    <a:pt x="1141" y="449"/>
                  </a:lnTo>
                  <a:lnTo>
                    <a:pt x="933" y="588"/>
                  </a:lnTo>
                  <a:lnTo>
                    <a:pt x="761" y="760"/>
                  </a:lnTo>
                  <a:lnTo>
                    <a:pt x="588" y="933"/>
                  </a:lnTo>
                  <a:lnTo>
                    <a:pt x="450" y="1141"/>
                  </a:lnTo>
                  <a:lnTo>
                    <a:pt x="311" y="1348"/>
                  </a:lnTo>
                  <a:lnTo>
                    <a:pt x="208" y="1555"/>
                  </a:lnTo>
                  <a:lnTo>
                    <a:pt x="139" y="1797"/>
                  </a:lnTo>
                  <a:lnTo>
                    <a:pt x="69" y="2039"/>
                  </a:lnTo>
                  <a:lnTo>
                    <a:pt x="35" y="2281"/>
                  </a:lnTo>
                  <a:lnTo>
                    <a:pt x="0" y="2557"/>
                  </a:lnTo>
                  <a:lnTo>
                    <a:pt x="35" y="2834"/>
                  </a:lnTo>
                  <a:lnTo>
                    <a:pt x="69" y="3076"/>
                  </a:lnTo>
                  <a:lnTo>
                    <a:pt x="139" y="3318"/>
                  </a:lnTo>
                  <a:lnTo>
                    <a:pt x="208" y="3560"/>
                  </a:lnTo>
                  <a:lnTo>
                    <a:pt x="311" y="3767"/>
                  </a:lnTo>
                  <a:lnTo>
                    <a:pt x="450" y="4009"/>
                  </a:lnTo>
                  <a:lnTo>
                    <a:pt x="588" y="4182"/>
                  </a:lnTo>
                  <a:lnTo>
                    <a:pt x="761" y="4389"/>
                  </a:lnTo>
                  <a:lnTo>
                    <a:pt x="933" y="4527"/>
                  </a:lnTo>
                  <a:lnTo>
                    <a:pt x="1141" y="4700"/>
                  </a:lnTo>
                  <a:lnTo>
                    <a:pt x="1348" y="4804"/>
                  </a:lnTo>
                  <a:lnTo>
                    <a:pt x="1555" y="4907"/>
                  </a:lnTo>
                  <a:lnTo>
                    <a:pt x="1797" y="5011"/>
                  </a:lnTo>
                  <a:lnTo>
                    <a:pt x="2039" y="5080"/>
                  </a:lnTo>
                  <a:lnTo>
                    <a:pt x="2316" y="5115"/>
                  </a:lnTo>
                  <a:lnTo>
                    <a:pt x="2834" y="5115"/>
                  </a:lnTo>
                  <a:lnTo>
                    <a:pt x="3076" y="5080"/>
                  </a:lnTo>
                  <a:lnTo>
                    <a:pt x="3318" y="5011"/>
                  </a:lnTo>
                  <a:lnTo>
                    <a:pt x="3560" y="4907"/>
                  </a:lnTo>
                  <a:lnTo>
                    <a:pt x="3801" y="4804"/>
                  </a:lnTo>
                  <a:lnTo>
                    <a:pt x="4009" y="4700"/>
                  </a:lnTo>
                  <a:lnTo>
                    <a:pt x="4182" y="4527"/>
                  </a:lnTo>
                  <a:lnTo>
                    <a:pt x="4389" y="4389"/>
                  </a:lnTo>
                  <a:lnTo>
                    <a:pt x="4527" y="4182"/>
                  </a:lnTo>
                  <a:lnTo>
                    <a:pt x="4700" y="4009"/>
                  </a:lnTo>
                  <a:lnTo>
                    <a:pt x="4804" y="3767"/>
                  </a:lnTo>
                  <a:lnTo>
                    <a:pt x="4907" y="3560"/>
                  </a:lnTo>
                  <a:lnTo>
                    <a:pt x="5011" y="3318"/>
                  </a:lnTo>
                  <a:lnTo>
                    <a:pt x="5080" y="3076"/>
                  </a:lnTo>
                  <a:lnTo>
                    <a:pt x="5115" y="2834"/>
                  </a:lnTo>
                  <a:lnTo>
                    <a:pt x="5115" y="2557"/>
                  </a:lnTo>
                  <a:lnTo>
                    <a:pt x="5115" y="2281"/>
                  </a:lnTo>
                  <a:lnTo>
                    <a:pt x="5080" y="2039"/>
                  </a:lnTo>
                  <a:lnTo>
                    <a:pt x="5011" y="1797"/>
                  </a:lnTo>
                  <a:lnTo>
                    <a:pt x="4907" y="1555"/>
                  </a:lnTo>
                  <a:lnTo>
                    <a:pt x="4804" y="1348"/>
                  </a:lnTo>
                  <a:lnTo>
                    <a:pt x="4700" y="1141"/>
                  </a:lnTo>
                  <a:lnTo>
                    <a:pt x="4527" y="933"/>
                  </a:lnTo>
                  <a:lnTo>
                    <a:pt x="4389" y="760"/>
                  </a:lnTo>
                  <a:lnTo>
                    <a:pt x="4182" y="588"/>
                  </a:lnTo>
                  <a:lnTo>
                    <a:pt x="4009" y="449"/>
                  </a:lnTo>
                  <a:lnTo>
                    <a:pt x="3801" y="311"/>
                  </a:lnTo>
                  <a:lnTo>
                    <a:pt x="3560" y="208"/>
                  </a:lnTo>
                  <a:lnTo>
                    <a:pt x="3318" y="104"/>
                  </a:lnTo>
                  <a:lnTo>
                    <a:pt x="3076" y="35"/>
                  </a:lnTo>
                  <a:lnTo>
                    <a:pt x="2834" y="0"/>
                  </a:lnTo>
                  <a:close/>
                </a:path>
              </a:pathLst>
            </a:custGeom>
            <a:solidFill>
              <a:srgbClr val="E0301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1" name="Google Shape;14119;p81">
              <a:extLst>
                <a:ext uri="{FF2B5EF4-FFF2-40B4-BE49-F238E27FC236}">
                  <a16:creationId xmlns:a16="http://schemas.microsoft.com/office/drawing/2014/main" id="{F2829BD0-4934-ED23-CE7E-35012DD75D61}"/>
                </a:ext>
              </a:extLst>
            </p:cNvPr>
            <p:cNvSpPr/>
            <p:nvPr/>
          </p:nvSpPr>
          <p:spPr>
            <a:xfrm>
              <a:off x="2563375" y="2316675"/>
              <a:ext cx="334350" cy="120125"/>
            </a:xfrm>
            <a:custGeom>
              <a:avLst/>
              <a:gdLst/>
              <a:ahLst/>
              <a:cxnLst/>
              <a:rect l="l" t="t" r="r" b="b"/>
              <a:pathLst>
                <a:path w="13374" h="4805" extrusionOk="0">
                  <a:moveTo>
                    <a:pt x="13132" y="1"/>
                  </a:moveTo>
                  <a:lnTo>
                    <a:pt x="13062" y="35"/>
                  </a:lnTo>
                  <a:lnTo>
                    <a:pt x="12337" y="484"/>
                  </a:lnTo>
                  <a:lnTo>
                    <a:pt x="11266" y="1072"/>
                  </a:lnTo>
                  <a:lnTo>
                    <a:pt x="8570" y="2420"/>
                  </a:lnTo>
                  <a:lnTo>
                    <a:pt x="5978" y="3698"/>
                  </a:lnTo>
                  <a:lnTo>
                    <a:pt x="4596" y="4355"/>
                  </a:lnTo>
                  <a:lnTo>
                    <a:pt x="207" y="4355"/>
                  </a:lnTo>
                  <a:lnTo>
                    <a:pt x="104" y="4389"/>
                  </a:lnTo>
                  <a:lnTo>
                    <a:pt x="35" y="4424"/>
                  </a:lnTo>
                  <a:lnTo>
                    <a:pt x="0" y="4493"/>
                  </a:lnTo>
                  <a:lnTo>
                    <a:pt x="0" y="4597"/>
                  </a:lnTo>
                  <a:lnTo>
                    <a:pt x="0" y="4666"/>
                  </a:lnTo>
                  <a:lnTo>
                    <a:pt x="35" y="4735"/>
                  </a:lnTo>
                  <a:lnTo>
                    <a:pt x="104" y="4769"/>
                  </a:lnTo>
                  <a:lnTo>
                    <a:pt x="207" y="4804"/>
                  </a:lnTo>
                  <a:lnTo>
                    <a:pt x="4631" y="4804"/>
                  </a:lnTo>
                  <a:lnTo>
                    <a:pt x="4734" y="4769"/>
                  </a:lnTo>
                  <a:lnTo>
                    <a:pt x="5978" y="4182"/>
                  </a:lnTo>
                  <a:lnTo>
                    <a:pt x="8605" y="2903"/>
                  </a:lnTo>
                  <a:lnTo>
                    <a:pt x="11404" y="1452"/>
                  </a:lnTo>
                  <a:lnTo>
                    <a:pt x="12544" y="865"/>
                  </a:lnTo>
                  <a:lnTo>
                    <a:pt x="13304" y="381"/>
                  </a:lnTo>
                  <a:lnTo>
                    <a:pt x="13339" y="312"/>
                  </a:lnTo>
                  <a:lnTo>
                    <a:pt x="13373" y="243"/>
                  </a:lnTo>
                  <a:lnTo>
                    <a:pt x="13373" y="173"/>
                  </a:lnTo>
                  <a:lnTo>
                    <a:pt x="13339" y="104"/>
                  </a:lnTo>
                  <a:lnTo>
                    <a:pt x="13270" y="35"/>
                  </a:lnTo>
                  <a:lnTo>
                    <a:pt x="13201"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2" name="Google Shape;14120;p81">
              <a:extLst>
                <a:ext uri="{FF2B5EF4-FFF2-40B4-BE49-F238E27FC236}">
                  <a16:creationId xmlns:a16="http://schemas.microsoft.com/office/drawing/2014/main" id="{A4673304-E177-F746-D626-4051BEA44E0D}"/>
                </a:ext>
              </a:extLst>
            </p:cNvPr>
            <p:cNvSpPr/>
            <p:nvPr/>
          </p:nvSpPr>
          <p:spPr>
            <a:xfrm>
              <a:off x="2347400" y="2406525"/>
              <a:ext cx="179700" cy="49275"/>
            </a:xfrm>
            <a:custGeom>
              <a:avLst/>
              <a:gdLst/>
              <a:ahLst/>
              <a:cxnLst/>
              <a:rect l="l" t="t" r="r" b="b"/>
              <a:pathLst>
                <a:path w="7188" h="1971" extrusionOk="0">
                  <a:moveTo>
                    <a:pt x="415" y="1"/>
                  </a:moveTo>
                  <a:lnTo>
                    <a:pt x="242" y="35"/>
                  </a:lnTo>
                  <a:lnTo>
                    <a:pt x="104" y="104"/>
                  </a:lnTo>
                  <a:lnTo>
                    <a:pt x="35" y="242"/>
                  </a:lnTo>
                  <a:lnTo>
                    <a:pt x="0" y="415"/>
                  </a:lnTo>
                  <a:lnTo>
                    <a:pt x="0" y="1590"/>
                  </a:lnTo>
                  <a:lnTo>
                    <a:pt x="35" y="1728"/>
                  </a:lnTo>
                  <a:lnTo>
                    <a:pt x="104" y="1867"/>
                  </a:lnTo>
                  <a:lnTo>
                    <a:pt x="242" y="1936"/>
                  </a:lnTo>
                  <a:lnTo>
                    <a:pt x="415" y="1970"/>
                  </a:lnTo>
                  <a:lnTo>
                    <a:pt x="6773" y="1970"/>
                  </a:lnTo>
                  <a:lnTo>
                    <a:pt x="6946" y="1936"/>
                  </a:lnTo>
                  <a:lnTo>
                    <a:pt x="7084" y="1867"/>
                  </a:lnTo>
                  <a:lnTo>
                    <a:pt x="7153" y="1728"/>
                  </a:lnTo>
                  <a:lnTo>
                    <a:pt x="7188" y="1590"/>
                  </a:lnTo>
                  <a:lnTo>
                    <a:pt x="7188" y="415"/>
                  </a:lnTo>
                  <a:lnTo>
                    <a:pt x="7153" y="242"/>
                  </a:lnTo>
                  <a:lnTo>
                    <a:pt x="7084" y="104"/>
                  </a:lnTo>
                  <a:lnTo>
                    <a:pt x="6946" y="35"/>
                  </a:lnTo>
                  <a:lnTo>
                    <a:pt x="6773" y="1"/>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3" name="Google Shape;14121;p81">
              <a:extLst>
                <a:ext uri="{FF2B5EF4-FFF2-40B4-BE49-F238E27FC236}">
                  <a16:creationId xmlns:a16="http://schemas.microsoft.com/office/drawing/2014/main" id="{D285D52F-1517-B7D0-31A4-DF07FAB866D5}"/>
                </a:ext>
              </a:extLst>
            </p:cNvPr>
            <p:cNvSpPr/>
            <p:nvPr/>
          </p:nvSpPr>
          <p:spPr>
            <a:xfrm>
              <a:off x="2347400" y="2406525"/>
              <a:ext cx="179700" cy="49275"/>
            </a:xfrm>
            <a:custGeom>
              <a:avLst/>
              <a:gdLst/>
              <a:ahLst/>
              <a:cxnLst/>
              <a:rect l="l" t="t" r="r" b="b"/>
              <a:pathLst>
                <a:path w="7188" h="1971" fill="none" extrusionOk="0">
                  <a:moveTo>
                    <a:pt x="6773" y="1"/>
                  </a:moveTo>
                  <a:lnTo>
                    <a:pt x="415" y="1"/>
                  </a:lnTo>
                  <a:lnTo>
                    <a:pt x="415" y="1"/>
                  </a:lnTo>
                  <a:lnTo>
                    <a:pt x="242" y="35"/>
                  </a:lnTo>
                  <a:lnTo>
                    <a:pt x="104" y="104"/>
                  </a:lnTo>
                  <a:lnTo>
                    <a:pt x="35" y="242"/>
                  </a:lnTo>
                  <a:lnTo>
                    <a:pt x="0" y="415"/>
                  </a:lnTo>
                  <a:lnTo>
                    <a:pt x="0" y="1590"/>
                  </a:lnTo>
                  <a:lnTo>
                    <a:pt x="0" y="1590"/>
                  </a:lnTo>
                  <a:lnTo>
                    <a:pt x="35" y="1728"/>
                  </a:lnTo>
                  <a:lnTo>
                    <a:pt x="104" y="1867"/>
                  </a:lnTo>
                  <a:lnTo>
                    <a:pt x="242" y="1936"/>
                  </a:lnTo>
                  <a:lnTo>
                    <a:pt x="415" y="1970"/>
                  </a:lnTo>
                  <a:lnTo>
                    <a:pt x="6773" y="1970"/>
                  </a:lnTo>
                  <a:lnTo>
                    <a:pt x="6773" y="1970"/>
                  </a:lnTo>
                  <a:lnTo>
                    <a:pt x="6946" y="1936"/>
                  </a:lnTo>
                  <a:lnTo>
                    <a:pt x="7084" y="1867"/>
                  </a:lnTo>
                  <a:lnTo>
                    <a:pt x="7153" y="1728"/>
                  </a:lnTo>
                  <a:lnTo>
                    <a:pt x="7188" y="1590"/>
                  </a:lnTo>
                  <a:lnTo>
                    <a:pt x="7188" y="415"/>
                  </a:lnTo>
                  <a:lnTo>
                    <a:pt x="7188" y="415"/>
                  </a:lnTo>
                  <a:lnTo>
                    <a:pt x="7153" y="242"/>
                  </a:lnTo>
                  <a:lnTo>
                    <a:pt x="7084" y="104"/>
                  </a:lnTo>
                  <a:lnTo>
                    <a:pt x="6946" y="35"/>
                  </a:lnTo>
                  <a:lnTo>
                    <a:pt x="6773"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4" name="Google Shape;14122;p81">
              <a:extLst>
                <a:ext uri="{FF2B5EF4-FFF2-40B4-BE49-F238E27FC236}">
                  <a16:creationId xmlns:a16="http://schemas.microsoft.com/office/drawing/2014/main" id="{91EFD6DE-F776-C58D-48F7-937E53D3DA45}"/>
                </a:ext>
              </a:extLst>
            </p:cNvPr>
            <p:cNvSpPr/>
            <p:nvPr/>
          </p:nvSpPr>
          <p:spPr>
            <a:xfrm>
              <a:off x="2078725" y="2406525"/>
              <a:ext cx="109725" cy="49275"/>
            </a:xfrm>
            <a:custGeom>
              <a:avLst/>
              <a:gdLst/>
              <a:ahLst/>
              <a:cxnLst/>
              <a:rect l="l" t="t" r="r" b="b"/>
              <a:pathLst>
                <a:path w="4389" h="1971" extrusionOk="0">
                  <a:moveTo>
                    <a:pt x="242" y="1"/>
                  </a:moveTo>
                  <a:lnTo>
                    <a:pt x="138" y="35"/>
                  </a:lnTo>
                  <a:lnTo>
                    <a:pt x="69" y="104"/>
                  </a:lnTo>
                  <a:lnTo>
                    <a:pt x="35" y="208"/>
                  </a:lnTo>
                  <a:lnTo>
                    <a:pt x="0" y="346"/>
                  </a:lnTo>
                  <a:lnTo>
                    <a:pt x="0" y="1625"/>
                  </a:lnTo>
                  <a:lnTo>
                    <a:pt x="35" y="1763"/>
                  </a:lnTo>
                  <a:lnTo>
                    <a:pt x="69" y="1867"/>
                  </a:lnTo>
                  <a:lnTo>
                    <a:pt x="138" y="1970"/>
                  </a:lnTo>
                  <a:lnTo>
                    <a:pt x="4250" y="1970"/>
                  </a:lnTo>
                  <a:lnTo>
                    <a:pt x="4320" y="1867"/>
                  </a:lnTo>
                  <a:lnTo>
                    <a:pt x="4354" y="1763"/>
                  </a:lnTo>
                  <a:lnTo>
                    <a:pt x="4389" y="1625"/>
                  </a:lnTo>
                  <a:lnTo>
                    <a:pt x="4389" y="346"/>
                  </a:lnTo>
                  <a:lnTo>
                    <a:pt x="4354" y="208"/>
                  </a:lnTo>
                  <a:lnTo>
                    <a:pt x="4320" y="104"/>
                  </a:lnTo>
                  <a:lnTo>
                    <a:pt x="4250" y="35"/>
                  </a:lnTo>
                  <a:lnTo>
                    <a:pt x="4147" y="1"/>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5" name="Google Shape;14123;p81">
              <a:extLst>
                <a:ext uri="{FF2B5EF4-FFF2-40B4-BE49-F238E27FC236}">
                  <a16:creationId xmlns:a16="http://schemas.microsoft.com/office/drawing/2014/main" id="{A6944970-2A9C-EBD2-1A3F-7BC60E566CE8}"/>
                </a:ext>
              </a:extLst>
            </p:cNvPr>
            <p:cNvSpPr/>
            <p:nvPr/>
          </p:nvSpPr>
          <p:spPr>
            <a:xfrm>
              <a:off x="2078725" y="2406525"/>
              <a:ext cx="109725" cy="49275"/>
            </a:xfrm>
            <a:custGeom>
              <a:avLst/>
              <a:gdLst/>
              <a:ahLst/>
              <a:cxnLst/>
              <a:rect l="l" t="t" r="r" b="b"/>
              <a:pathLst>
                <a:path w="4389" h="1971" fill="none" extrusionOk="0">
                  <a:moveTo>
                    <a:pt x="4147" y="1"/>
                  </a:moveTo>
                  <a:lnTo>
                    <a:pt x="242" y="1"/>
                  </a:lnTo>
                  <a:lnTo>
                    <a:pt x="242" y="1"/>
                  </a:lnTo>
                  <a:lnTo>
                    <a:pt x="138" y="35"/>
                  </a:lnTo>
                  <a:lnTo>
                    <a:pt x="69" y="104"/>
                  </a:lnTo>
                  <a:lnTo>
                    <a:pt x="35" y="208"/>
                  </a:lnTo>
                  <a:lnTo>
                    <a:pt x="0" y="346"/>
                  </a:lnTo>
                  <a:lnTo>
                    <a:pt x="0" y="1625"/>
                  </a:lnTo>
                  <a:lnTo>
                    <a:pt x="0" y="1625"/>
                  </a:lnTo>
                  <a:lnTo>
                    <a:pt x="35" y="1763"/>
                  </a:lnTo>
                  <a:lnTo>
                    <a:pt x="69" y="1867"/>
                  </a:lnTo>
                  <a:lnTo>
                    <a:pt x="138" y="1970"/>
                  </a:lnTo>
                  <a:lnTo>
                    <a:pt x="242" y="1970"/>
                  </a:lnTo>
                  <a:lnTo>
                    <a:pt x="4147" y="1970"/>
                  </a:lnTo>
                  <a:lnTo>
                    <a:pt x="4147" y="1970"/>
                  </a:lnTo>
                  <a:lnTo>
                    <a:pt x="4250" y="1970"/>
                  </a:lnTo>
                  <a:lnTo>
                    <a:pt x="4320" y="1867"/>
                  </a:lnTo>
                  <a:lnTo>
                    <a:pt x="4354" y="1763"/>
                  </a:lnTo>
                  <a:lnTo>
                    <a:pt x="4389" y="1625"/>
                  </a:lnTo>
                  <a:lnTo>
                    <a:pt x="4389" y="346"/>
                  </a:lnTo>
                  <a:lnTo>
                    <a:pt x="4389" y="346"/>
                  </a:lnTo>
                  <a:lnTo>
                    <a:pt x="4354" y="208"/>
                  </a:lnTo>
                  <a:lnTo>
                    <a:pt x="4320" y="104"/>
                  </a:lnTo>
                  <a:lnTo>
                    <a:pt x="4250" y="35"/>
                  </a:lnTo>
                  <a:lnTo>
                    <a:pt x="4147"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6" name="Google Shape;14124;p81">
              <a:extLst>
                <a:ext uri="{FF2B5EF4-FFF2-40B4-BE49-F238E27FC236}">
                  <a16:creationId xmlns:a16="http://schemas.microsoft.com/office/drawing/2014/main" id="{07022E34-905D-F9ED-4808-3099F5A99D4D}"/>
                </a:ext>
              </a:extLst>
            </p:cNvPr>
            <p:cNvSpPr/>
            <p:nvPr/>
          </p:nvSpPr>
          <p:spPr>
            <a:xfrm>
              <a:off x="2210900" y="2406525"/>
              <a:ext cx="102825" cy="49275"/>
            </a:xfrm>
            <a:custGeom>
              <a:avLst/>
              <a:gdLst/>
              <a:ahLst/>
              <a:cxnLst/>
              <a:rect l="l" t="t" r="r" b="b"/>
              <a:pathLst>
                <a:path w="4113" h="1971" extrusionOk="0">
                  <a:moveTo>
                    <a:pt x="380" y="1"/>
                  </a:moveTo>
                  <a:lnTo>
                    <a:pt x="242" y="35"/>
                  </a:lnTo>
                  <a:lnTo>
                    <a:pt x="104" y="104"/>
                  </a:lnTo>
                  <a:lnTo>
                    <a:pt x="35" y="208"/>
                  </a:lnTo>
                  <a:lnTo>
                    <a:pt x="0" y="346"/>
                  </a:lnTo>
                  <a:lnTo>
                    <a:pt x="0" y="1625"/>
                  </a:lnTo>
                  <a:lnTo>
                    <a:pt x="35" y="1763"/>
                  </a:lnTo>
                  <a:lnTo>
                    <a:pt x="104" y="1867"/>
                  </a:lnTo>
                  <a:lnTo>
                    <a:pt x="242" y="1970"/>
                  </a:lnTo>
                  <a:lnTo>
                    <a:pt x="3905" y="1970"/>
                  </a:lnTo>
                  <a:lnTo>
                    <a:pt x="4009" y="1867"/>
                  </a:lnTo>
                  <a:lnTo>
                    <a:pt x="4078" y="1763"/>
                  </a:lnTo>
                  <a:lnTo>
                    <a:pt x="4112" y="1625"/>
                  </a:lnTo>
                  <a:lnTo>
                    <a:pt x="4112" y="346"/>
                  </a:lnTo>
                  <a:lnTo>
                    <a:pt x="4078" y="208"/>
                  </a:lnTo>
                  <a:lnTo>
                    <a:pt x="4009" y="104"/>
                  </a:lnTo>
                  <a:lnTo>
                    <a:pt x="3905" y="35"/>
                  </a:lnTo>
                  <a:lnTo>
                    <a:pt x="3767" y="1"/>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7" name="Google Shape;14125;p81">
              <a:extLst>
                <a:ext uri="{FF2B5EF4-FFF2-40B4-BE49-F238E27FC236}">
                  <a16:creationId xmlns:a16="http://schemas.microsoft.com/office/drawing/2014/main" id="{ABFF4AD9-D644-4437-F7A7-E0D66F2A8FCD}"/>
                </a:ext>
              </a:extLst>
            </p:cNvPr>
            <p:cNvSpPr/>
            <p:nvPr/>
          </p:nvSpPr>
          <p:spPr>
            <a:xfrm>
              <a:off x="2210900" y="2406525"/>
              <a:ext cx="102825" cy="49275"/>
            </a:xfrm>
            <a:custGeom>
              <a:avLst/>
              <a:gdLst/>
              <a:ahLst/>
              <a:cxnLst/>
              <a:rect l="l" t="t" r="r" b="b"/>
              <a:pathLst>
                <a:path w="4113" h="1971" fill="none" extrusionOk="0">
                  <a:moveTo>
                    <a:pt x="3767" y="1"/>
                  </a:moveTo>
                  <a:lnTo>
                    <a:pt x="380" y="1"/>
                  </a:lnTo>
                  <a:lnTo>
                    <a:pt x="380" y="1"/>
                  </a:lnTo>
                  <a:lnTo>
                    <a:pt x="242" y="35"/>
                  </a:lnTo>
                  <a:lnTo>
                    <a:pt x="104" y="104"/>
                  </a:lnTo>
                  <a:lnTo>
                    <a:pt x="35" y="208"/>
                  </a:lnTo>
                  <a:lnTo>
                    <a:pt x="0" y="346"/>
                  </a:lnTo>
                  <a:lnTo>
                    <a:pt x="0" y="1625"/>
                  </a:lnTo>
                  <a:lnTo>
                    <a:pt x="0" y="1625"/>
                  </a:lnTo>
                  <a:lnTo>
                    <a:pt x="35" y="1763"/>
                  </a:lnTo>
                  <a:lnTo>
                    <a:pt x="104" y="1867"/>
                  </a:lnTo>
                  <a:lnTo>
                    <a:pt x="242" y="1970"/>
                  </a:lnTo>
                  <a:lnTo>
                    <a:pt x="380" y="1970"/>
                  </a:lnTo>
                  <a:lnTo>
                    <a:pt x="3767" y="1970"/>
                  </a:lnTo>
                  <a:lnTo>
                    <a:pt x="3767" y="1970"/>
                  </a:lnTo>
                  <a:lnTo>
                    <a:pt x="3905" y="1970"/>
                  </a:lnTo>
                  <a:lnTo>
                    <a:pt x="4009" y="1867"/>
                  </a:lnTo>
                  <a:lnTo>
                    <a:pt x="4078" y="1763"/>
                  </a:lnTo>
                  <a:lnTo>
                    <a:pt x="4112" y="1625"/>
                  </a:lnTo>
                  <a:lnTo>
                    <a:pt x="4112" y="346"/>
                  </a:lnTo>
                  <a:lnTo>
                    <a:pt x="4112" y="346"/>
                  </a:lnTo>
                  <a:lnTo>
                    <a:pt x="4078" y="208"/>
                  </a:lnTo>
                  <a:lnTo>
                    <a:pt x="4009" y="104"/>
                  </a:lnTo>
                  <a:lnTo>
                    <a:pt x="3905" y="35"/>
                  </a:lnTo>
                  <a:lnTo>
                    <a:pt x="3767"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8" name="Google Shape;14126;p81">
              <a:extLst>
                <a:ext uri="{FF2B5EF4-FFF2-40B4-BE49-F238E27FC236}">
                  <a16:creationId xmlns:a16="http://schemas.microsoft.com/office/drawing/2014/main" id="{7D86822A-E948-1F46-E67F-BA89A37F7AF7}"/>
                </a:ext>
              </a:extLst>
            </p:cNvPr>
            <p:cNvSpPr/>
            <p:nvPr/>
          </p:nvSpPr>
          <p:spPr>
            <a:xfrm>
              <a:off x="3308050" y="1624700"/>
              <a:ext cx="127900" cy="193525"/>
            </a:xfrm>
            <a:custGeom>
              <a:avLst/>
              <a:gdLst/>
              <a:ahLst/>
              <a:cxnLst/>
              <a:rect l="l" t="t" r="r" b="b"/>
              <a:pathLst>
                <a:path w="5116" h="7741" extrusionOk="0">
                  <a:moveTo>
                    <a:pt x="243" y="0"/>
                  </a:moveTo>
                  <a:lnTo>
                    <a:pt x="139" y="35"/>
                  </a:lnTo>
                  <a:lnTo>
                    <a:pt x="70" y="69"/>
                  </a:lnTo>
                  <a:lnTo>
                    <a:pt x="35" y="138"/>
                  </a:lnTo>
                  <a:lnTo>
                    <a:pt x="1" y="207"/>
                  </a:lnTo>
                  <a:lnTo>
                    <a:pt x="35" y="276"/>
                  </a:lnTo>
                  <a:lnTo>
                    <a:pt x="70" y="346"/>
                  </a:lnTo>
                  <a:lnTo>
                    <a:pt x="139" y="415"/>
                  </a:lnTo>
                  <a:lnTo>
                    <a:pt x="208" y="415"/>
                  </a:lnTo>
                  <a:lnTo>
                    <a:pt x="2696" y="587"/>
                  </a:lnTo>
                  <a:lnTo>
                    <a:pt x="3249" y="2488"/>
                  </a:lnTo>
                  <a:lnTo>
                    <a:pt x="3906" y="4769"/>
                  </a:lnTo>
                  <a:lnTo>
                    <a:pt x="4700" y="7568"/>
                  </a:lnTo>
                  <a:lnTo>
                    <a:pt x="4735" y="7637"/>
                  </a:lnTo>
                  <a:lnTo>
                    <a:pt x="4770" y="7706"/>
                  </a:lnTo>
                  <a:lnTo>
                    <a:pt x="4839" y="7741"/>
                  </a:lnTo>
                  <a:lnTo>
                    <a:pt x="4942" y="7741"/>
                  </a:lnTo>
                  <a:lnTo>
                    <a:pt x="5046" y="7706"/>
                  </a:lnTo>
                  <a:lnTo>
                    <a:pt x="5081" y="7637"/>
                  </a:lnTo>
                  <a:lnTo>
                    <a:pt x="5115" y="7568"/>
                  </a:lnTo>
                  <a:lnTo>
                    <a:pt x="5115" y="7464"/>
                  </a:lnTo>
                  <a:lnTo>
                    <a:pt x="4286" y="4561"/>
                  </a:lnTo>
                  <a:lnTo>
                    <a:pt x="3595" y="2177"/>
                  </a:lnTo>
                  <a:lnTo>
                    <a:pt x="3042" y="311"/>
                  </a:lnTo>
                  <a:lnTo>
                    <a:pt x="2973" y="207"/>
                  </a:lnTo>
                  <a:lnTo>
                    <a:pt x="2834" y="173"/>
                  </a:lnTo>
                  <a:lnTo>
                    <a:pt x="243" y="0"/>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9" name="Google Shape;14127;p81">
              <a:extLst>
                <a:ext uri="{FF2B5EF4-FFF2-40B4-BE49-F238E27FC236}">
                  <a16:creationId xmlns:a16="http://schemas.microsoft.com/office/drawing/2014/main" id="{4769F390-14B5-4E00-D9E6-259DA7586987}"/>
                </a:ext>
              </a:extLst>
            </p:cNvPr>
            <p:cNvSpPr/>
            <p:nvPr/>
          </p:nvSpPr>
          <p:spPr>
            <a:xfrm>
              <a:off x="3462700" y="1795750"/>
              <a:ext cx="85550" cy="41475"/>
            </a:xfrm>
            <a:custGeom>
              <a:avLst/>
              <a:gdLst/>
              <a:ahLst/>
              <a:cxnLst/>
              <a:rect l="l" t="t" r="r" b="b"/>
              <a:pathLst>
                <a:path w="3422" h="1659" extrusionOk="0">
                  <a:moveTo>
                    <a:pt x="208" y="0"/>
                  </a:moveTo>
                  <a:lnTo>
                    <a:pt x="104" y="69"/>
                  </a:lnTo>
                  <a:lnTo>
                    <a:pt x="35" y="173"/>
                  </a:lnTo>
                  <a:lnTo>
                    <a:pt x="0" y="311"/>
                  </a:lnTo>
                  <a:lnTo>
                    <a:pt x="0" y="1348"/>
                  </a:lnTo>
                  <a:lnTo>
                    <a:pt x="35" y="1452"/>
                  </a:lnTo>
                  <a:lnTo>
                    <a:pt x="104" y="1555"/>
                  </a:lnTo>
                  <a:lnTo>
                    <a:pt x="208" y="1624"/>
                  </a:lnTo>
                  <a:lnTo>
                    <a:pt x="311" y="1659"/>
                  </a:lnTo>
                  <a:lnTo>
                    <a:pt x="3145" y="1659"/>
                  </a:lnTo>
                  <a:lnTo>
                    <a:pt x="3249" y="1624"/>
                  </a:lnTo>
                  <a:lnTo>
                    <a:pt x="3352" y="1555"/>
                  </a:lnTo>
                  <a:lnTo>
                    <a:pt x="3421" y="1452"/>
                  </a:lnTo>
                  <a:lnTo>
                    <a:pt x="3421" y="1348"/>
                  </a:lnTo>
                  <a:lnTo>
                    <a:pt x="3421" y="311"/>
                  </a:lnTo>
                  <a:lnTo>
                    <a:pt x="3421" y="173"/>
                  </a:lnTo>
                  <a:lnTo>
                    <a:pt x="3352" y="69"/>
                  </a:lnTo>
                  <a:lnTo>
                    <a:pt x="3249"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0" name="Google Shape;14128;p81">
              <a:extLst>
                <a:ext uri="{FF2B5EF4-FFF2-40B4-BE49-F238E27FC236}">
                  <a16:creationId xmlns:a16="http://schemas.microsoft.com/office/drawing/2014/main" id="{019A8B65-B79C-0864-FFED-1BAA67DDA078}"/>
                </a:ext>
              </a:extLst>
            </p:cNvPr>
            <p:cNvSpPr/>
            <p:nvPr/>
          </p:nvSpPr>
          <p:spPr>
            <a:xfrm>
              <a:off x="3462700" y="1795750"/>
              <a:ext cx="85550" cy="41475"/>
            </a:xfrm>
            <a:custGeom>
              <a:avLst/>
              <a:gdLst/>
              <a:ahLst/>
              <a:cxnLst/>
              <a:rect l="l" t="t" r="r" b="b"/>
              <a:pathLst>
                <a:path w="3422" h="1659" fill="none" extrusionOk="0">
                  <a:moveTo>
                    <a:pt x="3145" y="0"/>
                  </a:moveTo>
                  <a:lnTo>
                    <a:pt x="311" y="0"/>
                  </a:lnTo>
                  <a:lnTo>
                    <a:pt x="311" y="0"/>
                  </a:lnTo>
                  <a:lnTo>
                    <a:pt x="208" y="0"/>
                  </a:lnTo>
                  <a:lnTo>
                    <a:pt x="104" y="69"/>
                  </a:lnTo>
                  <a:lnTo>
                    <a:pt x="35" y="173"/>
                  </a:lnTo>
                  <a:lnTo>
                    <a:pt x="0" y="311"/>
                  </a:lnTo>
                  <a:lnTo>
                    <a:pt x="0" y="1348"/>
                  </a:lnTo>
                  <a:lnTo>
                    <a:pt x="0" y="1348"/>
                  </a:lnTo>
                  <a:lnTo>
                    <a:pt x="35" y="1452"/>
                  </a:lnTo>
                  <a:lnTo>
                    <a:pt x="104" y="1555"/>
                  </a:lnTo>
                  <a:lnTo>
                    <a:pt x="208" y="1624"/>
                  </a:lnTo>
                  <a:lnTo>
                    <a:pt x="311" y="1659"/>
                  </a:lnTo>
                  <a:lnTo>
                    <a:pt x="3145" y="1659"/>
                  </a:lnTo>
                  <a:lnTo>
                    <a:pt x="3145" y="1659"/>
                  </a:lnTo>
                  <a:lnTo>
                    <a:pt x="3249" y="1624"/>
                  </a:lnTo>
                  <a:lnTo>
                    <a:pt x="3352" y="1555"/>
                  </a:lnTo>
                  <a:lnTo>
                    <a:pt x="3421" y="1452"/>
                  </a:lnTo>
                  <a:lnTo>
                    <a:pt x="3421" y="1348"/>
                  </a:lnTo>
                  <a:lnTo>
                    <a:pt x="3421" y="311"/>
                  </a:lnTo>
                  <a:lnTo>
                    <a:pt x="3421" y="311"/>
                  </a:lnTo>
                  <a:lnTo>
                    <a:pt x="3421" y="173"/>
                  </a:lnTo>
                  <a:lnTo>
                    <a:pt x="3352" y="69"/>
                  </a:lnTo>
                  <a:lnTo>
                    <a:pt x="3249" y="0"/>
                  </a:lnTo>
                  <a:lnTo>
                    <a:pt x="3145"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1" name="Google Shape;14129;p81">
              <a:extLst>
                <a:ext uri="{FF2B5EF4-FFF2-40B4-BE49-F238E27FC236}">
                  <a16:creationId xmlns:a16="http://schemas.microsoft.com/office/drawing/2014/main" id="{9DEB48E7-DB6B-1CEF-BEE7-99E4296C54C8}"/>
                </a:ext>
              </a:extLst>
            </p:cNvPr>
            <p:cNvSpPr/>
            <p:nvPr/>
          </p:nvSpPr>
          <p:spPr>
            <a:xfrm>
              <a:off x="3576725" y="1794025"/>
              <a:ext cx="149500" cy="41475"/>
            </a:xfrm>
            <a:custGeom>
              <a:avLst/>
              <a:gdLst/>
              <a:ahLst/>
              <a:cxnLst/>
              <a:rect l="l" t="t" r="r" b="b"/>
              <a:pathLst>
                <a:path w="5980" h="1659" extrusionOk="0">
                  <a:moveTo>
                    <a:pt x="346" y="0"/>
                  </a:moveTo>
                  <a:lnTo>
                    <a:pt x="208" y="35"/>
                  </a:lnTo>
                  <a:lnTo>
                    <a:pt x="104" y="104"/>
                  </a:lnTo>
                  <a:lnTo>
                    <a:pt x="35" y="207"/>
                  </a:lnTo>
                  <a:lnTo>
                    <a:pt x="1" y="346"/>
                  </a:lnTo>
                  <a:lnTo>
                    <a:pt x="1" y="1313"/>
                  </a:lnTo>
                  <a:lnTo>
                    <a:pt x="35" y="1451"/>
                  </a:lnTo>
                  <a:lnTo>
                    <a:pt x="104" y="1555"/>
                  </a:lnTo>
                  <a:lnTo>
                    <a:pt x="208" y="1624"/>
                  </a:lnTo>
                  <a:lnTo>
                    <a:pt x="346" y="1659"/>
                  </a:lnTo>
                  <a:lnTo>
                    <a:pt x="5633" y="1659"/>
                  </a:lnTo>
                  <a:lnTo>
                    <a:pt x="5772" y="1624"/>
                  </a:lnTo>
                  <a:lnTo>
                    <a:pt x="5875" y="1555"/>
                  </a:lnTo>
                  <a:lnTo>
                    <a:pt x="5944" y="1451"/>
                  </a:lnTo>
                  <a:lnTo>
                    <a:pt x="5979" y="1313"/>
                  </a:lnTo>
                  <a:lnTo>
                    <a:pt x="5979" y="346"/>
                  </a:lnTo>
                  <a:lnTo>
                    <a:pt x="5944" y="207"/>
                  </a:lnTo>
                  <a:lnTo>
                    <a:pt x="5875" y="104"/>
                  </a:lnTo>
                  <a:lnTo>
                    <a:pt x="5772" y="35"/>
                  </a:lnTo>
                  <a:lnTo>
                    <a:pt x="5633"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2" name="Google Shape;14130;p81">
              <a:extLst>
                <a:ext uri="{FF2B5EF4-FFF2-40B4-BE49-F238E27FC236}">
                  <a16:creationId xmlns:a16="http://schemas.microsoft.com/office/drawing/2014/main" id="{40D882D8-AF1E-AA06-C74D-B37DB5014D27}"/>
                </a:ext>
              </a:extLst>
            </p:cNvPr>
            <p:cNvSpPr/>
            <p:nvPr/>
          </p:nvSpPr>
          <p:spPr>
            <a:xfrm>
              <a:off x="3576725" y="1794025"/>
              <a:ext cx="149500" cy="41475"/>
            </a:xfrm>
            <a:custGeom>
              <a:avLst/>
              <a:gdLst/>
              <a:ahLst/>
              <a:cxnLst/>
              <a:rect l="l" t="t" r="r" b="b"/>
              <a:pathLst>
                <a:path w="5980" h="1659" fill="none" extrusionOk="0">
                  <a:moveTo>
                    <a:pt x="5633" y="0"/>
                  </a:moveTo>
                  <a:lnTo>
                    <a:pt x="346" y="0"/>
                  </a:lnTo>
                  <a:lnTo>
                    <a:pt x="346" y="0"/>
                  </a:lnTo>
                  <a:lnTo>
                    <a:pt x="208" y="35"/>
                  </a:lnTo>
                  <a:lnTo>
                    <a:pt x="104" y="104"/>
                  </a:lnTo>
                  <a:lnTo>
                    <a:pt x="35" y="207"/>
                  </a:lnTo>
                  <a:lnTo>
                    <a:pt x="1" y="346"/>
                  </a:lnTo>
                  <a:lnTo>
                    <a:pt x="1" y="1313"/>
                  </a:lnTo>
                  <a:lnTo>
                    <a:pt x="1" y="1313"/>
                  </a:lnTo>
                  <a:lnTo>
                    <a:pt x="35" y="1451"/>
                  </a:lnTo>
                  <a:lnTo>
                    <a:pt x="104" y="1555"/>
                  </a:lnTo>
                  <a:lnTo>
                    <a:pt x="208" y="1624"/>
                  </a:lnTo>
                  <a:lnTo>
                    <a:pt x="346" y="1659"/>
                  </a:lnTo>
                  <a:lnTo>
                    <a:pt x="5633" y="1659"/>
                  </a:lnTo>
                  <a:lnTo>
                    <a:pt x="5633" y="1659"/>
                  </a:lnTo>
                  <a:lnTo>
                    <a:pt x="5772" y="1624"/>
                  </a:lnTo>
                  <a:lnTo>
                    <a:pt x="5875" y="1555"/>
                  </a:lnTo>
                  <a:lnTo>
                    <a:pt x="5944" y="1451"/>
                  </a:lnTo>
                  <a:lnTo>
                    <a:pt x="5979" y="1313"/>
                  </a:lnTo>
                  <a:lnTo>
                    <a:pt x="5979" y="346"/>
                  </a:lnTo>
                  <a:lnTo>
                    <a:pt x="5979" y="346"/>
                  </a:lnTo>
                  <a:lnTo>
                    <a:pt x="5944" y="207"/>
                  </a:lnTo>
                  <a:lnTo>
                    <a:pt x="5875" y="104"/>
                  </a:lnTo>
                  <a:lnTo>
                    <a:pt x="5772" y="35"/>
                  </a:lnTo>
                  <a:lnTo>
                    <a:pt x="5633"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3" name="Google Shape;14131;p81">
              <a:extLst>
                <a:ext uri="{FF2B5EF4-FFF2-40B4-BE49-F238E27FC236}">
                  <a16:creationId xmlns:a16="http://schemas.microsoft.com/office/drawing/2014/main" id="{1FD3666F-C4AD-10F2-74F0-677F722A8E7A}"/>
                </a:ext>
              </a:extLst>
            </p:cNvPr>
            <p:cNvSpPr/>
            <p:nvPr/>
          </p:nvSpPr>
          <p:spPr>
            <a:xfrm>
              <a:off x="3784075" y="1794025"/>
              <a:ext cx="137375" cy="41475"/>
            </a:xfrm>
            <a:custGeom>
              <a:avLst/>
              <a:gdLst/>
              <a:ahLst/>
              <a:cxnLst/>
              <a:rect l="l" t="t" r="r" b="b"/>
              <a:pathLst>
                <a:path w="5495" h="1659" extrusionOk="0">
                  <a:moveTo>
                    <a:pt x="311" y="0"/>
                  </a:moveTo>
                  <a:lnTo>
                    <a:pt x="173" y="35"/>
                  </a:lnTo>
                  <a:lnTo>
                    <a:pt x="69" y="104"/>
                  </a:lnTo>
                  <a:lnTo>
                    <a:pt x="35" y="207"/>
                  </a:lnTo>
                  <a:lnTo>
                    <a:pt x="0" y="311"/>
                  </a:lnTo>
                  <a:lnTo>
                    <a:pt x="0" y="1348"/>
                  </a:lnTo>
                  <a:lnTo>
                    <a:pt x="35" y="1486"/>
                  </a:lnTo>
                  <a:lnTo>
                    <a:pt x="69" y="1590"/>
                  </a:lnTo>
                  <a:lnTo>
                    <a:pt x="173" y="1624"/>
                  </a:lnTo>
                  <a:lnTo>
                    <a:pt x="311" y="1659"/>
                  </a:lnTo>
                  <a:lnTo>
                    <a:pt x="5218" y="1659"/>
                  </a:lnTo>
                  <a:lnTo>
                    <a:pt x="5322" y="1624"/>
                  </a:lnTo>
                  <a:lnTo>
                    <a:pt x="5426" y="1590"/>
                  </a:lnTo>
                  <a:lnTo>
                    <a:pt x="5495" y="1486"/>
                  </a:lnTo>
                  <a:lnTo>
                    <a:pt x="5495" y="1348"/>
                  </a:lnTo>
                  <a:lnTo>
                    <a:pt x="5495" y="311"/>
                  </a:lnTo>
                  <a:lnTo>
                    <a:pt x="5495" y="207"/>
                  </a:lnTo>
                  <a:lnTo>
                    <a:pt x="5426" y="104"/>
                  </a:lnTo>
                  <a:lnTo>
                    <a:pt x="5322" y="35"/>
                  </a:lnTo>
                  <a:lnTo>
                    <a:pt x="5218"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4" name="Google Shape;14132;p81">
              <a:extLst>
                <a:ext uri="{FF2B5EF4-FFF2-40B4-BE49-F238E27FC236}">
                  <a16:creationId xmlns:a16="http://schemas.microsoft.com/office/drawing/2014/main" id="{8320DCDE-3358-CFF9-2936-D032FD31BFB9}"/>
                </a:ext>
              </a:extLst>
            </p:cNvPr>
            <p:cNvSpPr/>
            <p:nvPr/>
          </p:nvSpPr>
          <p:spPr>
            <a:xfrm>
              <a:off x="3784075" y="1794025"/>
              <a:ext cx="137375" cy="41475"/>
            </a:xfrm>
            <a:custGeom>
              <a:avLst/>
              <a:gdLst/>
              <a:ahLst/>
              <a:cxnLst/>
              <a:rect l="l" t="t" r="r" b="b"/>
              <a:pathLst>
                <a:path w="5495" h="1659" fill="none" extrusionOk="0">
                  <a:moveTo>
                    <a:pt x="5218" y="0"/>
                  </a:moveTo>
                  <a:lnTo>
                    <a:pt x="311" y="0"/>
                  </a:lnTo>
                  <a:lnTo>
                    <a:pt x="311" y="0"/>
                  </a:lnTo>
                  <a:lnTo>
                    <a:pt x="173" y="35"/>
                  </a:lnTo>
                  <a:lnTo>
                    <a:pt x="69" y="104"/>
                  </a:lnTo>
                  <a:lnTo>
                    <a:pt x="35" y="207"/>
                  </a:lnTo>
                  <a:lnTo>
                    <a:pt x="0" y="311"/>
                  </a:lnTo>
                  <a:lnTo>
                    <a:pt x="0" y="1348"/>
                  </a:lnTo>
                  <a:lnTo>
                    <a:pt x="0" y="1348"/>
                  </a:lnTo>
                  <a:lnTo>
                    <a:pt x="35" y="1486"/>
                  </a:lnTo>
                  <a:lnTo>
                    <a:pt x="69" y="1590"/>
                  </a:lnTo>
                  <a:lnTo>
                    <a:pt x="173" y="1624"/>
                  </a:lnTo>
                  <a:lnTo>
                    <a:pt x="311" y="1659"/>
                  </a:lnTo>
                  <a:lnTo>
                    <a:pt x="5218" y="1659"/>
                  </a:lnTo>
                  <a:lnTo>
                    <a:pt x="5218" y="1659"/>
                  </a:lnTo>
                  <a:lnTo>
                    <a:pt x="5322" y="1624"/>
                  </a:lnTo>
                  <a:lnTo>
                    <a:pt x="5426" y="1590"/>
                  </a:lnTo>
                  <a:lnTo>
                    <a:pt x="5495" y="1486"/>
                  </a:lnTo>
                  <a:lnTo>
                    <a:pt x="5495" y="1348"/>
                  </a:lnTo>
                  <a:lnTo>
                    <a:pt x="5495" y="311"/>
                  </a:lnTo>
                  <a:lnTo>
                    <a:pt x="5495" y="311"/>
                  </a:lnTo>
                  <a:lnTo>
                    <a:pt x="5495" y="207"/>
                  </a:lnTo>
                  <a:lnTo>
                    <a:pt x="5426" y="104"/>
                  </a:lnTo>
                  <a:lnTo>
                    <a:pt x="5322" y="35"/>
                  </a:lnTo>
                  <a:lnTo>
                    <a:pt x="5218"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5" name="Google Shape;14133;p81">
              <a:extLst>
                <a:ext uri="{FF2B5EF4-FFF2-40B4-BE49-F238E27FC236}">
                  <a16:creationId xmlns:a16="http://schemas.microsoft.com/office/drawing/2014/main" id="{63A5E4A9-9809-E957-4160-427075C42576}"/>
                </a:ext>
              </a:extLst>
            </p:cNvPr>
            <p:cNvSpPr/>
            <p:nvPr/>
          </p:nvSpPr>
          <p:spPr>
            <a:xfrm>
              <a:off x="2479575" y="3152075"/>
              <a:ext cx="228950" cy="151225"/>
            </a:xfrm>
            <a:custGeom>
              <a:avLst/>
              <a:gdLst/>
              <a:ahLst/>
              <a:cxnLst/>
              <a:rect l="l" t="t" r="r" b="b"/>
              <a:pathLst>
                <a:path w="9158" h="6049" extrusionOk="0">
                  <a:moveTo>
                    <a:pt x="208" y="1"/>
                  </a:moveTo>
                  <a:lnTo>
                    <a:pt x="104" y="35"/>
                  </a:lnTo>
                  <a:lnTo>
                    <a:pt x="35" y="70"/>
                  </a:lnTo>
                  <a:lnTo>
                    <a:pt x="0" y="139"/>
                  </a:lnTo>
                  <a:lnTo>
                    <a:pt x="0" y="208"/>
                  </a:lnTo>
                  <a:lnTo>
                    <a:pt x="0" y="312"/>
                  </a:lnTo>
                  <a:lnTo>
                    <a:pt x="35" y="381"/>
                  </a:lnTo>
                  <a:lnTo>
                    <a:pt x="104" y="415"/>
                  </a:lnTo>
                  <a:lnTo>
                    <a:pt x="5045" y="415"/>
                  </a:lnTo>
                  <a:lnTo>
                    <a:pt x="8778" y="5944"/>
                  </a:lnTo>
                  <a:lnTo>
                    <a:pt x="8881" y="6014"/>
                  </a:lnTo>
                  <a:lnTo>
                    <a:pt x="8950" y="6048"/>
                  </a:lnTo>
                  <a:lnTo>
                    <a:pt x="9089" y="6014"/>
                  </a:lnTo>
                  <a:lnTo>
                    <a:pt x="9158" y="5944"/>
                  </a:lnTo>
                  <a:lnTo>
                    <a:pt x="9158" y="5875"/>
                  </a:lnTo>
                  <a:lnTo>
                    <a:pt x="9158" y="5806"/>
                  </a:lnTo>
                  <a:lnTo>
                    <a:pt x="9158" y="5703"/>
                  </a:lnTo>
                  <a:lnTo>
                    <a:pt x="5356" y="104"/>
                  </a:lnTo>
                  <a:lnTo>
                    <a:pt x="5287" y="35"/>
                  </a:lnTo>
                  <a:lnTo>
                    <a:pt x="5184"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6" name="Google Shape;14134;p81">
              <a:extLst>
                <a:ext uri="{FF2B5EF4-FFF2-40B4-BE49-F238E27FC236}">
                  <a16:creationId xmlns:a16="http://schemas.microsoft.com/office/drawing/2014/main" id="{2E95FFBE-79E9-A952-78A1-5AD44A8E0910}"/>
                </a:ext>
              </a:extLst>
            </p:cNvPr>
            <p:cNvSpPr/>
            <p:nvPr/>
          </p:nvSpPr>
          <p:spPr>
            <a:xfrm>
              <a:off x="2011325" y="3137400"/>
              <a:ext cx="144300" cy="39750"/>
            </a:xfrm>
            <a:custGeom>
              <a:avLst/>
              <a:gdLst/>
              <a:ahLst/>
              <a:cxnLst/>
              <a:rect l="l" t="t" r="r" b="b"/>
              <a:pathLst>
                <a:path w="5772" h="1590" extrusionOk="0">
                  <a:moveTo>
                    <a:pt x="346" y="0"/>
                  </a:moveTo>
                  <a:lnTo>
                    <a:pt x="208" y="35"/>
                  </a:lnTo>
                  <a:lnTo>
                    <a:pt x="104" y="104"/>
                  </a:lnTo>
                  <a:lnTo>
                    <a:pt x="35" y="208"/>
                  </a:lnTo>
                  <a:lnTo>
                    <a:pt x="1" y="346"/>
                  </a:lnTo>
                  <a:lnTo>
                    <a:pt x="1" y="1279"/>
                  </a:lnTo>
                  <a:lnTo>
                    <a:pt x="35" y="1417"/>
                  </a:lnTo>
                  <a:lnTo>
                    <a:pt x="104" y="1521"/>
                  </a:lnTo>
                  <a:lnTo>
                    <a:pt x="208" y="1590"/>
                  </a:lnTo>
                  <a:lnTo>
                    <a:pt x="5564" y="1590"/>
                  </a:lnTo>
                  <a:lnTo>
                    <a:pt x="5668" y="1521"/>
                  </a:lnTo>
                  <a:lnTo>
                    <a:pt x="5737" y="1417"/>
                  </a:lnTo>
                  <a:lnTo>
                    <a:pt x="5772" y="1279"/>
                  </a:lnTo>
                  <a:lnTo>
                    <a:pt x="5772" y="346"/>
                  </a:lnTo>
                  <a:lnTo>
                    <a:pt x="5737" y="208"/>
                  </a:lnTo>
                  <a:lnTo>
                    <a:pt x="5668" y="104"/>
                  </a:lnTo>
                  <a:lnTo>
                    <a:pt x="5564" y="35"/>
                  </a:lnTo>
                  <a:lnTo>
                    <a:pt x="5461"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7" name="Google Shape;14135;p81">
              <a:extLst>
                <a:ext uri="{FF2B5EF4-FFF2-40B4-BE49-F238E27FC236}">
                  <a16:creationId xmlns:a16="http://schemas.microsoft.com/office/drawing/2014/main" id="{E7F0A755-B25B-96B0-14C1-5BABF5AA174E}"/>
                </a:ext>
              </a:extLst>
            </p:cNvPr>
            <p:cNvSpPr/>
            <p:nvPr/>
          </p:nvSpPr>
          <p:spPr>
            <a:xfrm>
              <a:off x="2011325" y="3137400"/>
              <a:ext cx="144300" cy="39750"/>
            </a:xfrm>
            <a:custGeom>
              <a:avLst/>
              <a:gdLst/>
              <a:ahLst/>
              <a:cxnLst/>
              <a:rect l="l" t="t" r="r" b="b"/>
              <a:pathLst>
                <a:path w="5772" h="1590" fill="none" extrusionOk="0">
                  <a:moveTo>
                    <a:pt x="5461" y="0"/>
                  </a:moveTo>
                  <a:lnTo>
                    <a:pt x="346" y="0"/>
                  </a:lnTo>
                  <a:lnTo>
                    <a:pt x="346" y="0"/>
                  </a:lnTo>
                  <a:lnTo>
                    <a:pt x="208" y="35"/>
                  </a:lnTo>
                  <a:lnTo>
                    <a:pt x="104" y="104"/>
                  </a:lnTo>
                  <a:lnTo>
                    <a:pt x="35" y="208"/>
                  </a:lnTo>
                  <a:lnTo>
                    <a:pt x="1" y="346"/>
                  </a:lnTo>
                  <a:lnTo>
                    <a:pt x="1" y="1279"/>
                  </a:lnTo>
                  <a:lnTo>
                    <a:pt x="1" y="1279"/>
                  </a:lnTo>
                  <a:lnTo>
                    <a:pt x="35" y="1417"/>
                  </a:lnTo>
                  <a:lnTo>
                    <a:pt x="104" y="1521"/>
                  </a:lnTo>
                  <a:lnTo>
                    <a:pt x="208" y="1590"/>
                  </a:lnTo>
                  <a:lnTo>
                    <a:pt x="346" y="1590"/>
                  </a:lnTo>
                  <a:lnTo>
                    <a:pt x="5461" y="1590"/>
                  </a:lnTo>
                  <a:lnTo>
                    <a:pt x="5461" y="1590"/>
                  </a:lnTo>
                  <a:lnTo>
                    <a:pt x="5564" y="1590"/>
                  </a:lnTo>
                  <a:lnTo>
                    <a:pt x="5668" y="1521"/>
                  </a:lnTo>
                  <a:lnTo>
                    <a:pt x="5737" y="1417"/>
                  </a:lnTo>
                  <a:lnTo>
                    <a:pt x="5772" y="1279"/>
                  </a:lnTo>
                  <a:lnTo>
                    <a:pt x="5772" y="346"/>
                  </a:lnTo>
                  <a:lnTo>
                    <a:pt x="5772" y="346"/>
                  </a:lnTo>
                  <a:lnTo>
                    <a:pt x="5737" y="208"/>
                  </a:lnTo>
                  <a:lnTo>
                    <a:pt x="5668" y="104"/>
                  </a:lnTo>
                  <a:lnTo>
                    <a:pt x="5564" y="35"/>
                  </a:lnTo>
                  <a:lnTo>
                    <a:pt x="546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8" name="Google Shape;14136;p81">
              <a:extLst>
                <a:ext uri="{FF2B5EF4-FFF2-40B4-BE49-F238E27FC236}">
                  <a16:creationId xmlns:a16="http://schemas.microsoft.com/office/drawing/2014/main" id="{11A1E395-2CED-E6D6-B400-6BD7320C834F}"/>
                </a:ext>
              </a:extLst>
            </p:cNvPr>
            <p:cNvSpPr/>
            <p:nvPr/>
          </p:nvSpPr>
          <p:spPr>
            <a:xfrm>
              <a:off x="2207425" y="3137400"/>
              <a:ext cx="132225" cy="39750"/>
            </a:xfrm>
            <a:custGeom>
              <a:avLst/>
              <a:gdLst/>
              <a:ahLst/>
              <a:cxnLst/>
              <a:rect l="l" t="t" r="r" b="b"/>
              <a:pathLst>
                <a:path w="5289" h="1590" extrusionOk="0">
                  <a:moveTo>
                    <a:pt x="277" y="0"/>
                  </a:moveTo>
                  <a:lnTo>
                    <a:pt x="174" y="35"/>
                  </a:lnTo>
                  <a:lnTo>
                    <a:pt x="70" y="104"/>
                  </a:lnTo>
                  <a:lnTo>
                    <a:pt x="1" y="173"/>
                  </a:lnTo>
                  <a:lnTo>
                    <a:pt x="1" y="311"/>
                  </a:lnTo>
                  <a:lnTo>
                    <a:pt x="1" y="1313"/>
                  </a:lnTo>
                  <a:lnTo>
                    <a:pt x="1" y="1417"/>
                  </a:lnTo>
                  <a:lnTo>
                    <a:pt x="70" y="1521"/>
                  </a:lnTo>
                  <a:lnTo>
                    <a:pt x="174" y="1590"/>
                  </a:lnTo>
                  <a:lnTo>
                    <a:pt x="5115" y="1590"/>
                  </a:lnTo>
                  <a:lnTo>
                    <a:pt x="5219" y="1521"/>
                  </a:lnTo>
                  <a:lnTo>
                    <a:pt x="5288" y="1417"/>
                  </a:lnTo>
                  <a:lnTo>
                    <a:pt x="5288" y="1313"/>
                  </a:lnTo>
                  <a:lnTo>
                    <a:pt x="5288" y="311"/>
                  </a:lnTo>
                  <a:lnTo>
                    <a:pt x="5288" y="173"/>
                  </a:lnTo>
                  <a:lnTo>
                    <a:pt x="5219" y="104"/>
                  </a:lnTo>
                  <a:lnTo>
                    <a:pt x="5115" y="35"/>
                  </a:lnTo>
                  <a:lnTo>
                    <a:pt x="5012"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9" name="Google Shape;14137;p81">
              <a:extLst>
                <a:ext uri="{FF2B5EF4-FFF2-40B4-BE49-F238E27FC236}">
                  <a16:creationId xmlns:a16="http://schemas.microsoft.com/office/drawing/2014/main" id="{14B9FCB1-4782-53D2-D9DD-159F769A9933}"/>
                </a:ext>
              </a:extLst>
            </p:cNvPr>
            <p:cNvSpPr/>
            <p:nvPr/>
          </p:nvSpPr>
          <p:spPr>
            <a:xfrm>
              <a:off x="2207425" y="3137400"/>
              <a:ext cx="132225" cy="39750"/>
            </a:xfrm>
            <a:custGeom>
              <a:avLst/>
              <a:gdLst/>
              <a:ahLst/>
              <a:cxnLst/>
              <a:rect l="l" t="t" r="r" b="b"/>
              <a:pathLst>
                <a:path w="5289" h="1590" fill="none" extrusionOk="0">
                  <a:moveTo>
                    <a:pt x="5012" y="0"/>
                  </a:moveTo>
                  <a:lnTo>
                    <a:pt x="277" y="0"/>
                  </a:lnTo>
                  <a:lnTo>
                    <a:pt x="277" y="0"/>
                  </a:lnTo>
                  <a:lnTo>
                    <a:pt x="174" y="35"/>
                  </a:lnTo>
                  <a:lnTo>
                    <a:pt x="70" y="104"/>
                  </a:lnTo>
                  <a:lnTo>
                    <a:pt x="1" y="173"/>
                  </a:lnTo>
                  <a:lnTo>
                    <a:pt x="1" y="311"/>
                  </a:lnTo>
                  <a:lnTo>
                    <a:pt x="1" y="1313"/>
                  </a:lnTo>
                  <a:lnTo>
                    <a:pt x="1" y="1313"/>
                  </a:lnTo>
                  <a:lnTo>
                    <a:pt x="1" y="1417"/>
                  </a:lnTo>
                  <a:lnTo>
                    <a:pt x="70" y="1521"/>
                  </a:lnTo>
                  <a:lnTo>
                    <a:pt x="174" y="1590"/>
                  </a:lnTo>
                  <a:lnTo>
                    <a:pt x="277" y="1590"/>
                  </a:lnTo>
                  <a:lnTo>
                    <a:pt x="5012" y="1590"/>
                  </a:lnTo>
                  <a:lnTo>
                    <a:pt x="5012" y="1590"/>
                  </a:lnTo>
                  <a:lnTo>
                    <a:pt x="5115" y="1590"/>
                  </a:lnTo>
                  <a:lnTo>
                    <a:pt x="5219" y="1521"/>
                  </a:lnTo>
                  <a:lnTo>
                    <a:pt x="5288" y="1417"/>
                  </a:lnTo>
                  <a:lnTo>
                    <a:pt x="5288" y="1313"/>
                  </a:lnTo>
                  <a:lnTo>
                    <a:pt x="5288" y="311"/>
                  </a:lnTo>
                  <a:lnTo>
                    <a:pt x="5288" y="311"/>
                  </a:lnTo>
                  <a:lnTo>
                    <a:pt x="5288" y="173"/>
                  </a:lnTo>
                  <a:lnTo>
                    <a:pt x="5219" y="104"/>
                  </a:lnTo>
                  <a:lnTo>
                    <a:pt x="5115" y="35"/>
                  </a:lnTo>
                  <a:lnTo>
                    <a:pt x="5012"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0" name="Google Shape;14138;p81">
              <a:extLst>
                <a:ext uri="{FF2B5EF4-FFF2-40B4-BE49-F238E27FC236}">
                  <a16:creationId xmlns:a16="http://schemas.microsoft.com/office/drawing/2014/main" id="{E007C323-C525-B063-C46F-1417E859B0F4}"/>
                </a:ext>
              </a:extLst>
            </p:cNvPr>
            <p:cNvSpPr/>
            <p:nvPr/>
          </p:nvSpPr>
          <p:spPr>
            <a:xfrm>
              <a:off x="2354300" y="3137400"/>
              <a:ext cx="82950" cy="39750"/>
            </a:xfrm>
            <a:custGeom>
              <a:avLst/>
              <a:gdLst/>
              <a:ahLst/>
              <a:cxnLst/>
              <a:rect l="l" t="t" r="r" b="b"/>
              <a:pathLst>
                <a:path w="3318" h="1590" extrusionOk="0">
                  <a:moveTo>
                    <a:pt x="312" y="0"/>
                  </a:moveTo>
                  <a:lnTo>
                    <a:pt x="173" y="35"/>
                  </a:lnTo>
                  <a:lnTo>
                    <a:pt x="104" y="104"/>
                  </a:lnTo>
                  <a:lnTo>
                    <a:pt x="35" y="173"/>
                  </a:lnTo>
                  <a:lnTo>
                    <a:pt x="1" y="311"/>
                  </a:lnTo>
                  <a:lnTo>
                    <a:pt x="1" y="1313"/>
                  </a:lnTo>
                  <a:lnTo>
                    <a:pt x="35" y="1417"/>
                  </a:lnTo>
                  <a:lnTo>
                    <a:pt x="104" y="1521"/>
                  </a:lnTo>
                  <a:lnTo>
                    <a:pt x="173" y="1590"/>
                  </a:lnTo>
                  <a:lnTo>
                    <a:pt x="3111" y="1590"/>
                  </a:lnTo>
                  <a:lnTo>
                    <a:pt x="3214" y="1521"/>
                  </a:lnTo>
                  <a:lnTo>
                    <a:pt x="3283" y="1417"/>
                  </a:lnTo>
                  <a:lnTo>
                    <a:pt x="3318" y="1313"/>
                  </a:lnTo>
                  <a:lnTo>
                    <a:pt x="3318" y="311"/>
                  </a:lnTo>
                  <a:lnTo>
                    <a:pt x="3283" y="173"/>
                  </a:lnTo>
                  <a:lnTo>
                    <a:pt x="3214" y="104"/>
                  </a:lnTo>
                  <a:lnTo>
                    <a:pt x="3111" y="35"/>
                  </a:lnTo>
                  <a:lnTo>
                    <a:pt x="3007"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1" name="Google Shape;14139;p81">
              <a:extLst>
                <a:ext uri="{FF2B5EF4-FFF2-40B4-BE49-F238E27FC236}">
                  <a16:creationId xmlns:a16="http://schemas.microsoft.com/office/drawing/2014/main" id="{B2F08024-B37A-0DA7-3D46-F28932B615D4}"/>
                </a:ext>
              </a:extLst>
            </p:cNvPr>
            <p:cNvSpPr/>
            <p:nvPr/>
          </p:nvSpPr>
          <p:spPr>
            <a:xfrm>
              <a:off x="2354300" y="3137400"/>
              <a:ext cx="82950" cy="39750"/>
            </a:xfrm>
            <a:custGeom>
              <a:avLst/>
              <a:gdLst/>
              <a:ahLst/>
              <a:cxnLst/>
              <a:rect l="l" t="t" r="r" b="b"/>
              <a:pathLst>
                <a:path w="3318" h="1590" fill="none" extrusionOk="0">
                  <a:moveTo>
                    <a:pt x="3007" y="0"/>
                  </a:moveTo>
                  <a:lnTo>
                    <a:pt x="312" y="0"/>
                  </a:lnTo>
                  <a:lnTo>
                    <a:pt x="312" y="0"/>
                  </a:lnTo>
                  <a:lnTo>
                    <a:pt x="173" y="35"/>
                  </a:lnTo>
                  <a:lnTo>
                    <a:pt x="104" y="104"/>
                  </a:lnTo>
                  <a:lnTo>
                    <a:pt x="35" y="173"/>
                  </a:lnTo>
                  <a:lnTo>
                    <a:pt x="1" y="311"/>
                  </a:lnTo>
                  <a:lnTo>
                    <a:pt x="1" y="1313"/>
                  </a:lnTo>
                  <a:lnTo>
                    <a:pt x="1" y="1313"/>
                  </a:lnTo>
                  <a:lnTo>
                    <a:pt x="35" y="1417"/>
                  </a:lnTo>
                  <a:lnTo>
                    <a:pt x="104" y="1521"/>
                  </a:lnTo>
                  <a:lnTo>
                    <a:pt x="173" y="1590"/>
                  </a:lnTo>
                  <a:lnTo>
                    <a:pt x="312" y="1590"/>
                  </a:lnTo>
                  <a:lnTo>
                    <a:pt x="3007" y="1590"/>
                  </a:lnTo>
                  <a:lnTo>
                    <a:pt x="3007" y="1590"/>
                  </a:lnTo>
                  <a:lnTo>
                    <a:pt x="3111" y="1590"/>
                  </a:lnTo>
                  <a:lnTo>
                    <a:pt x="3214" y="1521"/>
                  </a:lnTo>
                  <a:lnTo>
                    <a:pt x="3283" y="1417"/>
                  </a:lnTo>
                  <a:lnTo>
                    <a:pt x="3318" y="1313"/>
                  </a:lnTo>
                  <a:lnTo>
                    <a:pt x="3318" y="311"/>
                  </a:lnTo>
                  <a:lnTo>
                    <a:pt x="3318" y="311"/>
                  </a:lnTo>
                  <a:lnTo>
                    <a:pt x="3283" y="173"/>
                  </a:lnTo>
                  <a:lnTo>
                    <a:pt x="3214" y="104"/>
                  </a:lnTo>
                  <a:lnTo>
                    <a:pt x="3111" y="35"/>
                  </a:lnTo>
                  <a:lnTo>
                    <a:pt x="3007"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2" name="Google Shape;14140;p81">
              <a:extLst>
                <a:ext uri="{FF2B5EF4-FFF2-40B4-BE49-F238E27FC236}">
                  <a16:creationId xmlns:a16="http://schemas.microsoft.com/office/drawing/2014/main" id="{5AA8740E-6EB1-99B6-2A53-D47D6149E1C8}"/>
                </a:ext>
              </a:extLst>
            </p:cNvPr>
            <p:cNvSpPr/>
            <p:nvPr/>
          </p:nvSpPr>
          <p:spPr>
            <a:xfrm>
              <a:off x="3341750" y="3169350"/>
              <a:ext cx="82950" cy="254875"/>
            </a:xfrm>
            <a:custGeom>
              <a:avLst/>
              <a:gdLst/>
              <a:ahLst/>
              <a:cxnLst/>
              <a:rect l="l" t="t" r="r" b="b"/>
              <a:pathLst>
                <a:path w="3318" h="10195" extrusionOk="0">
                  <a:moveTo>
                    <a:pt x="208" y="1"/>
                  </a:moveTo>
                  <a:lnTo>
                    <a:pt x="139" y="35"/>
                  </a:lnTo>
                  <a:lnTo>
                    <a:pt x="70" y="70"/>
                  </a:lnTo>
                  <a:lnTo>
                    <a:pt x="35" y="139"/>
                  </a:lnTo>
                  <a:lnTo>
                    <a:pt x="0" y="243"/>
                  </a:lnTo>
                  <a:lnTo>
                    <a:pt x="70" y="3145"/>
                  </a:lnTo>
                  <a:lnTo>
                    <a:pt x="173" y="6325"/>
                  </a:lnTo>
                  <a:lnTo>
                    <a:pt x="277" y="9988"/>
                  </a:lnTo>
                  <a:lnTo>
                    <a:pt x="311" y="10057"/>
                  </a:lnTo>
                  <a:lnTo>
                    <a:pt x="346" y="10126"/>
                  </a:lnTo>
                  <a:lnTo>
                    <a:pt x="415" y="10160"/>
                  </a:lnTo>
                  <a:lnTo>
                    <a:pt x="519" y="10195"/>
                  </a:lnTo>
                  <a:lnTo>
                    <a:pt x="3111" y="10195"/>
                  </a:lnTo>
                  <a:lnTo>
                    <a:pt x="3180" y="10160"/>
                  </a:lnTo>
                  <a:lnTo>
                    <a:pt x="3249" y="10126"/>
                  </a:lnTo>
                  <a:lnTo>
                    <a:pt x="3318" y="10057"/>
                  </a:lnTo>
                  <a:lnTo>
                    <a:pt x="3318" y="9953"/>
                  </a:lnTo>
                  <a:lnTo>
                    <a:pt x="3318" y="9884"/>
                  </a:lnTo>
                  <a:lnTo>
                    <a:pt x="3249" y="9815"/>
                  </a:lnTo>
                  <a:lnTo>
                    <a:pt x="3180" y="9780"/>
                  </a:lnTo>
                  <a:lnTo>
                    <a:pt x="3111" y="9746"/>
                  </a:lnTo>
                  <a:lnTo>
                    <a:pt x="692" y="9746"/>
                  </a:lnTo>
                  <a:lnTo>
                    <a:pt x="588" y="5703"/>
                  </a:lnTo>
                  <a:lnTo>
                    <a:pt x="450" y="208"/>
                  </a:lnTo>
                  <a:lnTo>
                    <a:pt x="415" y="139"/>
                  </a:lnTo>
                  <a:lnTo>
                    <a:pt x="381" y="70"/>
                  </a:lnTo>
                  <a:lnTo>
                    <a:pt x="311" y="35"/>
                  </a:lnTo>
                  <a:lnTo>
                    <a:pt x="208"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3" name="Google Shape;14141;p81">
              <a:extLst>
                <a:ext uri="{FF2B5EF4-FFF2-40B4-BE49-F238E27FC236}">
                  <a16:creationId xmlns:a16="http://schemas.microsoft.com/office/drawing/2014/main" id="{E9490AC5-B180-9519-8FF9-683BBACA0087}"/>
                </a:ext>
              </a:extLst>
            </p:cNvPr>
            <p:cNvSpPr/>
            <p:nvPr/>
          </p:nvSpPr>
          <p:spPr>
            <a:xfrm>
              <a:off x="3703725" y="3394850"/>
              <a:ext cx="141700" cy="43200"/>
            </a:xfrm>
            <a:custGeom>
              <a:avLst/>
              <a:gdLst/>
              <a:ahLst/>
              <a:cxnLst/>
              <a:rect l="l" t="t" r="r" b="b"/>
              <a:pathLst>
                <a:path w="5668" h="1728" extrusionOk="0">
                  <a:moveTo>
                    <a:pt x="242" y="0"/>
                  </a:moveTo>
                  <a:lnTo>
                    <a:pt x="104" y="104"/>
                  </a:lnTo>
                  <a:lnTo>
                    <a:pt x="35" y="207"/>
                  </a:lnTo>
                  <a:lnTo>
                    <a:pt x="1" y="346"/>
                  </a:lnTo>
                  <a:lnTo>
                    <a:pt x="1" y="1348"/>
                  </a:lnTo>
                  <a:lnTo>
                    <a:pt x="35" y="1486"/>
                  </a:lnTo>
                  <a:lnTo>
                    <a:pt x="104" y="1624"/>
                  </a:lnTo>
                  <a:lnTo>
                    <a:pt x="242" y="1693"/>
                  </a:lnTo>
                  <a:lnTo>
                    <a:pt x="381" y="1728"/>
                  </a:lnTo>
                  <a:lnTo>
                    <a:pt x="5668" y="1728"/>
                  </a:lnTo>
                  <a:lnTo>
                    <a:pt x="5322" y="1313"/>
                  </a:lnTo>
                  <a:lnTo>
                    <a:pt x="5011" y="899"/>
                  </a:lnTo>
                  <a:lnTo>
                    <a:pt x="4424"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4" name="Google Shape;14142;p81">
              <a:extLst>
                <a:ext uri="{FF2B5EF4-FFF2-40B4-BE49-F238E27FC236}">
                  <a16:creationId xmlns:a16="http://schemas.microsoft.com/office/drawing/2014/main" id="{55C1F4E7-FCB3-A1F3-5C3D-FE2451E64BE4}"/>
                </a:ext>
              </a:extLst>
            </p:cNvPr>
            <p:cNvSpPr/>
            <p:nvPr/>
          </p:nvSpPr>
          <p:spPr>
            <a:xfrm>
              <a:off x="3703725" y="3394850"/>
              <a:ext cx="141700" cy="43200"/>
            </a:xfrm>
            <a:custGeom>
              <a:avLst/>
              <a:gdLst/>
              <a:ahLst/>
              <a:cxnLst/>
              <a:rect l="l" t="t" r="r" b="b"/>
              <a:pathLst>
                <a:path w="5668" h="1728" fill="none" extrusionOk="0">
                  <a:moveTo>
                    <a:pt x="4424" y="0"/>
                  </a:moveTo>
                  <a:lnTo>
                    <a:pt x="381" y="0"/>
                  </a:lnTo>
                  <a:lnTo>
                    <a:pt x="381" y="0"/>
                  </a:lnTo>
                  <a:lnTo>
                    <a:pt x="242" y="0"/>
                  </a:lnTo>
                  <a:lnTo>
                    <a:pt x="104" y="104"/>
                  </a:lnTo>
                  <a:lnTo>
                    <a:pt x="35" y="207"/>
                  </a:lnTo>
                  <a:lnTo>
                    <a:pt x="1" y="346"/>
                  </a:lnTo>
                  <a:lnTo>
                    <a:pt x="1" y="1348"/>
                  </a:lnTo>
                  <a:lnTo>
                    <a:pt x="1" y="1348"/>
                  </a:lnTo>
                  <a:lnTo>
                    <a:pt x="35" y="1486"/>
                  </a:lnTo>
                  <a:lnTo>
                    <a:pt x="104" y="1624"/>
                  </a:lnTo>
                  <a:lnTo>
                    <a:pt x="242" y="1693"/>
                  </a:lnTo>
                  <a:lnTo>
                    <a:pt x="381" y="1728"/>
                  </a:lnTo>
                  <a:lnTo>
                    <a:pt x="5668" y="1728"/>
                  </a:lnTo>
                  <a:lnTo>
                    <a:pt x="5668" y="1728"/>
                  </a:lnTo>
                  <a:lnTo>
                    <a:pt x="5322" y="1313"/>
                  </a:lnTo>
                  <a:lnTo>
                    <a:pt x="5011" y="899"/>
                  </a:lnTo>
                  <a:lnTo>
                    <a:pt x="4424"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5" name="Google Shape;14143;p81">
              <a:extLst>
                <a:ext uri="{FF2B5EF4-FFF2-40B4-BE49-F238E27FC236}">
                  <a16:creationId xmlns:a16="http://schemas.microsoft.com/office/drawing/2014/main" id="{AA6F2D4A-4174-7BDB-CC80-0D46B8F0A0E4}"/>
                </a:ext>
              </a:extLst>
            </p:cNvPr>
            <p:cNvSpPr/>
            <p:nvPr/>
          </p:nvSpPr>
          <p:spPr>
            <a:xfrm>
              <a:off x="3470475" y="3394850"/>
              <a:ext cx="95050" cy="43200"/>
            </a:xfrm>
            <a:custGeom>
              <a:avLst/>
              <a:gdLst/>
              <a:ahLst/>
              <a:cxnLst/>
              <a:rect l="l" t="t" r="r" b="b"/>
              <a:pathLst>
                <a:path w="3802" h="1728" extrusionOk="0">
                  <a:moveTo>
                    <a:pt x="104" y="0"/>
                  </a:moveTo>
                  <a:lnTo>
                    <a:pt x="35" y="69"/>
                  </a:lnTo>
                  <a:lnTo>
                    <a:pt x="0" y="173"/>
                  </a:lnTo>
                  <a:lnTo>
                    <a:pt x="0" y="311"/>
                  </a:lnTo>
                  <a:lnTo>
                    <a:pt x="0" y="1417"/>
                  </a:lnTo>
                  <a:lnTo>
                    <a:pt x="0" y="1521"/>
                  </a:lnTo>
                  <a:lnTo>
                    <a:pt x="35" y="1624"/>
                  </a:lnTo>
                  <a:lnTo>
                    <a:pt x="104" y="1693"/>
                  </a:lnTo>
                  <a:lnTo>
                    <a:pt x="208" y="1728"/>
                  </a:lnTo>
                  <a:lnTo>
                    <a:pt x="3594" y="1728"/>
                  </a:lnTo>
                  <a:lnTo>
                    <a:pt x="3663" y="1693"/>
                  </a:lnTo>
                  <a:lnTo>
                    <a:pt x="3732" y="1624"/>
                  </a:lnTo>
                  <a:lnTo>
                    <a:pt x="3802" y="1521"/>
                  </a:lnTo>
                  <a:lnTo>
                    <a:pt x="3802" y="1417"/>
                  </a:lnTo>
                  <a:lnTo>
                    <a:pt x="3802" y="311"/>
                  </a:lnTo>
                  <a:lnTo>
                    <a:pt x="3802" y="173"/>
                  </a:lnTo>
                  <a:lnTo>
                    <a:pt x="3732" y="69"/>
                  </a:lnTo>
                  <a:lnTo>
                    <a:pt x="3663"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6" name="Google Shape;14144;p81">
              <a:extLst>
                <a:ext uri="{FF2B5EF4-FFF2-40B4-BE49-F238E27FC236}">
                  <a16:creationId xmlns:a16="http://schemas.microsoft.com/office/drawing/2014/main" id="{60512F77-42D6-A28B-17E1-B35D67C4CC49}"/>
                </a:ext>
              </a:extLst>
            </p:cNvPr>
            <p:cNvSpPr/>
            <p:nvPr/>
          </p:nvSpPr>
          <p:spPr>
            <a:xfrm>
              <a:off x="3470475" y="3394850"/>
              <a:ext cx="95050" cy="43200"/>
            </a:xfrm>
            <a:custGeom>
              <a:avLst/>
              <a:gdLst/>
              <a:ahLst/>
              <a:cxnLst/>
              <a:rect l="l" t="t" r="r" b="b"/>
              <a:pathLst>
                <a:path w="3802" h="1728" fill="none" extrusionOk="0">
                  <a:moveTo>
                    <a:pt x="3594" y="0"/>
                  </a:moveTo>
                  <a:lnTo>
                    <a:pt x="208" y="0"/>
                  </a:lnTo>
                  <a:lnTo>
                    <a:pt x="208" y="0"/>
                  </a:lnTo>
                  <a:lnTo>
                    <a:pt x="104" y="0"/>
                  </a:lnTo>
                  <a:lnTo>
                    <a:pt x="35" y="69"/>
                  </a:lnTo>
                  <a:lnTo>
                    <a:pt x="0" y="173"/>
                  </a:lnTo>
                  <a:lnTo>
                    <a:pt x="0" y="311"/>
                  </a:lnTo>
                  <a:lnTo>
                    <a:pt x="0" y="1417"/>
                  </a:lnTo>
                  <a:lnTo>
                    <a:pt x="0" y="1417"/>
                  </a:lnTo>
                  <a:lnTo>
                    <a:pt x="0" y="1521"/>
                  </a:lnTo>
                  <a:lnTo>
                    <a:pt x="35" y="1624"/>
                  </a:lnTo>
                  <a:lnTo>
                    <a:pt x="104" y="1693"/>
                  </a:lnTo>
                  <a:lnTo>
                    <a:pt x="208" y="1728"/>
                  </a:lnTo>
                  <a:lnTo>
                    <a:pt x="3594" y="1728"/>
                  </a:lnTo>
                  <a:lnTo>
                    <a:pt x="3594" y="1728"/>
                  </a:lnTo>
                  <a:lnTo>
                    <a:pt x="3663" y="1693"/>
                  </a:lnTo>
                  <a:lnTo>
                    <a:pt x="3732" y="1624"/>
                  </a:lnTo>
                  <a:lnTo>
                    <a:pt x="3802" y="1521"/>
                  </a:lnTo>
                  <a:lnTo>
                    <a:pt x="3802" y="1417"/>
                  </a:lnTo>
                  <a:lnTo>
                    <a:pt x="3802" y="311"/>
                  </a:lnTo>
                  <a:lnTo>
                    <a:pt x="3802" y="311"/>
                  </a:lnTo>
                  <a:lnTo>
                    <a:pt x="3802" y="173"/>
                  </a:lnTo>
                  <a:lnTo>
                    <a:pt x="3732" y="69"/>
                  </a:lnTo>
                  <a:lnTo>
                    <a:pt x="3663" y="0"/>
                  </a:lnTo>
                  <a:lnTo>
                    <a:pt x="3594"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7" name="Google Shape;14145;p81">
              <a:extLst>
                <a:ext uri="{FF2B5EF4-FFF2-40B4-BE49-F238E27FC236}">
                  <a16:creationId xmlns:a16="http://schemas.microsoft.com/office/drawing/2014/main" id="{3C819D1A-92EB-9390-90C9-EF3FF78BF569}"/>
                </a:ext>
              </a:extLst>
            </p:cNvPr>
            <p:cNvSpPr/>
            <p:nvPr/>
          </p:nvSpPr>
          <p:spPr>
            <a:xfrm>
              <a:off x="3585375" y="3394850"/>
              <a:ext cx="89875" cy="43200"/>
            </a:xfrm>
            <a:custGeom>
              <a:avLst/>
              <a:gdLst/>
              <a:ahLst/>
              <a:cxnLst/>
              <a:rect l="l" t="t" r="r" b="b"/>
              <a:pathLst>
                <a:path w="3595" h="1728" extrusionOk="0">
                  <a:moveTo>
                    <a:pt x="208" y="0"/>
                  </a:moveTo>
                  <a:lnTo>
                    <a:pt x="104" y="69"/>
                  </a:lnTo>
                  <a:lnTo>
                    <a:pt x="35" y="173"/>
                  </a:lnTo>
                  <a:lnTo>
                    <a:pt x="0" y="311"/>
                  </a:lnTo>
                  <a:lnTo>
                    <a:pt x="0" y="1382"/>
                  </a:lnTo>
                  <a:lnTo>
                    <a:pt x="35" y="1521"/>
                  </a:lnTo>
                  <a:lnTo>
                    <a:pt x="104" y="1624"/>
                  </a:lnTo>
                  <a:lnTo>
                    <a:pt x="208" y="1693"/>
                  </a:lnTo>
                  <a:lnTo>
                    <a:pt x="311" y="1728"/>
                  </a:lnTo>
                  <a:lnTo>
                    <a:pt x="3249" y="1728"/>
                  </a:lnTo>
                  <a:lnTo>
                    <a:pt x="3387" y="1693"/>
                  </a:lnTo>
                  <a:lnTo>
                    <a:pt x="3491" y="1624"/>
                  </a:lnTo>
                  <a:lnTo>
                    <a:pt x="3560" y="1521"/>
                  </a:lnTo>
                  <a:lnTo>
                    <a:pt x="3594" y="1382"/>
                  </a:lnTo>
                  <a:lnTo>
                    <a:pt x="3594" y="311"/>
                  </a:lnTo>
                  <a:lnTo>
                    <a:pt x="3560" y="173"/>
                  </a:lnTo>
                  <a:lnTo>
                    <a:pt x="3491" y="69"/>
                  </a:lnTo>
                  <a:lnTo>
                    <a:pt x="3387"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8" name="Google Shape;14146;p81">
              <a:extLst>
                <a:ext uri="{FF2B5EF4-FFF2-40B4-BE49-F238E27FC236}">
                  <a16:creationId xmlns:a16="http://schemas.microsoft.com/office/drawing/2014/main" id="{21D66B97-C04C-0D61-C948-ABD457B3B26A}"/>
                </a:ext>
              </a:extLst>
            </p:cNvPr>
            <p:cNvSpPr/>
            <p:nvPr/>
          </p:nvSpPr>
          <p:spPr>
            <a:xfrm>
              <a:off x="3585375" y="3394850"/>
              <a:ext cx="89875" cy="43200"/>
            </a:xfrm>
            <a:custGeom>
              <a:avLst/>
              <a:gdLst/>
              <a:ahLst/>
              <a:cxnLst/>
              <a:rect l="l" t="t" r="r" b="b"/>
              <a:pathLst>
                <a:path w="3595" h="1728" fill="none" extrusionOk="0">
                  <a:moveTo>
                    <a:pt x="3249" y="0"/>
                  </a:moveTo>
                  <a:lnTo>
                    <a:pt x="311" y="0"/>
                  </a:lnTo>
                  <a:lnTo>
                    <a:pt x="311" y="0"/>
                  </a:lnTo>
                  <a:lnTo>
                    <a:pt x="208" y="0"/>
                  </a:lnTo>
                  <a:lnTo>
                    <a:pt x="104" y="69"/>
                  </a:lnTo>
                  <a:lnTo>
                    <a:pt x="35" y="173"/>
                  </a:lnTo>
                  <a:lnTo>
                    <a:pt x="0" y="311"/>
                  </a:lnTo>
                  <a:lnTo>
                    <a:pt x="0" y="1382"/>
                  </a:lnTo>
                  <a:lnTo>
                    <a:pt x="0" y="1382"/>
                  </a:lnTo>
                  <a:lnTo>
                    <a:pt x="35" y="1521"/>
                  </a:lnTo>
                  <a:lnTo>
                    <a:pt x="104" y="1624"/>
                  </a:lnTo>
                  <a:lnTo>
                    <a:pt x="208" y="1693"/>
                  </a:lnTo>
                  <a:lnTo>
                    <a:pt x="311" y="1728"/>
                  </a:lnTo>
                  <a:lnTo>
                    <a:pt x="3249" y="1728"/>
                  </a:lnTo>
                  <a:lnTo>
                    <a:pt x="3249" y="1728"/>
                  </a:lnTo>
                  <a:lnTo>
                    <a:pt x="3387" y="1693"/>
                  </a:lnTo>
                  <a:lnTo>
                    <a:pt x="3491" y="1624"/>
                  </a:lnTo>
                  <a:lnTo>
                    <a:pt x="3560" y="1521"/>
                  </a:lnTo>
                  <a:lnTo>
                    <a:pt x="3594" y="1382"/>
                  </a:lnTo>
                  <a:lnTo>
                    <a:pt x="3594" y="311"/>
                  </a:lnTo>
                  <a:lnTo>
                    <a:pt x="3594" y="311"/>
                  </a:lnTo>
                  <a:lnTo>
                    <a:pt x="3560" y="173"/>
                  </a:lnTo>
                  <a:lnTo>
                    <a:pt x="3491" y="69"/>
                  </a:lnTo>
                  <a:lnTo>
                    <a:pt x="3387" y="0"/>
                  </a:lnTo>
                  <a:lnTo>
                    <a:pt x="3249"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9" name="Google Shape;14147;p81">
              <a:extLst>
                <a:ext uri="{FF2B5EF4-FFF2-40B4-BE49-F238E27FC236}">
                  <a16:creationId xmlns:a16="http://schemas.microsoft.com/office/drawing/2014/main" id="{30D031F7-A8A9-99BC-047E-78EC4F63B4D2}"/>
                </a:ext>
              </a:extLst>
            </p:cNvPr>
            <p:cNvSpPr/>
            <p:nvPr/>
          </p:nvSpPr>
          <p:spPr>
            <a:xfrm>
              <a:off x="2139175" y="3630675"/>
              <a:ext cx="415575" cy="415575"/>
            </a:xfrm>
            <a:custGeom>
              <a:avLst/>
              <a:gdLst/>
              <a:ahLst/>
              <a:cxnLst/>
              <a:rect l="l" t="t" r="r" b="b"/>
              <a:pathLst>
                <a:path w="16623" h="16623" extrusionOk="0">
                  <a:moveTo>
                    <a:pt x="8294" y="2489"/>
                  </a:moveTo>
                  <a:lnTo>
                    <a:pt x="8882" y="2524"/>
                  </a:lnTo>
                  <a:lnTo>
                    <a:pt x="9469" y="2627"/>
                  </a:lnTo>
                  <a:lnTo>
                    <a:pt x="10022" y="2765"/>
                  </a:lnTo>
                  <a:lnTo>
                    <a:pt x="10575" y="2973"/>
                  </a:lnTo>
                  <a:lnTo>
                    <a:pt x="11059" y="3215"/>
                  </a:lnTo>
                  <a:lnTo>
                    <a:pt x="11543" y="3491"/>
                  </a:lnTo>
                  <a:lnTo>
                    <a:pt x="11992" y="3837"/>
                  </a:lnTo>
                  <a:lnTo>
                    <a:pt x="12407" y="4217"/>
                  </a:lnTo>
                  <a:lnTo>
                    <a:pt x="12787" y="4632"/>
                  </a:lnTo>
                  <a:lnTo>
                    <a:pt x="13132" y="5081"/>
                  </a:lnTo>
                  <a:lnTo>
                    <a:pt x="13409" y="5565"/>
                  </a:lnTo>
                  <a:lnTo>
                    <a:pt x="13651" y="6048"/>
                  </a:lnTo>
                  <a:lnTo>
                    <a:pt x="13858" y="6601"/>
                  </a:lnTo>
                  <a:lnTo>
                    <a:pt x="13996" y="7154"/>
                  </a:lnTo>
                  <a:lnTo>
                    <a:pt x="14065" y="7707"/>
                  </a:lnTo>
                  <a:lnTo>
                    <a:pt x="14100" y="8329"/>
                  </a:lnTo>
                  <a:lnTo>
                    <a:pt x="14065" y="8917"/>
                  </a:lnTo>
                  <a:lnTo>
                    <a:pt x="13996" y="9469"/>
                  </a:lnTo>
                  <a:lnTo>
                    <a:pt x="13858" y="10057"/>
                  </a:lnTo>
                  <a:lnTo>
                    <a:pt x="13651" y="10575"/>
                  </a:lnTo>
                  <a:lnTo>
                    <a:pt x="13409" y="11094"/>
                  </a:lnTo>
                  <a:lnTo>
                    <a:pt x="13132" y="11577"/>
                  </a:lnTo>
                  <a:lnTo>
                    <a:pt x="12787" y="11992"/>
                  </a:lnTo>
                  <a:lnTo>
                    <a:pt x="12407" y="12407"/>
                  </a:lnTo>
                  <a:lnTo>
                    <a:pt x="11992" y="12787"/>
                  </a:lnTo>
                  <a:lnTo>
                    <a:pt x="11543" y="13132"/>
                  </a:lnTo>
                  <a:lnTo>
                    <a:pt x="11059" y="13409"/>
                  </a:lnTo>
                  <a:lnTo>
                    <a:pt x="10575" y="13651"/>
                  </a:lnTo>
                  <a:lnTo>
                    <a:pt x="10022" y="13858"/>
                  </a:lnTo>
                  <a:lnTo>
                    <a:pt x="9469" y="13996"/>
                  </a:lnTo>
                  <a:lnTo>
                    <a:pt x="8882" y="14100"/>
                  </a:lnTo>
                  <a:lnTo>
                    <a:pt x="8294" y="14135"/>
                  </a:lnTo>
                  <a:lnTo>
                    <a:pt x="7707" y="14100"/>
                  </a:lnTo>
                  <a:lnTo>
                    <a:pt x="7120" y="13996"/>
                  </a:lnTo>
                  <a:lnTo>
                    <a:pt x="6567" y="13858"/>
                  </a:lnTo>
                  <a:lnTo>
                    <a:pt x="6048" y="13651"/>
                  </a:lnTo>
                  <a:lnTo>
                    <a:pt x="5530" y="13409"/>
                  </a:lnTo>
                  <a:lnTo>
                    <a:pt x="5046" y="13132"/>
                  </a:lnTo>
                  <a:lnTo>
                    <a:pt x="4597" y="12787"/>
                  </a:lnTo>
                  <a:lnTo>
                    <a:pt x="4182" y="12407"/>
                  </a:lnTo>
                  <a:lnTo>
                    <a:pt x="3837" y="11992"/>
                  </a:lnTo>
                  <a:lnTo>
                    <a:pt x="3491" y="11577"/>
                  </a:lnTo>
                  <a:lnTo>
                    <a:pt x="3180" y="11094"/>
                  </a:lnTo>
                  <a:lnTo>
                    <a:pt x="2938" y="10575"/>
                  </a:lnTo>
                  <a:lnTo>
                    <a:pt x="2765" y="10057"/>
                  </a:lnTo>
                  <a:lnTo>
                    <a:pt x="2627" y="9469"/>
                  </a:lnTo>
                  <a:lnTo>
                    <a:pt x="2524" y="8917"/>
                  </a:lnTo>
                  <a:lnTo>
                    <a:pt x="2489" y="8329"/>
                  </a:lnTo>
                  <a:lnTo>
                    <a:pt x="2524" y="7707"/>
                  </a:lnTo>
                  <a:lnTo>
                    <a:pt x="2627" y="7154"/>
                  </a:lnTo>
                  <a:lnTo>
                    <a:pt x="2765" y="6601"/>
                  </a:lnTo>
                  <a:lnTo>
                    <a:pt x="2938" y="6048"/>
                  </a:lnTo>
                  <a:lnTo>
                    <a:pt x="3180" y="5565"/>
                  </a:lnTo>
                  <a:lnTo>
                    <a:pt x="3491" y="5081"/>
                  </a:lnTo>
                  <a:lnTo>
                    <a:pt x="3837" y="4632"/>
                  </a:lnTo>
                  <a:lnTo>
                    <a:pt x="4182" y="4217"/>
                  </a:lnTo>
                  <a:lnTo>
                    <a:pt x="4597" y="3837"/>
                  </a:lnTo>
                  <a:lnTo>
                    <a:pt x="5046" y="3491"/>
                  </a:lnTo>
                  <a:lnTo>
                    <a:pt x="5530" y="3215"/>
                  </a:lnTo>
                  <a:lnTo>
                    <a:pt x="6048" y="2973"/>
                  </a:lnTo>
                  <a:lnTo>
                    <a:pt x="6567" y="2765"/>
                  </a:lnTo>
                  <a:lnTo>
                    <a:pt x="7120" y="2627"/>
                  </a:lnTo>
                  <a:lnTo>
                    <a:pt x="7707" y="2524"/>
                  </a:lnTo>
                  <a:lnTo>
                    <a:pt x="8294" y="2489"/>
                  </a:lnTo>
                  <a:close/>
                  <a:moveTo>
                    <a:pt x="7880" y="1"/>
                  </a:moveTo>
                  <a:lnTo>
                    <a:pt x="7465" y="36"/>
                  </a:lnTo>
                  <a:lnTo>
                    <a:pt x="7050" y="105"/>
                  </a:lnTo>
                  <a:lnTo>
                    <a:pt x="6636" y="174"/>
                  </a:lnTo>
                  <a:lnTo>
                    <a:pt x="5841" y="381"/>
                  </a:lnTo>
                  <a:lnTo>
                    <a:pt x="5081" y="658"/>
                  </a:lnTo>
                  <a:lnTo>
                    <a:pt x="4355" y="1003"/>
                  </a:lnTo>
                  <a:lnTo>
                    <a:pt x="3664" y="1418"/>
                  </a:lnTo>
                  <a:lnTo>
                    <a:pt x="3007" y="1902"/>
                  </a:lnTo>
                  <a:lnTo>
                    <a:pt x="2420" y="2454"/>
                  </a:lnTo>
                  <a:lnTo>
                    <a:pt x="1902" y="3042"/>
                  </a:lnTo>
                  <a:lnTo>
                    <a:pt x="1418" y="3664"/>
                  </a:lnTo>
                  <a:lnTo>
                    <a:pt x="1003" y="4355"/>
                  </a:lnTo>
                  <a:lnTo>
                    <a:pt x="658" y="5081"/>
                  </a:lnTo>
                  <a:lnTo>
                    <a:pt x="381" y="5841"/>
                  </a:lnTo>
                  <a:lnTo>
                    <a:pt x="174" y="6636"/>
                  </a:lnTo>
                  <a:lnTo>
                    <a:pt x="105" y="7050"/>
                  </a:lnTo>
                  <a:lnTo>
                    <a:pt x="36" y="7465"/>
                  </a:lnTo>
                  <a:lnTo>
                    <a:pt x="1" y="7880"/>
                  </a:lnTo>
                  <a:lnTo>
                    <a:pt x="1" y="8329"/>
                  </a:lnTo>
                  <a:lnTo>
                    <a:pt x="1" y="8744"/>
                  </a:lnTo>
                  <a:lnTo>
                    <a:pt x="36" y="9158"/>
                  </a:lnTo>
                  <a:lnTo>
                    <a:pt x="105" y="9573"/>
                  </a:lnTo>
                  <a:lnTo>
                    <a:pt x="174" y="9988"/>
                  </a:lnTo>
                  <a:lnTo>
                    <a:pt x="381" y="10783"/>
                  </a:lnTo>
                  <a:lnTo>
                    <a:pt x="658" y="11543"/>
                  </a:lnTo>
                  <a:lnTo>
                    <a:pt x="1003" y="12269"/>
                  </a:lnTo>
                  <a:lnTo>
                    <a:pt x="1418" y="12960"/>
                  </a:lnTo>
                  <a:lnTo>
                    <a:pt x="1902" y="13582"/>
                  </a:lnTo>
                  <a:lnTo>
                    <a:pt x="2420" y="14204"/>
                  </a:lnTo>
                  <a:lnTo>
                    <a:pt x="3007" y="14722"/>
                  </a:lnTo>
                  <a:lnTo>
                    <a:pt x="3664" y="15206"/>
                  </a:lnTo>
                  <a:lnTo>
                    <a:pt x="4355" y="15620"/>
                  </a:lnTo>
                  <a:lnTo>
                    <a:pt x="5081" y="15966"/>
                  </a:lnTo>
                  <a:lnTo>
                    <a:pt x="5841" y="16242"/>
                  </a:lnTo>
                  <a:lnTo>
                    <a:pt x="6636" y="16450"/>
                  </a:lnTo>
                  <a:lnTo>
                    <a:pt x="7050" y="16519"/>
                  </a:lnTo>
                  <a:lnTo>
                    <a:pt x="7465" y="16588"/>
                  </a:lnTo>
                  <a:lnTo>
                    <a:pt x="7880" y="16623"/>
                  </a:lnTo>
                  <a:lnTo>
                    <a:pt x="8744" y="16623"/>
                  </a:lnTo>
                  <a:lnTo>
                    <a:pt x="9158" y="16588"/>
                  </a:lnTo>
                  <a:lnTo>
                    <a:pt x="9573" y="16519"/>
                  </a:lnTo>
                  <a:lnTo>
                    <a:pt x="9988" y="16450"/>
                  </a:lnTo>
                  <a:lnTo>
                    <a:pt x="10783" y="16242"/>
                  </a:lnTo>
                  <a:lnTo>
                    <a:pt x="11543" y="15966"/>
                  </a:lnTo>
                  <a:lnTo>
                    <a:pt x="12268" y="15620"/>
                  </a:lnTo>
                  <a:lnTo>
                    <a:pt x="12960" y="15206"/>
                  </a:lnTo>
                  <a:lnTo>
                    <a:pt x="13582" y="14722"/>
                  </a:lnTo>
                  <a:lnTo>
                    <a:pt x="14169" y="14204"/>
                  </a:lnTo>
                  <a:lnTo>
                    <a:pt x="14722" y="13582"/>
                  </a:lnTo>
                  <a:lnTo>
                    <a:pt x="15206" y="12960"/>
                  </a:lnTo>
                  <a:lnTo>
                    <a:pt x="15620" y="12269"/>
                  </a:lnTo>
                  <a:lnTo>
                    <a:pt x="15966" y="11543"/>
                  </a:lnTo>
                  <a:lnTo>
                    <a:pt x="16242" y="10783"/>
                  </a:lnTo>
                  <a:lnTo>
                    <a:pt x="16450" y="9988"/>
                  </a:lnTo>
                  <a:lnTo>
                    <a:pt x="16519" y="9573"/>
                  </a:lnTo>
                  <a:lnTo>
                    <a:pt x="16553" y="9158"/>
                  </a:lnTo>
                  <a:lnTo>
                    <a:pt x="16588" y="8744"/>
                  </a:lnTo>
                  <a:lnTo>
                    <a:pt x="16623" y="8329"/>
                  </a:lnTo>
                  <a:lnTo>
                    <a:pt x="16588" y="7880"/>
                  </a:lnTo>
                  <a:lnTo>
                    <a:pt x="16553" y="7465"/>
                  </a:lnTo>
                  <a:lnTo>
                    <a:pt x="16519" y="7050"/>
                  </a:lnTo>
                  <a:lnTo>
                    <a:pt x="16450" y="6636"/>
                  </a:lnTo>
                  <a:lnTo>
                    <a:pt x="16242" y="5841"/>
                  </a:lnTo>
                  <a:lnTo>
                    <a:pt x="15966" y="5081"/>
                  </a:lnTo>
                  <a:lnTo>
                    <a:pt x="15620" y="4355"/>
                  </a:lnTo>
                  <a:lnTo>
                    <a:pt x="15206" y="3664"/>
                  </a:lnTo>
                  <a:lnTo>
                    <a:pt x="14722" y="3042"/>
                  </a:lnTo>
                  <a:lnTo>
                    <a:pt x="14169" y="2454"/>
                  </a:lnTo>
                  <a:lnTo>
                    <a:pt x="13582" y="1902"/>
                  </a:lnTo>
                  <a:lnTo>
                    <a:pt x="12960" y="1418"/>
                  </a:lnTo>
                  <a:lnTo>
                    <a:pt x="12268" y="1003"/>
                  </a:lnTo>
                  <a:lnTo>
                    <a:pt x="11543" y="658"/>
                  </a:lnTo>
                  <a:lnTo>
                    <a:pt x="10783" y="381"/>
                  </a:lnTo>
                  <a:lnTo>
                    <a:pt x="9988" y="174"/>
                  </a:lnTo>
                  <a:lnTo>
                    <a:pt x="9573" y="105"/>
                  </a:lnTo>
                  <a:lnTo>
                    <a:pt x="9158" y="36"/>
                  </a:lnTo>
                  <a:lnTo>
                    <a:pt x="8744" y="1"/>
                  </a:lnTo>
                  <a:close/>
                </a:path>
              </a:pathLst>
            </a:custGeom>
            <a:solidFill>
              <a:srgbClr val="EB8C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0" name="Google Shape;14148;p81">
              <a:extLst>
                <a:ext uri="{FF2B5EF4-FFF2-40B4-BE49-F238E27FC236}">
                  <a16:creationId xmlns:a16="http://schemas.microsoft.com/office/drawing/2014/main" id="{18650154-716D-6BDC-D975-2C2BBD51D51A}"/>
                </a:ext>
              </a:extLst>
            </p:cNvPr>
            <p:cNvSpPr/>
            <p:nvPr/>
          </p:nvSpPr>
          <p:spPr>
            <a:xfrm>
              <a:off x="2614325" y="1158175"/>
              <a:ext cx="958100" cy="2681600"/>
            </a:xfrm>
            <a:custGeom>
              <a:avLst/>
              <a:gdLst/>
              <a:ahLst/>
              <a:cxnLst/>
              <a:rect l="l" t="t" r="r" b="b"/>
              <a:pathLst>
                <a:path w="38324" h="107264" extrusionOk="0">
                  <a:moveTo>
                    <a:pt x="29996" y="1"/>
                  </a:moveTo>
                  <a:lnTo>
                    <a:pt x="28026" y="70"/>
                  </a:lnTo>
                  <a:lnTo>
                    <a:pt x="26195" y="208"/>
                  </a:lnTo>
                  <a:lnTo>
                    <a:pt x="24467" y="381"/>
                  </a:lnTo>
                  <a:lnTo>
                    <a:pt x="22808" y="588"/>
                  </a:lnTo>
                  <a:lnTo>
                    <a:pt x="21288" y="899"/>
                  </a:lnTo>
                  <a:lnTo>
                    <a:pt x="19836" y="1245"/>
                  </a:lnTo>
                  <a:lnTo>
                    <a:pt x="18489" y="1659"/>
                  </a:lnTo>
                  <a:lnTo>
                    <a:pt x="17832" y="1867"/>
                  </a:lnTo>
                  <a:lnTo>
                    <a:pt x="17210" y="2109"/>
                  </a:lnTo>
                  <a:lnTo>
                    <a:pt x="16623" y="2350"/>
                  </a:lnTo>
                  <a:lnTo>
                    <a:pt x="16035" y="2627"/>
                  </a:lnTo>
                  <a:lnTo>
                    <a:pt x="15482" y="2903"/>
                  </a:lnTo>
                  <a:lnTo>
                    <a:pt x="14964" y="3214"/>
                  </a:lnTo>
                  <a:lnTo>
                    <a:pt x="14446" y="3525"/>
                  </a:lnTo>
                  <a:lnTo>
                    <a:pt x="13927" y="3871"/>
                  </a:lnTo>
                  <a:lnTo>
                    <a:pt x="13478" y="4216"/>
                  </a:lnTo>
                  <a:lnTo>
                    <a:pt x="13029" y="4562"/>
                  </a:lnTo>
                  <a:lnTo>
                    <a:pt x="12579" y="4942"/>
                  </a:lnTo>
                  <a:lnTo>
                    <a:pt x="12165" y="5322"/>
                  </a:lnTo>
                  <a:lnTo>
                    <a:pt x="11577" y="5910"/>
                  </a:lnTo>
                  <a:lnTo>
                    <a:pt x="11059" y="6532"/>
                  </a:lnTo>
                  <a:lnTo>
                    <a:pt x="10575" y="7188"/>
                  </a:lnTo>
                  <a:lnTo>
                    <a:pt x="10126" y="7879"/>
                  </a:lnTo>
                  <a:lnTo>
                    <a:pt x="9711" y="8605"/>
                  </a:lnTo>
                  <a:lnTo>
                    <a:pt x="9331" y="9365"/>
                  </a:lnTo>
                  <a:lnTo>
                    <a:pt x="8986" y="10160"/>
                  </a:lnTo>
                  <a:lnTo>
                    <a:pt x="8709" y="10990"/>
                  </a:lnTo>
                  <a:lnTo>
                    <a:pt x="8433" y="11853"/>
                  </a:lnTo>
                  <a:lnTo>
                    <a:pt x="8225" y="12752"/>
                  </a:lnTo>
                  <a:lnTo>
                    <a:pt x="8053" y="13685"/>
                  </a:lnTo>
                  <a:lnTo>
                    <a:pt x="7914" y="14652"/>
                  </a:lnTo>
                  <a:lnTo>
                    <a:pt x="7811" y="15655"/>
                  </a:lnTo>
                  <a:lnTo>
                    <a:pt x="7742" y="16691"/>
                  </a:lnTo>
                  <a:lnTo>
                    <a:pt x="7707" y="17763"/>
                  </a:lnTo>
                  <a:lnTo>
                    <a:pt x="7742" y="18868"/>
                  </a:lnTo>
                  <a:lnTo>
                    <a:pt x="7776" y="19559"/>
                  </a:lnTo>
                  <a:lnTo>
                    <a:pt x="7845" y="20216"/>
                  </a:lnTo>
                  <a:lnTo>
                    <a:pt x="7983" y="20873"/>
                  </a:lnTo>
                  <a:lnTo>
                    <a:pt x="8122" y="21495"/>
                  </a:lnTo>
                  <a:lnTo>
                    <a:pt x="8329" y="22117"/>
                  </a:lnTo>
                  <a:lnTo>
                    <a:pt x="8536" y="22704"/>
                  </a:lnTo>
                  <a:lnTo>
                    <a:pt x="8813" y="23292"/>
                  </a:lnTo>
                  <a:lnTo>
                    <a:pt x="9089" y="23879"/>
                  </a:lnTo>
                  <a:lnTo>
                    <a:pt x="9435" y="24432"/>
                  </a:lnTo>
                  <a:lnTo>
                    <a:pt x="9780" y="24950"/>
                  </a:lnTo>
                  <a:lnTo>
                    <a:pt x="10161" y="25503"/>
                  </a:lnTo>
                  <a:lnTo>
                    <a:pt x="10575" y="25987"/>
                  </a:lnTo>
                  <a:lnTo>
                    <a:pt x="11024" y="26505"/>
                  </a:lnTo>
                  <a:lnTo>
                    <a:pt x="11474" y="26989"/>
                  </a:lnTo>
                  <a:lnTo>
                    <a:pt x="11957" y="27473"/>
                  </a:lnTo>
                  <a:lnTo>
                    <a:pt x="12476" y="27922"/>
                  </a:lnTo>
                  <a:lnTo>
                    <a:pt x="13547" y="28855"/>
                  </a:lnTo>
                  <a:lnTo>
                    <a:pt x="14687" y="29719"/>
                  </a:lnTo>
                  <a:lnTo>
                    <a:pt x="15897" y="30548"/>
                  </a:lnTo>
                  <a:lnTo>
                    <a:pt x="17141" y="31378"/>
                  </a:lnTo>
                  <a:lnTo>
                    <a:pt x="18420" y="32138"/>
                  </a:lnTo>
                  <a:lnTo>
                    <a:pt x="19733" y="32933"/>
                  </a:lnTo>
                  <a:lnTo>
                    <a:pt x="22394" y="34453"/>
                  </a:lnTo>
                  <a:lnTo>
                    <a:pt x="25193" y="36043"/>
                  </a:lnTo>
                  <a:lnTo>
                    <a:pt x="26540" y="36838"/>
                  </a:lnTo>
                  <a:lnTo>
                    <a:pt x="27853" y="37667"/>
                  </a:lnTo>
                  <a:lnTo>
                    <a:pt x="29132" y="38496"/>
                  </a:lnTo>
                  <a:lnTo>
                    <a:pt x="30307" y="39326"/>
                  </a:lnTo>
                  <a:lnTo>
                    <a:pt x="31413" y="40224"/>
                  </a:lnTo>
                  <a:lnTo>
                    <a:pt x="31897" y="40673"/>
                  </a:lnTo>
                  <a:lnTo>
                    <a:pt x="32415" y="41123"/>
                  </a:lnTo>
                  <a:lnTo>
                    <a:pt x="32864" y="41572"/>
                  </a:lnTo>
                  <a:lnTo>
                    <a:pt x="33313" y="42056"/>
                  </a:lnTo>
                  <a:lnTo>
                    <a:pt x="33728" y="42539"/>
                  </a:lnTo>
                  <a:lnTo>
                    <a:pt x="34074" y="43058"/>
                  </a:lnTo>
                  <a:lnTo>
                    <a:pt x="34419" y="43542"/>
                  </a:lnTo>
                  <a:lnTo>
                    <a:pt x="34730" y="44095"/>
                  </a:lnTo>
                  <a:lnTo>
                    <a:pt x="35007" y="44613"/>
                  </a:lnTo>
                  <a:lnTo>
                    <a:pt x="35248" y="45166"/>
                  </a:lnTo>
                  <a:lnTo>
                    <a:pt x="35456" y="45719"/>
                  </a:lnTo>
                  <a:lnTo>
                    <a:pt x="35594" y="46306"/>
                  </a:lnTo>
                  <a:lnTo>
                    <a:pt x="35732" y="46928"/>
                  </a:lnTo>
                  <a:lnTo>
                    <a:pt x="35801" y="47516"/>
                  </a:lnTo>
                  <a:lnTo>
                    <a:pt x="35836" y="48138"/>
                  </a:lnTo>
                  <a:lnTo>
                    <a:pt x="35801" y="48794"/>
                  </a:lnTo>
                  <a:lnTo>
                    <a:pt x="35767" y="49485"/>
                  </a:lnTo>
                  <a:lnTo>
                    <a:pt x="35629" y="50142"/>
                  </a:lnTo>
                  <a:lnTo>
                    <a:pt x="35525" y="50591"/>
                  </a:lnTo>
                  <a:lnTo>
                    <a:pt x="35387" y="50971"/>
                  </a:lnTo>
                  <a:lnTo>
                    <a:pt x="35248" y="51386"/>
                  </a:lnTo>
                  <a:lnTo>
                    <a:pt x="35041" y="51731"/>
                  </a:lnTo>
                  <a:lnTo>
                    <a:pt x="34834" y="52112"/>
                  </a:lnTo>
                  <a:lnTo>
                    <a:pt x="34557" y="52457"/>
                  </a:lnTo>
                  <a:lnTo>
                    <a:pt x="34281" y="52768"/>
                  </a:lnTo>
                  <a:lnTo>
                    <a:pt x="34004" y="53114"/>
                  </a:lnTo>
                  <a:lnTo>
                    <a:pt x="33659" y="53390"/>
                  </a:lnTo>
                  <a:lnTo>
                    <a:pt x="33313" y="53701"/>
                  </a:lnTo>
                  <a:lnTo>
                    <a:pt x="32933" y="53978"/>
                  </a:lnTo>
                  <a:lnTo>
                    <a:pt x="32519" y="54254"/>
                  </a:lnTo>
                  <a:lnTo>
                    <a:pt x="31655" y="54772"/>
                  </a:lnTo>
                  <a:lnTo>
                    <a:pt x="30722" y="55222"/>
                  </a:lnTo>
                  <a:lnTo>
                    <a:pt x="29719" y="55671"/>
                  </a:lnTo>
                  <a:lnTo>
                    <a:pt x="28648" y="56086"/>
                  </a:lnTo>
                  <a:lnTo>
                    <a:pt x="27508" y="56466"/>
                  </a:lnTo>
                  <a:lnTo>
                    <a:pt x="26333" y="56811"/>
                  </a:lnTo>
                  <a:lnTo>
                    <a:pt x="25123" y="57157"/>
                  </a:lnTo>
                  <a:lnTo>
                    <a:pt x="23879" y="57502"/>
                  </a:lnTo>
                  <a:lnTo>
                    <a:pt x="21322" y="58159"/>
                  </a:lnTo>
                  <a:lnTo>
                    <a:pt x="18454" y="58919"/>
                  </a:lnTo>
                  <a:lnTo>
                    <a:pt x="17037" y="59299"/>
                  </a:lnTo>
                  <a:lnTo>
                    <a:pt x="15620" y="59714"/>
                  </a:lnTo>
                  <a:lnTo>
                    <a:pt x="14273" y="60163"/>
                  </a:lnTo>
                  <a:lnTo>
                    <a:pt x="12925" y="60647"/>
                  </a:lnTo>
                  <a:lnTo>
                    <a:pt x="11646" y="61165"/>
                  </a:lnTo>
                  <a:lnTo>
                    <a:pt x="10437" y="61718"/>
                  </a:lnTo>
                  <a:lnTo>
                    <a:pt x="9746" y="62098"/>
                  </a:lnTo>
                  <a:lnTo>
                    <a:pt x="9089" y="62479"/>
                  </a:lnTo>
                  <a:lnTo>
                    <a:pt x="8502" y="62859"/>
                  </a:lnTo>
                  <a:lnTo>
                    <a:pt x="7914" y="63273"/>
                  </a:lnTo>
                  <a:lnTo>
                    <a:pt x="7396" y="63688"/>
                  </a:lnTo>
                  <a:lnTo>
                    <a:pt x="6878" y="64137"/>
                  </a:lnTo>
                  <a:lnTo>
                    <a:pt x="6428" y="64586"/>
                  </a:lnTo>
                  <a:lnTo>
                    <a:pt x="6014" y="65070"/>
                  </a:lnTo>
                  <a:lnTo>
                    <a:pt x="5634" y="65554"/>
                  </a:lnTo>
                  <a:lnTo>
                    <a:pt x="5288" y="66038"/>
                  </a:lnTo>
                  <a:lnTo>
                    <a:pt x="4977" y="66556"/>
                  </a:lnTo>
                  <a:lnTo>
                    <a:pt x="4701" y="67075"/>
                  </a:lnTo>
                  <a:lnTo>
                    <a:pt x="4459" y="67627"/>
                  </a:lnTo>
                  <a:lnTo>
                    <a:pt x="4286" y="68215"/>
                  </a:lnTo>
                  <a:lnTo>
                    <a:pt x="4113" y="68768"/>
                  </a:lnTo>
                  <a:lnTo>
                    <a:pt x="3975" y="69390"/>
                  </a:lnTo>
                  <a:lnTo>
                    <a:pt x="3906" y="69908"/>
                  </a:lnTo>
                  <a:lnTo>
                    <a:pt x="3871" y="70461"/>
                  </a:lnTo>
                  <a:lnTo>
                    <a:pt x="3837" y="70979"/>
                  </a:lnTo>
                  <a:lnTo>
                    <a:pt x="3837" y="71498"/>
                  </a:lnTo>
                  <a:lnTo>
                    <a:pt x="3871" y="72051"/>
                  </a:lnTo>
                  <a:lnTo>
                    <a:pt x="3940" y="72569"/>
                  </a:lnTo>
                  <a:lnTo>
                    <a:pt x="4044" y="73053"/>
                  </a:lnTo>
                  <a:lnTo>
                    <a:pt x="4148" y="73571"/>
                  </a:lnTo>
                  <a:lnTo>
                    <a:pt x="4321" y="74089"/>
                  </a:lnTo>
                  <a:lnTo>
                    <a:pt x="4493" y="74608"/>
                  </a:lnTo>
                  <a:lnTo>
                    <a:pt x="4701" y="75092"/>
                  </a:lnTo>
                  <a:lnTo>
                    <a:pt x="4943" y="75610"/>
                  </a:lnTo>
                  <a:lnTo>
                    <a:pt x="5219" y="76094"/>
                  </a:lnTo>
                  <a:lnTo>
                    <a:pt x="5530" y="76578"/>
                  </a:lnTo>
                  <a:lnTo>
                    <a:pt x="5841" y="77096"/>
                  </a:lnTo>
                  <a:lnTo>
                    <a:pt x="6221" y="77580"/>
                  </a:lnTo>
                  <a:lnTo>
                    <a:pt x="6878" y="78374"/>
                  </a:lnTo>
                  <a:lnTo>
                    <a:pt x="7569" y="79169"/>
                  </a:lnTo>
                  <a:lnTo>
                    <a:pt x="8329" y="79930"/>
                  </a:lnTo>
                  <a:lnTo>
                    <a:pt x="9124" y="80690"/>
                  </a:lnTo>
                  <a:lnTo>
                    <a:pt x="9953" y="81415"/>
                  </a:lnTo>
                  <a:lnTo>
                    <a:pt x="10817" y="82107"/>
                  </a:lnTo>
                  <a:lnTo>
                    <a:pt x="12510" y="83523"/>
                  </a:lnTo>
                  <a:lnTo>
                    <a:pt x="13962" y="84698"/>
                  </a:lnTo>
                  <a:lnTo>
                    <a:pt x="15344" y="85839"/>
                  </a:lnTo>
                  <a:lnTo>
                    <a:pt x="16001" y="86426"/>
                  </a:lnTo>
                  <a:lnTo>
                    <a:pt x="16623" y="87014"/>
                  </a:lnTo>
                  <a:lnTo>
                    <a:pt x="17210" y="87636"/>
                  </a:lnTo>
                  <a:lnTo>
                    <a:pt x="17763" y="88223"/>
                  </a:lnTo>
                  <a:lnTo>
                    <a:pt x="18281" y="88845"/>
                  </a:lnTo>
                  <a:lnTo>
                    <a:pt x="18731" y="89467"/>
                  </a:lnTo>
                  <a:lnTo>
                    <a:pt x="19111" y="90124"/>
                  </a:lnTo>
                  <a:lnTo>
                    <a:pt x="19456" y="90780"/>
                  </a:lnTo>
                  <a:lnTo>
                    <a:pt x="19733" y="91437"/>
                  </a:lnTo>
                  <a:lnTo>
                    <a:pt x="19940" y="92162"/>
                  </a:lnTo>
                  <a:lnTo>
                    <a:pt x="20044" y="92854"/>
                  </a:lnTo>
                  <a:lnTo>
                    <a:pt x="20078" y="93234"/>
                  </a:lnTo>
                  <a:lnTo>
                    <a:pt x="20078" y="93579"/>
                  </a:lnTo>
                  <a:lnTo>
                    <a:pt x="20078" y="94063"/>
                  </a:lnTo>
                  <a:lnTo>
                    <a:pt x="20044" y="94547"/>
                  </a:lnTo>
                  <a:lnTo>
                    <a:pt x="19975" y="94996"/>
                  </a:lnTo>
                  <a:lnTo>
                    <a:pt x="19905" y="95445"/>
                  </a:lnTo>
                  <a:lnTo>
                    <a:pt x="19802" y="95895"/>
                  </a:lnTo>
                  <a:lnTo>
                    <a:pt x="19664" y="96344"/>
                  </a:lnTo>
                  <a:lnTo>
                    <a:pt x="19491" y="96758"/>
                  </a:lnTo>
                  <a:lnTo>
                    <a:pt x="19318" y="97173"/>
                  </a:lnTo>
                  <a:lnTo>
                    <a:pt x="19111" y="97588"/>
                  </a:lnTo>
                  <a:lnTo>
                    <a:pt x="18869" y="97968"/>
                  </a:lnTo>
                  <a:lnTo>
                    <a:pt x="18627" y="98383"/>
                  </a:lnTo>
                  <a:lnTo>
                    <a:pt x="18350" y="98763"/>
                  </a:lnTo>
                  <a:lnTo>
                    <a:pt x="18039" y="99143"/>
                  </a:lnTo>
                  <a:lnTo>
                    <a:pt x="17728" y="99488"/>
                  </a:lnTo>
                  <a:lnTo>
                    <a:pt x="17383" y="99869"/>
                  </a:lnTo>
                  <a:lnTo>
                    <a:pt x="17003" y="100214"/>
                  </a:lnTo>
                  <a:lnTo>
                    <a:pt x="16208" y="100871"/>
                  </a:lnTo>
                  <a:lnTo>
                    <a:pt x="15379" y="101458"/>
                  </a:lnTo>
                  <a:lnTo>
                    <a:pt x="14480" y="102011"/>
                  </a:lnTo>
                  <a:lnTo>
                    <a:pt x="13513" y="102495"/>
                  </a:lnTo>
                  <a:lnTo>
                    <a:pt x="12545" y="102944"/>
                  </a:lnTo>
                  <a:lnTo>
                    <a:pt x="11508" y="103324"/>
                  </a:lnTo>
                  <a:lnTo>
                    <a:pt x="10472" y="103670"/>
                  </a:lnTo>
                  <a:lnTo>
                    <a:pt x="9400" y="103981"/>
                  </a:lnTo>
                  <a:lnTo>
                    <a:pt x="8364" y="104223"/>
                  </a:lnTo>
                  <a:lnTo>
                    <a:pt x="7292" y="104430"/>
                  </a:lnTo>
                  <a:lnTo>
                    <a:pt x="6256" y="104568"/>
                  </a:lnTo>
                  <a:lnTo>
                    <a:pt x="5219" y="104706"/>
                  </a:lnTo>
                  <a:lnTo>
                    <a:pt x="4182" y="104741"/>
                  </a:lnTo>
                  <a:lnTo>
                    <a:pt x="3215" y="104776"/>
                  </a:lnTo>
                  <a:lnTo>
                    <a:pt x="2282" y="104741"/>
                  </a:lnTo>
                  <a:lnTo>
                    <a:pt x="1383" y="104672"/>
                  </a:lnTo>
                  <a:lnTo>
                    <a:pt x="1141" y="104672"/>
                  </a:lnTo>
                  <a:lnTo>
                    <a:pt x="899" y="104706"/>
                  </a:lnTo>
                  <a:lnTo>
                    <a:pt x="692" y="104810"/>
                  </a:lnTo>
                  <a:lnTo>
                    <a:pt x="485" y="104948"/>
                  </a:lnTo>
                  <a:lnTo>
                    <a:pt x="312" y="105121"/>
                  </a:lnTo>
                  <a:lnTo>
                    <a:pt x="174" y="105294"/>
                  </a:lnTo>
                  <a:lnTo>
                    <a:pt x="70" y="105536"/>
                  </a:lnTo>
                  <a:lnTo>
                    <a:pt x="1" y="105778"/>
                  </a:lnTo>
                  <a:lnTo>
                    <a:pt x="1" y="106020"/>
                  </a:lnTo>
                  <a:lnTo>
                    <a:pt x="70" y="106261"/>
                  </a:lnTo>
                  <a:lnTo>
                    <a:pt x="139" y="106503"/>
                  </a:lnTo>
                  <a:lnTo>
                    <a:pt x="277" y="106711"/>
                  </a:lnTo>
                  <a:lnTo>
                    <a:pt x="450" y="106884"/>
                  </a:lnTo>
                  <a:lnTo>
                    <a:pt x="658" y="107022"/>
                  </a:lnTo>
                  <a:lnTo>
                    <a:pt x="865" y="107091"/>
                  </a:lnTo>
                  <a:lnTo>
                    <a:pt x="1107" y="107160"/>
                  </a:lnTo>
                  <a:lnTo>
                    <a:pt x="2213" y="107229"/>
                  </a:lnTo>
                  <a:lnTo>
                    <a:pt x="3353" y="107264"/>
                  </a:lnTo>
                  <a:lnTo>
                    <a:pt x="4321" y="107264"/>
                  </a:lnTo>
                  <a:lnTo>
                    <a:pt x="5288" y="107195"/>
                  </a:lnTo>
                  <a:lnTo>
                    <a:pt x="6290" y="107091"/>
                  </a:lnTo>
                  <a:lnTo>
                    <a:pt x="7327" y="106953"/>
                  </a:lnTo>
                  <a:lnTo>
                    <a:pt x="8329" y="106780"/>
                  </a:lnTo>
                  <a:lnTo>
                    <a:pt x="9366" y="106573"/>
                  </a:lnTo>
                  <a:lnTo>
                    <a:pt x="10402" y="106296"/>
                  </a:lnTo>
                  <a:lnTo>
                    <a:pt x="11405" y="106020"/>
                  </a:lnTo>
                  <a:lnTo>
                    <a:pt x="12407" y="105674"/>
                  </a:lnTo>
                  <a:lnTo>
                    <a:pt x="13409" y="105294"/>
                  </a:lnTo>
                  <a:lnTo>
                    <a:pt x="14376" y="104845"/>
                  </a:lnTo>
                  <a:lnTo>
                    <a:pt x="15309" y="104395"/>
                  </a:lnTo>
                  <a:lnTo>
                    <a:pt x="16208" y="103877"/>
                  </a:lnTo>
                  <a:lnTo>
                    <a:pt x="17072" y="103324"/>
                  </a:lnTo>
                  <a:lnTo>
                    <a:pt x="17901" y="102702"/>
                  </a:lnTo>
                  <a:lnTo>
                    <a:pt x="18661" y="102080"/>
                  </a:lnTo>
                  <a:lnTo>
                    <a:pt x="19145" y="101631"/>
                  </a:lnTo>
                  <a:lnTo>
                    <a:pt x="19594" y="101182"/>
                  </a:lnTo>
                  <a:lnTo>
                    <a:pt x="20009" y="100698"/>
                  </a:lnTo>
                  <a:lnTo>
                    <a:pt x="20389" y="100214"/>
                  </a:lnTo>
                  <a:lnTo>
                    <a:pt x="20735" y="99730"/>
                  </a:lnTo>
                  <a:lnTo>
                    <a:pt x="21046" y="99247"/>
                  </a:lnTo>
                  <a:lnTo>
                    <a:pt x="21357" y="98728"/>
                  </a:lnTo>
                  <a:lnTo>
                    <a:pt x="21599" y="98210"/>
                  </a:lnTo>
                  <a:lnTo>
                    <a:pt x="21841" y="97657"/>
                  </a:lnTo>
                  <a:lnTo>
                    <a:pt x="22048" y="97104"/>
                  </a:lnTo>
                  <a:lnTo>
                    <a:pt x="22221" y="96551"/>
                  </a:lnTo>
                  <a:lnTo>
                    <a:pt x="22359" y="95998"/>
                  </a:lnTo>
                  <a:lnTo>
                    <a:pt x="22463" y="95411"/>
                  </a:lnTo>
                  <a:lnTo>
                    <a:pt x="22532" y="94823"/>
                  </a:lnTo>
                  <a:lnTo>
                    <a:pt x="22566" y="94201"/>
                  </a:lnTo>
                  <a:lnTo>
                    <a:pt x="22601" y="93579"/>
                  </a:lnTo>
                  <a:lnTo>
                    <a:pt x="22566" y="93130"/>
                  </a:lnTo>
                  <a:lnTo>
                    <a:pt x="22532" y="92646"/>
                  </a:lnTo>
                  <a:lnTo>
                    <a:pt x="22463" y="92197"/>
                  </a:lnTo>
                  <a:lnTo>
                    <a:pt x="22394" y="91713"/>
                  </a:lnTo>
                  <a:lnTo>
                    <a:pt x="22290" y="91299"/>
                  </a:lnTo>
                  <a:lnTo>
                    <a:pt x="22152" y="90849"/>
                  </a:lnTo>
                  <a:lnTo>
                    <a:pt x="22013" y="90435"/>
                  </a:lnTo>
                  <a:lnTo>
                    <a:pt x="21841" y="89985"/>
                  </a:lnTo>
                  <a:lnTo>
                    <a:pt x="21460" y="89191"/>
                  </a:lnTo>
                  <a:lnTo>
                    <a:pt x="21011" y="88396"/>
                  </a:lnTo>
                  <a:lnTo>
                    <a:pt x="20493" y="87636"/>
                  </a:lnTo>
                  <a:lnTo>
                    <a:pt x="19905" y="86910"/>
                  </a:lnTo>
                  <a:lnTo>
                    <a:pt x="19283" y="86184"/>
                  </a:lnTo>
                  <a:lnTo>
                    <a:pt x="18627" y="85493"/>
                  </a:lnTo>
                  <a:lnTo>
                    <a:pt x="17901" y="84802"/>
                  </a:lnTo>
                  <a:lnTo>
                    <a:pt x="17175" y="84145"/>
                  </a:lnTo>
                  <a:lnTo>
                    <a:pt x="15655" y="82832"/>
                  </a:lnTo>
                  <a:lnTo>
                    <a:pt x="14100" y="81554"/>
                  </a:lnTo>
                  <a:lnTo>
                    <a:pt x="12476" y="80241"/>
                  </a:lnTo>
                  <a:lnTo>
                    <a:pt x="11681" y="79584"/>
                  </a:lnTo>
                  <a:lnTo>
                    <a:pt x="10921" y="78927"/>
                  </a:lnTo>
                  <a:lnTo>
                    <a:pt x="10195" y="78271"/>
                  </a:lnTo>
                  <a:lnTo>
                    <a:pt x="9539" y="77614"/>
                  </a:lnTo>
                  <a:lnTo>
                    <a:pt x="8882" y="76923"/>
                  </a:lnTo>
                  <a:lnTo>
                    <a:pt x="8329" y="76197"/>
                  </a:lnTo>
                  <a:lnTo>
                    <a:pt x="7811" y="75506"/>
                  </a:lnTo>
                  <a:lnTo>
                    <a:pt x="7327" y="74781"/>
                  </a:lnTo>
                  <a:lnTo>
                    <a:pt x="6981" y="74020"/>
                  </a:lnTo>
                  <a:lnTo>
                    <a:pt x="6809" y="73606"/>
                  </a:lnTo>
                  <a:lnTo>
                    <a:pt x="6670" y="73226"/>
                  </a:lnTo>
                  <a:lnTo>
                    <a:pt x="6567" y="72811"/>
                  </a:lnTo>
                  <a:lnTo>
                    <a:pt x="6463" y="72431"/>
                  </a:lnTo>
                  <a:lnTo>
                    <a:pt x="6394" y="72016"/>
                  </a:lnTo>
                  <a:lnTo>
                    <a:pt x="6359" y="71567"/>
                  </a:lnTo>
                  <a:lnTo>
                    <a:pt x="6325" y="71152"/>
                  </a:lnTo>
                  <a:lnTo>
                    <a:pt x="6359" y="70703"/>
                  </a:lnTo>
                  <a:lnTo>
                    <a:pt x="6394" y="70254"/>
                  </a:lnTo>
                  <a:lnTo>
                    <a:pt x="6463" y="69804"/>
                  </a:lnTo>
                  <a:lnTo>
                    <a:pt x="6532" y="69355"/>
                  </a:lnTo>
                  <a:lnTo>
                    <a:pt x="6670" y="68906"/>
                  </a:lnTo>
                  <a:lnTo>
                    <a:pt x="6809" y="68491"/>
                  </a:lnTo>
                  <a:lnTo>
                    <a:pt x="7016" y="68077"/>
                  </a:lnTo>
                  <a:lnTo>
                    <a:pt x="7223" y="67697"/>
                  </a:lnTo>
                  <a:lnTo>
                    <a:pt x="7465" y="67282"/>
                  </a:lnTo>
                  <a:lnTo>
                    <a:pt x="7707" y="66902"/>
                  </a:lnTo>
                  <a:lnTo>
                    <a:pt x="8018" y="66556"/>
                  </a:lnTo>
                  <a:lnTo>
                    <a:pt x="8364" y="66211"/>
                  </a:lnTo>
                  <a:lnTo>
                    <a:pt x="8709" y="65865"/>
                  </a:lnTo>
                  <a:lnTo>
                    <a:pt x="9124" y="65519"/>
                  </a:lnTo>
                  <a:lnTo>
                    <a:pt x="9539" y="65174"/>
                  </a:lnTo>
                  <a:lnTo>
                    <a:pt x="9988" y="64863"/>
                  </a:lnTo>
                  <a:lnTo>
                    <a:pt x="10472" y="64552"/>
                  </a:lnTo>
                  <a:lnTo>
                    <a:pt x="11024" y="64275"/>
                  </a:lnTo>
                  <a:lnTo>
                    <a:pt x="11577" y="63964"/>
                  </a:lnTo>
                  <a:lnTo>
                    <a:pt x="12683" y="63446"/>
                  </a:lnTo>
                  <a:lnTo>
                    <a:pt x="13893" y="62962"/>
                  </a:lnTo>
                  <a:lnTo>
                    <a:pt x="15137" y="62513"/>
                  </a:lnTo>
                  <a:lnTo>
                    <a:pt x="16450" y="62098"/>
                  </a:lnTo>
                  <a:lnTo>
                    <a:pt x="17798" y="61684"/>
                  </a:lnTo>
                  <a:lnTo>
                    <a:pt x="19180" y="61304"/>
                  </a:lnTo>
                  <a:lnTo>
                    <a:pt x="21944" y="60578"/>
                  </a:lnTo>
                  <a:lnTo>
                    <a:pt x="24709" y="59887"/>
                  </a:lnTo>
                  <a:lnTo>
                    <a:pt x="26056" y="59507"/>
                  </a:lnTo>
                  <a:lnTo>
                    <a:pt x="27404" y="59127"/>
                  </a:lnTo>
                  <a:lnTo>
                    <a:pt x="28683" y="58677"/>
                  </a:lnTo>
                  <a:lnTo>
                    <a:pt x="29961" y="58228"/>
                  </a:lnTo>
                  <a:lnTo>
                    <a:pt x="31171" y="57744"/>
                  </a:lnTo>
                  <a:lnTo>
                    <a:pt x="32311" y="57226"/>
                  </a:lnTo>
                  <a:lnTo>
                    <a:pt x="32864" y="56950"/>
                  </a:lnTo>
                  <a:lnTo>
                    <a:pt x="33382" y="56639"/>
                  </a:lnTo>
                  <a:lnTo>
                    <a:pt x="33901" y="56327"/>
                  </a:lnTo>
                  <a:lnTo>
                    <a:pt x="34385" y="55982"/>
                  </a:lnTo>
                  <a:lnTo>
                    <a:pt x="34834" y="55636"/>
                  </a:lnTo>
                  <a:lnTo>
                    <a:pt x="35283" y="55291"/>
                  </a:lnTo>
                  <a:lnTo>
                    <a:pt x="35698" y="54911"/>
                  </a:lnTo>
                  <a:lnTo>
                    <a:pt x="36078" y="54531"/>
                  </a:lnTo>
                  <a:lnTo>
                    <a:pt x="36458" y="54116"/>
                  </a:lnTo>
                  <a:lnTo>
                    <a:pt x="36769" y="53667"/>
                  </a:lnTo>
                  <a:lnTo>
                    <a:pt x="37080" y="53217"/>
                  </a:lnTo>
                  <a:lnTo>
                    <a:pt x="37356" y="52768"/>
                  </a:lnTo>
                  <a:lnTo>
                    <a:pt x="37598" y="52250"/>
                  </a:lnTo>
                  <a:lnTo>
                    <a:pt x="37806" y="51731"/>
                  </a:lnTo>
                  <a:lnTo>
                    <a:pt x="37944" y="51213"/>
                  </a:lnTo>
                  <a:lnTo>
                    <a:pt x="38082" y="50626"/>
                  </a:lnTo>
                  <a:lnTo>
                    <a:pt x="38220" y="49865"/>
                  </a:lnTo>
                  <a:lnTo>
                    <a:pt x="38289" y="49105"/>
                  </a:lnTo>
                  <a:lnTo>
                    <a:pt x="38324" y="48345"/>
                  </a:lnTo>
                  <a:lnTo>
                    <a:pt x="38324" y="47619"/>
                  </a:lnTo>
                  <a:lnTo>
                    <a:pt x="38255" y="46894"/>
                  </a:lnTo>
                  <a:lnTo>
                    <a:pt x="38151" y="46168"/>
                  </a:lnTo>
                  <a:lnTo>
                    <a:pt x="37978" y="45442"/>
                  </a:lnTo>
                  <a:lnTo>
                    <a:pt x="37771" y="44751"/>
                  </a:lnTo>
                  <a:lnTo>
                    <a:pt x="37529" y="44060"/>
                  </a:lnTo>
                  <a:lnTo>
                    <a:pt x="37218" y="43403"/>
                  </a:lnTo>
                  <a:lnTo>
                    <a:pt x="36873" y="42712"/>
                  </a:lnTo>
                  <a:lnTo>
                    <a:pt x="36458" y="42056"/>
                  </a:lnTo>
                  <a:lnTo>
                    <a:pt x="36009" y="41399"/>
                  </a:lnTo>
                  <a:lnTo>
                    <a:pt x="35490" y="40777"/>
                  </a:lnTo>
                  <a:lnTo>
                    <a:pt x="34937" y="40121"/>
                  </a:lnTo>
                  <a:lnTo>
                    <a:pt x="34350" y="39499"/>
                  </a:lnTo>
                  <a:lnTo>
                    <a:pt x="33797" y="38980"/>
                  </a:lnTo>
                  <a:lnTo>
                    <a:pt x="33210" y="38496"/>
                  </a:lnTo>
                  <a:lnTo>
                    <a:pt x="32622" y="37978"/>
                  </a:lnTo>
                  <a:lnTo>
                    <a:pt x="32035" y="37494"/>
                  </a:lnTo>
                  <a:lnTo>
                    <a:pt x="30722" y="36561"/>
                  </a:lnTo>
                  <a:lnTo>
                    <a:pt x="29374" y="35663"/>
                  </a:lnTo>
                  <a:lnTo>
                    <a:pt x="27992" y="34764"/>
                  </a:lnTo>
                  <a:lnTo>
                    <a:pt x="26540" y="33935"/>
                  </a:lnTo>
                  <a:lnTo>
                    <a:pt x="23638" y="32276"/>
                  </a:lnTo>
                  <a:lnTo>
                    <a:pt x="21115" y="30825"/>
                  </a:lnTo>
                  <a:lnTo>
                    <a:pt x="19871" y="30099"/>
                  </a:lnTo>
                  <a:lnTo>
                    <a:pt x="18696" y="29374"/>
                  </a:lnTo>
                  <a:lnTo>
                    <a:pt x="17521" y="28648"/>
                  </a:lnTo>
                  <a:lnTo>
                    <a:pt x="16450" y="27888"/>
                  </a:lnTo>
                  <a:lnTo>
                    <a:pt x="15413" y="27127"/>
                  </a:lnTo>
                  <a:lnTo>
                    <a:pt x="14446" y="26333"/>
                  </a:lnTo>
                  <a:lnTo>
                    <a:pt x="13547" y="25538"/>
                  </a:lnTo>
                  <a:lnTo>
                    <a:pt x="13132" y="25123"/>
                  </a:lnTo>
                  <a:lnTo>
                    <a:pt x="12752" y="24674"/>
                  </a:lnTo>
                  <a:lnTo>
                    <a:pt x="12372" y="24259"/>
                  </a:lnTo>
                  <a:lnTo>
                    <a:pt x="12027" y="23810"/>
                  </a:lnTo>
                  <a:lnTo>
                    <a:pt x="11716" y="23361"/>
                  </a:lnTo>
                  <a:lnTo>
                    <a:pt x="11439" y="22911"/>
                  </a:lnTo>
                  <a:lnTo>
                    <a:pt x="11163" y="22428"/>
                  </a:lnTo>
                  <a:lnTo>
                    <a:pt x="10955" y="21944"/>
                  </a:lnTo>
                  <a:lnTo>
                    <a:pt x="10748" y="21460"/>
                  </a:lnTo>
                  <a:lnTo>
                    <a:pt x="10575" y="20942"/>
                  </a:lnTo>
                  <a:lnTo>
                    <a:pt x="10437" y="20423"/>
                  </a:lnTo>
                  <a:lnTo>
                    <a:pt x="10333" y="19905"/>
                  </a:lnTo>
                  <a:lnTo>
                    <a:pt x="10264" y="19352"/>
                  </a:lnTo>
                  <a:lnTo>
                    <a:pt x="10230" y="18799"/>
                  </a:lnTo>
                  <a:lnTo>
                    <a:pt x="10230" y="17832"/>
                  </a:lnTo>
                  <a:lnTo>
                    <a:pt x="10230" y="16899"/>
                  </a:lnTo>
                  <a:lnTo>
                    <a:pt x="10299" y="15966"/>
                  </a:lnTo>
                  <a:lnTo>
                    <a:pt x="10368" y="15102"/>
                  </a:lnTo>
                  <a:lnTo>
                    <a:pt x="10472" y="14272"/>
                  </a:lnTo>
                  <a:lnTo>
                    <a:pt x="10644" y="13443"/>
                  </a:lnTo>
                  <a:lnTo>
                    <a:pt x="10817" y="12683"/>
                  </a:lnTo>
                  <a:lnTo>
                    <a:pt x="11024" y="11923"/>
                  </a:lnTo>
                  <a:lnTo>
                    <a:pt x="11266" y="11231"/>
                  </a:lnTo>
                  <a:lnTo>
                    <a:pt x="11543" y="10540"/>
                  </a:lnTo>
                  <a:lnTo>
                    <a:pt x="11854" y="9884"/>
                  </a:lnTo>
                  <a:lnTo>
                    <a:pt x="12199" y="9262"/>
                  </a:lnTo>
                  <a:lnTo>
                    <a:pt x="12579" y="8674"/>
                  </a:lnTo>
                  <a:lnTo>
                    <a:pt x="12994" y="8121"/>
                  </a:lnTo>
                  <a:lnTo>
                    <a:pt x="13443" y="7603"/>
                  </a:lnTo>
                  <a:lnTo>
                    <a:pt x="13893" y="7119"/>
                  </a:lnTo>
                  <a:lnTo>
                    <a:pt x="14273" y="6774"/>
                  </a:lnTo>
                  <a:lnTo>
                    <a:pt x="14653" y="6428"/>
                  </a:lnTo>
                  <a:lnTo>
                    <a:pt x="15068" y="6117"/>
                  </a:lnTo>
                  <a:lnTo>
                    <a:pt x="15482" y="5841"/>
                  </a:lnTo>
                  <a:lnTo>
                    <a:pt x="15931" y="5530"/>
                  </a:lnTo>
                  <a:lnTo>
                    <a:pt x="16381" y="5253"/>
                  </a:lnTo>
                  <a:lnTo>
                    <a:pt x="16864" y="5011"/>
                  </a:lnTo>
                  <a:lnTo>
                    <a:pt x="17383" y="4769"/>
                  </a:lnTo>
                  <a:lnTo>
                    <a:pt x="18454" y="4320"/>
                  </a:lnTo>
                  <a:lnTo>
                    <a:pt x="19594" y="3905"/>
                  </a:lnTo>
                  <a:lnTo>
                    <a:pt x="20838" y="3560"/>
                  </a:lnTo>
                  <a:lnTo>
                    <a:pt x="22152" y="3249"/>
                  </a:lnTo>
                  <a:lnTo>
                    <a:pt x="23603" y="3007"/>
                  </a:lnTo>
                  <a:lnTo>
                    <a:pt x="25089" y="2800"/>
                  </a:lnTo>
                  <a:lnTo>
                    <a:pt x="26713" y="2661"/>
                  </a:lnTo>
                  <a:lnTo>
                    <a:pt x="28441" y="2558"/>
                  </a:lnTo>
                  <a:lnTo>
                    <a:pt x="30238" y="2489"/>
                  </a:lnTo>
                  <a:lnTo>
                    <a:pt x="32173" y="2489"/>
                  </a:lnTo>
                  <a:lnTo>
                    <a:pt x="34212" y="2558"/>
                  </a:lnTo>
                  <a:lnTo>
                    <a:pt x="36354" y="2627"/>
                  </a:lnTo>
                  <a:lnTo>
                    <a:pt x="36596" y="2627"/>
                  </a:lnTo>
                  <a:lnTo>
                    <a:pt x="36838" y="2558"/>
                  </a:lnTo>
                  <a:lnTo>
                    <a:pt x="37045" y="2454"/>
                  </a:lnTo>
                  <a:lnTo>
                    <a:pt x="37253" y="2316"/>
                  </a:lnTo>
                  <a:lnTo>
                    <a:pt x="37426" y="2143"/>
                  </a:lnTo>
                  <a:lnTo>
                    <a:pt x="37529" y="1936"/>
                  </a:lnTo>
                  <a:lnTo>
                    <a:pt x="37633" y="1694"/>
                  </a:lnTo>
                  <a:lnTo>
                    <a:pt x="37667" y="1452"/>
                  </a:lnTo>
                  <a:lnTo>
                    <a:pt x="37667" y="1210"/>
                  </a:lnTo>
                  <a:lnTo>
                    <a:pt x="37598" y="968"/>
                  </a:lnTo>
                  <a:lnTo>
                    <a:pt x="37495" y="726"/>
                  </a:lnTo>
                  <a:lnTo>
                    <a:pt x="37356" y="553"/>
                  </a:lnTo>
                  <a:lnTo>
                    <a:pt x="37184" y="381"/>
                  </a:lnTo>
                  <a:lnTo>
                    <a:pt x="36976" y="277"/>
                  </a:lnTo>
                  <a:lnTo>
                    <a:pt x="36734" y="173"/>
                  </a:lnTo>
                  <a:lnTo>
                    <a:pt x="36493" y="139"/>
                  </a:lnTo>
                  <a:lnTo>
                    <a:pt x="34212" y="35"/>
                  </a:lnTo>
                  <a:lnTo>
                    <a:pt x="32035" y="1"/>
                  </a:lnTo>
                  <a:close/>
                </a:path>
              </a:pathLst>
            </a:custGeom>
            <a:solidFill>
              <a:srgbClr val="EB8C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1" name="Google Shape;14149;p81">
              <a:extLst>
                <a:ext uri="{FF2B5EF4-FFF2-40B4-BE49-F238E27FC236}">
                  <a16:creationId xmlns:a16="http://schemas.microsoft.com/office/drawing/2014/main" id="{A9CB8CF4-F57D-112D-FC91-6D7B1F74693D}"/>
                </a:ext>
              </a:extLst>
            </p:cNvPr>
            <p:cNvSpPr/>
            <p:nvPr/>
          </p:nvSpPr>
          <p:spPr>
            <a:xfrm>
              <a:off x="2582375" y="3288575"/>
              <a:ext cx="286850" cy="267850"/>
            </a:xfrm>
            <a:custGeom>
              <a:avLst/>
              <a:gdLst/>
              <a:ahLst/>
              <a:cxnLst/>
              <a:rect l="l" t="t" r="r" b="b"/>
              <a:pathLst>
                <a:path w="11474" h="10714" extrusionOk="0">
                  <a:moveTo>
                    <a:pt x="1279" y="1"/>
                  </a:moveTo>
                  <a:lnTo>
                    <a:pt x="1037" y="35"/>
                  </a:lnTo>
                  <a:lnTo>
                    <a:pt x="795" y="104"/>
                  </a:lnTo>
                  <a:lnTo>
                    <a:pt x="553" y="208"/>
                  </a:lnTo>
                  <a:lnTo>
                    <a:pt x="346" y="381"/>
                  </a:lnTo>
                  <a:lnTo>
                    <a:pt x="208" y="588"/>
                  </a:lnTo>
                  <a:lnTo>
                    <a:pt x="70" y="795"/>
                  </a:lnTo>
                  <a:lnTo>
                    <a:pt x="0" y="1037"/>
                  </a:lnTo>
                  <a:lnTo>
                    <a:pt x="0" y="1279"/>
                  </a:lnTo>
                  <a:lnTo>
                    <a:pt x="0" y="1521"/>
                  </a:lnTo>
                  <a:lnTo>
                    <a:pt x="70" y="1763"/>
                  </a:lnTo>
                  <a:lnTo>
                    <a:pt x="208" y="2005"/>
                  </a:lnTo>
                  <a:lnTo>
                    <a:pt x="346" y="2178"/>
                  </a:lnTo>
                  <a:lnTo>
                    <a:pt x="1590" y="3422"/>
                  </a:lnTo>
                  <a:lnTo>
                    <a:pt x="4354" y="6083"/>
                  </a:lnTo>
                  <a:lnTo>
                    <a:pt x="5806" y="7465"/>
                  </a:lnTo>
                  <a:lnTo>
                    <a:pt x="6946" y="8502"/>
                  </a:lnTo>
                  <a:lnTo>
                    <a:pt x="7845" y="9296"/>
                  </a:lnTo>
                  <a:lnTo>
                    <a:pt x="8501" y="9849"/>
                  </a:lnTo>
                  <a:lnTo>
                    <a:pt x="8985" y="10195"/>
                  </a:lnTo>
                  <a:lnTo>
                    <a:pt x="9331" y="10437"/>
                  </a:lnTo>
                  <a:lnTo>
                    <a:pt x="9538" y="10540"/>
                  </a:lnTo>
                  <a:lnTo>
                    <a:pt x="9711" y="10609"/>
                  </a:lnTo>
                  <a:lnTo>
                    <a:pt x="9953" y="10679"/>
                  </a:lnTo>
                  <a:lnTo>
                    <a:pt x="10195" y="10713"/>
                  </a:lnTo>
                  <a:lnTo>
                    <a:pt x="10367" y="10679"/>
                  </a:lnTo>
                  <a:lnTo>
                    <a:pt x="10575" y="10644"/>
                  </a:lnTo>
                  <a:lnTo>
                    <a:pt x="10747" y="10575"/>
                  </a:lnTo>
                  <a:lnTo>
                    <a:pt x="10886" y="10506"/>
                  </a:lnTo>
                  <a:lnTo>
                    <a:pt x="11058" y="10368"/>
                  </a:lnTo>
                  <a:lnTo>
                    <a:pt x="11162" y="10229"/>
                  </a:lnTo>
                  <a:lnTo>
                    <a:pt x="11300" y="10091"/>
                  </a:lnTo>
                  <a:lnTo>
                    <a:pt x="11369" y="9884"/>
                  </a:lnTo>
                  <a:lnTo>
                    <a:pt x="11439" y="9642"/>
                  </a:lnTo>
                  <a:lnTo>
                    <a:pt x="11473" y="9400"/>
                  </a:lnTo>
                  <a:lnTo>
                    <a:pt x="11439" y="9158"/>
                  </a:lnTo>
                  <a:lnTo>
                    <a:pt x="11369" y="8916"/>
                  </a:lnTo>
                  <a:lnTo>
                    <a:pt x="11266" y="8709"/>
                  </a:lnTo>
                  <a:lnTo>
                    <a:pt x="11093" y="8536"/>
                  </a:lnTo>
                  <a:lnTo>
                    <a:pt x="10920" y="8363"/>
                  </a:lnTo>
                  <a:lnTo>
                    <a:pt x="10678" y="8260"/>
                  </a:lnTo>
                  <a:lnTo>
                    <a:pt x="10471" y="8121"/>
                  </a:lnTo>
                  <a:lnTo>
                    <a:pt x="10229" y="7914"/>
                  </a:lnTo>
                  <a:lnTo>
                    <a:pt x="9503" y="7327"/>
                  </a:lnTo>
                  <a:lnTo>
                    <a:pt x="8536" y="6497"/>
                  </a:lnTo>
                  <a:lnTo>
                    <a:pt x="7430" y="5495"/>
                  </a:lnTo>
                  <a:lnTo>
                    <a:pt x="4873" y="3042"/>
                  </a:lnTo>
                  <a:lnTo>
                    <a:pt x="2177" y="381"/>
                  </a:lnTo>
                  <a:lnTo>
                    <a:pt x="1970" y="208"/>
                  </a:lnTo>
                  <a:lnTo>
                    <a:pt x="1763" y="104"/>
                  </a:lnTo>
                  <a:lnTo>
                    <a:pt x="1521" y="35"/>
                  </a:lnTo>
                  <a:lnTo>
                    <a:pt x="1279"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2" name="Google Shape;14150;p81">
              <a:extLst>
                <a:ext uri="{FF2B5EF4-FFF2-40B4-BE49-F238E27FC236}">
                  <a16:creationId xmlns:a16="http://schemas.microsoft.com/office/drawing/2014/main" id="{8405B648-7C97-5EEA-176D-27CDCCFDB91D}"/>
                </a:ext>
              </a:extLst>
            </p:cNvPr>
            <p:cNvSpPr/>
            <p:nvPr/>
          </p:nvSpPr>
          <p:spPr>
            <a:xfrm>
              <a:off x="2575450" y="3304125"/>
              <a:ext cx="307600" cy="245375"/>
            </a:xfrm>
            <a:custGeom>
              <a:avLst/>
              <a:gdLst/>
              <a:ahLst/>
              <a:cxnLst/>
              <a:rect l="l" t="t" r="r" b="b"/>
              <a:pathLst>
                <a:path w="12304" h="9815" extrusionOk="0">
                  <a:moveTo>
                    <a:pt x="10921" y="1"/>
                  </a:moveTo>
                  <a:lnTo>
                    <a:pt x="10506" y="70"/>
                  </a:lnTo>
                  <a:lnTo>
                    <a:pt x="10091" y="139"/>
                  </a:lnTo>
                  <a:lnTo>
                    <a:pt x="9677" y="243"/>
                  </a:lnTo>
                  <a:lnTo>
                    <a:pt x="9262" y="346"/>
                  </a:lnTo>
                  <a:lnTo>
                    <a:pt x="8467" y="657"/>
                  </a:lnTo>
                  <a:lnTo>
                    <a:pt x="7672" y="1037"/>
                  </a:lnTo>
                  <a:lnTo>
                    <a:pt x="6878" y="1452"/>
                  </a:lnTo>
                  <a:lnTo>
                    <a:pt x="6152" y="1970"/>
                  </a:lnTo>
                  <a:lnTo>
                    <a:pt x="5426" y="2489"/>
                  </a:lnTo>
                  <a:lnTo>
                    <a:pt x="4735" y="3076"/>
                  </a:lnTo>
                  <a:lnTo>
                    <a:pt x="4044" y="3664"/>
                  </a:lnTo>
                  <a:lnTo>
                    <a:pt x="3422" y="4251"/>
                  </a:lnTo>
                  <a:lnTo>
                    <a:pt x="2800" y="4873"/>
                  </a:lnTo>
                  <a:lnTo>
                    <a:pt x="2213" y="5495"/>
                  </a:lnTo>
                  <a:lnTo>
                    <a:pt x="1176" y="6670"/>
                  </a:lnTo>
                  <a:lnTo>
                    <a:pt x="312" y="7707"/>
                  </a:lnTo>
                  <a:lnTo>
                    <a:pt x="139" y="7949"/>
                  </a:lnTo>
                  <a:lnTo>
                    <a:pt x="70" y="8156"/>
                  </a:lnTo>
                  <a:lnTo>
                    <a:pt x="1" y="8398"/>
                  </a:lnTo>
                  <a:lnTo>
                    <a:pt x="1" y="8640"/>
                  </a:lnTo>
                  <a:lnTo>
                    <a:pt x="35" y="8882"/>
                  </a:lnTo>
                  <a:lnTo>
                    <a:pt x="139" y="9124"/>
                  </a:lnTo>
                  <a:lnTo>
                    <a:pt x="277" y="9331"/>
                  </a:lnTo>
                  <a:lnTo>
                    <a:pt x="450" y="9504"/>
                  </a:lnTo>
                  <a:lnTo>
                    <a:pt x="658" y="9642"/>
                  </a:lnTo>
                  <a:lnTo>
                    <a:pt x="865" y="9746"/>
                  </a:lnTo>
                  <a:lnTo>
                    <a:pt x="1072" y="9815"/>
                  </a:lnTo>
                  <a:lnTo>
                    <a:pt x="1280" y="9815"/>
                  </a:lnTo>
                  <a:lnTo>
                    <a:pt x="1556" y="9780"/>
                  </a:lnTo>
                  <a:lnTo>
                    <a:pt x="1798" y="9711"/>
                  </a:lnTo>
                  <a:lnTo>
                    <a:pt x="2040" y="9573"/>
                  </a:lnTo>
                  <a:lnTo>
                    <a:pt x="2247" y="9365"/>
                  </a:lnTo>
                  <a:lnTo>
                    <a:pt x="3042" y="8432"/>
                  </a:lnTo>
                  <a:lnTo>
                    <a:pt x="3975" y="7396"/>
                  </a:lnTo>
                  <a:lnTo>
                    <a:pt x="5012" y="6290"/>
                  </a:lnTo>
                  <a:lnTo>
                    <a:pt x="5565" y="5737"/>
                  </a:lnTo>
                  <a:lnTo>
                    <a:pt x="6117" y="5219"/>
                  </a:lnTo>
                  <a:lnTo>
                    <a:pt x="6705" y="4735"/>
                  </a:lnTo>
                  <a:lnTo>
                    <a:pt x="7327" y="4251"/>
                  </a:lnTo>
                  <a:lnTo>
                    <a:pt x="7949" y="3802"/>
                  </a:lnTo>
                  <a:lnTo>
                    <a:pt x="8571" y="3422"/>
                  </a:lnTo>
                  <a:lnTo>
                    <a:pt x="9227" y="3111"/>
                  </a:lnTo>
                  <a:lnTo>
                    <a:pt x="9850" y="2834"/>
                  </a:lnTo>
                  <a:lnTo>
                    <a:pt x="10506" y="2662"/>
                  </a:lnTo>
                  <a:lnTo>
                    <a:pt x="10852" y="2592"/>
                  </a:lnTo>
                  <a:lnTo>
                    <a:pt x="11163" y="2558"/>
                  </a:lnTo>
                  <a:lnTo>
                    <a:pt x="11405" y="2489"/>
                  </a:lnTo>
                  <a:lnTo>
                    <a:pt x="11646" y="2420"/>
                  </a:lnTo>
                  <a:lnTo>
                    <a:pt x="11854" y="2281"/>
                  </a:lnTo>
                  <a:lnTo>
                    <a:pt x="12027" y="2109"/>
                  </a:lnTo>
                  <a:lnTo>
                    <a:pt x="12165" y="1901"/>
                  </a:lnTo>
                  <a:lnTo>
                    <a:pt x="12268" y="1659"/>
                  </a:lnTo>
                  <a:lnTo>
                    <a:pt x="12303" y="1417"/>
                  </a:lnTo>
                  <a:lnTo>
                    <a:pt x="12303" y="1176"/>
                  </a:lnTo>
                  <a:lnTo>
                    <a:pt x="12268" y="899"/>
                  </a:lnTo>
                  <a:lnTo>
                    <a:pt x="12165" y="692"/>
                  </a:lnTo>
                  <a:lnTo>
                    <a:pt x="12027" y="484"/>
                  </a:lnTo>
                  <a:lnTo>
                    <a:pt x="11854" y="312"/>
                  </a:lnTo>
                  <a:lnTo>
                    <a:pt x="11646" y="173"/>
                  </a:lnTo>
                  <a:lnTo>
                    <a:pt x="11439" y="70"/>
                  </a:lnTo>
                  <a:lnTo>
                    <a:pt x="11197"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3" name="Google Shape;14151;p81">
              <a:extLst>
                <a:ext uri="{FF2B5EF4-FFF2-40B4-BE49-F238E27FC236}">
                  <a16:creationId xmlns:a16="http://schemas.microsoft.com/office/drawing/2014/main" id="{93452158-70DC-4A09-19B6-6D57DCFD953D}"/>
                </a:ext>
              </a:extLst>
            </p:cNvPr>
            <p:cNvSpPr/>
            <p:nvPr/>
          </p:nvSpPr>
          <p:spPr>
            <a:xfrm>
              <a:off x="2291225" y="1164225"/>
              <a:ext cx="229825" cy="150350"/>
            </a:xfrm>
            <a:custGeom>
              <a:avLst/>
              <a:gdLst/>
              <a:ahLst/>
              <a:cxnLst/>
              <a:rect l="l" t="t" r="r" b="b"/>
              <a:pathLst>
                <a:path w="9193" h="6014" extrusionOk="0">
                  <a:moveTo>
                    <a:pt x="139" y="0"/>
                  </a:moveTo>
                  <a:lnTo>
                    <a:pt x="70" y="35"/>
                  </a:lnTo>
                  <a:lnTo>
                    <a:pt x="1" y="104"/>
                  </a:lnTo>
                  <a:lnTo>
                    <a:pt x="1" y="208"/>
                  </a:lnTo>
                  <a:lnTo>
                    <a:pt x="1" y="277"/>
                  </a:lnTo>
                  <a:lnTo>
                    <a:pt x="70" y="346"/>
                  </a:lnTo>
                  <a:lnTo>
                    <a:pt x="139" y="381"/>
                  </a:lnTo>
                  <a:lnTo>
                    <a:pt x="208" y="415"/>
                  </a:lnTo>
                  <a:lnTo>
                    <a:pt x="5081" y="415"/>
                  </a:lnTo>
                  <a:lnTo>
                    <a:pt x="8813" y="5944"/>
                  </a:lnTo>
                  <a:lnTo>
                    <a:pt x="8882" y="6013"/>
                  </a:lnTo>
                  <a:lnTo>
                    <a:pt x="8986" y="6013"/>
                  </a:lnTo>
                  <a:lnTo>
                    <a:pt x="9089" y="5979"/>
                  </a:lnTo>
                  <a:lnTo>
                    <a:pt x="9158" y="5944"/>
                  </a:lnTo>
                  <a:lnTo>
                    <a:pt x="9193" y="5840"/>
                  </a:lnTo>
                  <a:lnTo>
                    <a:pt x="9193" y="5771"/>
                  </a:lnTo>
                  <a:lnTo>
                    <a:pt x="9158" y="5702"/>
                  </a:lnTo>
                  <a:lnTo>
                    <a:pt x="5357" y="70"/>
                  </a:lnTo>
                  <a:lnTo>
                    <a:pt x="5288" y="0"/>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4" name="Google Shape;14152;p81">
              <a:extLst>
                <a:ext uri="{FF2B5EF4-FFF2-40B4-BE49-F238E27FC236}">
                  <a16:creationId xmlns:a16="http://schemas.microsoft.com/office/drawing/2014/main" id="{3F1043E6-9D84-955E-727B-9D14AEB223EB}"/>
                </a:ext>
              </a:extLst>
            </p:cNvPr>
            <p:cNvSpPr/>
            <p:nvPr/>
          </p:nvSpPr>
          <p:spPr>
            <a:xfrm>
              <a:off x="1823850" y="1149550"/>
              <a:ext cx="143450" cy="39750"/>
            </a:xfrm>
            <a:custGeom>
              <a:avLst/>
              <a:gdLst/>
              <a:ahLst/>
              <a:cxnLst/>
              <a:rect l="l" t="t" r="r" b="b"/>
              <a:pathLst>
                <a:path w="5738" h="1590" extrusionOk="0">
                  <a:moveTo>
                    <a:pt x="174" y="0"/>
                  </a:moveTo>
                  <a:lnTo>
                    <a:pt x="70" y="69"/>
                  </a:lnTo>
                  <a:lnTo>
                    <a:pt x="1" y="173"/>
                  </a:lnTo>
                  <a:lnTo>
                    <a:pt x="1" y="311"/>
                  </a:lnTo>
                  <a:lnTo>
                    <a:pt x="1" y="1244"/>
                  </a:lnTo>
                  <a:lnTo>
                    <a:pt x="1" y="1382"/>
                  </a:lnTo>
                  <a:lnTo>
                    <a:pt x="70" y="1486"/>
                  </a:lnTo>
                  <a:lnTo>
                    <a:pt x="174" y="1555"/>
                  </a:lnTo>
                  <a:lnTo>
                    <a:pt x="312" y="1590"/>
                  </a:lnTo>
                  <a:lnTo>
                    <a:pt x="5426" y="1590"/>
                  </a:lnTo>
                  <a:lnTo>
                    <a:pt x="5564" y="1555"/>
                  </a:lnTo>
                  <a:lnTo>
                    <a:pt x="5668" y="1486"/>
                  </a:lnTo>
                  <a:lnTo>
                    <a:pt x="5737" y="1382"/>
                  </a:lnTo>
                  <a:lnTo>
                    <a:pt x="5737" y="1244"/>
                  </a:lnTo>
                  <a:lnTo>
                    <a:pt x="5737" y="311"/>
                  </a:lnTo>
                  <a:lnTo>
                    <a:pt x="5737" y="173"/>
                  </a:lnTo>
                  <a:lnTo>
                    <a:pt x="5668" y="69"/>
                  </a:lnTo>
                  <a:lnTo>
                    <a:pt x="5564"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5" name="Google Shape;14153;p81">
              <a:extLst>
                <a:ext uri="{FF2B5EF4-FFF2-40B4-BE49-F238E27FC236}">
                  <a16:creationId xmlns:a16="http://schemas.microsoft.com/office/drawing/2014/main" id="{630FA748-6F6C-8952-D037-4E0FDAA1D162}"/>
                </a:ext>
              </a:extLst>
            </p:cNvPr>
            <p:cNvSpPr/>
            <p:nvPr/>
          </p:nvSpPr>
          <p:spPr>
            <a:xfrm>
              <a:off x="1823850" y="1149550"/>
              <a:ext cx="143450" cy="39750"/>
            </a:xfrm>
            <a:custGeom>
              <a:avLst/>
              <a:gdLst/>
              <a:ahLst/>
              <a:cxnLst/>
              <a:rect l="l" t="t" r="r" b="b"/>
              <a:pathLst>
                <a:path w="5738" h="1590" fill="none" extrusionOk="0">
                  <a:moveTo>
                    <a:pt x="5426" y="0"/>
                  </a:moveTo>
                  <a:lnTo>
                    <a:pt x="312" y="0"/>
                  </a:lnTo>
                  <a:lnTo>
                    <a:pt x="312" y="0"/>
                  </a:lnTo>
                  <a:lnTo>
                    <a:pt x="174" y="0"/>
                  </a:lnTo>
                  <a:lnTo>
                    <a:pt x="70" y="69"/>
                  </a:lnTo>
                  <a:lnTo>
                    <a:pt x="1" y="173"/>
                  </a:lnTo>
                  <a:lnTo>
                    <a:pt x="1" y="311"/>
                  </a:lnTo>
                  <a:lnTo>
                    <a:pt x="1" y="1244"/>
                  </a:lnTo>
                  <a:lnTo>
                    <a:pt x="1" y="1244"/>
                  </a:lnTo>
                  <a:lnTo>
                    <a:pt x="1" y="1382"/>
                  </a:lnTo>
                  <a:lnTo>
                    <a:pt x="70" y="1486"/>
                  </a:lnTo>
                  <a:lnTo>
                    <a:pt x="174" y="1555"/>
                  </a:lnTo>
                  <a:lnTo>
                    <a:pt x="312" y="1590"/>
                  </a:lnTo>
                  <a:lnTo>
                    <a:pt x="5426" y="1590"/>
                  </a:lnTo>
                  <a:lnTo>
                    <a:pt x="5426" y="1590"/>
                  </a:lnTo>
                  <a:lnTo>
                    <a:pt x="5564" y="1555"/>
                  </a:lnTo>
                  <a:lnTo>
                    <a:pt x="5668" y="1486"/>
                  </a:lnTo>
                  <a:lnTo>
                    <a:pt x="5737" y="1382"/>
                  </a:lnTo>
                  <a:lnTo>
                    <a:pt x="5737" y="1244"/>
                  </a:lnTo>
                  <a:lnTo>
                    <a:pt x="5737" y="311"/>
                  </a:lnTo>
                  <a:lnTo>
                    <a:pt x="5737" y="311"/>
                  </a:lnTo>
                  <a:lnTo>
                    <a:pt x="5737" y="173"/>
                  </a:lnTo>
                  <a:lnTo>
                    <a:pt x="5668" y="69"/>
                  </a:lnTo>
                  <a:lnTo>
                    <a:pt x="5564" y="0"/>
                  </a:lnTo>
                  <a:lnTo>
                    <a:pt x="5426"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6" name="Google Shape;14154;p81">
              <a:extLst>
                <a:ext uri="{FF2B5EF4-FFF2-40B4-BE49-F238E27FC236}">
                  <a16:creationId xmlns:a16="http://schemas.microsoft.com/office/drawing/2014/main" id="{57FE0288-2C5B-01FD-DF9D-9020B19504E4}"/>
                </a:ext>
              </a:extLst>
            </p:cNvPr>
            <p:cNvSpPr/>
            <p:nvPr/>
          </p:nvSpPr>
          <p:spPr>
            <a:xfrm>
              <a:off x="2019100" y="1149550"/>
              <a:ext cx="133075" cy="39750"/>
            </a:xfrm>
            <a:custGeom>
              <a:avLst/>
              <a:gdLst/>
              <a:ahLst/>
              <a:cxnLst/>
              <a:rect l="l" t="t" r="r" b="b"/>
              <a:pathLst>
                <a:path w="5323" h="1590" extrusionOk="0">
                  <a:moveTo>
                    <a:pt x="173" y="0"/>
                  </a:moveTo>
                  <a:lnTo>
                    <a:pt x="70" y="69"/>
                  </a:lnTo>
                  <a:lnTo>
                    <a:pt x="1" y="173"/>
                  </a:lnTo>
                  <a:lnTo>
                    <a:pt x="1" y="276"/>
                  </a:lnTo>
                  <a:lnTo>
                    <a:pt x="1" y="1279"/>
                  </a:lnTo>
                  <a:lnTo>
                    <a:pt x="1" y="1417"/>
                  </a:lnTo>
                  <a:lnTo>
                    <a:pt x="70" y="1486"/>
                  </a:lnTo>
                  <a:lnTo>
                    <a:pt x="173" y="1555"/>
                  </a:lnTo>
                  <a:lnTo>
                    <a:pt x="277" y="1590"/>
                  </a:lnTo>
                  <a:lnTo>
                    <a:pt x="5011" y="1590"/>
                  </a:lnTo>
                  <a:lnTo>
                    <a:pt x="5115" y="1555"/>
                  </a:lnTo>
                  <a:lnTo>
                    <a:pt x="5219" y="1486"/>
                  </a:lnTo>
                  <a:lnTo>
                    <a:pt x="5288" y="1417"/>
                  </a:lnTo>
                  <a:lnTo>
                    <a:pt x="5322" y="1279"/>
                  </a:lnTo>
                  <a:lnTo>
                    <a:pt x="5322" y="276"/>
                  </a:lnTo>
                  <a:lnTo>
                    <a:pt x="5288" y="173"/>
                  </a:lnTo>
                  <a:lnTo>
                    <a:pt x="5219" y="69"/>
                  </a:lnTo>
                  <a:lnTo>
                    <a:pt x="5115"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7" name="Google Shape;14155;p81">
              <a:extLst>
                <a:ext uri="{FF2B5EF4-FFF2-40B4-BE49-F238E27FC236}">
                  <a16:creationId xmlns:a16="http://schemas.microsoft.com/office/drawing/2014/main" id="{8B20629B-B89A-771D-1E0B-334BEB514122}"/>
                </a:ext>
              </a:extLst>
            </p:cNvPr>
            <p:cNvSpPr/>
            <p:nvPr/>
          </p:nvSpPr>
          <p:spPr>
            <a:xfrm>
              <a:off x="2019100" y="1149550"/>
              <a:ext cx="133075" cy="39750"/>
            </a:xfrm>
            <a:custGeom>
              <a:avLst/>
              <a:gdLst/>
              <a:ahLst/>
              <a:cxnLst/>
              <a:rect l="l" t="t" r="r" b="b"/>
              <a:pathLst>
                <a:path w="5323" h="1590" fill="none" extrusionOk="0">
                  <a:moveTo>
                    <a:pt x="5011" y="0"/>
                  </a:moveTo>
                  <a:lnTo>
                    <a:pt x="277" y="0"/>
                  </a:lnTo>
                  <a:lnTo>
                    <a:pt x="277" y="0"/>
                  </a:lnTo>
                  <a:lnTo>
                    <a:pt x="173" y="0"/>
                  </a:lnTo>
                  <a:lnTo>
                    <a:pt x="70" y="69"/>
                  </a:lnTo>
                  <a:lnTo>
                    <a:pt x="1" y="173"/>
                  </a:lnTo>
                  <a:lnTo>
                    <a:pt x="1" y="276"/>
                  </a:lnTo>
                  <a:lnTo>
                    <a:pt x="1" y="1279"/>
                  </a:lnTo>
                  <a:lnTo>
                    <a:pt x="1" y="1279"/>
                  </a:lnTo>
                  <a:lnTo>
                    <a:pt x="1" y="1417"/>
                  </a:lnTo>
                  <a:lnTo>
                    <a:pt x="70" y="1486"/>
                  </a:lnTo>
                  <a:lnTo>
                    <a:pt x="173" y="1555"/>
                  </a:lnTo>
                  <a:lnTo>
                    <a:pt x="277" y="1590"/>
                  </a:lnTo>
                  <a:lnTo>
                    <a:pt x="5011" y="1590"/>
                  </a:lnTo>
                  <a:lnTo>
                    <a:pt x="5011" y="1590"/>
                  </a:lnTo>
                  <a:lnTo>
                    <a:pt x="5115" y="1555"/>
                  </a:lnTo>
                  <a:lnTo>
                    <a:pt x="5219" y="1486"/>
                  </a:lnTo>
                  <a:lnTo>
                    <a:pt x="5288" y="1417"/>
                  </a:lnTo>
                  <a:lnTo>
                    <a:pt x="5322" y="1279"/>
                  </a:lnTo>
                  <a:lnTo>
                    <a:pt x="5322" y="276"/>
                  </a:lnTo>
                  <a:lnTo>
                    <a:pt x="5322" y="276"/>
                  </a:lnTo>
                  <a:lnTo>
                    <a:pt x="5288" y="173"/>
                  </a:lnTo>
                  <a:lnTo>
                    <a:pt x="5219" y="69"/>
                  </a:lnTo>
                  <a:lnTo>
                    <a:pt x="5115" y="0"/>
                  </a:lnTo>
                  <a:lnTo>
                    <a:pt x="501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8" name="Google Shape;14156;p81">
              <a:extLst>
                <a:ext uri="{FF2B5EF4-FFF2-40B4-BE49-F238E27FC236}">
                  <a16:creationId xmlns:a16="http://schemas.microsoft.com/office/drawing/2014/main" id="{08CF20C1-8611-C4AC-50DD-98F52033F085}"/>
                </a:ext>
              </a:extLst>
            </p:cNvPr>
            <p:cNvSpPr/>
            <p:nvPr/>
          </p:nvSpPr>
          <p:spPr>
            <a:xfrm>
              <a:off x="2165975" y="1149550"/>
              <a:ext cx="82950" cy="39750"/>
            </a:xfrm>
            <a:custGeom>
              <a:avLst/>
              <a:gdLst/>
              <a:ahLst/>
              <a:cxnLst/>
              <a:rect l="l" t="t" r="r" b="b"/>
              <a:pathLst>
                <a:path w="3318" h="1590" extrusionOk="0">
                  <a:moveTo>
                    <a:pt x="208" y="0"/>
                  </a:moveTo>
                  <a:lnTo>
                    <a:pt x="104" y="69"/>
                  </a:lnTo>
                  <a:lnTo>
                    <a:pt x="35" y="173"/>
                  </a:lnTo>
                  <a:lnTo>
                    <a:pt x="0" y="276"/>
                  </a:lnTo>
                  <a:lnTo>
                    <a:pt x="0" y="1279"/>
                  </a:lnTo>
                  <a:lnTo>
                    <a:pt x="35" y="1417"/>
                  </a:lnTo>
                  <a:lnTo>
                    <a:pt x="104" y="1486"/>
                  </a:lnTo>
                  <a:lnTo>
                    <a:pt x="208" y="1555"/>
                  </a:lnTo>
                  <a:lnTo>
                    <a:pt x="311" y="1590"/>
                  </a:lnTo>
                  <a:lnTo>
                    <a:pt x="3007" y="1590"/>
                  </a:lnTo>
                  <a:lnTo>
                    <a:pt x="3145" y="1555"/>
                  </a:lnTo>
                  <a:lnTo>
                    <a:pt x="3214" y="1486"/>
                  </a:lnTo>
                  <a:lnTo>
                    <a:pt x="3283" y="1417"/>
                  </a:lnTo>
                  <a:lnTo>
                    <a:pt x="3318" y="1279"/>
                  </a:lnTo>
                  <a:lnTo>
                    <a:pt x="3318" y="276"/>
                  </a:lnTo>
                  <a:lnTo>
                    <a:pt x="3283" y="173"/>
                  </a:lnTo>
                  <a:lnTo>
                    <a:pt x="3214" y="69"/>
                  </a:lnTo>
                  <a:lnTo>
                    <a:pt x="3145"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9" name="Google Shape;14157;p81">
              <a:extLst>
                <a:ext uri="{FF2B5EF4-FFF2-40B4-BE49-F238E27FC236}">
                  <a16:creationId xmlns:a16="http://schemas.microsoft.com/office/drawing/2014/main" id="{7BEC62C4-F600-20AF-E99C-EB46B07BFE93}"/>
                </a:ext>
              </a:extLst>
            </p:cNvPr>
            <p:cNvSpPr/>
            <p:nvPr/>
          </p:nvSpPr>
          <p:spPr>
            <a:xfrm>
              <a:off x="2165975" y="1149550"/>
              <a:ext cx="82950" cy="39750"/>
            </a:xfrm>
            <a:custGeom>
              <a:avLst/>
              <a:gdLst/>
              <a:ahLst/>
              <a:cxnLst/>
              <a:rect l="l" t="t" r="r" b="b"/>
              <a:pathLst>
                <a:path w="3318" h="1590" fill="none" extrusionOk="0">
                  <a:moveTo>
                    <a:pt x="3007" y="0"/>
                  </a:moveTo>
                  <a:lnTo>
                    <a:pt x="311" y="0"/>
                  </a:lnTo>
                  <a:lnTo>
                    <a:pt x="311" y="0"/>
                  </a:lnTo>
                  <a:lnTo>
                    <a:pt x="208" y="0"/>
                  </a:lnTo>
                  <a:lnTo>
                    <a:pt x="104" y="69"/>
                  </a:lnTo>
                  <a:lnTo>
                    <a:pt x="35" y="173"/>
                  </a:lnTo>
                  <a:lnTo>
                    <a:pt x="0" y="276"/>
                  </a:lnTo>
                  <a:lnTo>
                    <a:pt x="0" y="1279"/>
                  </a:lnTo>
                  <a:lnTo>
                    <a:pt x="0" y="1279"/>
                  </a:lnTo>
                  <a:lnTo>
                    <a:pt x="35" y="1417"/>
                  </a:lnTo>
                  <a:lnTo>
                    <a:pt x="104" y="1486"/>
                  </a:lnTo>
                  <a:lnTo>
                    <a:pt x="208" y="1555"/>
                  </a:lnTo>
                  <a:lnTo>
                    <a:pt x="311" y="1590"/>
                  </a:lnTo>
                  <a:lnTo>
                    <a:pt x="3007" y="1590"/>
                  </a:lnTo>
                  <a:lnTo>
                    <a:pt x="3007" y="1590"/>
                  </a:lnTo>
                  <a:lnTo>
                    <a:pt x="3145" y="1555"/>
                  </a:lnTo>
                  <a:lnTo>
                    <a:pt x="3214" y="1486"/>
                  </a:lnTo>
                  <a:lnTo>
                    <a:pt x="3283" y="1417"/>
                  </a:lnTo>
                  <a:lnTo>
                    <a:pt x="3318" y="1279"/>
                  </a:lnTo>
                  <a:lnTo>
                    <a:pt x="3318" y="276"/>
                  </a:lnTo>
                  <a:lnTo>
                    <a:pt x="3318" y="276"/>
                  </a:lnTo>
                  <a:lnTo>
                    <a:pt x="3283" y="173"/>
                  </a:lnTo>
                  <a:lnTo>
                    <a:pt x="3214" y="69"/>
                  </a:lnTo>
                  <a:lnTo>
                    <a:pt x="3145" y="0"/>
                  </a:lnTo>
                  <a:lnTo>
                    <a:pt x="3007"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0" name="Google Shape;14158;p81">
              <a:extLst>
                <a:ext uri="{FF2B5EF4-FFF2-40B4-BE49-F238E27FC236}">
                  <a16:creationId xmlns:a16="http://schemas.microsoft.com/office/drawing/2014/main" id="{2C3D759F-6237-D469-C2F9-E7A0541E8895}"/>
                </a:ext>
              </a:extLst>
            </p:cNvPr>
            <p:cNvSpPr/>
            <p:nvPr/>
          </p:nvSpPr>
          <p:spPr>
            <a:xfrm>
              <a:off x="2394050" y="1300725"/>
              <a:ext cx="286825" cy="266975"/>
            </a:xfrm>
            <a:custGeom>
              <a:avLst/>
              <a:gdLst/>
              <a:ahLst/>
              <a:cxnLst/>
              <a:rect l="l" t="t" r="r" b="b"/>
              <a:pathLst>
                <a:path w="11473" h="10679" extrusionOk="0">
                  <a:moveTo>
                    <a:pt x="1037" y="0"/>
                  </a:moveTo>
                  <a:lnTo>
                    <a:pt x="795" y="69"/>
                  </a:lnTo>
                  <a:lnTo>
                    <a:pt x="588" y="208"/>
                  </a:lnTo>
                  <a:lnTo>
                    <a:pt x="380" y="380"/>
                  </a:lnTo>
                  <a:lnTo>
                    <a:pt x="207" y="553"/>
                  </a:lnTo>
                  <a:lnTo>
                    <a:pt x="104" y="795"/>
                  </a:lnTo>
                  <a:lnTo>
                    <a:pt x="35" y="1037"/>
                  </a:lnTo>
                  <a:lnTo>
                    <a:pt x="0" y="1279"/>
                  </a:lnTo>
                  <a:lnTo>
                    <a:pt x="35" y="1521"/>
                  </a:lnTo>
                  <a:lnTo>
                    <a:pt x="104" y="1763"/>
                  </a:lnTo>
                  <a:lnTo>
                    <a:pt x="207" y="1970"/>
                  </a:lnTo>
                  <a:lnTo>
                    <a:pt x="380" y="2177"/>
                  </a:lnTo>
                  <a:lnTo>
                    <a:pt x="1590" y="3387"/>
                  </a:lnTo>
                  <a:lnTo>
                    <a:pt x="4354" y="6048"/>
                  </a:lnTo>
                  <a:lnTo>
                    <a:pt x="5806" y="7430"/>
                  </a:lnTo>
                  <a:lnTo>
                    <a:pt x="6980" y="8467"/>
                  </a:lnTo>
                  <a:lnTo>
                    <a:pt x="7844" y="9261"/>
                  </a:lnTo>
                  <a:lnTo>
                    <a:pt x="8536" y="9814"/>
                  </a:lnTo>
                  <a:lnTo>
                    <a:pt x="8985" y="10160"/>
                  </a:lnTo>
                  <a:lnTo>
                    <a:pt x="9330" y="10402"/>
                  </a:lnTo>
                  <a:lnTo>
                    <a:pt x="9572" y="10506"/>
                  </a:lnTo>
                  <a:lnTo>
                    <a:pt x="9710" y="10575"/>
                  </a:lnTo>
                  <a:lnTo>
                    <a:pt x="9952" y="10644"/>
                  </a:lnTo>
                  <a:lnTo>
                    <a:pt x="10194" y="10678"/>
                  </a:lnTo>
                  <a:lnTo>
                    <a:pt x="10402" y="10678"/>
                  </a:lnTo>
                  <a:lnTo>
                    <a:pt x="10574" y="10644"/>
                  </a:lnTo>
                  <a:lnTo>
                    <a:pt x="10747" y="10575"/>
                  </a:lnTo>
                  <a:lnTo>
                    <a:pt x="10920" y="10471"/>
                  </a:lnTo>
                  <a:lnTo>
                    <a:pt x="11058" y="10367"/>
                  </a:lnTo>
                  <a:lnTo>
                    <a:pt x="11196" y="10229"/>
                  </a:lnTo>
                  <a:lnTo>
                    <a:pt x="11300" y="10056"/>
                  </a:lnTo>
                  <a:lnTo>
                    <a:pt x="11369" y="9884"/>
                  </a:lnTo>
                  <a:lnTo>
                    <a:pt x="11473" y="9642"/>
                  </a:lnTo>
                  <a:lnTo>
                    <a:pt x="11473" y="9400"/>
                  </a:lnTo>
                  <a:lnTo>
                    <a:pt x="11438" y="9123"/>
                  </a:lnTo>
                  <a:lnTo>
                    <a:pt x="11369" y="8916"/>
                  </a:lnTo>
                  <a:lnTo>
                    <a:pt x="11265" y="8709"/>
                  </a:lnTo>
                  <a:lnTo>
                    <a:pt x="11093" y="8501"/>
                  </a:lnTo>
                  <a:lnTo>
                    <a:pt x="10920" y="8328"/>
                  </a:lnTo>
                  <a:lnTo>
                    <a:pt x="10678" y="8225"/>
                  </a:lnTo>
                  <a:lnTo>
                    <a:pt x="10505" y="8087"/>
                  </a:lnTo>
                  <a:lnTo>
                    <a:pt x="10229" y="7914"/>
                  </a:lnTo>
                  <a:lnTo>
                    <a:pt x="9503" y="7326"/>
                  </a:lnTo>
                  <a:lnTo>
                    <a:pt x="8570" y="6462"/>
                  </a:lnTo>
                  <a:lnTo>
                    <a:pt x="7430" y="5460"/>
                  </a:lnTo>
                  <a:lnTo>
                    <a:pt x="4873" y="3007"/>
                  </a:lnTo>
                  <a:lnTo>
                    <a:pt x="2177" y="380"/>
                  </a:lnTo>
                  <a:lnTo>
                    <a:pt x="1970" y="208"/>
                  </a:lnTo>
                  <a:lnTo>
                    <a:pt x="1762" y="69"/>
                  </a:lnTo>
                  <a:lnTo>
                    <a:pt x="1521" y="0"/>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1" name="Google Shape;14159;p81">
              <a:extLst>
                <a:ext uri="{FF2B5EF4-FFF2-40B4-BE49-F238E27FC236}">
                  <a16:creationId xmlns:a16="http://schemas.microsoft.com/office/drawing/2014/main" id="{7D1F9428-7DB8-4AC2-200C-DCFC69F3BDC8}"/>
                </a:ext>
              </a:extLst>
            </p:cNvPr>
            <p:cNvSpPr/>
            <p:nvPr/>
          </p:nvSpPr>
          <p:spPr>
            <a:xfrm>
              <a:off x="2387125" y="1316275"/>
              <a:ext cx="308450" cy="245375"/>
            </a:xfrm>
            <a:custGeom>
              <a:avLst/>
              <a:gdLst/>
              <a:ahLst/>
              <a:cxnLst/>
              <a:rect l="l" t="t" r="r" b="b"/>
              <a:pathLst>
                <a:path w="12338" h="9815" extrusionOk="0">
                  <a:moveTo>
                    <a:pt x="10920" y="0"/>
                  </a:moveTo>
                  <a:lnTo>
                    <a:pt x="10506" y="35"/>
                  </a:lnTo>
                  <a:lnTo>
                    <a:pt x="10091" y="104"/>
                  </a:lnTo>
                  <a:lnTo>
                    <a:pt x="9676" y="208"/>
                  </a:lnTo>
                  <a:lnTo>
                    <a:pt x="9262" y="346"/>
                  </a:lnTo>
                  <a:lnTo>
                    <a:pt x="8467" y="622"/>
                  </a:lnTo>
                  <a:lnTo>
                    <a:pt x="7672" y="1003"/>
                  </a:lnTo>
                  <a:lnTo>
                    <a:pt x="6912" y="1452"/>
                  </a:lnTo>
                  <a:lnTo>
                    <a:pt x="6152" y="1936"/>
                  </a:lnTo>
                  <a:lnTo>
                    <a:pt x="5426" y="2454"/>
                  </a:lnTo>
                  <a:lnTo>
                    <a:pt x="4735" y="3041"/>
                  </a:lnTo>
                  <a:lnTo>
                    <a:pt x="4044" y="3629"/>
                  </a:lnTo>
                  <a:lnTo>
                    <a:pt x="3422" y="4251"/>
                  </a:lnTo>
                  <a:lnTo>
                    <a:pt x="2800" y="4873"/>
                  </a:lnTo>
                  <a:lnTo>
                    <a:pt x="2247" y="5460"/>
                  </a:lnTo>
                  <a:lnTo>
                    <a:pt x="1210" y="6635"/>
                  </a:lnTo>
                  <a:lnTo>
                    <a:pt x="312" y="7706"/>
                  </a:lnTo>
                  <a:lnTo>
                    <a:pt x="173" y="7914"/>
                  </a:lnTo>
                  <a:lnTo>
                    <a:pt x="70" y="8156"/>
                  </a:lnTo>
                  <a:lnTo>
                    <a:pt x="1" y="8398"/>
                  </a:lnTo>
                  <a:lnTo>
                    <a:pt x="1" y="8639"/>
                  </a:lnTo>
                  <a:lnTo>
                    <a:pt x="70" y="8881"/>
                  </a:lnTo>
                  <a:lnTo>
                    <a:pt x="139" y="9089"/>
                  </a:lnTo>
                  <a:lnTo>
                    <a:pt x="277" y="9331"/>
                  </a:lnTo>
                  <a:lnTo>
                    <a:pt x="484" y="9503"/>
                  </a:lnTo>
                  <a:lnTo>
                    <a:pt x="657" y="9642"/>
                  </a:lnTo>
                  <a:lnTo>
                    <a:pt x="865" y="9711"/>
                  </a:lnTo>
                  <a:lnTo>
                    <a:pt x="1072" y="9780"/>
                  </a:lnTo>
                  <a:lnTo>
                    <a:pt x="1279" y="9814"/>
                  </a:lnTo>
                  <a:lnTo>
                    <a:pt x="1556" y="9780"/>
                  </a:lnTo>
                  <a:lnTo>
                    <a:pt x="1832" y="9676"/>
                  </a:lnTo>
                  <a:lnTo>
                    <a:pt x="2074" y="9538"/>
                  </a:lnTo>
                  <a:lnTo>
                    <a:pt x="2281" y="9331"/>
                  </a:lnTo>
                  <a:lnTo>
                    <a:pt x="3042" y="8398"/>
                  </a:lnTo>
                  <a:lnTo>
                    <a:pt x="3975" y="7361"/>
                  </a:lnTo>
                  <a:lnTo>
                    <a:pt x="5011" y="6290"/>
                  </a:lnTo>
                  <a:lnTo>
                    <a:pt x="5564" y="5737"/>
                  </a:lnTo>
                  <a:lnTo>
                    <a:pt x="6117" y="5218"/>
                  </a:lnTo>
                  <a:lnTo>
                    <a:pt x="6739" y="4700"/>
                  </a:lnTo>
                  <a:lnTo>
                    <a:pt x="7327" y="4216"/>
                  </a:lnTo>
                  <a:lnTo>
                    <a:pt x="7949" y="3802"/>
                  </a:lnTo>
                  <a:lnTo>
                    <a:pt x="8571" y="3421"/>
                  </a:lnTo>
                  <a:lnTo>
                    <a:pt x="9227" y="3076"/>
                  </a:lnTo>
                  <a:lnTo>
                    <a:pt x="9884" y="2834"/>
                  </a:lnTo>
                  <a:lnTo>
                    <a:pt x="10506" y="2627"/>
                  </a:lnTo>
                  <a:lnTo>
                    <a:pt x="10851" y="2558"/>
                  </a:lnTo>
                  <a:lnTo>
                    <a:pt x="11162" y="2523"/>
                  </a:lnTo>
                  <a:lnTo>
                    <a:pt x="11439" y="2488"/>
                  </a:lnTo>
                  <a:lnTo>
                    <a:pt x="11646" y="2385"/>
                  </a:lnTo>
                  <a:lnTo>
                    <a:pt x="11853" y="2247"/>
                  </a:lnTo>
                  <a:lnTo>
                    <a:pt x="12026" y="2074"/>
                  </a:lnTo>
                  <a:lnTo>
                    <a:pt x="12164" y="1866"/>
                  </a:lnTo>
                  <a:lnTo>
                    <a:pt x="12268" y="1659"/>
                  </a:lnTo>
                  <a:lnTo>
                    <a:pt x="12337" y="1417"/>
                  </a:lnTo>
                  <a:lnTo>
                    <a:pt x="12337" y="1141"/>
                  </a:lnTo>
                  <a:lnTo>
                    <a:pt x="12268" y="899"/>
                  </a:lnTo>
                  <a:lnTo>
                    <a:pt x="12164" y="657"/>
                  </a:lnTo>
                  <a:lnTo>
                    <a:pt x="12061" y="450"/>
                  </a:lnTo>
                  <a:lnTo>
                    <a:pt x="11888" y="277"/>
                  </a:lnTo>
                  <a:lnTo>
                    <a:pt x="11681" y="139"/>
                  </a:lnTo>
                  <a:lnTo>
                    <a:pt x="11439" y="35"/>
                  </a:lnTo>
                  <a:lnTo>
                    <a:pt x="11197" y="0"/>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2" name="Google Shape;14160;p81">
              <a:extLst>
                <a:ext uri="{FF2B5EF4-FFF2-40B4-BE49-F238E27FC236}">
                  <a16:creationId xmlns:a16="http://schemas.microsoft.com/office/drawing/2014/main" id="{A78C648F-280D-F4BD-DC22-790C9E011DBE}"/>
                </a:ext>
              </a:extLst>
            </p:cNvPr>
            <p:cNvSpPr/>
            <p:nvPr/>
          </p:nvSpPr>
          <p:spPr>
            <a:xfrm>
              <a:off x="3095525" y="2814300"/>
              <a:ext cx="353375" cy="327450"/>
            </a:xfrm>
            <a:custGeom>
              <a:avLst/>
              <a:gdLst/>
              <a:ahLst/>
              <a:cxnLst/>
              <a:rect l="l" t="t" r="r" b="b"/>
              <a:pathLst>
                <a:path w="14135" h="13098" extrusionOk="0">
                  <a:moveTo>
                    <a:pt x="1279" y="0"/>
                  </a:moveTo>
                  <a:lnTo>
                    <a:pt x="1038" y="35"/>
                  </a:lnTo>
                  <a:lnTo>
                    <a:pt x="830" y="104"/>
                  </a:lnTo>
                  <a:lnTo>
                    <a:pt x="588" y="208"/>
                  </a:lnTo>
                  <a:lnTo>
                    <a:pt x="381" y="380"/>
                  </a:lnTo>
                  <a:lnTo>
                    <a:pt x="243" y="588"/>
                  </a:lnTo>
                  <a:lnTo>
                    <a:pt x="105" y="795"/>
                  </a:lnTo>
                  <a:lnTo>
                    <a:pt x="35" y="1037"/>
                  </a:lnTo>
                  <a:lnTo>
                    <a:pt x="1" y="1279"/>
                  </a:lnTo>
                  <a:lnTo>
                    <a:pt x="35" y="1521"/>
                  </a:lnTo>
                  <a:lnTo>
                    <a:pt x="105" y="1763"/>
                  </a:lnTo>
                  <a:lnTo>
                    <a:pt x="243" y="1970"/>
                  </a:lnTo>
                  <a:lnTo>
                    <a:pt x="381" y="2177"/>
                  </a:lnTo>
                  <a:lnTo>
                    <a:pt x="1971" y="3767"/>
                  </a:lnTo>
                  <a:lnTo>
                    <a:pt x="3629" y="5356"/>
                  </a:lnTo>
                  <a:lnTo>
                    <a:pt x="5564" y="7222"/>
                  </a:lnTo>
                  <a:lnTo>
                    <a:pt x="7396" y="8950"/>
                  </a:lnTo>
                  <a:lnTo>
                    <a:pt x="8882" y="10298"/>
                  </a:lnTo>
                  <a:lnTo>
                    <a:pt x="10022" y="11300"/>
                  </a:lnTo>
                  <a:lnTo>
                    <a:pt x="10886" y="12026"/>
                  </a:lnTo>
                  <a:lnTo>
                    <a:pt x="11474" y="12475"/>
                  </a:lnTo>
                  <a:lnTo>
                    <a:pt x="11888" y="12751"/>
                  </a:lnTo>
                  <a:lnTo>
                    <a:pt x="12165" y="12924"/>
                  </a:lnTo>
                  <a:lnTo>
                    <a:pt x="12372" y="12993"/>
                  </a:lnTo>
                  <a:lnTo>
                    <a:pt x="12614" y="13063"/>
                  </a:lnTo>
                  <a:lnTo>
                    <a:pt x="12856" y="13097"/>
                  </a:lnTo>
                  <a:lnTo>
                    <a:pt x="13029" y="13063"/>
                  </a:lnTo>
                  <a:lnTo>
                    <a:pt x="13201" y="13028"/>
                  </a:lnTo>
                  <a:lnTo>
                    <a:pt x="13374" y="12959"/>
                  </a:lnTo>
                  <a:lnTo>
                    <a:pt x="13547" y="12855"/>
                  </a:lnTo>
                  <a:lnTo>
                    <a:pt x="13685" y="12751"/>
                  </a:lnTo>
                  <a:lnTo>
                    <a:pt x="13823" y="12613"/>
                  </a:lnTo>
                  <a:lnTo>
                    <a:pt x="13962" y="12475"/>
                  </a:lnTo>
                  <a:lnTo>
                    <a:pt x="14031" y="12268"/>
                  </a:lnTo>
                  <a:lnTo>
                    <a:pt x="14100" y="12026"/>
                  </a:lnTo>
                  <a:lnTo>
                    <a:pt x="14134" y="11784"/>
                  </a:lnTo>
                  <a:lnTo>
                    <a:pt x="14100" y="11542"/>
                  </a:lnTo>
                  <a:lnTo>
                    <a:pt x="14031" y="11300"/>
                  </a:lnTo>
                  <a:lnTo>
                    <a:pt x="13893" y="11093"/>
                  </a:lnTo>
                  <a:lnTo>
                    <a:pt x="13754" y="10885"/>
                  </a:lnTo>
                  <a:lnTo>
                    <a:pt x="13547" y="10747"/>
                  </a:lnTo>
                  <a:lnTo>
                    <a:pt x="13340" y="10609"/>
                  </a:lnTo>
                  <a:lnTo>
                    <a:pt x="13098" y="10471"/>
                  </a:lnTo>
                  <a:lnTo>
                    <a:pt x="12752" y="10229"/>
                  </a:lnTo>
                  <a:lnTo>
                    <a:pt x="11819" y="9469"/>
                  </a:lnTo>
                  <a:lnTo>
                    <a:pt x="10575" y="8397"/>
                  </a:lnTo>
                  <a:lnTo>
                    <a:pt x="9124" y="7084"/>
                  </a:lnTo>
                  <a:lnTo>
                    <a:pt x="7500" y="5529"/>
                  </a:lnTo>
                  <a:lnTo>
                    <a:pt x="5772" y="3871"/>
                  </a:lnTo>
                  <a:lnTo>
                    <a:pt x="3975" y="2143"/>
                  </a:lnTo>
                  <a:lnTo>
                    <a:pt x="2212" y="380"/>
                  </a:lnTo>
                  <a:lnTo>
                    <a:pt x="2005" y="208"/>
                  </a:lnTo>
                  <a:lnTo>
                    <a:pt x="1763" y="104"/>
                  </a:lnTo>
                  <a:lnTo>
                    <a:pt x="1556" y="35"/>
                  </a:lnTo>
                  <a:lnTo>
                    <a:pt x="1279" y="0"/>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3" name="Google Shape;14161;p81">
              <a:extLst>
                <a:ext uri="{FF2B5EF4-FFF2-40B4-BE49-F238E27FC236}">
                  <a16:creationId xmlns:a16="http://schemas.microsoft.com/office/drawing/2014/main" id="{E8EF0338-AB79-BC7D-C02F-8507D9A98807}"/>
                </a:ext>
              </a:extLst>
            </p:cNvPr>
            <p:cNvSpPr/>
            <p:nvPr/>
          </p:nvSpPr>
          <p:spPr>
            <a:xfrm>
              <a:off x="3087750" y="2834150"/>
              <a:ext cx="379300" cy="298950"/>
            </a:xfrm>
            <a:custGeom>
              <a:avLst/>
              <a:gdLst/>
              <a:ahLst/>
              <a:cxnLst/>
              <a:rect l="l" t="t" r="r" b="b"/>
              <a:pathLst>
                <a:path w="15172" h="11958" extrusionOk="0">
                  <a:moveTo>
                    <a:pt x="13789" y="1"/>
                  </a:moveTo>
                  <a:lnTo>
                    <a:pt x="13236" y="70"/>
                  </a:lnTo>
                  <a:lnTo>
                    <a:pt x="12718" y="174"/>
                  </a:lnTo>
                  <a:lnTo>
                    <a:pt x="12199" y="277"/>
                  </a:lnTo>
                  <a:lnTo>
                    <a:pt x="11681" y="450"/>
                  </a:lnTo>
                  <a:lnTo>
                    <a:pt x="11163" y="623"/>
                  </a:lnTo>
                  <a:lnTo>
                    <a:pt x="10644" y="830"/>
                  </a:lnTo>
                  <a:lnTo>
                    <a:pt x="10160" y="1038"/>
                  </a:lnTo>
                  <a:lnTo>
                    <a:pt x="9642" y="1314"/>
                  </a:lnTo>
                  <a:lnTo>
                    <a:pt x="8675" y="1867"/>
                  </a:lnTo>
                  <a:lnTo>
                    <a:pt x="7742" y="2489"/>
                  </a:lnTo>
                  <a:lnTo>
                    <a:pt x="6808" y="3180"/>
                  </a:lnTo>
                  <a:lnTo>
                    <a:pt x="5910" y="3906"/>
                  </a:lnTo>
                  <a:lnTo>
                    <a:pt x="5081" y="4666"/>
                  </a:lnTo>
                  <a:lnTo>
                    <a:pt x="4251" y="5426"/>
                  </a:lnTo>
                  <a:lnTo>
                    <a:pt x="3491" y="6221"/>
                  </a:lnTo>
                  <a:lnTo>
                    <a:pt x="2731" y="7016"/>
                  </a:lnTo>
                  <a:lnTo>
                    <a:pt x="1418" y="8502"/>
                  </a:lnTo>
                  <a:lnTo>
                    <a:pt x="277" y="9850"/>
                  </a:lnTo>
                  <a:lnTo>
                    <a:pt x="139" y="10057"/>
                  </a:lnTo>
                  <a:lnTo>
                    <a:pt x="35" y="10299"/>
                  </a:lnTo>
                  <a:lnTo>
                    <a:pt x="1" y="10541"/>
                  </a:lnTo>
                  <a:lnTo>
                    <a:pt x="1" y="10783"/>
                  </a:lnTo>
                  <a:lnTo>
                    <a:pt x="35" y="11024"/>
                  </a:lnTo>
                  <a:lnTo>
                    <a:pt x="139" y="11266"/>
                  </a:lnTo>
                  <a:lnTo>
                    <a:pt x="277" y="11474"/>
                  </a:lnTo>
                  <a:lnTo>
                    <a:pt x="450" y="11646"/>
                  </a:lnTo>
                  <a:lnTo>
                    <a:pt x="623" y="11785"/>
                  </a:lnTo>
                  <a:lnTo>
                    <a:pt x="830" y="11888"/>
                  </a:lnTo>
                  <a:lnTo>
                    <a:pt x="1038" y="11923"/>
                  </a:lnTo>
                  <a:lnTo>
                    <a:pt x="1279" y="11957"/>
                  </a:lnTo>
                  <a:lnTo>
                    <a:pt x="1556" y="11923"/>
                  </a:lnTo>
                  <a:lnTo>
                    <a:pt x="1798" y="11819"/>
                  </a:lnTo>
                  <a:lnTo>
                    <a:pt x="2040" y="11681"/>
                  </a:lnTo>
                  <a:lnTo>
                    <a:pt x="2247" y="11474"/>
                  </a:lnTo>
                  <a:lnTo>
                    <a:pt x="3284" y="10264"/>
                  </a:lnTo>
                  <a:lnTo>
                    <a:pt x="4493" y="8882"/>
                  </a:lnTo>
                  <a:lnTo>
                    <a:pt x="5150" y="8191"/>
                  </a:lnTo>
                  <a:lnTo>
                    <a:pt x="5841" y="7465"/>
                  </a:lnTo>
                  <a:lnTo>
                    <a:pt x="6567" y="6739"/>
                  </a:lnTo>
                  <a:lnTo>
                    <a:pt x="7327" y="6048"/>
                  </a:lnTo>
                  <a:lnTo>
                    <a:pt x="8122" y="5392"/>
                  </a:lnTo>
                  <a:lnTo>
                    <a:pt x="8916" y="4770"/>
                  </a:lnTo>
                  <a:lnTo>
                    <a:pt x="9746" y="4217"/>
                  </a:lnTo>
                  <a:lnTo>
                    <a:pt x="10575" y="3699"/>
                  </a:lnTo>
                  <a:lnTo>
                    <a:pt x="11439" y="3284"/>
                  </a:lnTo>
                  <a:lnTo>
                    <a:pt x="11854" y="3111"/>
                  </a:lnTo>
                  <a:lnTo>
                    <a:pt x="12268" y="2938"/>
                  </a:lnTo>
                  <a:lnTo>
                    <a:pt x="12718" y="2800"/>
                  </a:lnTo>
                  <a:lnTo>
                    <a:pt x="13132" y="2696"/>
                  </a:lnTo>
                  <a:lnTo>
                    <a:pt x="13582" y="2593"/>
                  </a:lnTo>
                  <a:lnTo>
                    <a:pt x="14031" y="2558"/>
                  </a:lnTo>
                  <a:lnTo>
                    <a:pt x="14273" y="2489"/>
                  </a:lnTo>
                  <a:lnTo>
                    <a:pt x="14515" y="2420"/>
                  </a:lnTo>
                  <a:lnTo>
                    <a:pt x="14722" y="2282"/>
                  </a:lnTo>
                  <a:lnTo>
                    <a:pt x="14895" y="2109"/>
                  </a:lnTo>
                  <a:lnTo>
                    <a:pt x="15033" y="1902"/>
                  </a:lnTo>
                  <a:lnTo>
                    <a:pt x="15137" y="1660"/>
                  </a:lnTo>
                  <a:lnTo>
                    <a:pt x="15171" y="1418"/>
                  </a:lnTo>
                  <a:lnTo>
                    <a:pt x="15171" y="1176"/>
                  </a:lnTo>
                  <a:lnTo>
                    <a:pt x="15137" y="899"/>
                  </a:lnTo>
                  <a:lnTo>
                    <a:pt x="15033" y="658"/>
                  </a:lnTo>
                  <a:lnTo>
                    <a:pt x="14895" y="485"/>
                  </a:lnTo>
                  <a:lnTo>
                    <a:pt x="14722" y="277"/>
                  </a:lnTo>
                  <a:lnTo>
                    <a:pt x="14515" y="139"/>
                  </a:lnTo>
                  <a:lnTo>
                    <a:pt x="14273" y="70"/>
                  </a:lnTo>
                  <a:lnTo>
                    <a:pt x="14031"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22" name="Google Shape;14162;p81">
              <a:extLst>
                <a:ext uri="{FF2B5EF4-FFF2-40B4-BE49-F238E27FC236}">
                  <a16:creationId xmlns:a16="http://schemas.microsoft.com/office/drawing/2014/main" id="{0F0DB213-537A-FA58-4353-FAA8121BBA23}"/>
                </a:ext>
              </a:extLst>
            </p:cNvPr>
            <p:cNvSpPr/>
            <p:nvPr/>
          </p:nvSpPr>
          <p:spPr>
            <a:xfrm>
              <a:off x="2876975" y="2150800"/>
              <a:ext cx="352500" cy="326600"/>
            </a:xfrm>
            <a:custGeom>
              <a:avLst/>
              <a:gdLst/>
              <a:ahLst/>
              <a:cxnLst/>
              <a:rect l="l" t="t" r="r" b="b"/>
              <a:pathLst>
                <a:path w="14100" h="13064" extrusionOk="0">
                  <a:moveTo>
                    <a:pt x="1037" y="1"/>
                  </a:moveTo>
                  <a:lnTo>
                    <a:pt x="795" y="70"/>
                  </a:lnTo>
                  <a:lnTo>
                    <a:pt x="553" y="208"/>
                  </a:lnTo>
                  <a:lnTo>
                    <a:pt x="380" y="381"/>
                  </a:lnTo>
                  <a:lnTo>
                    <a:pt x="207" y="554"/>
                  </a:lnTo>
                  <a:lnTo>
                    <a:pt x="69" y="796"/>
                  </a:lnTo>
                  <a:lnTo>
                    <a:pt x="0" y="1038"/>
                  </a:lnTo>
                  <a:lnTo>
                    <a:pt x="0" y="1279"/>
                  </a:lnTo>
                  <a:lnTo>
                    <a:pt x="0" y="1521"/>
                  </a:lnTo>
                  <a:lnTo>
                    <a:pt x="69" y="1763"/>
                  </a:lnTo>
                  <a:lnTo>
                    <a:pt x="207" y="1971"/>
                  </a:lnTo>
                  <a:lnTo>
                    <a:pt x="380" y="2178"/>
                  </a:lnTo>
                  <a:lnTo>
                    <a:pt x="1970" y="3768"/>
                  </a:lnTo>
                  <a:lnTo>
                    <a:pt x="3594" y="5357"/>
                  </a:lnTo>
                  <a:lnTo>
                    <a:pt x="5529" y="7189"/>
                  </a:lnTo>
                  <a:lnTo>
                    <a:pt x="7395" y="8951"/>
                  </a:lnTo>
                  <a:lnTo>
                    <a:pt x="8847" y="10299"/>
                  </a:lnTo>
                  <a:lnTo>
                    <a:pt x="9987" y="11301"/>
                  </a:lnTo>
                  <a:lnTo>
                    <a:pt x="10851" y="11992"/>
                  </a:lnTo>
                  <a:lnTo>
                    <a:pt x="11438" y="12476"/>
                  </a:lnTo>
                  <a:lnTo>
                    <a:pt x="11888" y="12752"/>
                  </a:lnTo>
                  <a:lnTo>
                    <a:pt x="12164" y="12890"/>
                  </a:lnTo>
                  <a:lnTo>
                    <a:pt x="12337" y="12994"/>
                  </a:lnTo>
                  <a:lnTo>
                    <a:pt x="12579" y="13063"/>
                  </a:lnTo>
                  <a:lnTo>
                    <a:pt x="12993" y="13063"/>
                  </a:lnTo>
                  <a:lnTo>
                    <a:pt x="13201" y="13029"/>
                  </a:lnTo>
                  <a:lnTo>
                    <a:pt x="13373" y="12960"/>
                  </a:lnTo>
                  <a:lnTo>
                    <a:pt x="13512" y="12856"/>
                  </a:lnTo>
                  <a:lnTo>
                    <a:pt x="13684" y="12752"/>
                  </a:lnTo>
                  <a:lnTo>
                    <a:pt x="13823" y="12614"/>
                  </a:lnTo>
                  <a:lnTo>
                    <a:pt x="13926" y="12441"/>
                  </a:lnTo>
                  <a:lnTo>
                    <a:pt x="13995" y="12268"/>
                  </a:lnTo>
                  <a:lnTo>
                    <a:pt x="14065" y="12026"/>
                  </a:lnTo>
                  <a:lnTo>
                    <a:pt x="14099" y="11785"/>
                  </a:lnTo>
                  <a:lnTo>
                    <a:pt x="14065" y="11543"/>
                  </a:lnTo>
                  <a:lnTo>
                    <a:pt x="13995" y="11301"/>
                  </a:lnTo>
                  <a:lnTo>
                    <a:pt x="13892" y="11093"/>
                  </a:lnTo>
                  <a:lnTo>
                    <a:pt x="13719" y="10886"/>
                  </a:lnTo>
                  <a:lnTo>
                    <a:pt x="13512" y="10748"/>
                  </a:lnTo>
                  <a:lnTo>
                    <a:pt x="13304" y="10610"/>
                  </a:lnTo>
                  <a:lnTo>
                    <a:pt x="13062" y="10471"/>
                  </a:lnTo>
                  <a:lnTo>
                    <a:pt x="12717" y="10230"/>
                  </a:lnTo>
                  <a:lnTo>
                    <a:pt x="11784" y="9469"/>
                  </a:lnTo>
                  <a:lnTo>
                    <a:pt x="10574" y="8398"/>
                  </a:lnTo>
                  <a:lnTo>
                    <a:pt x="9123" y="7050"/>
                  </a:lnTo>
                  <a:lnTo>
                    <a:pt x="7464" y="5530"/>
                  </a:lnTo>
                  <a:lnTo>
                    <a:pt x="5736" y="3871"/>
                  </a:lnTo>
                  <a:lnTo>
                    <a:pt x="3940" y="2143"/>
                  </a:lnTo>
                  <a:lnTo>
                    <a:pt x="2177" y="381"/>
                  </a:lnTo>
                  <a:lnTo>
                    <a:pt x="1970" y="208"/>
                  </a:lnTo>
                  <a:lnTo>
                    <a:pt x="1762" y="70"/>
                  </a:lnTo>
                  <a:lnTo>
                    <a:pt x="1521"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23" name="Google Shape;14163;p81">
              <a:extLst>
                <a:ext uri="{FF2B5EF4-FFF2-40B4-BE49-F238E27FC236}">
                  <a16:creationId xmlns:a16="http://schemas.microsoft.com/office/drawing/2014/main" id="{25E04E20-2DC1-C9B2-5952-B588816BA875}"/>
                </a:ext>
              </a:extLst>
            </p:cNvPr>
            <p:cNvSpPr/>
            <p:nvPr/>
          </p:nvSpPr>
          <p:spPr>
            <a:xfrm>
              <a:off x="2868325" y="2170675"/>
              <a:ext cx="379275" cy="298950"/>
            </a:xfrm>
            <a:custGeom>
              <a:avLst/>
              <a:gdLst/>
              <a:ahLst/>
              <a:cxnLst/>
              <a:rect l="l" t="t" r="r" b="b"/>
              <a:pathLst>
                <a:path w="15171" h="11958" extrusionOk="0">
                  <a:moveTo>
                    <a:pt x="13789" y="1"/>
                  </a:moveTo>
                  <a:lnTo>
                    <a:pt x="13270" y="70"/>
                  </a:lnTo>
                  <a:lnTo>
                    <a:pt x="12717" y="139"/>
                  </a:lnTo>
                  <a:lnTo>
                    <a:pt x="12199" y="277"/>
                  </a:lnTo>
                  <a:lnTo>
                    <a:pt x="11681" y="450"/>
                  </a:lnTo>
                  <a:lnTo>
                    <a:pt x="11162" y="623"/>
                  </a:lnTo>
                  <a:lnTo>
                    <a:pt x="10678" y="830"/>
                  </a:lnTo>
                  <a:lnTo>
                    <a:pt x="10160" y="1037"/>
                  </a:lnTo>
                  <a:lnTo>
                    <a:pt x="9676" y="1279"/>
                  </a:lnTo>
                  <a:lnTo>
                    <a:pt x="8674" y="1867"/>
                  </a:lnTo>
                  <a:lnTo>
                    <a:pt x="7741" y="2489"/>
                  </a:lnTo>
                  <a:lnTo>
                    <a:pt x="6808" y="3180"/>
                  </a:lnTo>
                  <a:lnTo>
                    <a:pt x="5944" y="3906"/>
                  </a:lnTo>
                  <a:lnTo>
                    <a:pt x="5080" y="4666"/>
                  </a:lnTo>
                  <a:lnTo>
                    <a:pt x="4251" y="5426"/>
                  </a:lnTo>
                  <a:lnTo>
                    <a:pt x="3491" y="6221"/>
                  </a:lnTo>
                  <a:lnTo>
                    <a:pt x="2765" y="7016"/>
                  </a:lnTo>
                  <a:lnTo>
                    <a:pt x="1417" y="8502"/>
                  </a:lnTo>
                  <a:lnTo>
                    <a:pt x="277" y="9849"/>
                  </a:lnTo>
                  <a:lnTo>
                    <a:pt x="139" y="10057"/>
                  </a:lnTo>
                  <a:lnTo>
                    <a:pt x="35" y="10298"/>
                  </a:lnTo>
                  <a:lnTo>
                    <a:pt x="1" y="10540"/>
                  </a:lnTo>
                  <a:lnTo>
                    <a:pt x="1" y="10782"/>
                  </a:lnTo>
                  <a:lnTo>
                    <a:pt x="35" y="11024"/>
                  </a:lnTo>
                  <a:lnTo>
                    <a:pt x="139" y="11231"/>
                  </a:lnTo>
                  <a:lnTo>
                    <a:pt x="277" y="11473"/>
                  </a:lnTo>
                  <a:lnTo>
                    <a:pt x="450" y="11646"/>
                  </a:lnTo>
                  <a:lnTo>
                    <a:pt x="657" y="11784"/>
                  </a:lnTo>
                  <a:lnTo>
                    <a:pt x="830" y="11854"/>
                  </a:lnTo>
                  <a:lnTo>
                    <a:pt x="1072" y="11923"/>
                  </a:lnTo>
                  <a:lnTo>
                    <a:pt x="1279" y="11957"/>
                  </a:lnTo>
                  <a:lnTo>
                    <a:pt x="1556" y="11923"/>
                  </a:lnTo>
                  <a:lnTo>
                    <a:pt x="1797" y="11819"/>
                  </a:lnTo>
                  <a:lnTo>
                    <a:pt x="2039" y="11681"/>
                  </a:lnTo>
                  <a:lnTo>
                    <a:pt x="2247" y="11473"/>
                  </a:lnTo>
                  <a:lnTo>
                    <a:pt x="3283" y="10264"/>
                  </a:lnTo>
                  <a:lnTo>
                    <a:pt x="4493" y="8882"/>
                  </a:lnTo>
                  <a:lnTo>
                    <a:pt x="5149" y="8191"/>
                  </a:lnTo>
                  <a:lnTo>
                    <a:pt x="5841" y="7465"/>
                  </a:lnTo>
                  <a:lnTo>
                    <a:pt x="6566" y="6739"/>
                  </a:lnTo>
                  <a:lnTo>
                    <a:pt x="7327" y="6048"/>
                  </a:lnTo>
                  <a:lnTo>
                    <a:pt x="8121" y="5391"/>
                  </a:lnTo>
                  <a:lnTo>
                    <a:pt x="8916" y="4769"/>
                  </a:lnTo>
                  <a:lnTo>
                    <a:pt x="9745" y="4217"/>
                  </a:lnTo>
                  <a:lnTo>
                    <a:pt x="10575" y="3698"/>
                  </a:lnTo>
                  <a:lnTo>
                    <a:pt x="11439" y="3284"/>
                  </a:lnTo>
                  <a:lnTo>
                    <a:pt x="11853" y="3076"/>
                  </a:lnTo>
                  <a:lnTo>
                    <a:pt x="12303" y="2938"/>
                  </a:lnTo>
                  <a:lnTo>
                    <a:pt x="12717" y="2800"/>
                  </a:lnTo>
                  <a:lnTo>
                    <a:pt x="13167" y="2696"/>
                  </a:lnTo>
                  <a:lnTo>
                    <a:pt x="13581" y="2592"/>
                  </a:lnTo>
                  <a:lnTo>
                    <a:pt x="14030" y="2558"/>
                  </a:lnTo>
                  <a:lnTo>
                    <a:pt x="14272" y="2489"/>
                  </a:lnTo>
                  <a:lnTo>
                    <a:pt x="14514" y="2385"/>
                  </a:lnTo>
                  <a:lnTo>
                    <a:pt x="14722" y="2247"/>
                  </a:lnTo>
                  <a:lnTo>
                    <a:pt x="14894" y="2074"/>
                  </a:lnTo>
                  <a:lnTo>
                    <a:pt x="15033" y="1901"/>
                  </a:lnTo>
                  <a:lnTo>
                    <a:pt x="15136" y="1659"/>
                  </a:lnTo>
                  <a:lnTo>
                    <a:pt x="15171" y="1417"/>
                  </a:lnTo>
                  <a:lnTo>
                    <a:pt x="15171" y="1141"/>
                  </a:lnTo>
                  <a:lnTo>
                    <a:pt x="15136" y="899"/>
                  </a:lnTo>
                  <a:lnTo>
                    <a:pt x="15033" y="657"/>
                  </a:lnTo>
                  <a:lnTo>
                    <a:pt x="14894" y="450"/>
                  </a:lnTo>
                  <a:lnTo>
                    <a:pt x="14722" y="277"/>
                  </a:lnTo>
                  <a:lnTo>
                    <a:pt x="14514" y="139"/>
                  </a:lnTo>
                  <a:lnTo>
                    <a:pt x="14307" y="35"/>
                  </a:lnTo>
                  <a:lnTo>
                    <a:pt x="14065"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24" name="Google Shape;14164;p81">
              <a:extLst>
                <a:ext uri="{FF2B5EF4-FFF2-40B4-BE49-F238E27FC236}">
                  <a16:creationId xmlns:a16="http://schemas.microsoft.com/office/drawing/2014/main" id="{85043DB0-9648-C441-2320-8690D0E2F713}"/>
                </a:ext>
              </a:extLst>
            </p:cNvPr>
            <p:cNvSpPr/>
            <p:nvPr/>
          </p:nvSpPr>
          <p:spPr>
            <a:xfrm>
              <a:off x="3008275" y="1469175"/>
              <a:ext cx="309300" cy="287725"/>
            </a:xfrm>
            <a:custGeom>
              <a:avLst/>
              <a:gdLst/>
              <a:ahLst/>
              <a:cxnLst/>
              <a:rect l="l" t="t" r="r" b="b"/>
              <a:pathLst>
                <a:path w="12372" h="11509" extrusionOk="0">
                  <a:moveTo>
                    <a:pt x="1210" y="1"/>
                  </a:moveTo>
                  <a:lnTo>
                    <a:pt x="968" y="35"/>
                  </a:lnTo>
                  <a:lnTo>
                    <a:pt x="761" y="105"/>
                  </a:lnTo>
                  <a:lnTo>
                    <a:pt x="554" y="208"/>
                  </a:lnTo>
                  <a:lnTo>
                    <a:pt x="381" y="346"/>
                  </a:lnTo>
                  <a:lnTo>
                    <a:pt x="208" y="554"/>
                  </a:lnTo>
                  <a:lnTo>
                    <a:pt x="104" y="761"/>
                  </a:lnTo>
                  <a:lnTo>
                    <a:pt x="35" y="968"/>
                  </a:lnTo>
                  <a:lnTo>
                    <a:pt x="1" y="1210"/>
                  </a:lnTo>
                  <a:lnTo>
                    <a:pt x="35" y="1452"/>
                  </a:lnTo>
                  <a:lnTo>
                    <a:pt x="104" y="1660"/>
                  </a:lnTo>
                  <a:lnTo>
                    <a:pt x="208" y="1867"/>
                  </a:lnTo>
                  <a:lnTo>
                    <a:pt x="381" y="2040"/>
                  </a:lnTo>
                  <a:lnTo>
                    <a:pt x="2869" y="4528"/>
                  </a:lnTo>
                  <a:lnTo>
                    <a:pt x="4389" y="6014"/>
                  </a:lnTo>
                  <a:lnTo>
                    <a:pt x="5944" y="7465"/>
                  </a:lnTo>
                  <a:lnTo>
                    <a:pt x="7465" y="8882"/>
                  </a:lnTo>
                  <a:lnTo>
                    <a:pt x="8847" y="10057"/>
                  </a:lnTo>
                  <a:lnTo>
                    <a:pt x="9435" y="10541"/>
                  </a:lnTo>
                  <a:lnTo>
                    <a:pt x="9953" y="10921"/>
                  </a:lnTo>
                  <a:lnTo>
                    <a:pt x="10402" y="11232"/>
                  </a:lnTo>
                  <a:lnTo>
                    <a:pt x="10748" y="11404"/>
                  </a:lnTo>
                  <a:lnTo>
                    <a:pt x="10955" y="11474"/>
                  </a:lnTo>
                  <a:lnTo>
                    <a:pt x="11197" y="11508"/>
                  </a:lnTo>
                  <a:lnTo>
                    <a:pt x="11370" y="11474"/>
                  </a:lnTo>
                  <a:lnTo>
                    <a:pt x="11543" y="11439"/>
                  </a:lnTo>
                  <a:lnTo>
                    <a:pt x="11681" y="11370"/>
                  </a:lnTo>
                  <a:lnTo>
                    <a:pt x="11854" y="11301"/>
                  </a:lnTo>
                  <a:lnTo>
                    <a:pt x="11992" y="11197"/>
                  </a:lnTo>
                  <a:lnTo>
                    <a:pt x="12095" y="11059"/>
                  </a:lnTo>
                  <a:lnTo>
                    <a:pt x="12199" y="10921"/>
                  </a:lnTo>
                  <a:lnTo>
                    <a:pt x="12303" y="10748"/>
                  </a:lnTo>
                  <a:lnTo>
                    <a:pt x="12372" y="10506"/>
                  </a:lnTo>
                  <a:lnTo>
                    <a:pt x="12372" y="10264"/>
                  </a:lnTo>
                  <a:lnTo>
                    <a:pt x="12372" y="10057"/>
                  </a:lnTo>
                  <a:lnTo>
                    <a:pt x="12303" y="9815"/>
                  </a:lnTo>
                  <a:lnTo>
                    <a:pt x="12165" y="9642"/>
                  </a:lnTo>
                  <a:lnTo>
                    <a:pt x="12026" y="9469"/>
                  </a:lnTo>
                  <a:lnTo>
                    <a:pt x="11854" y="9297"/>
                  </a:lnTo>
                  <a:lnTo>
                    <a:pt x="11646" y="9193"/>
                  </a:lnTo>
                  <a:lnTo>
                    <a:pt x="11439" y="9055"/>
                  </a:lnTo>
                  <a:lnTo>
                    <a:pt x="11128" y="8847"/>
                  </a:lnTo>
                  <a:lnTo>
                    <a:pt x="10333" y="8191"/>
                  </a:lnTo>
                  <a:lnTo>
                    <a:pt x="9262" y="7258"/>
                  </a:lnTo>
                  <a:lnTo>
                    <a:pt x="8018" y="6117"/>
                  </a:lnTo>
                  <a:lnTo>
                    <a:pt x="5115" y="3387"/>
                  </a:lnTo>
                  <a:lnTo>
                    <a:pt x="2040" y="346"/>
                  </a:lnTo>
                  <a:lnTo>
                    <a:pt x="1867" y="208"/>
                  </a:lnTo>
                  <a:lnTo>
                    <a:pt x="1659" y="105"/>
                  </a:lnTo>
                  <a:lnTo>
                    <a:pt x="1452" y="35"/>
                  </a:lnTo>
                  <a:lnTo>
                    <a:pt x="1210"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25" name="Google Shape;14165;p81">
              <a:extLst>
                <a:ext uri="{FF2B5EF4-FFF2-40B4-BE49-F238E27FC236}">
                  <a16:creationId xmlns:a16="http://schemas.microsoft.com/office/drawing/2014/main" id="{F6631EBF-3B22-55E7-8B8B-01B500F4BDD5}"/>
                </a:ext>
              </a:extLst>
            </p:cNvPr>
            <p:cNvSpPr/>
            <p:nvPr/>
          </p:nvSpPr>
          <p:spPr>
            <a:xfrm>
              <a:off x="3001375" y="1486450"/>
              <a:ext cx="332625" cy="262675"/>
            </a:xfrm>
            <a:custGeom>
              <a:avLst/>
              <a:gdLst/>
              <a:ahLst/>
              <a:cxnLst/>
              <a:rect l="l" t="t" r="r" b="b"/>
              <a:pathLst>
                <a:path w="13305" h="10507" extrusionOk="0">
                  <a:moveTo>
                    <a:pt x="11991" y="1"/>
                  </a:moveTo>
                  <a:lnTo>
                    <a:pt x="11542" y="70"/>
                  </a:lnTo>
                  <a:lnTo>
                    <a:pt x="11058" y="139"/>
                  </a:lnTo>
                  <a:lnTo>
                    <a:pt x="10609" y="277"/>
                  </a:lnTo>
                  <a:lnTo>
                    <a:pt x="10160" y="381"/>
                  </a:lnTo>
                  <a:lnTo>
                    <a:pt x="9711" y="554"/>
                  </a:lnTo>
                  <a:lnTo>
                    <a:pt x="9261" y="727"/>
                  </a:lnTo>
                  <a:lnTo>
                    <a:pt x="8397" y="1141"/>
                  </a:lnTo>
                  <a:lnTo>
                    <a:pt x="7568" y="1625"/>
                  </a:lnTo>
                  <a:lnTo>
                    <a:pt x="6739" y="2178"/>
                  </a:lnTo>
                  <a:lnTo>
                    <a:pt x="5944" y="2766"/>
                  </a:lnTo>
                  <a:lnTo>
                    <a:pt x="5149" y="3388"/>
                  </a:lnTo>
                  <a:lnTo>
                    <a:pt x="4423" y="4044"/>
                  </a:lnTo>
                  <a:lnTo>
                    <a:pt x="3732" y="4735"/>
                  </a:lnTo>
                  <a:lnTo>
                    <a:pt x="3041" y="5392"/>
                  </a:lnTo>
                  <a:lnTo>
                    <a:pt x="2419" y="6083"/>
                  </a:lnTo>
                  <a:lnTo>
                    <a:pt x="1244" y="7396"/>
                  </a:lnTo>
                  <a:lnTo>
                    <a:pt x="277" y="8536"/>
                  </a:lnTo>
                  <a:lnTo>
                    <a:pt x="138" y="8744"/>
                  </a:lnTo>
                  <a:lnTo>
                    <a:pt x="35" y="8951"/>
                  </a:lnTo>
                  <a:lnTo>
                    <a:pt x="0" y="9193"/>
                  </a:lnTo>
                  <a:lnTo>
                    <a:pt x="0" y="9435"/>
                  </a:lnTo>
                  <a:lnTo>
                    <a:pt x="35" y="9642"/>
                  </a:lnTo>
                  <a:lnTo>
                    <a:pt x="138" y="9850"/>
                  </a:lnTo>
                  <a:lnTo>
                    <a:pt x="242" y="10057"/>
                  </a:lnTo>
                  <a:lnTo>
                    <a:pt x="415" y="10230"/>
                  </a:lnTo>
                  <a:lnTo>
                    <a:pt x="588" y="10368"/>
                  </a:lnTo>
                  <a:lnTo>
                    <a:pt x="795" y="10437"/>
                  </a:lnTo>
                  <a:lnTo>
                    <a:pt x="1002" y="10506"/>
                  </a:lnTo>
                  <a:lnTo>
                    <a:pt x="1175" y="10506"/>
                  </a:lnTo>
                  <a:lnTo>
                    <a:pt x="1452" y="10472"/>
                  </a:lnTo>
                  <a:lnTo>
                    <a:pt x="1693" y="10402"/>
                  </a:lnTo>
                  <a:lnTo>
                    <a:pt x="1901" y="10264"/>
                  </a:lnTo>
                  <a:lnTo>
                    <a:pt x="2108" y="10091"/>
                  </a:lnTo>
                  <a:lnTo>
                    <a:pt x="3007" y="9020"/>
                  </a:lnTo>
                  <a:lnTo>
                    <a:pt x="4043" y="7845"/>
                  </a:lnTo>
                  <a:lnTo>
                    <a:pt x="4596" y="7223"/>
                  </a:lnTo>
                  <a:lnTo>
                    <a:pt x="5184" y="6636"/>
                  </a:lnTo>
                  <a:lnTo>
                    <a:pt x="5840" y="6014"/>
                  </a:lnTo>
                  <a:lnTo>
                    <a:pt x="6462" y="5426"/>
                  </a:lnTo>
                  <a:lnTo>
                    <a:pt x="7153" y="4839"/>
                  </a:lnTo>
                  <a:lnTo>
                    <a:pt x="7845" y="4321"/>
                  </a:lnTo>
                  <a:lnTo>
                    <a:pt x="8536" y="3837"/>
                  </a:lnTo>
                  <a:lnTo>
                    <a:pt x="9261" y="3388"/>
                  </a:lnTo>
                  <a:lnTo>
                    <a:pt x="9987" y="3007"/>
                  </a:lnTo>
                  <a:lnTo>
                    <a:pt x="10713" y="2731"/>
                  </a:lnTo>
                  <a:lnTo>
                    <a:pt x="11093" y="2593"/>
                  </a:lnTo>
                  <a:lnTo>
                    <a:pt x="11473" y="2524"/>
                  </a:lnTo>
                  <a:lnTo>
                    <a:pt x="11853" y="2455"/>
                  </a:lnTo>
                  <a:lnTo>
                    <a:pt x="12199" y="2385"/>
                  </a:lnTo>
                  <a:lnTo>
                    <a:pt x="12441" y="2351"/>
                  </a:lnTo>
                  <a:lnTo>
                    <a:pt x="12682" y="2247"/>
                  </a:lnTo>
                  <a:lnTo>
                    <a:pt x="12855" y="2143"/>
                  </a:lnTo>
                  <a:lnTo>
                    <a:pt x="13028" y="1971"/>
                  </a:lnTo>
                  <a:lnTo>
                    <a:pt x="13166" y="1763"/>
                  </a:lnTo>
                  <a:lnTo>
                    <a:pt x="13235" y="1556"/>
                  </a:lnTo>
                  <a:lnTo>
                    <a:pt x="13304" y="1349"/>
                  </a:lnTo>
                  <a:lnTo>
                    <a:pt x="13304" y="1107"/>
                  </a:lnTo>
                  <a:lnTo>
                    <a:pt x="13235" y="865"/>
                  </a:lnTo>
                  <a:lnTo>
                    <a:pt x="13166" y="623"/>
                  </a:lnTo>
                  <a:lnTo>
                    <a:pt x="13028" y="450"/>
                  </a:lnTo>
                  <a:lnTo>
                    <a:pt x="12855" y="277"/>
                  </a:lnTo>
                  <a:lnTo>
                    <a:pt x="12682" y="139"/>
                  </a:lnTo>
                  <a:lnTo>
                    <a:pt x="12475" y="70"/>
                  </a:lnTo>
                  <a:lnTo>
                    <a:pt x="12233"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26" name="Google Shape;14166;p81">
              <a:extLst>
                <a:ext uri="{FF2B5EF4-FFF2-40B4-BE49-F238E27FC236}">
                  <a16:creationId xmlns:a16="http://schemas.microsoft.com/office/drawing/2014/main" id="{AB3C6A22-B2E1-89D8-F0A5-03CEC4AB34EC}"/>
                </a:ext>
              </a:extLst>
            </p:cNvPr>
            <p:cNvSpPr/>
            <p:nvPr/>
          </p:nvSpPr>
          <p:spPr>
            <a:xfrm>
              <a:off x="3994875" y="2391850"/>
              <a:ext cx="120100" cy="181425"/>
            </a:xfrm>
            <a:custGeom>
              <a:avLst/>
              <a:gdLst/>
              <a:ahLst/>
              <a:cxnLst/>
              <a:rect l="l" t="t" r="r" b="b"/>
              <a:pathLst>
                <a:path w="4804" h="7257" extrusionOk="0">
                  <a:moveTo>
                    <a:pt x="207" y="0"/>
                  </a:moveTo>
                  <a:lnTo>
                    <a:pt x="138" y="35"/>
                  </a:lnTo>
                  <a:lnTo>
                    <a:pt x="69" y="69"/>
                  </a:lnTo>
                  <a:lnTo>
                    <a:pt x="35" y="104"/>
                  </a:lnTo>
                  <a:lnTo>
                    <a:pt x="0" y="207"/>
                  </a:lnTo>
                  <a:lnTo>
                    <a:pt x="35" y="277"/>
                  </a:lnTo>
                  <a:lnTo>
                    <a:pt x="69" y="346"/>
                  </a:lnTo>
                  <a:lnTo>
                    <a:pt x="104" y="380"/>
                  </a:lnTo>
                  <a:lnTo>
                    <a:pt x="207" y="415"/>
                  </a:lnTo>
                  <a:lnTo>
                    <a:pt x="2523" y="553"/>
                  </a:lnTo>
                  <a:lnTo>
                    <a:pt x="3041" y="2315"/>
                  </a:lnTo>
                  <a:lnTo>
                    <a:pt x="3663" y="4492"/>
                  </a:lnTo>
                  <a:lnTo>
                    <a:pt x="4389" y="7119"/>
                  </a:lnTo>
                  <a:lnTo>
                    <a:pt x="4423" y="7188"/>
                  </a:lnTo>
                  <a:lnTo>
                    <a:pt x="4492" y="7222"/>
                  </a:lnTo>
                  <a:lnTo>
                    <a:pt x="4527" y="7257"/>
                  </a:lnTo>
                  <a:lnTo>
                    <a:pt x="4665" y="7257"/>
                  </a:lnTo>
                  <a:lnTo>
                    <a:pt x="4734" y="7222"/>
                  </a:lnTo>
                  <a:lnTo>
                    <a:pt x="4769" y="7153"/>
                  </a:lnTo>
                  <a:lnTo>
                    <a:pt x="4803" y="7084"/>
                  </a:lnTo>
                  <a:lnTo>
                    <a:pt x="4803" y="7015"/>
                  </a:lnTo>
                  <a:lnTo>
                    <a:pt x="4009" y="4251"/>
                  </a:lnTo>
                  <a:lnTo>
                    <a:pt x="3387" y="2039"/>
                  </a:lnTo>
                  <a:lnTo>
                    <a:pt x="2868" y="311"/>
                  </a:lnTo>
                  <a:lnTo>
                    <a:pt x="2799" y="207"/>
                  </a:lnTo>
                  <a:lnTo>
                    <a:pt x="2661" y="173"/>
                  </a:lnTo>
                  <a:lnTo>
                    <a:pt x="207" y="0"/>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27" name="Google Shape;14167;p81">
              <a:extLst>
                <a:ext uri="{FF2B5EF4-FFF2-40B4-BE49-F238E27FC236}">
                  <a16:creationId xmlns:a16="http://schemas.microsoft.com/office/drawing/2014/main" id="{17CCBE05-8D95-B1DF-79F4-55135A768419}"/>
                </a:ext>
              </a:extLst>
            </p:cNvPr>
            <p:cNvSpPr/>
            <p:nvPr/>
          </p:nvSpPr>
          <p:spPr>
            <a:xfrm>
              <a:off x="4140000" y="2552525"/>
              <a:ext cx="80375" cy="38900"/>
            </a:xfrm>
            <a:custGeom>
              <a:avLst/>
              <a:gdLst/>
              <a:ahLst/>
              <a:cxnLst/>
              <a:rect l="l" t="t" r="r" b="b"/>
              <a:pathLst>
                <a:path w="3215" h="1556" extrusionOk="0">
                  <a:moveTo>
                    <a:pt x="173" y="1"/>
                  </a:moveTo>
                  <a:lnTo>
                    <a:pt x="104" y="70"/>
                  </a:lnTo>
                  <a:lnTo>
                    <a:pt x="35" y="173"/>
                  </a:lnTo>
                  <a:lnTo>
                    <a:pt x="1" y="277"/>
                  </a:lnTo>
                  <a:lnTo>
                    <a:pt x="1" y="1245"/>
                  </a:lnTo>
                  <a:lnTo>
                    <a:pt x="35" y="1348"/>
                  </a:lnTo>
                  <a:lnTo>
                    <a:pt x="104" y="1452"/>
                  </a:lnTo>
                  <a:lnTo>
                    <a:pt x="173" y="1521"/>
                  </a:lnTo>
                  <a:lnTo>
                    <a:pt x="277" y="1556"/>
                  </a:lnTo>
                  <a:lnTo>
                    <a:pt x="2938" y="1556"/>
                  </a:lnTo>
                  <a:lnTo>
                    <a:pt x="3042" y="1521"/>
                  </a:lnTo>
                  <a:lnTo>
                    <a:pt x="3145" y="1452"/>
                  </a:lnTo>
                  <a:lnTo>
                    <a:pt x="3180" y="1348"/>
                  </a:lnTo>
                  <a:lnTo>
                    <a:pt x="3214" y="1245"/>
                  </a:lnTo>
                  <a:lnTo>
                    <a:pt x="3214" y="277"/>
                  </a:lnTo>
                  <a:lnTo>
                    <a:pt x="3180" y="173"/>
                  </a:lnTo>
                  <a:lnTo>
                    <a:pt x="3145" y="70"/>
                  </a:lnTo>
                  <a:lnTo>
                    <a:pt x="3042" y="1"/>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28" name="Google Shape;14168;p81">
              <a:extLst>
                <a:ext uri="{FF2B5EF4-FFF2-40B4-BE49-F238E27FC236}">
                  <a16:creationId xmlns:a16="http://schemas.microsoft.com/office/drawing/2014/main" id="{29E99A42-FAF0-C8AA-FAA4-9F43402F03E9}"/>
                </a:ext>
              </a:extLst>
            </p:cNvPr>
            <p:cNvSpPr/>
            <p:nvPr/>
          </p:nvSpPr>
          <p:spPr>
            <a:xfrm>
              <a:off x="4140000" y="2552525"/>
              <a:ext cx="80375" cy="38900"/>
            </a:xfrm>
            <a:custGeom>
              <a:avLst/>
              <a:gdLst/>
              <a:ahLst/>
              <a:cxnLst/>
              <a:rect l="l" t="t" r="r" b="b"/>
              <a:pathLst>
                <a:path w="3215" h="1556" fill="none" extrusionOk="0">
                  <a:moveTo>
                    <a:pt x="2938" y="1"/>
                  </a:moveTo>
                  <a:lnTo>
                    <a:pt x="277" y="1"/>
                  </a:lnTo>
                  <a:lnTo>
                    <a:pt x="277" y="1"/>
                  </a:lnTo>
                  <a:lnTo>
                    <a:pt x="173" y="1"/>
                  </a:lnTo>
                  <a:lnTo>
                    <a:pt x="104" y="70"/>
                  </a:lnTo>
                  <a:lnTo>
                    <a:pt x="35" y="173"/>
                  </a:lnTo>
                  <a:lnTo>
                    <a:pt x="1" y="277"/>
                  </a:lnTo>
                  <a:lnTo>
                    <a:pt x="1" y="1245"/>
                  </a:lnTo>
                  <a:lnTo>
                    <a:pt x="1" y="1245"/>
                  </a:lnTo>
                  <a:lnTo>
                    <a:pt x="35" y="1348"/>
                  </a:lnTo>
                  <a:lnTo>
                    <a:pt x="104" y="1452"/>
                  </a:lnTo>
                  <a:lnTo>
                    <a:pt x="173" y="1521"/>
                  </a:lnTo>
                  <a:lnTo>
                    <a:pt x="277" y="1556"/>
                  </a:lnTo>
                  <a:lnTo>
                    <a:pt x="2938" y="1556"/>
                  </a:lnTo>
                  <a:lnTo>
                    <a:pt x="2938" y="1556"/>
                  </a:lnTo>
                  <a:lnTo>
                    <a:pt x="3042" y="1521"/>
                  </a:lnTo>
                  <a:lnTo>
                    <a:pt x="3145" y="1452"/>
                  </a:lnTo>
                  <a:lnTo>
                    <a:pt x="3180" y="1348"/>
                  </a:lnTo>
                  <a:lnTo>
                    <a:pt x="3214" y="1245"/>
                  </a:lnTo>
                  <a:lnTo>
                    <a:pt x="3214" y="277"/>
                  </a:lnTo>
                  <a:lnTo>
                    <a:pt x="3214" y="277"/>
                  </a:lnTo>
                  <a:lnTo>
                    <a:pt x="3180" y="173"/>
                  </a:lnTo>
                  <a:lnTo>
                    <a:pt x="3145" y="70"/>
                  </a:lnTo>
                  <a:lnTo>
                    <a:pt x="3042" y="1"/>
                  </a:lnTo>
                  <a:lnTo>
                    <a:pt x="2938"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29" name="Google Shape;14169;p81">
              <a:extLst>
                <a:ext uri="{FF2B5EF4-FFF2-40B4-BE49-F238E27FC236}">
                  <a16:creationId xmlns:a16="http://schemas.microsoft.com/office/drawing/2014/main" id="{BDF3440D-F02C-124A-BB26-EBB49453B180}"/>
                </a:ext>
              </a:extLst>
            </p:cNvPr>
            <p:cNvSpPr/>
            <p:nvPr/>
          </p:nvSpPr>
          <p:spPr>
            <a:xfrm>
              <a:off x="4247125" y="2550800"/>
              <a:ext cx="139975" cy="38900"/>
            </a:xfrm>
            <a:custGeom>
              <a:avLst/>
              <a:gdLst/>
              <a:ahLst/>
              <a:cxnLst/>
              <a:rect l="l" t="t" r="r" b="b"/>
              <a:pathLst>
                <a:path w="5599" h="1556" extrusionOk="0">
                  <a:moveTo>
                    <a:pt x="312" y="0"/>
                  </a:moveTo>
                  <a:lnTo>
                    <a:pt x="173" y="35"/>
                  </a:lnTo>
                  <a:lnTo>
                    <a:pt x="70" y="104"/>
                  </a:lnTo>
                  <a:lnTo>
                    <a:pt x="35" y="208"/>
                  </a:lnTo>
                  <a:lnTo>
                    <a:pt x="1" y="311"/>
                  </a:lnTo>
                  <a:lnTo>
                    <a:pt x="1" y="1245"/>
                  </a:lnTo>
                  <a:lnTo>
                    <a:pt x="35" y="1348"/>
                  </a:lnTo>
                  <a:lnTo>
                    <a:pt x="70" y="1452"/>
                  </a:lnTo>
                  <a:lnTo>
                    <a:pt x="173" y="1521"/>
                  </a:lnTo>
                  <a:lnTo>
                    <a:pt x="312" y="1556"/>
                  </a:lnTo>
                  <a:lnTo>
                    <a:pt x="5288" y="1556"/>
                  </a:lnTo>
                  <a:lnTo>
                    <a:pt x="5426" y="1521"/>
                  </a:lnTo>
                  <a:lnTo>
                    <a:pt x="5530" y="1452"/>
                  </a:lnTo>
                  <a:lnTo>
                    <a:pt x="5599" y="1348"/>
                  </a:lnTo>
                  <a:lnTo>
                    <a:pt x="5599" y="1245"/>
                  </a:lnTo>
                  <a:lnTo>
                    <a:pt x="5599" y="311"/>
                  </a:lnTo>
                  <a:lnTo>
                    <a:pt x="5599" y="208"/>
                  </a:lnTo>
                  <a:lnTo>
                    <a:pt x="5530" y="104"/>
                  </a:lnTo>
                  <a:lnTo>
                    <a:pt x="5426" y="35"/>
                  </a:lnTo>
                  <a:lnTo>
                    <a:pt x="5288"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30" name="Google Shape;14170;p81">
              <a:extLst>
                <a:ext uri="{FF2B5EF4-FFF2-40B4-BE49-F238E27FC236}">
                  <a16:creationId xmlns:a16="http://schemas.microsoft.com/office/drawing/2014/main" id="{3C819AE4-D17E-E9F2-19D8-859705574707}"/>
                </a:ext>
              </a:extLst>
            </p:cNvPr>
            <p:cNvSpPr/>
            <p:nvPr/>
          </p:nvSpPr>
          <p:spPr>
            <a:xfrm>
              <a:off x="4247125" y="2550800"/>
              <a:ext cx="139975" cy="38900"/>
            </a:xfrm>
            <a:custGeom>
              <a:avLst/>
              <a:gdLst/>
              <a:ahLst/>
              <a:cxnLst/>
              <a:rect l="l" t="t" r="r" b="b"/>
              <a:pathLst>
                <a:path w="5599" h="1556" fill="none" extrusionOk="0">
                  <a:moveTo>
                    <a:pt x="5288" y="0"/>
                  </a:moveTo>
                  <a:lnTo>
                    <a:pt x="312" y="0"/>
                  </a:lnTo>
                  <a:lnTo>
                    <a:pt x="312" y="0"/>
                  </a:lnTo>
                  <a:lnTo>
                    <a:pt x="173" y="35"/>
                  </a:lnTo>
                  <a:lnTo>
                    <a:pt x="70" y="104"/>
                  </a:lnTo>
                  <a:lnTo>
                    <a:pt x="35" y="208"/>
                  </a:lnTo>
                  <a:lnTo>
                    <a:pt x="1" y="311"/>
                  </a:lnTo>
                  <a:lnTo>
                    <a:pt x="1" y="1245"/>
                  </a:lnTo>
                  <a:lnTo>
                    <a:pt x="1" y="1245"/>
                  </a:lnTo>
                  <a:lnTo>
                    <a:pt x="35" y="1348"/>
                  </a:lnTo>
                  <a:lnTo>
                    <a:pt x="70" y="1452"/>
                  </a:lnTo>
                  <a:lnTo>
                    <a:pt x="173" y="1521"/>
                  </a:lnTo>
                  <a:lnTo>
                    <a:pt x="312" y="1556"/>
                  </a:lnTo>
                  <a:lnTo>
                    <a:pt x="5288" y="1556"/>
                  </a:lnTo>
                  <a:lnTo>
                    <a:pt x="5288" y="1556"/>
                  </a:lnTo>
                  <a:lnTo>
                    <a:pt x="5426" y="1521"/>
                  </a:lnTo>
                  <a:lnTo>
                    <a:pt x="5530" y="1452"/>
                  </a:lnTo>
                  <a:lnTo>
                    <a:pt x="5599" y="1348"/>
                  </a:lnTo>
                  <a:lnTo>
                    <a:pt x="5599" y="1245"/>
                  </a:lnTo>
                  <a:lnTo>
                    <a:pt x="5599" y="311"/>
                  </a:lnTo>
                  <a:lnTo>
                    <a:pt x="5599" y="311"/>
                  </a:lnTo>
                  <a:lnTo>
                    <a:pt x="5599" y="208"/>
                  </a:lnTo>
                  <a:lnTo>
                    <a:pt x="5530" y="104"/>
                  </a:lnTo>
                  <a:lnTo>
                    <a:pt x="5426" y="35"/>
                  </a:lnTo>
                  <a:lnTo>
                    <a:pt x="5288"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31" name="Google Shape;14171;p81">
              <a:extLst>
                <a:ext uri="{FF2B5EF4-FFF2-40B4-BE49-F238E27FC236}">
                  <a16:creationId xmlns:a16="http://schemas.microsoft.com/office/drawing/2014/main" id="{CF0083BA-F718-552D-7F96-8A5998C104A6}"/>
                </a:ext>
              </a:extLst>
            </p:cNvPr>
            <p:cNvSpPr/>
            <p:nvPr/>
          </p:nvSpPr>
          <p:spPr>
            <a:xfrm>
              <a:off x="4441500" y="2550800"/>
              <a:ext cx="129625" cy="38900"/>
            </a:xfrm>
            <a:custGeom>
              <a:avLst/>
              <a:gdLst/>
              <a:ahLst/>
              <a:cxnLst/>
              <a:rect l="l" t="t" r="r" b="b"/>
              <a:pathLst>
                <a:path w="5185" h="1556" extrusionOk="0">
                  <a:moveTo>
                    <a:pt x="277" y="0"/>
                  </a:moveTo>
                  <a:lnTo>
                    <a:pt x="174" y="35"/>
                  </a:lnTo>
                  <a:lnTo>
                    <a:pt x="70" y="70"/>
                  </a:lnTo>
                  <a:lnTo>
                    <a:pt x="35" y="173"/>
                  </a:lnTo>
                  <a:lnTo>
                    <a:pt x="1" y="277"/>
                  </a:lnTo>
                  <a:lnTo>
                    <a:pt x="1" y="1279"/>
                  </a:lnTo>
                  <a:lnTo>
                    <a:pt x="35" y="1383"/>
                  </a:lnTo>
                  <a:lnTo>
                    <a:pt x="70" y="1486"/>
                  </a:lnTo>
                  <a:lnTo>
                    <a:pt x="174" y="1521"/>
                  </a:lnTo>
                  <a:lnTo>
                    <a:pt x="277" y="1556"/>
                  </a:lnTo>
                  <a:lnTo>
                    <a:pt x="4873" y="1556"/>
                  </a:lnTo>
                  <a:lnTo>
                    <a:pt x="5011" y="1521"/>
                  </a:lnTo>
                  <a:lnTo>
                    <a:pt x="5081" y="1486"/>
                  </a:lnTo>
                  <a:lnTo>
                    <a:pt x="5150" y="1383"/>
                  </a:lnTo>
                  <a:lnTo>
                    <a:pt x="5184" y="1279"/>
                  </a:lnTo>
                  <a:lnTo>
                    <a:pt x="5184" y="277"/>
                  </a:lnTo>
                  <a:lnTo>
                    <a:pt x="5150" y="173"/>
                  </a:lnTo>
                  <a:lnTo>
                    <a:pt x="5081" y="70"/>
                  </a:lnTo>
                  <a:lnTo>
                    <a:pt x="5011" y="35"/>
                  </a:lnTo>
                  <a:lnTo>
                    <a:pt x="4873"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32" name="Google Shape;14172;p81">
              <a:extLst>
                <a:ext uri="{FF2B5EF4-FFF2-40B4-BE49-F238E27FC236}">
                  <a16:creationId xmlns:a16="http://schemas.microsoft.com/office/drawing/2014/main" id="{C8FBBFBF-A2DB-4E54-0CA1-9A6974A34036}"/>
                </a:ext>
              </a:extLst>
            </p:cNvPr>
            <p:cNvSpPr/>
            <p:nvPr/>
          </p:nvSpPr>
          <p:spPr>
            <a:xfrm>
              <a:off x="4441500" y="2550800"/>
              <a:ext cx="129625" cy="38900"/>
            </a:xfrm>
            <a:custGeom>
              <a:avLst/>
              <a:gdLst/>
              <a:ahLst/>
              <a:cxnLst/>
              <a:rect l="l" t="t" r="r" b="b"/>
              <a:pathLst>
                <a:path w="5185" h="1556" fill="none" extrusionOk="0">
                  <a:moveTo>
                    <a:pt x="4873" y="0"/>
                  </a:moveTo>
                  <a:lnTo>
                    <a:pt x="277" y="0"/>
                  </a:lnTo>
                  <a:lnTo>
                    <a:pt x="277" y="0"/>
                  </a:lnTo>
                  <a:lnTo>
                    <a:pt x="174" y="35"/>
                  </a:lnTo>
                  <a:lnTo>
                    <a:pt x="70" y="70"/>
                  </a:lnTo>
                  <a:lnTo>
                    <a:pt x="35" y="173"/>
                  </a:lnTo>
                  <a:lnTo>
                    <a:pt x="1" y="277"/>
                  </a:lnTo>
                  <a:lnTo>
                    <a:pt x="1" y="1279"/>
                  </a:lnTo>
                  <a:lnTo>
                    <a:pt x="1" y="1279"/>
                  </a:lnTo>
                  <a:lnTo>
                    <a:pt x="35" y="1383"/>
                  </a:lnTo>
                  <a:lnTo>
                    <a:pt x="70" y="1486"/>
                  </a:lnTo>
                  <a:lnTo>
                    <a:pt x="174" y="1521"/>
                  </a:lnTo>
                  <a:lnTo>
                    <a:pt x="277" y="1556"/>
                  </a:lnTo>
                  <a:lnTo>
                    <a:pt x="4873" y="1556"/>
                  </a:lnTo>
                  <a:lnTo>
                    <a:pt x="4873" y="1556"/>
                  </a:lnTo>
                  <a:lnTo>
                    <a:pt x="5011" y="1521"/>
                  </a:lnTo>
                  <a:lnTo>
                    <a:pt x="5081" y="1486"/>
                  </a:lnTo>
                  <a:lnTo>
                    <a:pt x="5150" y="1383"/>
                  </a:lnTo>
                  <a:lnTo>
                    <a:pt x="5184" y="1279"/>
                  </a:lnTo>
                  <a:lnTo>
                    <a:pt x="5184" y="277"/>
                  </a:lnTo>
                  <a:lnTo>
                    <a:pt x="5184" y="277"/>
                  </a:lnTo>
                  <a:lnTo>
                    <a:pt x="5150" y="173"/>
                  </a:lnTo>
                  <a:lnTo>
                    <a:pt x="5081" y="70"/>
                  </a:lnTo>
                  <a:lnTo>
                    <a:pt x="5011" y="35"/>
                  </a:lnTo>
                  <a:lnTo>
                    <a:pt x="4873"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33" name="Google Shape;14173;p81">
              <a:extLst>
                <a:ext uri="{FF2B5EF4-FFF2-40B4-BE49-F238E27FC236}">
                  <a16:creationId xmlns:a16="http://schemas.microsoft.com/office/drawing/2014/main" id="{B03C59CB-5CBD-52D7-484C-E8B974947BC0}"/>
                </a:ext>
              </a:extLst>
            </p:cNvPr>
            <p:cNvSpPr/>
            <p:nvPr/>
          </p:nvSpPr>
          <p:spPr>
            <a:xfrm>
              <a:off x="3714100" y="2246700"/>
              <a:ext cx="290300" cy="268700"/>
            </a:xfrm>
            <a:custGeom>
              <a:avLst/>
              <a:gdLst/>
              <a:ahLst/>
              <a:cxnLst/>
              <a:rect l="l" t="t" r="r" b="b"/>
              <a:pathLst>
                <a:path w="11612" h="10748" extrusionOk="0">
                  <a:moveTo>
                    <a:pt x="899" y="1"/>
                  </a:moveTo>
                  <a:lnTo>
                    <a:pt x="691" y="70"/>
                  </a:lnTo>
                  <a:lnTo>
                    <a:pt x="519" y="173"/>
                  </a:lnTo>
                  <a:lnTo>
                    <a:pt x="311" y="312"/>
                  </a:lnTo>
                  <a:lnTo>
                    <a:pt x="173" y="484"/>
                  </a:lnTo>
                  <a:lnTo>
                    <a:pt x="69" y="692"/>
                  </a:lnTo>
                  <a:lnTo>
                    <a:pt x="35" y="899"/>
                  </a:lnTo>
                  <a:lnTo>
                    <a:pt x="0" y="1106"/>
                  </a:lnTo>
                  <a:lnTo>
                    <a:pt x="35" y="1314"/>
                  </a:lnTo>
                  <a:lnTo>
                    <a:pt x="69" y="1521"/>
                  </a:lnTo>
                  <a:lnTo>
                    <a:pt x="173" y="1728"/>
                  </a:lnTo>
                  <a:lnTo>
                    <a:pt x="311" y="1901"/>
                  </a:lnTo>
                  <a:lnTo>
                    <a:pt x="2661" y="4217"/>
                  </a:lnTo>
                  <a:lnTo>
                    <a:pt x="4112" y="5599"/>
                  </a:lnTo>
                  <a:lnTo>
                    <a:pt x="5564" y="6981"/>
                  </a:lnTo>
                  <a:lnTo>
                    <a:pt x="6981" y="8294"/>
                  </a:lnTo>
                  <a:lnTo>
                    <a:pt x="8259" y="9400"/>
                  </a:lnTo>
                  <a:lnTo>
                    <a:pt x="8847" y="9849"/>
                  </a:lnTo>
                  <a:lnTo>
                    <a:pt x="9330" y="10229"/>
                  </a:lnTo>
                  <a:lnTo>
                    <a:pt x="9745" y="10506"/>
                  </a:lnTo>
                  <a:lnTo>
                    <a:pt x="10056" y="10679"/>
                  </a:lnTo>
                  <a:lnTo>
                    <a:pt x="10263" y="10748"/>
                  </a:lnTo>
                  <a:lnTo>
                    <a:pt x="10644" y="10748"/>
                  </a:lnTo>
                  <a:lnTo>
                    <a:pt x="10816" y="10713"/>
                  </a:lnTo>
                  <a:lnTo>
                    <a:pt x="10955" y="10644"/>
                  </a:lnTo>
                  <a:lnTo>
                    <a:pt x="11093" y="10575"/>
                  </a:lnTo>
                  <a:lnTo>
                    <a:pt x="11231" y="10471"/>
                  </a:lnTo>
                  <a:lnTo>
                    <a:pt x="11335" y="10333"/>
                  </a:lnTo>
                  <a:lnTo>
                    <a:pt x="11438" y="10195"/>
                  </a:lnTo>
                  <a:lnTo>
                    <a:pt x="11508" y="10057"/>
                  </a:lnTo>
                  <a:lnTo>
                    <a:pt x="11577" y="9849"/>
                  </a:lnTo>
                  <a:lnTo>
                    <a:pt x="11611" y="9607"/>
                  </a:lnTo>
                  <a:lnTo>
                    <a:pt x="11577" y="9400"/>
                  </a:lnTo>
                  <a:lnTo>
                    <a:pt x="11508" y="9193"/>
                  </a:lnTo>
                  <a:lnTo>
                    <a:pt x="11404" y="9020"/>
                  </a:lnTo>
                  <a:lnTo>
                    <a:pt x="11266" y="8847"/>
                  </a:lnTo>
                  <a:lnTo>
                    <a:pt x="11093" y="8709"/>
                  </a:lnTo>
                  <a:lnTo>
                    <a:pt x="10886" y="8605"/>
                  </a:lnTo>
                  <a:lnTo>
                    <a:pt x="10713" y="8467"/>
                  </a:lnTo>
                  <a:lnTo>
                    <a:pt x="10436" y="8294"/>
                  </a:lnTo>
                  <a:lnTo>
                    <a:pt x="9676" y="7672"/>
                  </a:lnTo>
                  <a:lnTo>
                    <a:pt x="8674" y="6808"/>
                  </a:lnTo>
                  <a:lnTo>
                    <a:pt x="7499" y="5702"/>
                  </a:lnTo>
                  <a:lnTo>
                    <a:pt x="4804" y="3145"/>
                  </a:lnTo>
                  <a:lnTo>
                    <a:pt x="1901" y="312"/>
                  </a:lnTo>
                  <a:lnTo>
                    <a:pt x="1728" y="173"/>
                  </a:lnTo>
                  <a:lnTo>
                    <a:pt x="1555" y="70"/>
                  </a:lnTo>
                  <a:lnTo>
                    <a:pt x="1348"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34" name="Google Shape;14174;p81">
              <a:extLst>
                <a:ext uri="{FF2B5EF4-FFF2-40B4-BE49-F238E27FC236}">
                  <a16:creationId xmlns:a16="http://schemas.microsoft.com/office/drawing/2014/main" id="{CB852999-698E-F025-6C77-4B7CCA039F24}"/>
                </a:ext>
              </a:extLst>
            </p:cNvPr>
            <p:cNvSpPr/>
            <p:nvPr/>
          </p:nvSpPr>
          <p:spPr>
            <a:xfrm>
              <a:off x="3707175" y="2262250"/>
              <a:ext cx="311900" cy="246250"/>
            </a:xfrm>
            <a:custGeom>
              <a:avLst/>
              <a:gdLst/>
              <a:ahLst/>
              <a:cxnLst/>
              <a:rect l="l" t="t" r="r" b="b"/>
              <a:pathLst>
                <a:path w="12476" h="9850" extrusionOk="0">
                  <a:moveTo>
                    <a:pt x="11266" y="1"/>
                  </a:moveTo>
                  <a:lnTo>
                    <a:pt x="10817" y="70"/>
                  </a:lnTo>
                  <a:lnTo>
                    <a:pt x="10402" y="139"/>
                  </a:lnTo>
                  <a:lnTo>
                    <a:pt x="9953" y="243"/>
                  </a:lnTo>
                  <a:lnTo>
                    <a:pt x="9538" y="381"/>
                  </a:lnTo>
                  <a:lnTo>
                    <a:pt x="9124" y="519"/>
                  </a:lnTo>
                  <a:lnTo>
                    <a:pt x="8709" y="692"/>
                  </a:lnTo>
                  <a:lnTo>
                    <a:pt x="7880" y="1072"/>
                  </a:lnTo>
                  <a:lnTo>
                    <a:pt x="7085" y="1521"/>
                  </a:lnTo>
                  <a:lnTo>
                    <a:pt x="6325" y="2039"/>
                  </a:lnTo>
                  <a:lnTo>
                    <a:pt x="5564" y="2592"/>
                  </a:lnTo>
                  <a:lnTo>
                    <a:pt x="4839" y="3180"/>
                  </a:lnTo>
                  <a:lnTo>
                    <a:pt x="4148" y="3802"/>
                  </a:lnTo>
                  <a:lnTo>
                    <a:pt x="3491" y="4424"/>
                  </a:lnTo>
                  <a:lnTo>
                    <a:pt x="2869" y="5080"/>
                  </a:lnTo>
                  <a:lnTo>
                    <a:pt x="2247" y="5702"/>
                  </a:lnTo>
                  <a:lnTo>
                    <a:pt x="1176" y="6912"/>
                  </a:lnTo>
                  <a:lnTo>
                    <a:pt x="277" y="8018"/>
                  </a:lnTo>
                  <a:lnTo>
                    <a:pt x="139" y="8191"/>
                  </a:lnTo>
                  <a:lnTo>
                    <a:pt x="35" y="8398"/>
                  </a:lnTo>
                  <a:lnTo>
                    <a:pt x="1" y="8605"/>
                  </a:lnTo>
                  <a:lnTo>
                    <a:pt x="1" y="8847"/>
                  </a:lnTo>
                  <a:lnTo>
                    <a:pt x="35" y="9054"/>
                  </a:lnTo>
                  <a:lnTo>
                    <a:pt x="139" y="9262"/>
                  </a:lnTo>
                  <a:lnTo>
                    <a:pt x="243" y="9435"/>
                  </a:lnTo>
                  <a:lnTo>
                    <a:pt x="415" y="9607"/>
                  </a:lnTo>
                  <a:lnTo>
                    <a:pt x="554" y="9711"/>
                  </a:lnTo>
                  <a:lnTo>
                    <a:pt x="761" y="9780"/>
                  </a:lnTo>
                  <a:lnTo>
                    <a:pt x="934" y="9849"/>
                  </a:lnTo>
                  <a:lnTo>
                    <a:pt x="1107" y="9849"/>
                  </a:lnTo>
                  <a:lnTo>
                    <a:pt x="1348" y="9815"/>
                  </a:lnTo>
                  <a:lnTo>
                    <a:pt x="1590" y="9746"/>
                  </a:lnTo>
                  <a:lnTo>
                    <a:pt x="1798" y="9642"/>
                  </a:lnTo>
                  <a:lnTo>
                    <a:pt x="1971" y="9469"/>
                  </a:lnTo>
                  <a:lnTo>
                    <a:pt x="2800" y="8467"/>
                  </a:lnTo>
                  <a:lnTo>
                    <a:pt x="3802" y="7361"/>
                  </a:lnTo>
                  <a:lnTo>
                    <a:pt x="4873" y="6221"/>
                  </a:lnTo>
                  <a:lnTo>
                    <a:pt x="5461" y="5633"/>
                  </a:lnTo>
                  <a:lnTo>
                    <a:pt x="6083" y="5080"/>
                  </a:lnTo>
                  <a:lnTo>
                    <a:pt x="6705" y="4528"/>
                  </a:lnTo>
                  <a:lnTo>
                    <a:pt x="7361" y="4044"/>
                  </a:lnTo>
                  <a:lnTo>
                    <a:pt x="8018" y="3595"/>
                  </a:lnTo>
                  <a:lnTo>
                    <a:pt x="8674" y="3180"/>
                  </a:lnTo>
                  <a:lnTo>
                    <a:pt x="9366" y="2834"/>
                  </a:lnTo>
                  <a:lnTo>
                    <a:pt x="10057" y="2558"/>
                  </a:lnTo>
                  <a:lnTo>
                    <a:pt x="10748" y="2350"/>
                  </a:lnTo>
                  <a:lnTo>
                    <a:pt x="11093" y="2281"/>
                  </a:lnTo>
                  <a:lnTo>
                    <a:pt x="11474" y="2247"/>
                  </a:lnTo>
                  <a:lnTo>
                    <a:pt x="11681" y="2212"/>
                  </a:lnTo>
                  <a:lnTo>
                    <a:pt x="11888" y="2109"/>
                  </a:lnTo>
                  <a:lnTo>
                    <a:pt x="12061" y="2005"/>
                  </a:lnTo>
                  <a:lnTo>
                    <a:pt x="12234" y="1832"/>
                  </a:lnTo>
                  <a:lnTo>
                    <a:pt x="12337" y="1659"/>
                  </a:lnTo>
                  <a:lnTo>
                    <a:pt x="12441" y="1452"/>
                  </a:lnTo>
                  <a:lnTo>
                    <a:pt x="12476" y="1245"/>
                  </a:lnTo>
                  <a:lnTo>
                    <a:pt x="12476" y="1037"/>
                  </a:lnTo>
                  <a:lnTo>
                    <a:pt x="12441" y="795"/>
                  </a:lnTo>
                  <a:lnTo>
                    <a:pt x="12337" y="588"/>
                  </a:lnTo>
                  <a:lnTo>
                    <a:pt x="12234" y="415"/>
                  </a:lnTo>
                  <a:lnTo>
                    <a:pt x="12061" y="277"/>
                  </a:lnTo>
                  <a:lnTo>
                    <a:pt x="11888" y="139"/>
                  </a:lnTo>
                  <a:lnTo>
                    <a:pt x="11681" y="70"/>
                  </a:lnTo>
                  <a:lnTo>
                    <a:pt x="11474"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35" name="Google Shape;14175;p81">
              <a:extLst>
                <a:ext uri="{FF2B5EF4-FFF2-40B4-BE49-F238E27FC236}">
                  <a16:creationId xmlns:a16="http://schemas.microsoft.com/office/drawing/2014/main" id="{22390140-60FF-D502-D9AB-342DE55F3AB2}"/>
                </a:ext>
              </a:extLst>
            </p:cNvPr>
            <p:cNvSpPr/>
            <p:nvPr/>
          </p:nvSpPr>
          <p:spPr>
            <a:xfrm>
              <a:off x="3439375" y="1069200"/>
              <a:ext cx="171075" cy="244500"/>
            </a:xfrm>
            <a:custGeom>
              <a:avLst/>
              <a:gdLst/>
              <a:ahLst/>
              <a:cxnLst/>
              <a:rect l="l" t="t" r="r" b="b"/>
              <a:pathLst>
                <a:path w="6843" h="9780" extrusionOk="0">
                  <a:moveTo>
                    <a:pt x="1072" y="0"/>
                  </a:moveTo>
                  <a:lnTo>
                    <a:pt x="830" y="69"/>
                  </a:lnTo>
                  <a:lnTo>
                    <a:pt x="622" y="173"/>
                  </a:lnTo>
                  <a:lnTo>
                    <a:pt x="415" y="311"/>
                  </a:lnTo>
                  <a:lnTo>
                    <a:pt x="242" y="519"/>
                  </a:lnTo>
                  <a:lnTo>
                    <a:pt x="104" y="726"/>
                  </a:lnTo>
                  <a:lnTo>
                    <a:pt x="35" y="968"/>
                  </a:lnTo>
                  <a:lnTo>
                    <a:pt x="0" y="1210"/>
                  </a:lnTo>
                  <a:lnTo>
                    <a:pt x="35" y="1452"/>
                  </a:lnTo>
                  <a:lnTo>
                    <a:pt x="104" y="1659"/>
                  </a:lnTo>
                  <a:lnTo>
                    <a:pt x="208" y="1901"/>
                  </a:lnTo>
                  <a:lnTo>
                    <a:pt x="346" y="2074"/>
                  </a:lnTo>
                  <a:lnTo>
                    <a:pt x="519" y="2246"/>
                  </a:lnTo>
                  <a:lnTo>
                    <a:pt x="1037" y="2661"/>
                  </a:lnTo>
                  <a:lnTo>
                    <a:pt x="1797" y="3283"/>
                  </a:lnTo>
                  <a:lnTo>
                    <a:pt x="3698" y="4907"/>
                  </a:lnTo>
                  <a:lnTo>
                    <a:pt x="588" y="7603"/>
                  </a:lnTo>
                  <a:lnTo>
                    <a:pt x="415" y="7775"/>
                  </a:lnTo>
                  <a:lnTo>
                    <a:pt x="311" y="7983"/>
                  </a:lnTo>
                  <a:lnTo>
                    <a:pt x="208" y="8225"/>
                  </a:lnTo>
                  <a:lnTo>
                    <a:pt x="173" y="8467"/>
                  </a:lnTo>
                  <a:lnTo>
                    <a:pt x="173" y="8708"/>
                  </a:lnTo>
                  <a:lnTo>
                    <a:pt x="242" y="8950"/>
                  </a:lnTo>
                  <a:lnTo>
                    <a:pt x="346" y="9158"/>
                  </a:lnTo>
                  <a:lnTo>
                    <a:pt x="484" y="9365"/>
                  </a:lnTo>
                  <a:lnTo>
                    <a:pt x="691" y="9538"/>
                  </a:lnTo>
                  <a:lnTo>
                    <a:pt x="899" y="9676"/>
                  </a:lnTo>
                  <a:lnTo>
                    <a:pt x="1175" y="9780"/>
                  </a:lnTo>
                  <a:lnTo>
                    <a:pt x="1624" y="9780"/>
                  </a:lnTo>
                  <a:lnTo>
                    <a:pt x="1866" y="9711"/>
                  </a:lnTo>
                  <a:lnTo>
                    <a:pt x="2039" y="9641"/>
                  </a:lnTo>
                  <a:lnTo>
                    <a:pt x="2246" y="9503"/>
                  </a:lnTo>
                  <a:lnTo>
                    <a:pt x="6428" y="5840"/>
                  </a:lnTo>
                  <a:lnTo>
                    <a:pt x="6601" y="5668"/>
                  </a:lnTo>
                  <a:lnTo>
                    <a:pt x="6739" y="5426"/>
                  </a:lnTo>
                  <a:lnTo>
                    <a:pt x="6842" y="5184"/>
                  </a:lnTo>
                  <a:lnTo>
                    <a:pt x="6842" y="4907"/>
                  </a:lnTo>
                  <a:lnTo>
                    <a:pt x="6842" y="4665"/>
                  </a:lnTo>
                  <a:lnTo>
                    <a:pt x="6739" y="4389"/>
                  </a:lnTo>
                  <a:lnTo>
                    <a:pt x="6601" y="4182"/>
                  </a:lnTo>
                  <a:lnTo>
                    <a:pt x="6428" y="3974"/>
                  </a:lnTo>
                  <a:lnTo>
                    <a:pt x="4389" y="2212"/>
                  </a:lnTo>
                  <a:lnTo>
                    <a:pt x="3007" y="1037"/>
                  </a:lnTo>
                  <a:lnTo>
                    <a:pt x="2005" y="208"/>
                  </a:lnTo>
                  <a:lnTo>
                    <a:pt x="1763" y="104"/>
                  </a:lnTo>
                  <a:lnTo>
                    <a:pt x="1521" y="35"/>
                  </a:lnTo>
                  <a:lnTo>
                    <a:pt x="1279" y="0"/>
                  </a:lnTo>
                  <a:close/>
                </a:path>
              </a:pathLst>
            </a:custGeom>
            <a:solidFill>
              <a:srgbClr val="EB8C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36" name="Google Shape;14176;p81">
              <a:extLst>
                <a:ext uri="{FF2B5EF4-FFF2-40B4-BE49-F238E27FC236}">
                  <a16:creationId xmlns:a16="http://schemas.microsoft.com/office/drawing/2014/main" id="{E2553250-212E-12A5-0EA5-EFC9EC3B3853}"/>
                </a:ext>
              </a:extLst>
            </p:cNvPr>
            <p:cNvSpPr/>
            <p:nvPr/>
          </p:nvSpPr>
          <p:spPr>
            <a:xfrm>
              <a:off x="5291600" y="4589625"/>
              <a:ext cx="1321800" cy="71725"/>
            </a:xfrm>
            <a:custGeom>
              <a:avLst/>
              <a:gdLst/>
              <a:ahLst/>
              <a:cxnLst/>
              <a:rect l="l" t="t" r="r" b="b"/>
              <a:pathLst>
                <a:path w="52872" h="2869" extrusionOk="0">
                  <a:moveTo>
                    <a:pt x="26021" y="1"/>
                  </a:moveTo>
                  <a:lnTo>
                    <a:pt x="20769" y="35"/>
                  </a:lnTo>
                  <a:lnTo>
                    <a:pt x="15896" y="104"/>
                  </a:lnTo>
                  <a:lnTo>
                    <a:pt x="11473" y="242"/>
                  </a:lnTo>
                  <a:lnTo>
                    <a:pt x="7603" y="415"/>
                  </a:lnTo>
                  <a:lnTo>
                    <a:pt x="5944" y="519"/>
                  </a:lnTo>
                  <a:lnTo>
                    <a:pt x="4423" y="623"/>
                  </a:lnTo>
                  <a:lnTo>
                    <a:pt x="3145" y="761"/>
                  </a:lnTo>
                  <a:lnTo>
                    <a:pt x="2039" y="864"/>
                  </a:lnTo>
                  <a:lnTo>
                    <a:pt x="1141" y="1003"/>
                  </a:lnTo>
                  <a:lnTo>
                    <a:pt x="519" y="1141"/>
                  </a:lnTo>
                  <a:lnTo>
                    <a:pt x="277" y="1210"/>
                  </a:lnTo>
                  <a:lnTo>
                    <a:pt x="138" y="1279"/>
                  </a:lnTo>
                  <a:lnTo>
                    <a:pt x="35" y="1348"/>
                  </a:lnTo>
                  <a:lnTo>
                    <a:pt x="0" y="1452"/>
                  </a:lnTo>
                  <a:lnTo>
                    <a:pt x="35" y="1521"/>
                  </a:lnTo>
                  <a:lnTo>
                    <a:pt x="138" y="1590"/>
                  </a:lnTo>
                  <a:lnTo>
                    <a:pt x="277" y="1659"/>
                  </a:lnTo>
                  <a:lnTo>
                    <a:pt x="519" y="1728"/>
                  </a:lnTo>
                  <a:lnTo>
                    <a:pt x="1141" y="1867"/>
                  </a:lnTo>
                  <a:lnTo>
                    <a:pt x="2039" y="2005"/>
                  </a:lnTo>
                  <a:lnTo>
                    <a:pt x="3145" y="2109"/>
                  </a:lnTo>
                  <a:lnTo>
                    <a:pt x="4423" y="2247"/>
                  </a:lnTo>
                  <a:lnTo>
                    <a:pt x="5944" y="2350"/>
                  </a:lnTo>
                  <a:lnTo>
                    <a:pt x="7603" y="2454"/>
                  </a:lnTo>
                  <a:lnTo>
                    <a:pt x="11473" y="2627"/>
                  </a:lnTo>
                  <a:lnTo>
                    <a:pt x="15896" y="2765"/>
                  </a:lnTo>
                  <a:lnTo>
                    <a:pt x="20769" y="2869"/>
                  </a:lnTo>
                  <a:lnTo>
                    <a:pt x="28682" y="2869"/>
                  </a:lnTo>
                  <a:lnTo>
                    <a:pt x="31308" y="2834"/>
                  </a:lnTo>
                  <a:lnTo>
                    <a:pt x="36284" y="2731"/>
                  </a:lnTo>
                  <a:lnTo>
                    <a:pt x="40846" y="2558"/>
                  </a:lnTo>
                  <a:lnTo>
                    <a:pt x="44854" y="2316"/>
                  </a:lnTo>
                  <a:lnTo>
                    <a:pt x="46582" y="2178"/>
                  </a:lnTo>
                  <a:lnTo>
                    <a:pt x="48172" y="2039"/>
                  </a:lnTo>
                  <a:lnTo>
                    <a:pt x="49554" y="1901"/>
                  </a:lnTo>
                  <a:lnTo>
                    <a:pt x="50694" y="1763"/>
                  </a:lnTo>
                  <a:lnTo>
                    <a:pt x="51627" y="1625"/>
                  </a:lnTo>
                  <a:lnTo>
                    <a:pt x="52319" y="1452"/>
                  </a:lnTo>
                  <a:lnTo>
                    <a:pt x="52560" y="1383"/>
                  </a:lnTo>
                  <a:lnTo>
                    <a:pt x="52733" y="1314"/>
                  </a:lnTo>
                  <a:lnTo>
                    <a:pt x="52837" y="1245"/>
                  </a:lnTo>
                  <a:lnTo>
                    <a:pt x="52871" y="1141"/>
                  </a:lnTo>
                  <a:lnTo>
                    <a:pt x="52837" y="1072"/>
                  </a:lnTo>
                  <a:lnTo>
                    <a:pt x="52733" y="1003"/>
                  </a:lnTo>
                  <a:lnTo>
                    <a:pt x="52560" y="934"/>
                  </a:lnTo>
                  <a:lnTo>
                    <a:pt x="52319" y="864"/>
                  </a:lnTo>
                  <a:lnTo>
                    <a:pt x="51627" y="761"/>
                  </a:lnTo>
                  <a:lnTo>
                    <a:pt x="50694" y="623"/>
                  </a:lnTo>
                  <a:lnTo>
                    <a:pt x="49554" y="519"/>
                  </a:lnTo>
                  <a:lnTo>
                    <a:pt x="48172" y="450"/>
                  </a:lnTo>
                  <a:lnTo>
                    <a:pt x="44854" y="277"/>
                  </a:lnTo>
                  <a:lnTo>
                    <a:pt x="40846" y="139"/>
                  </a:lnTo>
                  <a:lnTo>
                    <a:pt x="36284" y="70"/>
                  </a:lnTo>
                  <a:lnTo>
                    <a:pt x="31308" y="1"/>
                  </a:lnTo>
                  <a:close/>
                </a:path>
              </a:pathLst>
            </a:custGeom>
            <a:solidFill>
              <a:srgbClr val="E6E6E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37" name="Google Shape;14177;p81">
              <a:extLst>
                <a:ext uri="{FF2B5EF4-FFF2-40B4-BE49-F238E27FC236}">
                  <a16:creationId xmlns:a16="http://schemas.microsoft.com/office/drawing/2014/main" id="{F3FBF220-E114-B7A4-F0F6-83ED3B216DE3}"/>
                </a:ext>
              </a:extLst>
            </p:cNvPr>
            <p:cNvSpPr/>
            <p:nvPr/>
          </p:nvSpPr>
          <p:spPr>
            <a:xfrm>
              <a:off x="5291600" y="4589625"/>
              <a:ext cx="1321800" cy="71725"/>
            </a:xfrm>
            <a:custGeom>
              <a:avLst/>
              <a:gdLst/>
              <a:ahLst/>
              <a:cxnLst/>
              <a:rect l="l" t="t" r="r" b="b"/>
              <a:pathLst>
                <a:path w="52872" h="2869" fill="none" extrusionOk="0">
                  <a:moveTo>
                    <a:pt x="26021" y="1"/>
                  </a:moveTo>
                  <a:lnTo>
                    <a:pt x="26021" y="1"/>
                  </a:lnTo>
                  <a:lnTo>
                    <a:pt x="20769" y="35"/>
                  </a:lnTo>
                  <a:lnTo>
                    <a:pt x="15896" y="104"/>
                  </a:lnTo>
                  <a:lnTo>
                    <a:pt x="11473" y="242"/>
                  </a:lnTo>
                  <a:lnTo>
                    <a:pt x="7603" y="415"/>
                  </a:lnTo>
                  <a:lnTo>
                    <a:pt x="5944" y="519"/>
                  </a:lnTo>
                  <a:lnTo>
                    <a:pt x="4423" y="623"/>
                  </a:lnTo>
                  <a:lnTo>
                    <a:pt x="3145" y="761"/>
                  </a:lnTo>
                  <a:lnTo>
                    <a:pt x="2039" y="864"/>
                  </a:lnTo>
                  <a:lnTo>
                    <a:pt x="1141" y="1003"/>
                  </a:lnTo>
                  <a:lnTo>
                    <a:pt x="519" y="1141"/>
                  </a:lnTo>
                  <a:lnTo>
                    <a:pt x="277" y="1210"/>
                  </a:lnTo>
                  <a:lnTo>
                    <a:pt x="138" y="1279"/>
                  </a:lnTo>
                  <a:lnTo>
                    <a:pt x="35" y="1348"/>
                  </a:lnTo>
                  <a:lnTo>
                    <a:pt x="0" y="1452"/>
                  </a:lnTo>
                  <a:lnTo>
                    <a:pt x="0" y="1452"/>
                  </a:lnTo>
                  <a:lnTo>
                    <a:pt x="35" y="1521"/>
                  </a:lnTo>
                  <a:lnTo>
                    <a:pt x="138" y="1590"/>
                  </a:lnTo>
                  <a:lnTo>
                    <a:pt x="277" y="1659"/>
                  </a:lnTo>
                  <a:lnTo>
                    <a:pt x="519" y="1728"/>
                  </a:lnTo>
                  <a:lnTo>
                    <a:pt x="1141" y="1867"/>
                  </a:lnTo>
                  <a:lnTo>
                    <a:pt x="2039" y="2005"/>
                  </a:lnTo>
                  <a:lnTo>
                    <a:pt x="3145" y="2109"/>
                  </a:lnTo>
                  <a:lnTo>
                    <a:pt x="4423" y="2247"/>
                  </a:lnTo>
                  <a:lnTo>
                    <a:pt x="5944" y="2350"/>
                  </a:lnTo>
                  <a:lnTo>
                    <a:pt x="7603" y="2454"/>
                  </a:lnTo>
                  <a:lnTo>
                    <a:pt x="11473" y="2627"/>
                  </a:lnTo>
                  <a:lnTo>
                    <a:pt x="15896" y="2765"/>
                  </a:lnTo>
                  <a:lnTo>
                    <a:pt x="20769" y="2869"/>
                  </a:lnTo>
                  <a:lnTo>
                    <a:pt x="26021" y="2869"/>
                  </a:lnTo>
                  <a:lnTo>
                    <a:pt x="26021" y="2869"/>
                  </a:lnTo>
                  <a:lnTo>
                    <a:pt x="28682" y="2869"/>
                  </a:lnTo>
                  <a:lnTo>
                    <a:pt x="31308" y="2834"/>
                  </a:lnTo>
                  <a:lnTo>
                    <a:pt x="36284" y="2731"/>
                  </a:lnTo>
                  <a:lnTo>
                    <a:pt x="40846" y="2558"/>
                  </a:lnTo>
                  <a:lnTo>
                    <a:pt x="44854" y="2316"/>
                  </a:lnTo>
                  <a:lnTo>
                    <a:pt x="46582" y="2178"/>
                  </a:lnTo>
                  <a:lnTo>
                    <a:pt x="48172" y="2039"/>
                  </a:lnTo>
                  <a:lnTo>
                    <a:pt x="49554" y="1901"/>
                  </a:lnTo>
                  <a:lnTo>
                    <a:pt x="50694" y="1763"/>
                  </a:lnTo>
                  <a:lnTo>
                    <a:pt x="51627" y="1625"/>
                  </a:lnTo>
                  <a:lnTo>
                    <a:pt x="52319" y="1452"/>
                  </a:lnTo>
                  <a:lnTo>
                    <a:pt x="52560" y="1383"/>
                  </a:lnTo>
                  <a:lnTo>
                    <a:pt x="52733" y="1314"/>
                  </a:lnTo>
                  <a:lnTo>
                    <a:pt x="52837" y="1245"/>
                  </a:lnTo>
                  <a:lnTo>
                    <a:pt x="52871" y="1141"/>
                  </a:lnTo>
                  <a:lnTo>
                    <a:pt x="52871" y="1141"/>
                  </a:lnTo>
                  <a:lnTo>
                    <a:pt x="52837" y="1072"/>
                  </a:lnTo>
                  <a:lnTo>
                    <a:pt x="52733" y="1003"/>
                  </a:lnTo>
                  <a:lnTo>
                    <a:pt x="52560" y="934"/>
                  </a:lnTo>
                  <a:lnTo>
                    <a:pt x="52319" y="864"/>
                  </a:lnTo>
                  <a:lnTo>
                    <a:pt x="51627" y="761"/>
                  </a:lnTo>
                  <a:lnTo>
                    <a:pt x="50694" y="623"/>
                  </a:lnTo>
                  <a:lnTo>
                    <a:pt x="49554" y="519"/>
                  </a:lnTo>
                  <a:lnTo>
                    <a:pt x="48172" y="450"/>
                  </a:lnTo>
                  <a:lnTo>
                    <a:pt x="44854" y="277"/>
                  </a:lnTo>
                  <a:lnTo>
                    <a:pt x="40846" y="139"/>
                  </a:lnTo>
                  <a:lnTo>
                    <a:pt x="36284" y="70"/>
                  </a:lnTo>
                  <a:lnTo>
                    <a:pt x="31308" y="1"/>
                  </a:lnTo>
                  <a:lnTo>
                    <a:pt x="26021"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38" name="Google Shape;14178;p81">
              <a:extLst>
                <a:ext uri="{FF2B5EF4-FFF2-40B4-BE49-F238E27FC236}">
                  <a16:creationId xmlns:a16="http://schemas.microsoft.com/office/drawing/2014/main" id="{CC7EAF89-2949-5B3B-1A19-D166C1395FED}"/>
                </a:ext>
              </a:extLst>
            </p:cNvPr>
            <p:cNvSpPr/>
            <p:nvPr/>
          </p:nvSpPr>
          <p:spPr>
            <a:xfrm>
              <a:off x="5116225" y="1564225"/>
              <a:ext cx="209950" cy="269550"/>
            </a:xfrm>
            <a:custGeom>
              <a:avLst/>
              <a:gdLst/>
              <a:ahLst/>
              <a:cxnLst/>
              <a:rect l="l" t="t" r="r" b="b"/>
              <a:pathLst>
                <a:path w="8398" h="10782" extrusionOk="0">
                  <a:moveTo>
                    <a:pt x="311" y="0"/>
                  </a:moveTo>
                  <a:lnTo>
                    <a:pt x="208" y="35"/>
                  </a:lnTo>
                  <a:lnTo>
                    <a:pt x="138" y="69"/>
                  </a:lnTo>
                  <a:lnTo>
                    <a:pt x="69" y="138"/>
                  </a:lnTo>
                  <a:lnTo>
                    <a:pt x="35" y="207"/>
                  </a:lnTo>
                  <a:lnTo>
                    <a:pt x="0" y="277"/>
                  </a:lnTo>
                  <a:lnTo>
                    <a:pt x="35" y="415"/>
                  </a:lnTo>
                  <a:lnTo>
                    <a:pt x="138" y="622"/>
                  </a:lnTo>
                  <a:lnTo>
                    <a:pt x="311" y="829"/>
                  </a:lnTo>
                  <a:lnTo>
                    <a:pt x="726" y="1348"/>
                  </a:lnTo>
                  <a:lnTo>
                    <a:pt x="1210" y="1901"/>
                  </a:lnTo>
                  <a:lnTo>
                    <a:pt x="1728" y="2488"/>
                  </a:lnTo>
                  <a:lnTo>
                    <a:pt x="1935" y="2799"/>
                  </a:lnTo>
                  <a:lnTo>
                    <a:pt x="2108" y="3076"/>
                  </a:lnTo>
                  <a:lnTo>
                    <a:pt x="2246" y="3352"/>
                  </a:lnTo>
                  <a:lnTo>
                    <a:pt x="2350" y="3628"/>
                  </a:lnTo>
                  <a:lnTo>
                    <a:pt x="2350" y="3870"/>
                  </a:lnTo>
                  <a:lnTo>
                    <a:pt x="2350" y="3974"/>
                  </a:lnTo>
                  <a:lnTo>
                    <a:pt x="2281" y="4078"/>
                  </a:lnTo>
                  <a:lnTo>
                    <a:pt x="2143" y="4285"/>
                  </a:lnTo>
                  <a:lnTo>
                    <a:pt x="1832" y="4596"/>
                  </a:lnTo>
                  <a:lnTo>
                    <a:pt x="1452" y="5011"/>
                  </a:lnTo>
                  <a:lnTo>
                    <a:pt x="1106" y="5495"/>
                  </a:lnTo>
                  <a:lnTo>
                    <a:pt x="933" y="5736"/>
                  </a:lnTo>
                  <a:lnTo>
                    <a:pt x="795" y="5978"/>
                  </a:lnTo>
                  <a:lnTo>
                    <a:pt x="691" y="6220"/>
                  </a:lnTo>
                  <a:lnTo>
                    <a:pt x="657" y="6462"/>
                  </a:lnTo>
                  <a:lnTo>
                    <a:pt x="657" y="6704"/>
                  </a:lnTo>
                  <a:lnTo>
                    <a:pt x="691" y="6946"/>
                  </a:lnTo>
                  <a:lnTo>
                    <a:pt x="830" y="7153"/>
                  </a:lnTo>
                  <a:lnTo>
                    <a:pt x="1037" y="7326"/>
                  </a:lnTo>
                  <a:lnTo>
                    <a:pt x="1210" y="7464"/>
                  </a:lnTo>
                  <a:lnTo>
                    <a:pt x="1383" y="7568"/>
                  </a:lnTo>
                  <a:lnTo>
                    <a:pt x="1728" y="7706"/>
                  </a:lnTo>
                  <a:lnTo>
                    <a:pt x="2074" y="7775"/>
                  </a:lnTo>
                  <a:lnTo>
                    <a:pt x="2385" y="7844"/>
                  </a:lnTo>
                  <a:lnTo>
                    <a:pt x="2696" y="7913"/>
                  </a:lnTo>
                  <a:lnTo>
                    <a:pt x="3041" y="8017"/>
                  </a:lnTo>
                  <a:lnTo>
                    <a:pt x="3179" y="8121"/>
                  </a:lnTo>
                  <a:lnTo>
                    <a:pt x="3352" y="8259"/>
                  </a:lnTo>
                  <a:lnTo>
                    <a:pt x="3525" y="8397"/>
                  </a:lnTo>
                  <a:lnTo>
                    <a:pt x="3663" y="8570"/>
                  </a:lnTo>
                  <a:lnTo>
                    <a:pt x="4320" y="9296"/>
                  </a:lnTo>
                  <a:lnTo>
                    <a:pt x="4873" y="9814"/>
                  </a:lnTo>
                  <a:lnTo>
                    <a:pt x="6013" y="10782"/>
                  </a:lnTo>
                  <a:lnTo>
                    <a:pt x="6428" y="10436"/>
                  </a:lnTo>
                  <a:lnTo>
                    <a:pt x="6842" y="10056"/>
                  </a:lnTo>
                  <a:lnTo>
                    <a:pt x="7292" y="9607"/>
                  </a:lnTo>
                  <a:lnTo>
                    <a:pt x="7741" y="9123"/>
                  </a:lnTo>
                  <a:lnTo>
                    <a:pt x="8121" y="8639"/>
                  </a:lnTo>
                  <a:lnTo>
                    <a:pt x="8259" y="8432"/>
                  </a:lnTo>
                  <a:lnTo>
                    <a:pt x="8328" y="8259"/>
                  </a:lnTo>
                  <a:lnTo>
                    <a:pt x="8397" y="8086"/>
                  </a:lnTo>
                  <a:lnTo>
                    <a:pt x="8363" y="7983"/>
                  </a:lnTo>
                  <a:lnTo>
                    <a:pt x="8086" y="7533"/>
                  </a:lnTo>
                  <a:lnTo>
                    <a:pt x="7672" y="7050"/>
                  </a:lnTo>
                  <a:lnTo>
                    <a:pt x="7153" y="6531"/>
                  </a:lnTo>
                  <a:lnTo>
                    <a:pt x="6428" y="5875"/>
                  </a:lnTo>
                  <a:lnTo>
                    <a:pt x="5806" y="5322"/>
                  </a:lnTo>
                  <a:lnTo>
                    <a:pt x="5218" y="4769"/>
                  </a:lnTo>
                  <a:lnTo>
                    <a:pt x="4665" y="4181"/>
                  </a:lnTo>
                  <a:lnTo>
                    <a:pt x="4043" y="3628"/>
                  </a:lnTo>
                  <a:lnTo>
                    <a:pt x="3698" y="3248"/>
                  </a:lnTo>
                  <a:lnTo>
                    <a:pt x="3179" y="2661"/>
                  </a:lnTo>
                  <a:lnTo>
                    <a:pt x="2627" y="1970"/>
                  </a:lnTo>
                  <a:lnTo>
                    <a:pt x="2039" y="1279"/>
                  </a:lnTo>
                  <a:lnTo>
                    <a:pt x="1452" y="657"/>
                  </a:lnTo>
                  <a:lnTo>
                    <a:pt x="1175" y="415"/>
                  </a:lnTo>
                  <a:lnTo>
                    <a:pt x="899" y="207"/>
                  </a:lnTo>
                  <a:lnTo>
                    <a:pt x="657" y="69"/>
                  </a:lnTo>
                  <a:lnTo>
                    <a:pt x="415" y="0"/>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39" name="Google Shape;14179;p81">
              <a:extLst>
                <a:ext uri="{FF2B5EF4-FFF2-40B4-BE49-F238E27FC236}">
                  <a16:creationId xmlns:a16="http://schemas.microsoft.com/office/drawing/2014/main" id="{E3C0E5AC-56A6-1820-17A7-322F1C260D81}"/>
                </a:ext>
              </a:extLst>
            </p:cNvPr>
            <p:cNvSpPr/>
            <p:nvPr/>
          </p:nvSpPr>
          <p:spPr>
            <a:xfrm>
              <a:off x="5966300" y="1826850"/>
              <a:ext cx="175400" cy="295475"/>
            </a:xfrm>
            <a:custGeom>
              <a:avLst/>
              <a:gdLst/>
              <a:ahLst/>
              <a:cxnLst/>
              <a:rect l="l" t="t" r="r" b="b"/>
              <a:pathLst>
                <a:path w="7016" h="11819" extrusionOk="0">
                  <a:moveTo>
                    <a:pt x="2489" y="0"/>
                  </a:moveTo>
                  <a:lnTo>
                    <a:pt x="1176" y="3594"/>
                  </a:lnTo>
                  <a:lnTo>
                    <a:pt x="1279" y="3905"/>
                  </a:lnTo>
                  <a:lnTo>
                    <a:pt x="1314" y="4389"/>
                  </a:lnTo>
                  <a:lnTo>
                    <a:pt x="1348" y="5564"/>
                  </a:lnTo>
                  <a:lnTo>
                    <a:pt x="1348" y="6289"/>
                  </a:lnTo>
                  <a:lnTo>
                    <a:pt x="1279" y="7015"/>
                  </a:lnTo>
                  <a:lnTo>
                    <a:pt x="1210" y="7706"/>
                  </a:lnTo>
                  <a:lnTo>
                    <a:pt x="1107" y="8017"/>
                  </a:lnTo>
                  <a:lnTo>
                    <a:pt x="1037" y="8294"/>
                  </a:lnTo>
                  <a:lnTo>
                    <a:pt x="934" y="8605"/>
                  </a:lnTo>
                  <a:lnTo>
                    <a:pt x="865" y="8950"/>
                  </a:lnTo>
                  <a:lnTo>
                    <a:pt x="761" y="9711"/>
                  </a:lnTo>
                  <a:lnTo>
                    <a:pt x="657" y="10125"/>
                  </a:lnTo>
                  <a:lnTo>
                    <a:pt x="519" y="10540"/>
                  </a:lnTo>
                  <a:lnTo>
                    <a:pt x="346" y="10989"/>
                  </a:lnTo>
                  <a:lnTo>
                    <a:pt x="70" y="11438"/>
                  </a:lnTo>
                  <a:lnTo>
                    <a:pt x="1" y="11577"/>
                  </a:lnTo>
                  <a:lnTo>
                    <a:pt x="1" y="11646"/>
                  </a:lnTo>
                  <a:lnTo>
                    <a:pt x="35" y="11680"/>
                  </a:lnTo>
                  <a:lnTo>
                    <a:pt x="139" y="11749"/>
                  </a:lnTo>
                  <a:lnTo>
                    <a:pt x="312" y="11784"/>
                  </a:lnTo>
                  <a:lnTo>
                    <a:pt x="519" y="11819"/>
                  </a:lnTo>
                  <a:lnTo>
                    <a:pt x="796" y="11819"/>
                  </a:lnTo>
                  <a:lnTo>
                    <a:pt x="1383" y="11715"/>
                  </a:lnTo>
                  <a:lnTo>
                    <a:pt x="2040" y="11611"/>
                  </a:lnTo>
                  <a:lnTo>
                    <a:pt x="2592" y="11473"/>
                  </a:lnTo>
                  <a:lnTo>
                    <a:pt x="3180" y="11335"/>
                  </a:lnTo>
                  <a:lnTo>
                    <a:pt x="7016" y="10263"/>
                  </a:lnTo>
                  <a:lnTo>
                    <a:pt x="6981" y="9918"/>
                  </a:lnTo>
                  <a:lnTo>
                    <a:pt x="6947" y="9538"/>
                  </a:lnTo>
                  <a:lnTo>
                    <a:pt x="6843" y="9123"/>
                  </a:lnTo>
                  <a:lnTo>
                    <a:pt x="6739" y="8674"/>
                  </a:lnTo>
                  <a:lnTo>
                    <a:pt x="6428" y="7706"/>
                  </a:lnTo>
                  <a:lnTo>
                    <a:pt x="6083" y="6704"/>
                  </a:lnTo>
                  <a:lnTo>
                    <a:pt x="5357" y="4804"/>
                  </a:lnTo>
                  <a:lnTo>
                    <a:pt x="5081" y="3974"/>
                  </a:lnTo>
                  <a:lnTo>
                    <a:pt x="4977" y="3594"/>
                  </a:lnTo>
                  <a:lnTo>
                    <a:pt x="4908" y="3283"/>
                  </a:lnTo>
                  <a:lnTo>
                    <a:pt x="4804" y="2972"/>
                  </a:lnTo>
                  <a:lnTo>
                    <a:pt x="4700" y="2661"/>
                  </a:lnTo>
                  <a:lnTo>
                    <a:pt x="4562" y="2350"/>
                  </a:lnTo>
                  <a:lnTo>
                    <a:pt x="4389" y="2039"/>
                  </a:lnTo>
                  <a:lnTo>
                    <a:pt x="4009" y="1486"/>
                  </a:lnTo>
                  <a:lnTo>
                    <a:pt x="3560" y="1002"/>
                  </a:lnTo>
                  <a:lnTo>
                    <a:pt x="3145" y="588"/>
                  </a:lnTo>
                  <a:lnTo>
                    <a:pt x="2800" y="277"/>
                  </a:lnTo>
                  <a:lnTo>
                    <a:pt x="2489" y="0"/>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40" name="Google Shape;14180;p81">
              <a:extLst>
                <a:ext uri="{FF2B5EF4-FFF2-40B4-BE49-F238E27FC236}">
                  <a16:creationId xmlns:a16="http://schemas.microsoft.com/office/drawing/2014/main" id="{BF32B0CB-9E12-A148-83BE-AA9428ECEBC5}"/>
                </a:ext>
              </a:extLst>
            </p:cNvPr>
            <p:cNvSpPr/>
            <p:nvPr/>
          </p:nvSpPr>
          <p:spPr>
            <a:xfrm>
              <a:off x="5966300" y="1826850"/>
              <a:ext cx="175400" cy="295475"/>
            </a:xfrm>
            <a:custGeom>
              <a:avLst/>
              <a:gdLst/>
              <a:ahLst/>
              <a:cxnLst/>
              <a:rect l="l" t="t" r="r" b="b"/>
              <a:pathLst>
                <a:path w="7016" h="11819" fill="none" extrusionOk="0">
                  <a:moveTo>
                    <a:pt x="3180" y="11335"/>
                  </a:moveTo>
                  <a:lnTo>
                    <a:pt x="7016" y="10263"/>
                  </a:lnTo>
                  <a:lnTo>
                    <a:pt x="7016" y="10263"/>
                  </a:lnTo>
                  <a:lnTo>
                    <a:pt x="6981" y="9918"/>
                  </a:lnTo>
                  <a:lnTo>
                    <a:pt x="6947" y="9538"/>
                  </a:lnTo>
                  <a:lnTo>
                    <a:pt x="6843" y="9123"/>
                  </a:lnTo>
                  <a:lnTo>
                    <a:pt x="6739" y="8674"/>
                  </a:lnTo>
                  <a:lnTo>
                    <a:pt x="6428" y="7706"/>
                  </a:lnTo>
                  <a:lnTo>
                    <a:pt x="6083" y="6704"/>
                  </a:lnTo>
                  <a:lnTo>
                    <a:pt x="5357" y="4804"/>
                  </a:lnTo>
                  <a:lnTo>
                    <a:pt x="5081" y="3974"/>
                  </a:lnTo>
                  <a:lnTo>
                    <a:pt x="4977" y="3594"/>
                  </a:lnTo>
                  <a:lnTo>
                    <a:pt x="4908" y="3283"/>
                  </a:lnTo>
                  <a:lnTo>
                    <a:pt x="4908" y="3283"/>
                  </a:lnTo>
                  <a:lnTo>
                    <a:pt x="4804" y="2972"/>
                  </a:lnTo>
                  <a:lnTo>
                    <a:pt x="4700" y="2661"/>
                  </a:lnTo>
                  <a:lnTo>
                    <a:pt x="4562" y="2350"/>
                  </a:lnTo>
                  <a:lnTo>
                    <a:pt x="4389" y="2039"/>
                  </a:lnTo>
                  <a:lnTo>
                    <a:pt x="4009" y="1486"/>
                  </a:lnTo>
                  <a:lnTo>
                    <a:pt x="3560" y="1002"/>
                  </a:lnTo>
                  <a:lnTo>
                    <a:pt x="3145" y="588"/>
                  </a:lnTo>
                  <a:lnTo>
                    <a:pt x="2800" y="277"/>
                  </a:lnTo>
                  <a:lnTo>
                    <a:pt x="2489" y="0"/>
                  </a:lnTo>
                  <a:lnTo>
                    <a:pt x="1176" y="3594"/>
                  </a:lnTo>
                  <a:lnTo>
                    <a:pt x="1279" y="3905"/>
                  </a:lnTo>
                  <a:lnTo>
                    <a:pt x="1279" y="3905"/>
                  </a:lnTo>
                  <a:lnTo>
                    <a:pt x="1314" y="4389"/>
                  </a:lnTo>
                  <a:lnTo>
                    <a:pt x="1348" y="5564"/>
                  </a:lnTo>
                  <a:lnTo>
                    <a:pt x="1348" y="6289"/>
                  </a:lnTo>
                  <a:lnTo>
                    <a:pt x="1279" y="7015"/>
                  </a:lnTo>
                  <a:lnTo>
                    <a:pt x="1210" y="7706"/>
                  </a:lnTo>
                  <a:lnTo>
                    <a:pt x="1107" y="8017"/>
                  </a:lnTo>
                  <a:lnTo>
                    <a:pt x="1037" y="8294"/>
                  </a:lnTo>
                  <a:lnTo>
                    <a:pt x="1037" y="8294"/>
                  </a:lnTo>
                  <a:lnTo>
                    <a:pt x="934" y="8605"/>
                  </a:lnTo>
                  <a:lnTo>
                    <a:pt x="865" y="8950"/>
                  </a:lnTo>
                  <a:lnTo>
                    <a:pt x="761" y="9711"/>
                  </a:lnTo>
                  <a:lnTo>
                    <a:pt x="657" y="10125"/>
                  </a:lnTo>
                  <a:lnTo>
                    <a:pt x="519" y="10540"/>
                  </a:lnTo>
                  <a:lnTo>
                    <a:pt x="346" y="10989"/>
                  </a:lnTo>
                  <a:lnTo>
                    <a:pt x="70" y="11438"/>
                  </a:lnTo>
                  <a:lnTo>
                    <a:pt x="70" y="11438"/>
                  </a:lnTo>
                  <a:lnTo>
                    <a:pt x="1" y="11577"/>
                  </a:lnTo>
                  <a:lnTo>
                    <a:pt x="1" y="11646"/>
                  </a:lnTo>
                  <a:lnTo>
                    <a:pt x="35" y="11680"/>
                  </a:lnTo>
                  <a:lnTo>
                    <a:pt x="139" y="11749"/>
                  </a:lnTo>
                  <a:lnTo>
                    <a:pt x="312" y="11784"/>
                  </a:lnTo>
                  <a:lnTo>
                    <a:pt x="519" y="11819"/>
                  </a:lnTo>
                  <a:lnTo>
                    <a:pt x="796" y="11819"/>
                  </a:lnTo>
                  <a:lnTo>
                    <a:pt x="1383" y="11715"/>
                  </a:lnTo>
                  <a:lnTo>
                    <a:pt x="2040" y="11611"/>
                  </a:lnTo>
                  <a:lnTo>
                    <a:pt x="2592" y="11473"/>
                  </a:lnTo>
                  <a:lnTo>
                    <a:pt x="3180" y="11335"/>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41" name="Google Shape;14181;p81">
              <a:extLst>
                <a:ext uri="{FF2B5EF4-FFF2-40B4-BE49-F238E27FC236}">
                  <a16:creationId xmlns:a16="http://schemas.microsoft.com/office/drawing/2014/main" id="{1B93C8FB-3A33-EA9C-1BAC-6B6BB5AADB78}"/>
                </a:ext>
              </a:extLst>
            </p:cNvPr>
            <p:cNvSpPr/>
            <p:nvPr/>
          </p:nvSpPr>
          <p:spPr>
            <a:xfrm>
              <a:off x="5999125" y="1940025"/>
              <a:ext cx="900" cy="25925"/>
            </a:xfrm>
            <a:custGeom>
              <a:avLst/>
              <a:gdLst/>
              <a:ahLst/>
              <a:cxnLst/>
              <a:rect l="l" t="t" r="r" b="b"/>
              <a:pathLst>
                <a:path w="36" h="1037" extrusionOk="0">
                  <a:moveTo>
                    <a:pt x="1" y="0"/>
                  </a:moveTo>
                  <a:lnTo>
                    <a:pt x="1" y="35"/>
                  </a:lnTo>
                  <a:lnTo>
                    <a:pt x="1" y="518"/>
                  </a:lnTo>
                  <a:lnTo>
                    <a:pt x="35" y="1037"/>
                  </a:lnTo>
                  <a:lnTo>
                    <a:pt x="35" y="760"/>
                  </a:lnTo>
                  <a:lnTo>
                    <a:pt x="1" y="0"/>
                  </a:lnTo>
                  <a:close/>
                </a:path>
              </a:pathLst>
            </a:custGeom>
            <a:solidFill>
              <a:srgbClr val="DFDFE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42" name="Google Shape;14182;p81">
              <a:extLst>
                <a:ext uri="{FF2B5EF4-FFF2-40B4-BE49-F238E27FC236}">
                  <a16:creationId xmlns:a16="http://schemas.microsoft.com/office/drawing/2014/main" id="{39BB1B6C-26CA-D62F-3EC9-187836DBE69E}"/>
                </a:ext>
              </a:extLst>
            </p:cNvPr>
            <p:cNvSpPr/>
            <p:nvPr/>
          </p:nvSpPr>
          <p:spPr>
            <a:xfrm>
              <a:off x="5996550" y="2017775"/>
              <a:ext cx="25" cy="25"/>
            </a:xfrm>
            <a:custGeom>
              <a:avLst/>
              <a:gdLst/>
              <a:ahLst/>
              <a:cxnLst/>
              <a:rect l="l" t="t" r="r" b="b"/>
              <a:pathLst>
                <a:path w="1" h="1" fill="none" extrusionOk="0">
                  <a:moveTo>
                    <a:pt x="0" y="0"/>
                  </a:moveTo>
                  <a:lnTo>
                    <a:pt x="0" y="0"/>
                  </a:lnTo>
                  <a:lnTo>
                    <a:pt x="0" y="0"/>
                  </a:lnTo>
                  <a:lnTo>
                    <a:pt x="0" y="0"/>
                  </a:lnTo>
                  <a:lnTo>
                    <a:pt x="0" y="0"/>
                  </a:lnTo>
                  <a:lnTo>
                    <a:pt x="0"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43" name="Google Shape;14183;p81">
              <a:extLst>
                <a:ext uri="{FF2B5EF4-FFF2-40B4-BE49-F238E27FC236}">
                  <a16:creationId xmlns:a16="http://schemas.microsoft.com/office/drawing/2014/main" id="{D7FFC142-EE42-990C-2E99-683DB0B138BD}"/>
                </a:ext>
              </a:extLst>
            </p:cNvPr>
            <p:cNvSpPr/>
            <p:nvPr/>
          </p:nvSpPr>
          <p:spPr>
            <a:xfrm>
              <a:off x="5999125" y="1940025"/>
              <a:ext cx="900" cy="40625"/>
            </a:xfrm>
            <a:custGeom>
              <a:avLst/>
              <a:gdLst/>
              <a:ahLst/>
              <a:cxnLst/>
              <a:rect l="l" t="t" r="r" b="b"/>
              <a:pathLst>
                <a:path w="36" h="1625" fill="none" extrusionOk="0">
                  <a:moveTo>
                    <a:pt x="1" y="0"/>
                  </a:moveTo>
                  <a:lnTo>
                    <a:pt x="1" y="35"/>
                  </a:lnTo>
                  <a:lnTo>
                    <a:pt x="1" y="35"/>
                  </a:lnTo>
                  <a:lnTo>
                    <a:pt x="1" y="518"/>
                  </a:lnTo>
                  <a:lnTo>
                    <a:pt x="35" y="1037"/>
                  </a:lnTo>
                  <a:lnTo>
                    <a:pt x="35" y="1624"/>
                  </a:lnTo>
                  <a:lnTo>
                    <a:pt x="35" y="1624"/>
                  </a:lnTo>
                  <a:lnTo>
                    <a:pt x="35" y="760"/>
                  </a:lnTo>
                  <a:lnTo>
                    <a:pt x="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44" name="Google Shape;14184;p81">
              <a:extLst>
                <a:ext uri="{FF2B5EF4-FFF2-40B4-BE49-F238E27FC236}">
                  <a16:creationId xmlns:a16="http://schemas.microsoft.com/office/drawing/2014/main" id="{20D9EE19-D8CA-EC2B-4A85-D92B7E43A285}"/>
                </a:ext>
              </a:extLst>
            </p:cNvPr>
            <p:cNvSpPr/>
            <p:nvPr/>
          </p:nvSpPr>
          <p:spPr>
            <a:xfrm>
              <a:off x="5996550" y="1925325"/>
              <a:ext cx="79500" cy="98525"/>
            </a:xfrm>
            <a:custGeom>
              <a:avLst/>
              <a:gdLst/>
              <a:ahLst/>
              <a:cxnLst/>
              <a:rect l="l" t="t" r="r" b="b"/>
              <a:pathLst>
                <a:path w="3180" h="3941" extrusionOk="0">
                  <a:moveTo>
                    <a:pt x="1313" y="1"/>
                  </a:moveTo>
                  <a:lnTo>
                    <a:pt x="104" y="588"/>
                  </a:lnTo>
                  <a:lnTo>
                    <a:pt x="138" y="1348"/>
                  </a:lnTo>
                  <a:lnTo>
                    <a:pt x="138" y="2212"/>
                  </a:lnTo>
                  <a:lnTo>
                    <a:pt x="104" y="2973"/>
                  </a:lnTo>
                  <a:lnTo>
                    <a:pt x="69" y="3353"/>
                  </a:lnTo>
                  <a:lnTo>
                    <a:pt x="0" y="3698"/>
                  </a:lnTo>
                  <a:lnTo>
                    <a:pt x="277" y="3802"/>
                  </a:lnTo>
                  <a:lnTo>
                    <a:pt x="553" y="3871"/>
                  </a:lnTo>
                  <a:lnTo>
                    <a:pt x="830" y="3940"/>
                  </a:lnTo>
                  <a:lnTo>
                    <a:pt x="1071" y="3940"/>
                  </a:lnTo>
                  <a:lnTo>
                    <a:pt x="1382" y="3906"/>
                  </a:lnTo>
                  <a:lnTo>
                    <a:pt x="1659" y="3871"/>
                  </a:lnTo>
                  <a:lnTo>
                    <a:pt x="1935" y="3767"/>
                  </a:lnTo>
                  <a:lnTo>
                    <a:pt x="2143" y="3629"/>
                  </a:lnTo>
                  <a:lnTo>
                    <a:pt x="2385" y="3456"/>
                  </a:lnTo>
                  <a:lnTo>
                    <a:pt x="2557" y="3284"/>
                  </a:lnTo>
                  <a:lnTo>
                    <a:pt x="2730" y="3076"/>
                  </a:lnTo>
                  <a:lnTo>
                    <a:pt x="2868" y="2869"/>
                  </a:lnTo>
                  <a:lnTo>
                    <a:pt x="2972" y="2661"/>
                  </a:lnTo>
                  <a:lnTo>
                    <a:pt x="3076" y="2454"/>
                  </a:lnTo>
                  <a:lnTo>
                    <a:pt x="3145" y="2247"/>
                  </a:lnTo>
                  <a:lnTo>
                    <a:pt x="3179" y="2039"/>
                  </a:lnTo>
                  <a:lnTo>
                    <a:pt x="3179" y="1832"/>
                  </a:lnTo>
                  <a:lnTo>
                    <a:pt x="3179" y="1659"/>
                  </a:lnTo>
                  <a:lnTo>
                    <a:pt x="3110" y="1521"/>
                  </a:lnTo>
                  <a:lnTo>
                    <a:pt x="3041" y="1383"/>
                  </a:lnTo>
                  <a:lnTo>
                    <a:pt x="2626" y="1003"/>
                  </a:lnTo>
                  <a:lnTo>
                    <a:pt x="2039" y="554"/>
                  </a:lnTo>
                  <a:lnTo>
                    <a:pt x="1313" y="1"/>
                  </a:lnTo>
                  <a:close/>
                </a:path>
              </a:pathLst>
            </a:custGeom>
            <a:solidFill>
              <a:srgbClr val="D29A9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45" name="Google Shape;14185;p81">
              <a:extLst>
                <a:ext uri="{FF2B5EF4-FFF2-40B4-BE49-F238E27FC236}">
                  <a16:creationId xmlns:a16="http://schemas.microsoft.com/office/drawing/2014/main" id="{D0E4ACBE-912B-8F2E-D13B-7D800A556467}"/>
                </a:ext>
              </a:extLst>
            </p:cNvPr>
            <p:cNvSpPr/>
            <p:nvPr/>
          </p:nvSpPr>
          <p:spPr>
            <a:xfrm>
              <a:off x="5996550" y="1925325"/>
              <a:ext cx="79500" cy="98525"/>
            </a:xfrm>
            <a:custGeom>
              <a:avLst/>
              <a:gdLst/>
              <a:ahLst/>
              <a:cxnLst/>
              <a:rect l="l" t="t" r="r" b="b"/>
              <a:pathLst>
                <a:path w="3180" h="3941" fill="none" extrusionOk="0">
                  <a:moveTo>
                    <a:pt x="1313" y="1"/>
                  </a:moveTo>
                  <a:lnTo>
                    <a:pt x="104" y="588"/>
                  </a:lnTo>
                  <a:lnTo>
                    <a:pt x="104" y="588"/>
                  </a:lnTo>
                  <a:lnTo>
                    <a:pt x="138" y="1348"/>
                  </a:lnTo>
                  <a:lnTo>
                    <a:pt x="138" y="2212"/>
                  </a:lnTo>
                  <a:lnTo>
                    <a:pt x="138" y="2212"/>
                  </a:lnTo>
                  <a:lnTo>
                    <a:pt x="104" y="2973"/>
                  </a:lnTo>
                  <a:lnTo>
                    <a:pt x="69" y="3353"/>
                  </a:lnTo>
                  <a:lnTo>
                    <a:pt x="0" y="3698"/>
                  </a:lnTo>
                  <a:lnTo>
                    <a:pt x="0" y="3698"/>
                  </a:lnTo>
                  <a:lnTo>
                    <a:pt x="0" y="3698"/>
                  </a:lnTo>
                  <a:lnTo>
                    <a:pt x="0" y="3698"/>
                  </a:lnTo>
                  <a:lnTo>
                    <a:pt x="277" y="3802"/>
                  </a:lnTo>
                  <a:lnTo>
                    <a:pt x="553" y="3871"/>
                  </a:lnTo>
                  <a:lnTo>
                    <a:pt x="830" y="3940"/>
                  </a:lnTo>
                  <a:lnTo>
                    <a:pt x="1071" y="3940"/>
                  </a:lnTo>
                  <a:lnTo>
                    <a:pt x="1071" y="3940"/>
                  </a:lnTo>
                  <a:lnTo>
                    <a:pt x="1382" y="3906"/>
                  </a:lnTo>
                  <a:lnTo>
                    <a:pt x="1659" y="3871"/>
                  </a:lnTo>
                  <a:lnTo>
                    <a:pt x="1935" y="3767"/>
                  </a:lnTo>
                  <a:lnTo>
                    <a:pt x="2143" y="3629"/>
                  </a:lnTo>
                  <a:lnTo>
                    <a:pt x="2385" y="3456"/>
                  </a:lnTo>
                  <a:lnTo>
                    <a:pt x="2557" y="3284"/>
                  </a:lnTo>
                  <a:lnTo>
                    <a:pt x="2730" y="3076"/>
                  </a:lnTo>
                  <a:lnTo>
                    <a:pt x="2868" y="2869"/>
                  </a:lnTo>
                  <a:lnTo>
                    <a:pt x="2972" y="2661"/>
                  </a:lnTo>
                  <a:lnTo>
                    <a:pt x="3076" y="2454"/>
                  </a:lnTo>
                  <a:lnTo>
                    <a:pt x="3145" y="2247"/>
                  </a:lnTo>
                  <a:lnTo>
                    <a:pt x="3179" y="2039"/>
                  </a:lnTo>
                  <a:lnTo>
                    <a:pt x="3179" y="1832"/>
                  </a:lnTo>
                  <a:lnTo>
                    <a:pt x="3179" y="1659"/>
                  </a:lnTo>
                  <a:lnTo>
                    <a:pt x="3110" y="1521"/>
                  </a:lnTo>
                  <a:lnTo>
                    <a:pt x="3041" y="1383"/>
                  </a:lnTo>
                  <a:lnTo>
                    <a:pt x="3041" y="1383"/>
                  </a:lnTo>
                  <a:lnTo>
                    <a:pt x="2626" y="1003"/>
                  </a:lnTo>
                  <a:lnTo>
                    <a:pt x="2039" y="554"/>
                  </a:lnTo>
                  <a:lnTo>
                    <a:pt x="1313"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46" name="Google Shape;14186;p81">
              <a:extLst>
                <a:ext uri="{FF2B5EF4-FFF2-40B4-BE49-F238E27FC236}">
                  <a16:creationId xmlns:a16="http://schemas.microsoft.com/office/drawing/2014/main" id="{3A45C635-DDD0-69AD-5230-0688FAD7AA46}"/>
                </a:ext>
              </a:extLst>
            </p:cNvPr>
            <p:cNvSpPr/>
            <p:nvPr/>
          </p:nvSpPr>
          <p:spPr>
            <a:xfrm>
              <a:off x="5921375" y="1789700"/>
              <a:ext cx="179725" cy="175400"/>
            </a:xfrm>
            <a:custGeom>
              <a:avLst/>
              <a:gdLst/>
              <a:ahLst/>
              <a:cxnLst/>
              <a:rect l="l" t="t" r="r" b="b"/>
              <a:pathLst>
                <a:path w="7189" h="7016" extrusionOk="0">
                  <a:moveTo>
                    <a:pt x="2040" y="0"/>
                  </a:moveTo>
                  <a:lnTo>
                    <a:pt x="1832" y="553"/>
                  </a:lnTo>
                  <a:lnTo>
                    <a:pt x="1590" y="1037"/>
                  </a:lnTo>
                  <a:lnTo>
                    <a:pt x="1348" y="1452"/>
                  </a:lnTo>
                  <a:lnTo>
                    <a:pt x="1141" y="1832"/>
                  </a:lnTo>
                  <a:lnTo>
                    <a:pt x="726" y="2419"/>
                  </a:lnTo>
                  <a:lnTo>
                    <a:pt x="415" y="2868"/>
                  </a:lnTo>
                  <a:lnTo>
                    <a:pt x="208" y="3145"/>
                  </a:lnTo>
                  <a:lnTo>
                    <a:pt x="139" y="3283"/>
                  </a:lnTo>
                  <a:lnTo>
                    <a:pt x="104" y="3387"/>
                  </a:lnTo>
                  <a:lnTo>
                    <a:pt x="139" y="3456"/>
                  </a:lnTo>
                  <a:lnTo>
                    <a:pt x="208" y="3560"/>
                  </a:lnTo>
                  <a:lnTo>
                    <a:pt x="312" y="3629"/>
                  </a:lnTo>
                  <a:lnTo>
                    <a:pt x="485" y="3698"/>
                  </a:lnTo>
                  <a:lnTo>
                    <a:pt x="623" y="3801"/>
                  </a:lnTo>
                  <a:lnTo>
                    <a:pt x="692" y="3905"/>
                  </a:lnTo>
                  <a:lnTo>
                    <a:pt x="692" y="4078"/>
                  </a:lnTo>
                  <a:lnTo>
                    <a:pt x="692" y="4251"/>
                  </a:lnTo>
                  <a:lnTo>
                    <a:pt x="554" y="4700"/>
                  </a:lnTo>
                  <a:lnTo>
                    <a:pt x="346" y="5184"/>
                  </a:lnTo>
                  <a:lnTo>
                    <a:pt x="139" y="5668"/>
                  </a:lnTo>
                  <a:lnTo>
                    <a:pt x="70" y="5909"/>
                  </a:lnTo>
                  <a:lnTo>
                    <a:pt x="1" y="6117"/>
                  </a:lnTo>
                  <a:lnTo>
                    <a:pt x="1" y="6290"/>
                  </a:lnTo>
                  <a:lnTo>
                    <a:pt x="35" y="6462"/>
                  </a:lnTo>
                  <a:lnTo>
                    <a:pt x="104" y="6566"/>
                  </a:lnTo>
                  <a:lnTo>
                    <a:pt x="243" y="6670"/>
                  </a:lnTo>
                  <a:lnTo>
                    <a:pt x="623" y="6773"/>
                  </a:lnTo>
                  <a:lnTo>
                    <a:pt x="1037" y="6877"/>
                  </a:lnTo>
                  <a:lnTo>
                    <a:pt x="1487" y="6946"/>
                  </a:lnTo>
                  <a:lnTo>
                    <a:pt x="1901" y="6981"/>
                  </a:lnTo>
                  <a:lnTo>
                    <a:pt x="2316" y="7015"/>
                  </a:lnTo>
                  <a:lnTo>
                    <a:pt x="2731" y="6981"/>
                  </a:lnTo>
                  <a:lnTo>
                    <a:pt x="3145" y="6946"/>
                  </a:lnTo>
                  <a:lnTo>
                    <a:pt x="3526" y="6877"/>
                  </a:lnTo>
                  <a:lnTo>
                    <a:pt x="3906" y="6808"/>
                  </a:lnTo>
                  <a:lnTo>
                    <a:pt x="4251" y="6704"/>
                  </a:lnTo>
                  <a:lnTo>
                    <a:pt x="4562" y="6566"/>
                  </a:lnTo>
                  <a:lnTo>
                    <a:pt x="4873" y="6428"/>
                  </a:lnTo>
                  <a:lnTo>
                    <a:pt x="5115" y="6290"/>
                  </a:lnTo>
                  <a:lnTo>
                    <a:pt x="5357" y="6117"/>
                  </a:lnTo>
                  <a:lnTo>
                    <a:pt x="5530" y="5944"/>
                  </a:lnTo>
                  <a:lnTo>
                    <a:pt x="5668" y="5771"/>
                  </a:lnTo>
                  <a:lnTo>
                    <a:pt x="5944" y="5322"/>
                  </a:lnTo>
                  <a:lnTo>
                    <a:pt x="6186" y="4700"/>
                  </a:lnTo>
                  <a:lnTo>
                    <a:pt x="6428" y="4043"/>
                  </a:lnTo>
                  <a:lnTo>
                    <a:pt x="6670" y="3352"/>
                  </a:lnTo>
                  <a:lnTo>
                    <a:pt x="7050" y="2177"/>
                  </a:lnTo>
                  <a:lnTo>
                    <a:pt x="7189" y="1694"/>
                  </a:lnTo>
                  <a:lnTo>
                    <a:pt x="2040" y="0"/>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47" name="Google Shape;14187;p81">
              <a:extLst>
                <a:ext uri="{FF2B5EF4-FFF2-40B4-BE49-F238E27FC236}">
                  <a16:creationId xmlns:a16="http://schemas.microsoft.com/office/drawing/2014/main" id="{865D03A9-715D-F023-3F66-50D0E0938125}"/>
                </a:ext>
              </a:extLst>
            </p:cNvPr>
            <p:cNvSpPr/>
            <p:nvPr/>
          </p:nvSpPr>
          <p:spPr>
            <a:xfrm>
              <a:off x="5951625" y="1728350"/>
              <a:ext cx="200450" cy="213425"/>
            </a:xfrm>
            <a:custGeom>
              <a:avLst/>
              <a:gdLst/>
              <a:ahLst/>
              <a:cxnLst/>
              <a:rect l="l" t="t" r="r" b="b"/>
              <a:pathLst>
                <a:path w="8018" h="8537" extrusionOk="0">
                  <a:moveTo>
                    <a:pt x="933" y="1"/>
                  </a:moveTo>
                  <a:lnTo>
                    <a:pt x="761" y="35"/>
                  </a:lnTo>
                  <a:lnTo>
                    <a:pt x="622" y="104"/>
                  </a:lnTo>
                  <a:lnTo>
                    <a:pt x="484" y="208"/>
                  </a:lnTo>
                  <a:lnTo>
                    <a:pt x="346" y="346"/>
                  </a:lnTo>
                  <a:lnTo>
                    <a:pt x="242" y="519"/>
                  </a:lnTo>
                  <a:lnTo>
                    <a:pt x="138" y="726"/>
                  </a:lnTo>
                  <a:lnTo>
                    <a:pt x="35" y="1003"/>
                  </a:lnTo>
                  <a:lnTo>
                    <a:pt x="0" y="1210"/>
                  </a:lnTo>
                  <a:lnTo>
                    <a:pt x="0" y="1383"/>
                  </a:lnTo>
                  <a:lnTo>
                    <a:pt x="35" y="1556"/>
                  </a:lnTo>
                  <a:lnTo>
                    <a:pt x="69" y="1694"/>
                  </a:lnTo>
                  <a:lnTo>
                    <a:pt x="138" y="1832"/>
                  </a:lnTo>
                  <a:lnTo>
                    <a:pt x="208" y="1971"/>
                  </a:lnTo>
                  <a:lnTo>
                    <a:pt x="415" y="2212"/>
                  </a:lnTo>
                  <a:lnTo>
                    <a:pt x="657" y="2420"/>
                  </a:lnTo>
                  <a:lnTo>
                    <a:pt x="968" y="2593"/>
                  </a:lnTo>
                  <a:lnTo>
                    <a:pt x="1590" y="2938"/>
                  </a:lnTo>
                  <a:lnTo>
                    <a:pt x="1728" y="3007"/>
                  </a:lnTo>
                  <a:lnTo>
                    <a:pt x="1832" y="3111"/>
                  </a:lnTo>
                  <a:lnTo>
                    <a:pt x="1866" y="3180"/>
                  </a:lnTo>
                  <a:lnTo>
                    <a:pt x="1901" y="3249"/>
                  </a:lnTo>
                  <a:lnTo>
                    <a:pt x="1935" y="3353"/>
                  </a:lnTo>
                  <a:lnTo>
                    <a:pt x="1901" y="3422"/>
                  </a:lnTo>
                  <a:lnTo>
                    <a:pt x="1832" y="3595"/>
                  </a:lnTo>
                  <a:lnTo>
                    <a:pt x="1763" y="3733"/>
                  </a:lnTo>
                  <a:lnTo>
                    <a:pt x="1694" y="3906"/>
                  </a:lnTo>
                  <a:lnTo>
                    <a:pt x="1694" y="3975"/>
                  </a:lnTo>
                  <a:lnTo>
                    <a:pt x="1694" y="4044"/>
                  </a:lnTo>
                  <a:lnTo>
                    <a:pt x="1728" y="4113"/>
                  </a:lnTo>
                  <a:lnTo>
                    <a:pt x="1763" y="4182"/>
                  </a:lnTo>
                  <a:lnTo>
                    <a:pt x="1901" y="4320"/>
                  </a:lnTo>
                  <a:lnTo>
                    <a:pt x="2039" y="4389"/>
                  </a:lnTo>
                  <a:lnTo>
                    <a:pt x="2143" y="4459"/>
                  </a:lnTo>
                  <a:lnTo>
                    <a:pt x="2246" y="4493"/>
                  </a:lnTo>
                  <a:lnTo>
                    <a:pt x="2523" y="4528"/>
                  </a:lnTo>
                  <a:lnTo>
                    <a:pt x="2972" y="4562"/>
                  </a:lnTo>
                  <a:lnTo>
                    <a:pt x="3179" y="4631"/>
                  </a:lnTo>
                  <a:lnTo>
                    <a:pt x="3387" y="4700"/>
                  </a:lnTo>
                  <a:lnTo>
                    <a:pt x="3525" y="4804"/>
                  </a:lnTo>
                  <a:lnTo>
                    <a:pt x="3629" y="4942"/>
                  </a:lnTo>
                  <a:lnTo>
                    <a:pt x="3629" y="5011"/>
                  </a:lnTo>
                  <a:lnTo>
                    <a:pt x="3629" y="5115"/>
                  </a:lnTo>
                  <a:lnTo>
                    <a:pt x="3560" y="5288"/>
                  </a:lnTo>
                  <a:lnTo>
                    <a:pt x="3387" y="5530"/>
                  </a:lnTo>
                  <a:lnTo>
                    <a:pt x="3076" y="5806"/>
                  </a:lnTo>
                  <a:lnTo>
                    <a:pt x="2938" y="5944"/>
                  </a:lnTo>
                  <a:lnTo>
                    <a:pt x="2799" y="6083"/>
                  </a:lnTo>
                  <a:lnTo>
                    <a:pt x="2730" y="6186"/>
                  </a:lnTo>
                  <a:lnTo>
                    <a:pt x="2696" y="6290"/>
                  </a:lnTo>
                  <a:lnTo>
                    <a:pt x="2696" y="6394"/>
                  </a:lnTo>
                  <a:lnTo>
                    <a:pt x="2696" y="6497"/>
                  </a:lnTo>
                  <a:lnTo>
                    <a:pt x="2765" y="6567"/>
                  </a:lnTo>
                  <a:lnTo>
                    <a:pt x="2834" y="6601"/>
                  </a:lnTo>
                  <a:lnTo>
                    <a:pt x="3007" y="6670"/>
                  </a:lnTo>
                  <a:lnTo>
                    <a:pt x="3283" y="6705"/>
                  </a:lnTo>
                  <a:lnTo>
                    <a:pt x="3525" y="6636"/>
                  </a:lnTo>
                  <a:lnTo>
                    <a:pt x="3801" y="6567"/>
                  </a:lnTo>
                  <a:lnTo>
                    <a:pt x="4043" y="6428"/>
                  </a:lnTo>
                  <a:lnTo>
                    <a:pt x="4216" y="6290"/>
                  </a:lnTo>
                  <a:lnTo>
                    <a:pt x="4389" y="6186"/>
                  </a:lnTo>
                  <a:lnTo>
                    <a:pt x="4562" y="6117"/>
                  </a:lnTo>
                  <a:lnTo>
                    <a:pt x="4700" y="6083"/>
                  </a:lnTo>
                  <a:lnTo>
                    <a:pt x="4838" y="6083"/>
                  </a:lnTo>
                  <a:lnTo>
                    <a:pt x="4976" y="6186"/>
                  </a:lnTo>
                  <a:lnTo>
                    <a:pt x="5149" y="6394"/>
                  </a:lnTo>
                  <a:lnTo>
                    <a:pt x="5184" y="6497"/>
                  </a:lnTo>
                  <a:lnTo>
                    <a:pt x="5184" y="6601"/>
                  </a:lnTo>
                  <a:lnTo>
                    <a:pt x="5149" y="6843"/>
                  </a:lnTo>
                  <a:lnTo>
                    <a:pt x="5046" y="7119"/>
                  </a:lnTo>
                  <a:lnTo>
                    <a:pt x="4907" y="7396"/>
                  </a:lnTo>
                  <a:lnTo>
                    <a:pt x="4804" y="7707"/>
                  </a:lnTo>
                  <a:lnTo>
                    <a:pt x="4700" y="7983"/>
                  </a:lnTo>
                  <a:lnTo>
                    <a:pt x="4631" y="8260"/>
                  </a:lnTo>
                  <a:lnTo>
                    <a:pt x="4665" y="8363"/>
                  </a:lnTo>
                  <a:lnTo>
                    <a:pt x="4700" y="8467"/>
                  </a:lnTo>
                  <a:lnTo>
                    <a:pt x="4700" y="8502"/>
                  </a:lnTo>
                  <a:lnTo>
                    <a:pt x="4769" y="8536"/>
                  </a:lnTo>
                  <a:lnTo>
                    <a:pt x="4907" y="8536"/>
                  </a:lnTo>
                  <a:lnTo>
                    <a:pt x="5115" y="8502"/>
                  </a:lnTo>
                  <a:lnTo>
                    <a:pt x="5391" y="8433"/>
                  </a:lnTo>
                  <a:lnTo>
                    <a:pt x="5668" y="8329"/>
                  </a:lnTo>
                  <a:lnTo>
                    <a:pt x="5979" y="8156"/>
                  </a:lnTo>
                  <a:lnTo>
                    <a:pt x="6324" y="7983"/>
                  </a:lnTo>
                  <a:lnTo>
                    <a:pt x="6635" y="7776"/>
                  </a:lnTo>
                  <a:lnTo>
                    <a:pt x="6981" y="7534"/>
                  </a:lnTo>
                  <a:lnTo>
                    <a:pt x="7257" y="7292"/>
                  </a:lnTo>
                  <a:lnTo>
                    <a:pt x="7499" y="7016"/>
                  </a:lnTo>
                  <a:lnTo>
                    <a:pt x="7706" y="6705"/>
                  </a:lnTo>
                  <a:lnTo>
                    <a:pt x="7879" y="6394"/>
                  </a:lnTo>
                  <a:lnTo>
                    <a:pt x="7948" y="6117"/>
                  </a:lnTo>
                  <a:lnTo>
                    <a:pt x="7948" y="5944"/>
                  </a:lnTo>
                  <a:lnTo>
                    <a:pt x="7948" y="5772"/>
                  </a:lnTo>
                  <a:lnTo>
                    <a:pt x="7914" y="5633"/>
                  </a:lnTo>
                  <a:lnTo>
                    <a:pt x="7845" y="5461"/>
                  </a:lnTo>
                  <a:lnTo>
                    <a:pt x="7741" y="5219"/>
                  </a:lnTo>
                  <a:lnTo>
                    <a:pt x="7672" y="4942"/>
                  </a:lnTo>
                  <a:lnTo>
                    <a:pt x="7637" y="4700"/>
                  </a:lnTo>
                  <a:lnTo>
                    <a:pt x="7672" y="4459"/>
                  </a:lnTo>
                  <a:lnTo>
                    <a:pt x="7741" y="4009"/>
                  </a:lnTo>
                  <a:lnTo>
                    <a:pt x="7845" y="3560"/>
                  </a:lnTo>
                  <a:lnTo>
                    <a:pt x="7983" y="3145"/>
                  </a:lnTo>
                  <a:lnTo>
                    <a:pt x="8017" y="2904"/>
                  </a:lnTo>
                  <a:lnTo>
                    <a:pt x="8017" y="2696"/>
                  </a:lnTo>
                  <a:lnTo>
                    <a:pt x="7983" y="2454"/>
                  </a:lnTo>
                  <a:lnTo>
                    <a:pt x="7948" y="2212"/>
                  </a:lnTo>
                  <a:lnTo>
                    <a:pt x="7845" y="1936"/>
                  </a:lnTo>
                  <a:lnTo>
                    <a:pt x="7706" y="1694"/>
                  </a:lnTo>
                  <a:lnTo>
                    <a:pt x="7603" y="1556"/>
                  </a:lnTo>
                  <a:lnTo>
                    <a:pt x="7499" y="1452"/>
                  </a:lnTo>
                  <a:lnTo>
                    <a:pt x="7361" y="1348"/>
                  </a:lnTo>
                  <a:lnTo>
                    <a:pt x="7223" y="1314"/>
                  </a:lnTo>
                  <a:lnTo>
                    <a:pt x="6946" y="1245"/>
                  </a:lnTo>
                  <a:lnTo>
                    <a:pt x="6635" y="1210"/>
                  </a:lnTo>
                  <a:lnTo>
                    <a:pt x="5840" y="1210"/>
                  </a:lnTo>
                  <a:lnTo>
                    <a:pt x="5668" y="1176"/>
                  </a:lnTo>
                  <a:lnTo>
                    <a:pt x="5460" y="1072"/>
                  </a:lnTo>
                  <a:lnTo>
                    <a:pt x="5287" y="934"/>
                  </a:lnTo>
                  <a:lnTo>
                    <a:pt x="5184" y="796"/>
                  </a:lnTo>
                  <a:lnTo>
                    <a:pt x="5080" y="623"/>
                  </a:lnTo>
                  <a:lnTo>
                    <a:pt x="4976" y="485"/>
                  </a:lnTo>
                  <a:lnTo>
                    <a:pt x="4873" y="346"/>
                  </a:lnTo>
                  <a:lnTo>
                    <a:pt x="4665" y="208"/>
                  </a:lnTo>
                  <a:lnTo>
                    <a:pt x="4423" y="104"/>
                  </a:lnTo>
                  <a:lnTo>
                    <a:pt x="4251" y="35"/>
                  </a:lnTo>
                  <a:lnTo>
                    <a:pt x="4078" y="1"/>
                  </a:lnTo>
                  <a:lnTo>
                    <a:pt x="3905" y="1"/>
                  </a:lnTo>
                  <a:lnTo>
                    <a:pt x="3732" y="35"/>
                  </a:lnTo>
                  <a:lnTo>
                    <a:pt x="3456" y="139"/>
                  </a:lnTo>
                  <a:lnTo>
                    <a:pt x="3214" y="277"/>
                  </a:lnTo>
                  <a:lnTo>
                    <a:pt x="2972" y="415"/>
                  </a:lnTo>
                  <a:lnTo>
                    <a:pt x="2765" y="519"/>
                  </a:lnTo>
                  <a:lnTo>
                    <a:pt x="2592" y="588"/>
                  </a:lnTo>
                  <a:lnTo>
                    <a:pt x="2488" y="588"/>
                  </a:lnTo>
                  <a:lnTo>
                    <a:pt x="2385" y="554"/>
                  </a:lnTo>
                  <a:lnTo>
                    <a:pt x="2108" y="381"/>
                  </a:lnTo>
                  <a:lnTo>
                    <a:pt x="1763" y="208"/>
                  </a:lnTo>
                  <a:lnTo>
                    <a:pt x="1417" y="70"/>
                  </a:lnTo>
                  <a:lnTo>
                    <a:pt x="1072" y="1"/>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48" name="Google Shape;14188;p81">
              <a:extLst>
                <a:ext uri="{FF2B5EF4-FFF2-40B4-BE49-F238E27FC236}">
                  <a16:creationId xmlns:a16="http://schemas.microsoft.com/office/drawing/2014/main" id="{A3E0DD8A-3F03-3F85-6875-AB40B31A39AB}"/>
                </a:ext>
              </a:extLst>
            </p:cNvPr>
            <p:cNvSpPr/>
            <p:nvPr/>
          </p:nvSpPr>
          <p:spPr>
            <a:xfrm>
              <a:off x="5788350" y="4358975"/>
              <a:ext cx="118375" cy="213400"/>
            </a:xfrm>
            <a:custGeom>
              <a:avLst/>
              <a:gdLst/>
              <a:ahLst/>
              <a:cxnLst/>
              <a:rect l="l" t="t" r="r" b="b"/>
              <a:pathLst>
                <a:path w="4735" h="8536" extrusionOk="0">
                  <a:moveTo>
                    <a:pt x="4734" y="0"/>
                  </a:moveTo>
                  <a:lnTo>
                    <a:pt x="35" y="173"/>
                  </a:lnTo>
                  <a:lnTo>
                    <a:pt x="0" y="2523"/>
                  </a:lnTo>
                  <a:lnTo>
                    <a:pt x="0" y="4527"/>
                  </a:lnTo>
                  <a:lnTo>
                    <a:pt x="35" y="5425"/>
                  </a:lnTo>
                  <a:lnTo>
                    <a:pt x="69" y="6186"/>
                  </a:lnTo>
                  <a:lnTo>
                    <a:pt x="1382" y="8535"/>
                  </a:lnTo>
                  <a:lnTo>
                    <a:pt x="4458" y="6462"/>
                  </a:lnTo>
                  <a:lnTo>
                    <a:pt x="4734" y="0"/>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49" name="Google Shape;14189;p81">
              <a:extLst>
                <a:ext uri="{FF2B5EF4-FFF2-40B4-BE49-F238E27FC236}">
                  <a16:creationId xmlns:a16="http://schemas.microsoft.com/office/drawing/2014/main" id="{0B6670E6-9DAD-164B-8EC4-37250DFAEAC4}"/>
                </a:ext>
              </a:extLst>
            </p:cNvPr>
            <p:cNvSpPr/>
            <p:nvPr/>
          </p:nvSpPr>
          <p:spPr>
            <a:xfrm>
              <a:off x="5566325" y="4473875"/>
              <a:ext cx="349025" cy="152925"/>
            </a:xfrm>
            <a:custGeom>
              <a:avLst/>
              <a:gdLst/>
              <a:ahLst/>
              <a:cxnLst/>
              <a:rect l="l" t="t" r="r" b="b"/>
              <a:pathLst>
                <a:path w="13961" h="6117" extrusionOk="0">
                  <a:moveTo>
                    <a:pt x="13477" y="0"/>
                  </a:moveTo>
                  <a:lnTo>
                    <a:pt x="13097" y="104"/>
                  </a:lnTo>
                  <a:lnTo>
                    <a:pt x="12579" y="276"/>
                  </a:lnTo>
                  <a:lnTo>
                    <a:pt x="11957" y="449"/>
                  </a:lnTo>
                  <a:lnTo>
                    <a:pt x="11266" y="587"/>
                  </a:lnTo>
                  <a:lnTo>
                    <a:pt x="10920" y="657"/>
                  </a:lnTo>
                  <a:lnTo>
                    <a:pt x="10574" y="691"/>
                  </a:lnTo>
                  <a:lnTo>
                    <a:pt x="10194" y="691"/>
                  </a:lnTo>
                  <a:lnTo>
                    <a:pt x="9849" y="657"/>
                  </a:lnTo>
                  <a:lnTo>
                    <a:pt x="9503" y="622"/>
                  </a:lnTo>
                  <a:lnTo>
                    <a:pt x="9192" y="518"/>
                  </a:lnTo>
                  <a:lnTo>
                    <a:pt x="8881" y="380"/>
                  </a:lnTo>
                  <a:lnTo>
                    <a:pt x="8570" y="173"/>
                  </a:lnTo>
                  <a:lnTo>
                    <a:pt x="8501" y="138"/>
                  </a:lnTo>
                  <a:lnTo>
                    <a:pt x="8294" y="138"/>
                  </a:lnTo>
                  <a:lnTo>
                    <a:pt x="8190" y="173"/>
                  </a:lnTo>
                  <a:lnTo>
                    <a:pt x="7983" y="311"/>
                  </a:lnTo>
                  <a:lnTo>
                    <a:pt x="7775" y="553"/>
                  </a:lnTo>
                  <a:lnTo>
                    <a:pt x="7533" y="795"/>
                  </a:lnTo>
                  <a:lnTo>
                    <a:pt x="7361" y="1071"/>
                  </a:lnTo>
                  <a:lnTo>
                    <a:pt x="7222" y="1382"/>
                  </a:lnTo>
                  <a:lnTo>
                    <a:pt x="7119" y="1659"/>
                  </a:lnTo>
                  <a:lnTo>
                    <a:pt x="7050" y="1797"/>
                  </a:lnTo>
                  <a:lnTo>
                    <a:pt x="6981" y="1935"/>
                  </a:lnTo>
                  <a:lnTo>
                    <a:pt x="6877" y="2073"/>
                  </a:lnTo>
                  <a:lnTo>
                    <a:pt x="6739" y="2212"/>
                  </a:lnTo>
                  <a:lnTo>
                    <a:pt x="6428" y="2419"/>
                  </a:lnTo>
                  <a:lnTo>
                    <a:pt x="6047" y="2626"/>
                  </a:lnTo>
                  <a:lnTo>
                    <a:pt x="5598" y="2799"/>
                  </a:lnTo>
                  <a:lnTo>
                    <a:pt x="5080" y="2972"/>
                  </a:lnTo>
                  <a:lnTo>
                    <a:pt x="4562" y="3110"/>
                  </a:lnTo>
                  <a:lnTo>
                    <a:pt x="4009" y="3214"/>
                  </a:lnTo>
                  <a:lnTo>
                    <a:pt x="2903" y="3387"/>
                  </a:lnTo>
                  <a:lnTo>
                    <a:pt x="1901" y="3490"/>
                  </a:lnTo>
                  <a:lnTo>
                    <a:pt x="518" y="3663"/>
                  </a:lnTo>
                  <a:lnTo>
                    <a:pt x="415" y="3698"/>
                  </a:lnTo>
                  <a:lnTo>
                    <a:pt x="346" y="3767"/>
                  </a:lnTo>
                  <a:lnTo>
                    <a:pt x="242" y="3905"/>
                  </a:lnTo>
                  <a:lnTo>
                    <a:pt x="173" y="4078"/>
                  </a:lnTo>
                  <a:lnTo>
                    <a:pt x="104" y="4250"/>
                  </a:lnTo>
                  <a:lnTo>
                    <a:pt x="35" y="4458"/>
                  </a:lnTo>
                  <a:lnTo>
                    <a:pt x="0" y="4700"/>
                  </a:lnTo>
                  <a:lnTo>
                    <a:pt x="0" y="4907"/>
                  </a:lnTo>
                  <a:lnTo>
                    <a:pt x="35" y="5149"/>
                  </a:lnTo>
                  <a:lnTo>
                    <a:pt x="104" y="5356"/>
                  </a:lnTo>
                  <a:lnTo>
                    <a:pt x="242" y="5564"/>
                  </a:lnTo>
                  <a:lnTo>
                    <a:pt x="415" y="5736"/>
                  </a:lnTo>
                  <a:lnTo>
                    <a:pt x="622" y="5909"/>
                  </a:lnTo>
                  <a:lnTo>
                    <a:pt x="899" y="6013"/>
                  </a:lnTo>
                  <a:lnTo>
                    <a:pt x="1244" y="6082"/>
                  </a:lnTo>
                  <a:lnTo>
                    <a:pt x="1659" y="6117"/>
                  </a:lnTo>
                  <a:lnTo>
                    <a:pt x="7084" y="6117"/>
                  </a:lnTo>
                  <a:lnTo>
                    <a:pt x="12648" y="6082"/>
                  </a:lnTo>
                  <a:lnTo>
                    <a:pt x="12821" y="6047"/>
                  </a:lnTo>
                  <a:lnTo>
                    <a:pt x="12993" y="6013"/>
                  </a:lnTo>
                  <a:lnTo>
                    <a:pt x="13132" y="5944"/>
                  </a:lnTo>
                  <a:lnTo>
                    <a:pt x="13270" y="5875"/>
                  </a:lnTo>
                  <a:lnTo>
                    <a:pt x="13408" y="5771"/>
                  </a:lnTo>
                  <a:lnTo>
                    <a:pt x="13512" y="5633"/>
                  </a:lnTo>
                  <a:lnTo>
                    <a:pt x="13581" y="5494"/>
                  </a:lnTo>
                  <a:lnTo>
                    <a:pt x="13650" y="5322"/>
                  </a:lnTo>
                  <a:lnTo>
                    <a:pt x="13788" y="4631"/>
                  </a:lnTo>
                  <a:lnTo>
                    <a:pt x="13892" y="3836"/>
                  </a:lnTo>
                  <a:lnTo>
                    <a:pt x="13926" y="2937"/>
                  </a:lnTo>
                  <a:lnTo>
                    <a:pt x="13961" y="2073"/>
                  </a:lnTo>
                  <a:lnTo>
                    <a:pt x="13926" y="1279"/>
                  </a:lnTo>
                  <a:lnTo>
                    <a:pt x="13823" y="622"/>
                  </a:lnTo>
                  <a:lnTo>
                    <a:pt x="13754" y="380"/>
                  </a:lnTo>
                  <a:lnTo>
                    <a:pt x="13684" y="173"/>
                  </a:lnTo>
                  <a:lnTo>
                    <a:pt x="13581" y="35"/>
                  </a:lnTo>
                  <a:lnTo>
                    <a:pt x="13477" y="0"/>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50" name="Google Shape;14190;p81">
              <a:extLst>
                <a:ext uri="{FF2B5EF4-FFF2-40B4-BE49-F238E27FC236}">
                  <a16:creationId xmlns:a16="http://schemas.microsoft.com/office/drawing/2014/main" id="{FDA57C55-7107-4B3A-3DA5-7BA501ED20F2}"/>
                </a:ext>
              </a:extLst>
            </p:cNvPr>
            <p:cNvSpPr/>
            <p:nvPr/>
          </p:nvSpPr>
          <p:spPr>
            <a:xfrm>
              <a:off x="6238425" y="4358975"/>
              <a:ext cx="118400" cy="213400"/>
            </a:xfrm>
            <a:custGeom>
              <a:avLst/>
              <a:gdLst/>
              <a:ahLst/>
              <a:cxnLst/>
              <a:rect l="l" t="t" r="r" b="b"/>
              <a:pathLst>
                <a:path w="4736" h="8536" extrusionOk="0">
                  <a:moveTo>
                    <a:pt x="4735" y="0"/>
                  </a:moveTo>
                  <a:lnTo>
                    <a:pt x="36" y="207"/>
                  </a:lnTo>
                  <a:lnTo>
                    <a:pt x="1" y="2557"/>
                  </a:lnTo>
                  <a:lnTo>
                    <a:pt x="36" y="4561"/>
                  </a:lnTo>
                  <a:lnTo>
                    <a:pt x="70" y="5460"/>
                  </a:lnTo>
                  <a:lnTo>
                    <a:pt x="105" y="6220"/>
                  </a:lnTo>
                  <a:lnTo>
                    <a:pt x="1418" y="8535"/>
                  </a:lnTo>
                  <a:lnTo>
                    <a:pt x="4528" y="6462"/>
                  </a:lnTo>
                  <a:lnTo>
                    <a:pt x="4735" y="0"/>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51" name="Google Shape;14191;p81">
              <a:extLst>
                <a:ext uri="{FF2B5EF4-FFF2-40B4-BE49-F238E27FC236}">
                  <a16:creationId xmlns:a16="http://schemas.microsoft.com/office/drawing/2014/main" id="{C1670E7D-26EF-E58D-61BE-B4042632E2B7}"/>
                </a:ext>
              </a:extLst>
            </p:cNvPr>
            <p:cNvSpPr/>
            <p:nvPr/>
          </p:nvSpPr>
          <p:spPr>
            <a:xfrm>
              <a:off x="6019000" y="4457450"/>
              <a:ext cx="349050" cy="171950"/>
            </a:xfrm>
            <a:custGeom>
              <a:avLst/>
              <a:gdLst/>
              <a:ahLst/>
              <a:cxnLst/>
              <a:rect l="l" t="t" r="r" b="b"/>
              <a:pathLst>
                <a:path w="13962" h="6878" extrusionOk="0">
                  <a:moveTo>
                    <a:pt x="13547" y="0"/>
                  </a:moveTo>
                  <a:lnTo>
                    <a:pt x="13167" y="70"/>
                  </a:lnTo>
                  <a:lnTo>
                    <a:pt x="12717" y="104"/>
                  </a:lnTo>
                  <a:lnTo>
                    <a:pt x="11508" y="173"/>
                  </a:lnTo>
                  <a:lnTo>
                    <a:pt x="10022" y="242"/>
                  </a:lnTo>
                  <a:lnTo>
                    <a:pt x="8398" y="346"/>
                  </a:lnTo>
                  <a:lnTo>
                    <a:pt x="8225" y="381"/>
                  </a:lnTo>
                  <a:lnTo>
                    <a:pt x="8087" y="450"/>
                  </a:lnTo>
                  <a:lnTo>
                    <a:pt x="8018" y="553"/>
                  </a:lnTo>
                  <a:lnTo>
                    <a:pt x="7949" y="692"/>
                  </a:lnTo>
                  <a:lnTo>
                    <a:pt x="7880" y="1072"/>
                  </a:lnTo>
                  <a:lnTo>
                    <a:pt x="7776" y="1555"/>
                  </a:lnTo>
                  <a:lnTo>
                    <a:pt x="7741" y="1694"/>
                  </a:lnTo>
                  <a:lnTo>
                    <a:pt x="7638" y="1867"/>
                  </a:lnTo>
                  <a:lnTo>
                    <a:pt x="7534" y="2005"/>
                  </a:lnTo>
                  <a:lnTo>
                    <a:pt x="7396" y="2143"/>
                  </a:lnTo>
                  <a:lnTo>
                    <a:pt x="7050" y="2419"/>
                  </a:lnTo>
                  <a:lnTo>
                    <a:pt x="6601" y="2661"/>
                  </a:lnTo>
                  <a:lnTo>
                    <a:pt x="6117" y="2903"/>
                  </a:lnTo>
                  <a:lnTo>
                    <a:pt x="5564" y="3145"/>
                  </a:lnTo>
                  <a:lnTo>
                    <a:pt x="4942" y="3352"/>
                  </a:lnTo>
                  <a:lnTo>
                    <a:pt x="4355" y="3525"/>
                  </a:lnTo>
                  <a:lnTo>
                    <a:pt x="3111" y="3871"/>
                  </a:lnTo>
                  <a:lnTo>
                    <a:pt x="1970" y="4113"/>
                  </a:lnTo>
                  <a:lnTo>
                    <a:pt x="1072" y="4320"/>
                  </a:lnTo>
                  <a:lnTo>
                    <a:pt x="484" y="4424"/>
                  </a:lnTo>
                  <a:lnTo>
                    <a:pt x="415" y="4458"/>
                  </a:lnTo>
                  <a:lnTo>
                    <a:pt x="312" y="4527"/>
                  </a:lnTo>
                  <a:lnTo>
                    <a:pt x="208" y="4666"/>
                  </a:lnTo>
                  <a:lnTo>
                    <a:pt x="139" y="4838"/>
                  </a:lnTo>
                  <a:lnTo>
                    <a:pt x="70" y="5011"/>
                  </a:lnTo>
                  <a:lnTo>
                    <a:pt x="1" y="5218"/>
                  </a:lnTo>
                  <a:lnTo>
                    <a:pt x="1" y="5460"/>
                  </a:lnTo>
                  <a:lnTo>
                    <a:pt x="1" y="5668"/>
                  </a:lnTo>
                  <a:lnTo>
                    <a:pt x="35" y="5910"/>
                  </a:lnTo>
                  <a:lnTo>
                    <a:pt x="104" y="6117"/>
                  </a:lnTo>
                  <a:lnTo>
                    <a:pt x="208" y="6324"/>
                  </a:lnTo>
                  <a:lnTo>
                    <a:pt x="381" y="6497"/>
                  </a:lnTo>
                  <a:lnTo>
                    <a:pt x="623" y="6670"/>
                  </a:lnTo>
                  <a:lnTo>
                    <a:pt x="899" y="6774"/>
                  </a:lnTo>
                  <a:lnTo>
                    <a:pt x="1245" y="6843"/>
                  </a:lnTo>
                  <a:lnTo>
                    <a:pt x="1659" y="6877"/>
                  </a:lnTo>
                  <a:lnTo>
                    <a:pt x="7085" y="6808"/>
                  </a:lnTo>
                  <a:lnTo>
                    <a:pt x="12648" y="6739"/>
                  </a:lnTo>
                  <a:lnTo>
                    <a:pt x="12821" y="6704"/>
                  </a:lnTo>
                  <a:lnTo>
                    <a:pt x="12994" y="6670"/>
                  </a:lnTo>
                  <a:lnTo>
                    <a:pt x="13132" y="6601"/>
                  </a:lnTo>
                  <a:lnTo>
                    <a:pt x="13270" y="6532"/>
                  </a:lnTo>
                  <a:lnTo>
                    <a:pt x="13409" y="6393"/>
                  </a:lnTo>
                  <a:lnTo>
                    <a:pt x="13512" y="6290"/>
                  </a:lnTo>
                  <a:lnTo>
                    <a:pt x="13581" y="6117"/>
                  </a:lnTo>
                  <a:lnTo>
                    <a:pt x="13650" y="5979"/>
                  </a:lnTo>
                  <a:lnTo>
                    <a:pt x="13789" y="5253"/>
                  </a:lnTo>
                  <a:lnTo>
                    <a:pt x="13892" y="4389"/>
                  </a:lnTo>
                  <a:lnTo>
                    <a:pt x="13961" y="3387"/>
                  </a:lnTo>
                  <a:lnTo>
                    <a:pt x="13961" y="2419"/>
                  </a:lnTo>
                  <a:lnTo>
                    <a:pt x="13961" y="1486"/>
                  </a:lnTo>
                  <a:lnTo>
                    <a:pt x="13892" y="726"/>
                  </a:lnTo>
                  <a:lnTo>
                    <a:pt x="13823" y="450"/>
                  </a:lnTo>
                  <a:lnTo>
                    <a:pt x="13754" y="208"/>
                  </a:lnTo>
                  <a:lnTo>
                    <a:pt x="13650" y="70"/>
                  </a:lnTo>
                  <a:lnTo>
                    <a:pt x="13616" y="35"/>
                  </a:lnTo>
                  <a:lnTo>
                    <a:pt x="13547" y="0"/>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52" name="Google Shape;14192;p81">
              <a:extLst>
                <a:ext uri="{FF2B5EF4-FFF2-40B4-BE49-F238E27FC236}">
                  <a16:creationId xmlns:a16="http://schemas.microsoft.com/office/drawing/2014/main" id="{BD360362-B70B-B682-FA87-4B6D73D5CC1B}"/>
                </a:ext>
              </a:extLst>
            </p:cNvPr>
            <p:cNvSpPr/>
            <p:nvPr/>
          </p:nvSpPr>
          <p:spPr>
            <a:xfrm>
              <a:off x="5740825" y="2709750"/>
              <a:ext cx="672150" cy="1752050"/>
            </a:xfrm>
            <a:custGeom>
              <a:avLst/>
              <a:gdLst/>
              <a:ahLst/>
              <a:cxnLst/>
              <a:rect l="l" t="t" r="r" b="b"/>
              <a:pathLst>
                <a:path w="26886" h="70082" extrusionOk="0">
                  <a:moveTo>
                    <a:pt x="17210" y="1"/>
                  </a:moveTo>
                  <a:lnTo>
                    <a:pt x="16277" y="35"/>
                  </a:lnTo>
                  <a:lnTo>
                    <a:pt x="14445" y="174"/>
                  </a:lnTo>
                  <a:lnTo>
                    <a:pt x="12648" y="346"/>
                  </a:lnTo>
                  <a:lnTo>
                    <a:pt x="10989" y="554"/>
                  </a:lnTo>
                  <a:lnTo>
                    <a:pt x="9504" y="796"/>
                  </a:lnTo>
                  <a:lnTo>
                    <a:pt x="8225" y="1003"/>
                  </a:lnTo>
                  <a:lnTo>
                    <a:pt x="7257" y="1176"/>
                  </a:lnTo>
                  <a:lnTo>
                    <a:pt x="6428" y="1349"/>
                  </a:lnTo>
                  <a:lnTo>
                    <a:pt x="5910" y="4942"/>
                  </a:lnTo>
                  <a:lnTo>
                    <a:pt x="5149" y="9849"/>
                  </a:lnTo>
                  <a:lnTo>
                    <a:pt x="3283" y="21668"/>
                  </a:lnTo>
                  <a:lnTo>
                    <a:pt x="1486" y="32657"/>
                  </a:lnTo>
                  <a:lnTo>
                    <a:pt x="484" y="38600"/>
                  </a:lnTo>
                  <a:lnTo>
                    <a:pt x="415" y="39050"/>
                  </a:lnTo>
                  <a:lnTo>
                    <a:pt x="346" y="39602"/>
                  </a:lnTo>
                  <a:lnTo>
                    <a:pt x="242" y="41054"/>
                  </a:lnTo>
                  <a:lnTo>
                    <a:pt x="139" y="42885"/>
                  </a:lnTo>
                  <a:lnTo>
                    <a:pt x="104" y="45028"/>
                  </a:lnTo>
                  <a:lnTo>
                    <a:pt x="1" y="49935"/>
                  </a:lnTo>
                  <a:lnTo>
                    <a:pt x="1" y="55187"/>
                  </a:lnTo>
                  <a:lnTo>
                    <a:pt x="35" y="60267"/>
                  </a:lnTo>
                  <a:lnTo>
                    <a:pt x="70" y="64587"/>
                  </a:lnTo>
                  <a:lnTo>
                    <a:pt x="104" y="68734"/>
                  </a:lnTo>
                  <a:lnTo>
                    <a:pt x="312" y="69045"/>
                  </a:lnTo>
                  <a:lnTo>
                    <a:pt x="588" y="69321"/>
                  </a:lnTo>
                  <a:lnTo>
                    <a:pt x="934" y="69528"/>
                  </a:lnTo>
                  <a:lnTo>
                    <a:pt x="1279" y="69736"/>
                  </a:lnTo>
                  <a:lnTo>
                    <a:pt x="1694" y="69874"/>
                  </a:lnTo>
                  <a:lnTo>
                    <a:pt x="2143" y="69978"/>
                  </a:lnTo>
                  <a:lnTo>
                    <a:pt x="2592" y="70047"/>
                  </a:lnTo>
                  <a:lnTo>
                    <a:pt x="3111" y="70081"/>
                  </a:lnTo>
                  <a:lnTo>
                    <a:pt x="3594" y="70081"/>
                  </a:lnTo>
                  <a:lnTo>
                    <a:pt x="4113" y="70012"/>
                  </a:lnTo>
                  <a:lnTo>
                    <a:pt x="4631" y="69943"/>
                  </a:lnTo>
                  <a:lnTo>
                    <a:pt x="5115" y="69839"/>
                  </a:lnTo>
                  <a:lnTo>
                    <a:pt x="5633" y="69701"/>
                  </a:lnTo>
                  <a:lnTo>
                    <a:pt x="6082" y="69528"/>
                  </a:lnTo>
                  <a:lnTo>
                    <a:pt x="6566" y="69321"/>
                  </a:lnTo>
                  <a:lnTo>
                    <a:pt x="6981" y="69114"/>
                  </a:lnTo>
                  <a:lnTo>
                    <a:pt x="7050" y="68975"/>
                  </a:lnTo>
                  <a:lnTo>
                    <a:pt x="7085" y="68734"/>
                  </a:lnTo>
                  <a:lnTo>
                    <a:pt x="7188" y="67939"/>
                  </a:lnTo>
                  <a:lnTo>
                    <a:pt x="7257" y="66764"/>
                  </a:lnTo>
                  <a:lnTo>
                    <a:pt x="7292" y="65278"/>
                  </a:lnTo>
                  <a:lnTo>
                    <a:pt x="7326" y="61477"/>
                  </a:lnTo>
                  <a:lnTo>
                    <a:pt x="7396" y="56915"/>
                  </a:lnTo>
                  <a:lnTo>
                    <a:pt x="7465" y="52043"/>
                  </a:lnTo>
                  <a:lnTo>
                    <a:pt x="7568" y="49589"/>
                  </a:lnTo>
                  <a:lnTo>
                    <a:pt x="7672" y="47205"/>
                  </a:lnTo>
                  <a:lnTo>
                    <a:pt x="7810" y="44924"/>
                  </a:lnTo>
                  <a:lnTo>
                    <a:pt x="8018" y="42816"/>
                  </a:lnTo>
                  <a:lnTo>
                    <a:pt x="8121" y="41814"/>
                  </a:lnTo>
                  <a:lnTo>
                    <a:pt x="8259" y="40881"/>
                  </a:lnTo>
                  <a:lnTo>
                    <a:pt x="8398" y="40017"/>
                  </a:lnTo>
                  <a:lnTo>
                    <a:pt x="8536" y="39222"/>
                  </a:lnTo>
                  <a:lnTo>
                    <a:pt x="9020" y="37218"/>
                  </a:lnTo>
                  <a:lnTo>
                    <a:pt x="9573" y="35076"/>
                  </a:lnTo>
                  <a:lnTo>
                    <a:pt x="10195" y="32829"/>
                  </a:lnTo>
                  <a:lnTo>
                    <a:pt x="10886" y="30618"/>
                  </a:lnTo>
                  <a:lnTo>
                    <a:pt x="11542" y="28441"/>
                  </a:lnTo>
                  <a:lnTo>
                    <a:pt x="12233" y="26367"/>
                  </a:lnTo>
                  <a:lnTo>
                    <a:pt x="13408" y="22808"/>
                  </a:lnTo>
                  <a:lnTo>
                    <a:pt x="14203" y="20493"/>
                  </a:lnTo>
                  <a:lnTo>
                    <a:pt x="14549" y="19594"/>
                  </a:lnTo>
                  <a:lnTo>
                    <a:pt x="15620" y="26989"/>
                  </a:lnTo>
                  <a:lnTo>
                    <a:pt x="16000" y="29477"/>
                  </a:lnTo>
                  <a:lnTo>
                    <a:pt x="16277" y="31516"/>
                  </a:lnTo>
                  <a:lnTo>
                    <a:pt x="16518" y="33486"/>
                  </a:lnTo>
                  <a:lnTo>
                    <a:pt x="16691" y="35559"/>
                  </a:lnTo>
                  <a:lnTo>
                    <a:pt x="16864" y="38117"/>
                  </a:lnTo>
                  <a:lnTo>
                    <a:pt x="17037" y="41434"/>
                  </a:lnTo>
                  <a:lnTo>
                    <a:pt x="17486" y="50799"/>
                  </a:lnTo>
                  <a:lnTo>
                    <a:pt x="17866" y="59334"/>
                  </a:lnTo>
                  <a:lnTo>
                    <a:pt x="18246" y="67939"/>
                  </a:lnTo>
                  <a:lnTo>
                    <a:pt x="19352" y="68181"/>
                  </a:lnTo>
                  <a:lnTo>
                    <a:pt x="20320" y="68353"/>
                  </a:lnTo>
                  <a:lnTo>
                    <a:pt x="21184" y="68492"/>
                  </a:lnTo>
                  <a:lnTo>
                    <a:pt x="21978" y="68561"/>
                  </a:lnTo>
                  <a:lnTo>
                    <a:pt x="22739" y="68561"/>
                  </a:lnTo>
                  <a:lnTo>
                    <a:pt x="23084" y="68492"/>
                  </a:lnTo>
                  <a:lnTo>
                    <a:pt x="23464" y="68457"/>
                  </a:lnTo>
                  <a:lnTo>
                    <a:pt x="23844" y="68353"/>
                  </a:lnTo>
                  <a:lnTo>
                    <a:pt x="24225" y="68250"/>
                  </a:lnTo>
                  <a:lnTo>
                    <a:pt x="24605" y="68112"/>
                  </a:lnTo>
                  <a:lnTo>
                    <a:pt x="25019" y="67939"/>
                  </a:lnTo>
                  <a:lnTo>
                    <a:pt x="25054" y="66315"/>
                  </a:lnTo>
                  <a:lnTo>
                    <a:pt x="25123" y="63619"/>
                  </a:lnTo>
                  <a:lnTo>
                    <a:pt x="25296" y="56155"/>
                  </a:lnTo>
                  <a:lnTo>
                    <a:pt x="25399" y="51939"/>
                  </a:lnTo>
                  <a:lnTo>
                    <a:pt x="25469" y="47792"/>
                  </a:lnTo>
                  <a:lnTo>
                    <a:pt x="25503" y="44026"/>
                  </a:lnTo>
                  <a:lnTo>
                    <a:pt x="25469" y="42332"/>
                  </a:lnTo>
                  <a:lnTo>
                    <a:pt x="25469" y="40847"/>
                  </a:lnTo>
                  <a:lnTo>
                    <a:pt x="25434" y="39430"/>
                  </a:lnTo>
                  <a:lnTo>
                    <a:pt x="25434" y="37909"/>
                  </a:lnTo>
                  <a:lnTo>
                    <a:pt x="25469" y="34730"/>
                  </a:lnTo>
                  <a:lnTo>
                    <a:pt x="25572" y="31447"/>
                  </a:lnTo>
                  <a:lnTo>
                    <a:pt x="25745" y="28199"/>
                  </a:lnTo>
                  <a:lnTo>
                    <a:pt x="25952" y="25123"/>
                  </a:lnTo>
                  <a:lnTo>
                    <a:pt x="26125" y="22393"/>
                  </a:lnTo>
                  <a:lnTo>
                    <a:pt x="26332" y="20113"/>
                  </a:lnTo>
                  <a:lnTo>
                    <a:pt x="26505" y="18454"/>
                  </a:lnTo>
                  <a:lnTo>
                    <a:pt x="26643" y="17141"/>
                  </a:lnTo>
                  <a:lnTo>
                    <a:pt x="26747" y="15931"/>
                  </a:lnTo>
                  <a:lnTo>
                    <a:pt x="26816" y="14895"/>
                  </a:lnTo>
                  <a:lnTo>
                    <a:pt x="26851" y="13893"/>
                  </a:lnTo>
                  <a:lnTo>
                    <a:pt x="26885" y="12165"/>
                  </a:lnTo>
                  <a:lnTo>
                    <a:pt x="26851" y="10644"/>
                  </a:lnTo>
                  <a:lnTo>
                    <a:pt x="26782" y="9297"/>
                  </a:lnTo>
                  <a:lnTo>
                    <a:pt x="26713" y="7776"/>
                  </a:lnTo>
                  <a:lnTo>
                    <a:pt x="26713" y="7016"/>
                  </a:lnTo>
                  <a:lnTo>
                    <a:pt x="26713" y="6256"/>
                  </a:lnTo>
                  <a:lnTo>
                    <a:pt x="26678" y="5046"/>
                  </a:lnTo>
                  <a:lnTo>
                    <a:pt x="26609" y="3768"/>
                  </a:lnTo>
                  <a:lnTo>
                    <a:pt x="26574" y="3456"/>
                  </a:lnTo>
                  <a:lnTo>
                    <a:pt x="26505" y="3180"/>
                  </a:lnTo>
                  <a:lnTo>
                    <a:pt x="26402" y="2904"/>
                  </a:lnTo>
                  <a:lnTo>
                    <a:pt x="26263" y="2627"/>
                  </a:lnTo>
                  <a:lnTo>
                    <a:pt x="26125" y="2385"/>
                  </a:lnTo>
                  <a:lnTo>
                    <a:pt x="25952" y="2143"/>
                  </a:lnTo>
                  <a:lnTo>
                    <a:pt x="25780" y="1936"/>
                  </a:lnTo>
                  <a:lnTo>
                    <a:pt x="25572" y="1729"/>
                  </a:lnTo>
                  <a:lnTo>
                    <a:pt x="25330" y="1556"/>
                  </a:lnTo>
                  <a:lnTo>
                    <a:pt x="25088" y="1383"/>
                  </a:lnTo>
                  <a:lnTo>
                    <a:pt x="24501" y="1038"/>
                  </a:lnTo>
                  <a:lnTo>
                    <a:pt x="23879" y="796"/>
                  </a:lnTo>
                  <a:lnTo>
                    <a:pt x="23188" y="554"/>
                  </a:lnTo>
                  <a:lnTo>
                    <a:pt x="22462" y="381"/>
                  </a:lnTo>
                  <a:lnTo>
                    <a:pt x="21667" y="243"/>
                  </a:lnTo>
                  <a:lnTo>
                    <a:pt x="20838" y="139"/>
                  </a:lnTo>
                  <a:lnTo>
                    <a:pt x="19940" y="70"/>
                  </a:lnTo>
                  <a:lnTo>
                    <a:pt x="19076"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53" name="Google Shape;14193;p81">
              <a:extLst>
                <a:ext uri="{FF2B5EF4-FFF2-40B4-BE49-F238E27FC236}">
                  <a16:creationId xmlns:a16="http://schemas.microsoft.com/office/drawing/2014/main" id="{E145B42E-54FB-E59A-BB8B-8DB91DF4F02E}"/>
                </a:ext>
              </a:extLst>
            </p:cNvPr>
            <p:cNvSpPr/>
            <p:nvPr/>
          </p:nvSpPr>
          <p:spPr>
            <a:xfrm>
              <a:off x="5740825" y="2709750"/>
              <a:ext cx="672150" cy="1752050"/>
            </a:xfrm>
            <a:custGeom>
              <a:avLst/>
              <a:gdLst/>
              <a:ahLst/>
              <a:cxnLst/>
              <a:rect l="l" t="t" r="r" b="b"/>
              <a:pathLst>
                <a:path w="26886" h="70082" fill="none" extrusionOk="0">
                  <a:moveTo>
                    <a:pt x="26747" y="15931"/>
                  </a:moveTo>
                  <a:lnTo>
                    <a:pt x="26747" y="15931"/>
                  </a:lnTo>
                  <a:lnTo>
                    <a:pt x="26643" y="17141"/>
                  </a:lnTo>
                  <a:lnTo>
                    <a:pt x="26505" y="18454"/>
                  </a:lnTo>
                  <a:lnTo>
                    <a:pt x="26505" y="18454"/>
                  </a:lnTo>
                  <a:lnTo>
                    <a:pt x="26332" y="20113"/>
                  </a:lnTo>
                  <a:lnTo>
                    <a:pt x="26125" y="22393"/>
                  </a:lnTo>
                  <a:lnTo>
                    <a:pt x="25952" y="25123"/>
                  </a:lnTo>
                  <a:lnTo>
                    <a:pt x="25745" y="28199"/>
                  </a:lnTo>
                  <a:lnTo>
                    <a:pt x="25572" y="31447"/>
                  </a:lnTo>
                  <a:lnTo>
                    <a:pt x="25469" y="34730"/>
                  </a:lnTo>
                  <a:lnTo>
                    <a:pt x="25434" y="37909"/>
                  </a:lnTo>
                  <a:lnTo>
                    <a:pt x="25434" y="39430"/>
                  </a:lnTo>
                  <a:lnTo>
                    <a:pt x="25469" y="40847"/>
                  </a:lnTo>
                  <a:lnTo>
                    <a:pt x="25469" y="40847"/>
                  </a:lnTo>
                  <a:lnTo>
                    <a:pt x="25469" y="42332"/>
                  </a:lnTo>
                  <a:lnTo>
                    <a:pt x="25503" y="44026"/>
                  </a:lnTo>
                  <a:lnTo>
                    <a:pt x="25469" y="47792"/>
                  </a:lnTo>
                  <a:lnTo>
                    <a:pt x="25399" y="51939"/>
                  </a:lnTo>
                  <a:lnTo>
                    <a:pt x="25296" y="56155"/>
                  </a:lnTo>
                  <a:lnTo>
                    <a:pt x="25123" y="63619"/>
                  </a:lnTo>
                  <a:lnTo>
                    <a:pt x="25054" y="66315"/>
                  </a:lnTo>
                  <a:lnTo>
                    <a:pt x="25019" y="67939"/>
                  </a:lnTo>
                  <a:lnTo>
                    <a:pt x="25019" y="67939"/>
                  </a:lnTo>
                  <a:lnTo>
                    <a:pt x="24605" y="68112"/>
                  </a:lnTo>
                  <a:lnTo>
                    <a:pt x="24225" y="68250"/>
                  </a:lnTo>
                  <a:lnTo>
                    <a:pt x="23844" y="68353"/>
                  </a:lnTo>
                  <a:lnTo>
                    <a:pt x="23464" y="68457"/>
                  </a:lnTo>
                  <a:lnTo>
                    <a:pt x="23084" y="68492"/>
                  </a:lnTo>
                  <a:lnTo>
                    <a:pt x="22739" y="68561"/>
                  </a:lnTo>
                  <a:lnTo>
                    <a:pt x="22358" y="68561"/>
                  </a:lnTo>
                  <a:lnTo>
                    <a:pt x="21978" y="68561"/>
                  </a:lnTo>
                  <a:lnTo>
                    <a:pt x="21184" y="68492"/>
                  </a:lnTo>
                  <a:lnTo>
                    <a:pt x="20320" y="68353"/>
                  </a:lnTo>
                  <a:lnTo>
                    <a:pt x="19352" y="68181"/>
                  </a:lnTo>
                  <a:lnTo>
                    <a:pt x="18246" y="67939"/>
                  </a:lnTo>
                  <a:lnTo>
                    <a:pt x="18246" y="67939"/>
                  </a:lnTo>
                  <a:lnTo>
                    <a:pt x="17866" y="59334"/>
                  </a:lnTo>
                  <a:lnTo>
                    <a:pt x="17486" y="50799"/>
                  </a:lnTo>
                  <a:lnTo>
                    <a:pt x="17037" y="41434"/>
                  </a:lnTo>
                  <a:lnTo>
                    <a:pt x="17037" y="41434"/>
                  </a:lnTo>
                  <a:lnTo>
                    <a:pt x="16864" y="38117"/>
                  </a:lnTo>
                  <a:lnTo>
                    <a:pt x="16691" y="35559"/>
                  </a:lnTo>
                  <a:lnTo>
                    <a:pt x="16518" y="33486"/>
                  </a:lnTo>
                  <a:lnTo>
                    <a:pt x="16277" y="31516"/>
                  </a:lnTo>
                  <a:lnTo>
                    <a:pt x="16000" y="29477"/>
                  </a:lnTo>
                  <a:lnTo>
                    <a:pt x="15620" y="26989"/>
                  </a:lnTo>
                  <a:lnTo>
                    <a:pt x="14549" y="19594"/>
                  </a:lnTo>
                  <a:lnTo>
                    <a:pt x="14549" y="19594"/>
                  </a:lnTo>
                  <a:lnTo>
                    <a:pt x="14549" y="19594"/>
                  </a:lnTo>
                  <a:lnTo>
                    <a:pt x="14203" y="20493"/>
                  </a:lnTo>
                  <a:lnTo>
                    <a:pt x="13408" y="22808"/>
                  </a:lnTo>
                  <a:lnTo>
                    <a:pt x="13408" y="22808"/>
                  </a:lnTo>
                  <a:lnTo>
                    <a:pt x="12233" y="26367"/>
                  </a:lnTo>
                  <a:lnTo>
                    <a:pt x="11542" y="28441"/>
                  </a:lnTo>
                  <a:lnTo>
                    <a:pt x="10886" y="30618"/>
                  </a:lnTo>
                  <a:lnTo>
                    <a:pt x="10195" y="32829"/>
                  </a:lnTo>
                  <a:lnTo>
                    <a:pt x="9573" y="35076"/>
                  </a:lnTo>
                  <a:lnTo>
                    <a:pt x="9020" y="37218"/>
                  </a:lnTo>
                  <a:lnTo>
                    <a:pt x="8536" y="39222"/>
                  </a:lnTo>
                  <a:lnTo>
                    <a:pt x="8536" y="39222"/>
                  </a:lnTo>
                  <a:lnTo>
                    <a:pt x="8398" y="40017"/>
                  </a:lnTo>
                  <a:lnTo>
                    <a:pt x="8259" y="40881"/>
                  </a:lnTo>
                  <a:lnTo>
                    <a:pt x="8121" y="41814"/>
                  </a:lnTo>
                  <a:lnTo>
                    <a:pt x="8018" y="42816"/>
                  </a:lnTo>
                  <a:lnTo>
                    <a:pt x="7810" y="44924"/>
                  </a:lnTo>
                  <a:lnTo>
                    <a:pt x="7672" y="47205"/>
                  </a:lnTo>
                  <a:lnTo>
                    <a:pt x="7568" y="49589"/>
                  </a:lnTo>
                  <a:lnTo>
                    <a:pt x="7465" y="52043"/>
                  </a:lnTo>
                  <a:lnTo>
                    <a:pt x="7396" y="56915"/>
                  </a:lnTo>
                  <a:lnTo>
                    <a:pt x="7326" y="61477"/>
                  </a:lnTo>
                  <a:lnTo>
                    <a:pt x="7292" y="65278"/>
                  </a:lnTo>
                  <a:lnTo>
                    <a:pt x="7257" y="66764"/>
                  </a:lnTo>
                  <a:lnTo>
                    <a:pt x="7188" y="67939"/>
                  </a:lnTo>
                  <a:lnTo>
                    <a:pt x="7085" y="68734"/>
                  </a:lnTo>
                  <a:lnTo>
                    <a:pt x="7050" y="68975"/>
                  </a:lnTo>
                  <a:lnTo>
                    <a:pt x="6981" y="69114"/>
                  </a:lnTo>
                  <a:lnTo>
                    <a:pt x="6981" y="69114"/>
                  </a:lnTo>
                  <a:lnTo>
                    <a:pt x="6566" y="69321"/>
                  </a:lnTo>
                  <a:lnTo>
                    <a:pt x="6082" y="69528"/>
                  </a:lnTo>
                  <a:lnTo>
                    <a:pt x="5633" y="69701"/>
                  </a:lnTo>
                  <a:lnTo>
                    <a:pt x="5115" y="69839"/>
                  </a:lnTo>
                  <a:lnTo>
                    <a:pt x="4631" y="69943"/>
                  </a:lnTo>
                  <a:lnTo>
                    <a:pt x="4113" y="70012"/>
                  </a:lnTo>
                  <a:lnTo>
                    <a:pt x="3594" y="70081"/>
                  </a:lnTo>
                  <a:lnTo>
                    <a:pt x="3111" y="70081"/>
                  </a:lnTo>
                  <a:lnTo>
                    <a:pt x="2592" y="70047"/>
                  </a:lnTo>
                  <a:lnTo>
                    <a:pt x="2143" y="69978"/>
                  </a:lnTo>
                  <a:lnTo>
                    <a:pt x="1694" y="69874"/>
                  </a:lnTo>
                  <a:lnTo>
                    <a:pt x="1279" y="69736"/>
                  </a:lnTo>
                  <a:lnTo>
                    <a:pt x="934" y="69528"/>
                  </a:lnTo>
                  <a:lnTo>
                    <a:pt x="588" y="69321"/>
                  </a:lnTo>
                  <a:lnTo>
                    <a:pt x="312" y="69045"/>
                  </a:lnTo>
                  <a:lnTo>
                    <a:pt x="104" y="68734"/>
                  </a:lnTo>
                  <a:lnTo>
                    <a:pt x="104" y="68734"/>
                  </a:lnTo>
                  <a:lnTo>
                    <a:pt x="70" y="64587"/>
                  </a:lnTo>
                  <a:lnTo>
                    <a:pt x="35" y="60267"/>
                  </a:lnTo>
                  <a:lnTo>
                    <a:pt x="1" y="55187"/>
                  </a:lnTo>
                  <a:lnTo>
                    <a:pt x="1" y="49935"/>
                  </a:lnTo>
                  <a:lnTo>
                    <a:pt x="104" y="45028"/>
                  </a:lnTo>
                  <a:lnTo>
                    <a:pt x="139" y="42885"/>
                  </a:lnTo>
                  <a:lnTo>
                    <a:pt x="242" y="41054"/>
                  </a:lnTo>
                  <a:lnTo>
                    <a:pt x="346" y="39602"/>
                  </a:lnTo>
                  <a:lnTo>
                    <a:pt x="415" y="39050"/>
                  </a:lnTo>
                  <a:lnTo>
                    <a:pt x="484" y="38600"/>
                  </a:lnTo>
                  <a:lnTo>
                    <a:pt x="484" y="38600"/>
                  </a:lnTo>
                  <a:lnTo>
                    <a:pt x="1486" y="32657"/>
                  </a:lnTo>
                  <a:lnTo>
                    <a:pt x="3283" y="21668"/>
                  </a:lnTo>
                  <a:lnTo>
                    <a:pt x="5149" y="9849"/>
                  </a:lnTo>
                  <a:lnTo>
                    <a:pt x="5910" y="4942"/>
                  </a:lnTo>
                  <a:lnTo>
                    <a:pt x="6428" y="1349"/>
                  </a:lnTo>
                  <a:lnTo>
                    <a:pt x="6428" y="1349"/>
                  </a:lnTo>
                  <a:lnTo>
                    <a:pt x="7257" y="1176"/>
                  </a:lnTo>
                  <a:lnTo>
                    <a:pt x="8225" y="1003"/>
                  </a:lnTo>
                  <a:lnTo>
                    <a:pt x="9504" y="796"/>
                  </a:lnTo>
                  <a:lnTo>
                    <a:pt x="10989" y="554"/>
                  </a:lnTo>
                  <a:lnTo>
                    <a:pt x="12648" y="346"/>
                  </a:lnTo>
                  <a:lnTo>
                    <a:pt x="14445" y="174"/>
                  </a:lnTo>
                  <a:lnTo>
                    <a:pt x="16277" y="35"/>
                  </a:lnTo>
                  <a:lnTo>
                    <a:pt x="17210" y="1"/>
                  </a:lnTo>
                  <a:lnTo>
                    <a:pt x="18143" y="1"/>
                  </a:lnTo>
                  <a:lnTo>
                    <a:pt x="19076" y="1"/>
                  </a:lnTo>
                  <a:lnTo>
                    <a:pt x="19940" y="70"/>
                  </a:lnTo>
                  <a:lnTo>
                    <a:pt x="20838" y="139"/>
                  </a:lnTo>
                  <a:lnTo>
                    <a:pt x="21667" y="243"/>
                  </a:lnTo>
                  <a:lnTo>
                    <a:pt x="22462" y="381"/>
                  </a:lnTo>
                  <a:lnTo>
                    <a:pt x="23188" y="554"/>
                  </a:lnTo>
                  <a:lnTo>
                    <a:pt x="23879" y="796"/>
                  </a:lnTo>
                  <a:lnTo>
                    <a:pt x="24501" y="1038"/>
                  </a:lnTo>
                  <a:lnTo>
                    <a:pt x="25088" y="1383"/>
                  </a:lnTo>
                  <a:lnTo>
                    <a:pt x="25330" y="1556"/>
                  </a:lnTo>
                  <a:lnTo>
                    <a:pt x="25572" y="1729"/>
                  </a:lnTo>
                  <a:lnTo>
                    <a:pt x="25780" y="1936"/>
                  </a:lnTo>
                  <a:lnTo>
                    <a:pt x="25952" y="2143"/>
                  </a:lnTo>
                  <a:lnTo>
                    <a:pt x="26125" y="2385"/>
                  </a:lnTo>
                  <a:lnTo>
                    <a:pt x="26263" y="2627"/>
                  </a:lnTo>
                  <a:lnTo>
                    <a:pt x="26402" y="2904"/>
                  </a:lnTo>
                  <a:lnTo>
                    <a:pt x="26505" y="3180"/>
                  </a:lnTo>
                  <a:lnTo>
                    <a:pt x="26574" y="3456"/>
                  </a:lnTo>
                  <a:lnTo>
                    <a:pt x="26609" y="3768"/>
                  </a:lnTo>
                  <a:lnTo>
                    <a:pt x="26609" y="3768"/>
                  </a:lnTo>
                  <a:lnTo>
                    <a:pt x="26678" y="5046"/>
                  </a:lnTo>
                  <a:lnTo>
                    <a:pt x="26713" y="6256"/>
                  </a:lnTo>
                  <a:lnTo>
                    <a:pt x="26713" y="6256"/>
                  </a:lnTo>
                  <a:lnTo>
                    <a:pt x="26713" y="7016"/>
                  </a:lnTo>
                  <a:lnTo>
                    <a:pt x="26713" y="7776"/>
                  </a:lnTo>
                  <a:lnTo>
                    <a:pt x="26782" y="9297"/>
                  </a:lnTo>
                  <a:lnTo>
                    <a:pt x="26782" y="9297"/>
                  </a:lnTo>
                  <a:lnTo>
                    <a:pt x="26851" y="10644"/>
                  </a:lnTo>
                  <a:lnTo>
                    <a:pt x="26885" y="12165"/>
                  </a:lnTo>
                  <a:lnTo>
                    <a:pt x="26851" y="13893"/>
                  </a:lnTo>
                  <a:lnTo>
                    <a:pt x="26816" y="14895"/>
                  </a:lnTo>
                  <a:lnTo>
                    <a:pt x="26747" y="1593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54" name="Google Shape;14194;p81">
              <a:extLst>
                <a:ext uri="{FF2B5EF4-FFF2-40B4-BE49-F238E27FC236}">
                  <a16:creationId xmlns:a16="http://schemas.microsoft.com/office/drawing/2014/main" id="{64874EAD-F22B-66DB-C79A-22F7B30E09AA}"/>
                </a:ext>
              </a:extLst>
            </p:cNvPr>
            <p:cNvSpPr/>
            <p:nvPr/>
          </p:nvSpPr>
          <p:spPr>
            <a:xfrm>
              <a:off x="6146000" y="3107150"/>
              <a:ext cx="1750" cy="900"/>
            </a:xfrm>
            <a:custGeom>
              <a:avLst/>
              <a:gdLst/>
              <a:ahLst/>
              <a:cxnLst/>
              <a:rect l="l" t="t" r="r" b="b"/>
              <a:pathLst>
                <a:path w="70" h="36" extrusionOk="0">
                  <a:moveTo>
                    <a:pt x="0" y="1"/>
                  </a:moveTo>
                  <a:lnTo>
                    <a:pt x="35" y="35"/>
                  </a:lnTo>
                  <a:lnTo>
                    <a:pt x="70" y="1"/>
                  </a:lnTo>
                  <a:close/>
                </a:path>
              </a:pathLst>
            </a:custGeom>
            <a:solidFill>
              <a:srgbClr val="3434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55" name="Google Shape;14195;p81">
              <a:extLst>
                <a:ext uri="{FF2B5EF4-FFF2-40B4-BE49-F238E27FC236}">
                  <a16:creationId xmlns:a16="http://schemas.microsoft.com/office/drawing/2014/main" id="{C9FA5316-E753-61CC-8CA7-BCFB1F1B15CD}"/>
                </a:ext>
              </a:extLst>
            </p:cNvPr>
            <p:cNvSpPr/>
            <p:nvPr/>
          </p:nvSpPr>
          <p:spPr>
            <a:xfrm>
              <a:off x="6146000" y="3107150"/>
              <a:ext cx="1750" cy="900"/>
            </a:xfrm>
            <a:custGeom>
              <a:avLst/>
              <a:gdLst/>
              <a:ahLst/>
              <a:cxnLst/>
              <a:rect l="l" t="t" r="r" b="b"/>
              <a:pathLst>
                <a:path w="70" h="36" fill="none" extrusionOk="0">
                  <a:moveTo>
                    <a:pt x="0" y="1"/>
                  </a:moveTo>
                  <a:lnTo>
                    <a:pt x="0" y="1"/>
                  </a:lnTo>
                  <a:lnTo>
                    <a:pt x="35" y="35"/>
                  </a:lnTo>
                  <a:lnTo>
                    <a:pt x="70" y="1"/>
                  </a:lnTo>
                  <a:lnTo>
                    <a:pt x="0"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56" name="Google Shape;14196;p81">
              <a:extLst>
                <a:ext uri="{FF2B5EF4-FFF2-40B4-BE49-F238E27FC236}">
                  <a16:creationId xmlns:a16="http://schemas.microsoft.com/office/drawing/2014/main" id="{DB2D56A2-8564-BF36-0A8E-95AB53AAD9D7}"/>
                </a:ext>
              </a:extLst>
            </p:cNvPr>
            <p:cNvSpPr/>
            <p:nvPr/>
          </p:nvSpPr>
          <p:spPr>
            <a:xfrm>
              <a:off x="6084650" y="3115800"/>
              <a:ext cx="25" cy="25"/>
            </a:xfrm>
            <a:custGeom>
              <a:avLst/>
              <a:gdLst/>
              <a:ahLst/>
              <a:cxnLst/>
              <a:rect l="l" t="t" r="r" b="b"/>
              <a:pathLst>
                <a:path w="1" h="1" extrusionOk="0">
                  <a:moveTo>
                    <a:pt x="1" y="0"/>
                  </a:moveTo>
                  <a:lnTo>
                    <a:pt x="1" y="0"/>
                  </a:lnTo>
                  <a:lnTo>
                    <a:pt x="1" y="0"/>
                  </a:lnTo>
                  <a:lnTo>
                    <a:pt x="1" y="0"/>
                  </a:lnTo>
                  <a:close/>
                </a:path>
              </a:pathLst>
            </a:custGeom>
            <a:solidFill>
              <a:srgbClr val="31314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57" name="Google Shape;14197;p81">
              <a:extLst>
                <a:ext uri="{FF2B5EF4-FFF2-40B4-BE49-F238E27FC236}">
                  <a16:creationId xmlns:a16="http://schemas.microsoft.com/office/drawing/2014/main" id="{FF0C492A-7DFB-AB8C-3D11-B7D2C9098AD3}"/>
                </a:ext>
              </a:extLst>
            </p:cNvPr>
            <p:cNvSpPr/>
            <p:nvPr/>
          </p:nvSpPr>
          <p:spPr>
            <a:xfrm>
              <a:off x="6084650" y="3115800"/>
              <a:ext cx="25" cy="25"/>
            </a:xfrm>
            <a:custGeom>
              <a:avLst/>
              <a:gdLst/>
              <a:ahLst/>
              <a:cxnLst/>
              <a:rect l="l" t="t" r="r" b="b"/>
              <a:pathLst>
                <a:path w="1" h="1" fill="none" extrusionOk="0">
                  <a:moveTo>
                    <a:pt x="1" y="0"/>
                  </a:moveTo>
                  <a:lnTo>
                    <a:pt x="1" y="0"/>
                  </a:lnTo>
                  <a:lnTo>
                    <a:pt x="1" y="0"/>
                  </a:lnTo>
                  <a:lnTo>
                    <a:pt x="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58" name="Google Shape;14198;p81">
              <a:extLst>
                <a:ext uri="{FF2B5EF4-FFF2-40B4-BE49-F238E27FC236}">
                  <a16:creationId xmlns:a16="http://schemas.microsoft.com/office/drawing/2014/main" id="{8B9FE04C-E04B-76F5-B932-989E7E33346C}"/>
                </a:ext>
              </a:extLst>
            </p:cNvPr>
            <p:cNvSpPr/>
            <p:nvPr/>
          </p:nvSpPr>
          <p:spPr>
            <a:xfrm>
              <a:off x="6087250" y="3199600"/>
              <a:ext cx="17300" cy="47525"/>
            </a:xfrm>
            <a:custGeom>
              <a:avLst/>
              <a:gdLst/>
              <a:ahLst/>
              <a:cxnLst/>
              <a:rect l="l" t="t" r="r" b="b"/>
              <a:pathLst>
                <a:path w="692" h="1901" extrusionOk="0">
                  <a:moveTo>
                    <a:pt x="692" y="0"/>
                  </a:moveTo>
                  <a:lnTo>
                    <a:pt x="692" y="0"/>
                  </a:lnTo>
                  <a:lnTo>
                    <a:pt x="1" y="1901"/>
                  </a:lnTo>
                  <a:lnTo>
                    <a:pt x="1" y="1901"/>
                  </a:lnTo>
                  <a:lnTo>
                    <a:pt x="692" y="0"/>
                  </a:lnTo>
                  <a:close/>
                </a:path>
              </a:pathLst>
            </a:custGeom>
            <a:solidFill>
              <a:srgbClr val="86869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59" name="Google Shape;14199;p81">
              <a:extLst>
                <a:ext uri="{FF2B5EF4-FFF2-40B4-BE49-F238E27FC236}">
                  <a16:creationId xmlns:a16="http://schemas.microsoft.com/office/drawing/2014/main" id="{95F94A80-2189-014C-1B78-F63A5092D276}"/>
                </a:ext>
              </a:extLst>
            </p:cNvPr>
            <p:cNvSpPr/>
            <p:nvPr/>
          </p:nvSpPr>
          <p:spPr>
            <a:xfrm>
              <a:off x="6087250" y="3199600"/>
              <a:ext cx="17300" cy="47525"/>
            </a:xfrm>
            <a:custGeom>
              <a:avLst/>
              <a:gdLst/>
              <a:ahLst/>
              <a:cxnLst/>
              <a:rect l="l" t="t" r="r" b="b"/>
              <a:pathLst>
                <a:path w="692" h="1901" fill="none" extrusionOk="0">
                  <a:moveTo>
                    <a:pt x="692" y="0"/>
                  </a:moveTo>
                  <a:lnTo>
                    <a:pt x="692" y="0"/>
                  </a:lnTo>
                  <a:lnTo>
                    <a:pt x="1" y="1901"/>
                  </a:lnTo>
                  <a:lnTo>
                    <a:pt x="1" y="1901"/>
                  </a:lnTo>
                  <a:lnTo>
                    <a:pt x="692"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60" name="Google Shape;14200;p81">
              <a:extLst>
                <a:ext uri="{FF2B5EF4-FFF2-40B4-BE49-F238E27FC236}">
                  <a16:creationId xmlns:a16="http://schemas.microsoft.com/office/drawing/2014/main" id="{65EBE85E-0700-4D16-BE8C-11A70B47E35B}"/>
                </a:ext>
              </a:extLst>
            </p:cNvPr>
            <p:cNvSpPr/>
            <p:nvPr/>
          </p:nvSpPr>
          <p:spPr>
            <a:xfrm>
              <a:off x="6065650" y="3115800"/>
              <a:ext cx="38900" cy="193525"/>
            </a:xfrm>
            <a:custGeom>
              <a:avLst/>
              <a:gdLst/>
              <a:ahLst/>
              <a:cxnLst/>
              <a:rect l="l" t="t" r="r" b="b"/>
              <a:pathLst>
                <a:path w="1556" h="7741" extrusionOk="0">
                  <a:moveTo>
                    <a:pt x="761" y="0"/>
                  </a:moveTo>
                  <a:lnTo>
                    <a:pt x="1" y="7741"/>
                  </a:lnTo>
                  <a:lnTo>
                    <a:pt x="865" y="5253"/>
                  </a:lnTo>
                  <a:lnTo>
                    <a:pt x="1556" y="3352"/>
                  </a:lnTo>
                  <a:lnTo>
                    <a:pt x="1107" y="1625"/>
                  </a:lnTo>
                  <a:lnTo>
                    <a:pt x="865" y="588"/>
                  </a:lnTo>
                  <a:lnTo>
                    <a:pt x="796" y="139"/>
                  </a:lnTo>
                  <a:lnTo>
                    <a:pt x="761" y="0"/>
                  </a:lnTo>
                  <a:close/>
                </a:path>
              </a:pathLst>
            </a:custGeom>
            <a:solidFill>
              <a:srgbClr val="31314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61" name="Google Shape;14201;p81">
              <a:extLst>
                <a:ext uri="{FF2B5EF4-FFF2-40B4-BE49-F238E27FC236}">
                  <a16:creationId xmlns:a16="http://schemas.microsoft.com/office/drawing/2014/main" id="{45ED9791-063D-CE85-CCC2-821204DAB215}"/>
                </a:ext>
              </a:extLst>
            </p:cNvPr>
            <p:cNvSpPr/>
            <p:nvPr/>
          </p:nvSpPr>
          <p:spPr>
            <a:xfrm>
              <a:off x="6065650" y="3115800"/>
              <a:ext cx="38900" cy="193525"/>
            </a:xfrm>
            <a:custGeom>
              <a:avLst/>
              <a:gdLst/>
              <a:ahLst/>
              <a:cxnLst/>
              <a:rect l="l" t="t" r="r" b="b"/>
              <a:pathLst>
                <a:path w="1556" h="7741" fill="none" extrusionOk="0">
                  <a:moveTo>
                    <a:pt x="761" y="0"/>
                  </a:moveTo>
                  <a:lnTo>
                    <a:pt x="1" y="7741"/>
                  </a:lnTo>
                  <a:lnTo>
                    <a:pt x="1" y="7741"/>
                  </a:lnTo>
                  <a:lnTo>
                    <a:pt x="865" y="5253"/>
                  </a:lnTo>
                  <a:lnTo>
                    <a:pt x="865" y="5253"/>
                  </a:lnTo>
                  <a:lnTo>
                    <a:pt x="1556" y="3352"/>
                  </a:lnTo>
                  <a:lnTo>
                    <a:pt x="1556" y="3352"/>
                  </a:lnTo>
                  <a:lnTo>
                    <a:pt x="1556" y="3352"/>
                  </a:lnTo>
                  <a:lnTo>
                    <a:pt x="1556" y="3352"/>
                  </a:lnTo>
                  <a:lnTo>
                    <a:pt x="1107" y="1625"/>
                  </a:lnTo>
                  <a:lnTo>
                    <a:pt x="865" y="588"/>
                  </a:lnTo>
                  <a:lnTo>
                    <a:pt x="796" y="139"/>
                  </a:lnTo>
                  <a:lnTo>
                    <a:pt x="76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62" name="Google Shape;14202;p81">
              <a:extLst>
                <a:ext uri="{FF2B5EF4-FFF2-40B4-BE49-F238E27FC236}">
                  <a16:creationId xmlns:a16="http://schemas.microsoft.com/office/drawing/2014/main" id="{F15F0F68-2662-7E42-CC6C-08DDB1DF5C9B}"/>
                </a:ext>
              </a:extLst>
            </p:cNvPr>
            <p:cNvSpPr/>
            <p:nvPr/>
          </p:nvSpPr>
          <p:spPr>
            <a:xfrm>
              <a:off x="6194375" y="2923150"/>
              <a:ext cx="105425" cy="96775"/>
            </a:xfrm>
            <a:custGeom>
              <a:avLst/>
              <a:gdLst/>
              <a:ahLst/>
              <a:cxnLst/>
              <a:rect l="l" t="t" r="r" b="b"/>
              <a:pathLst>
                <a:path w="4217" h="3871" extrusionOk="0">
                  <a:moveTo>
                    <a:pt x="1" y="0"/>
                  </a:moveTo>
                  <a:lnTo>
                    <a:pt x="104" y="311"/>
                  </a:lnTo>
                  <a:lnTo>
                    <a:pt x="243" y="622"/>
                  </a:lnTo>
                  <a:lnTo>
                    <a:pt x="415" y="899"/>
                  </a:lnTo>
                  <a:lnTo>
                    <a:pt x="588" y="1210"/>
                  </a:lnTo>
                  <a:lnTo>
                    <a:pt x="795" y="1486"/>
                  </a:lnTo>
                  <a:lnTo>
                    <a:pt x="1037" y="1763"/>
                  </a:lnTo>
                  <a:lnTo>
                    <a:pt x="1556" y="2246"/>
                  </a:lnTo>
                  <a:lnTo>
                    <a:pt x="2178" y="2730"/>
                  </a:lnTo>
                  <a:lnTo>
                    <a:pt x="2834" y="3145"/>
                  </a:lnTo>
                  <a:lnTo>
                    <a:pt x="3491" y="3525"/>
                  </a:lnTo>
                  <a:lnTo>
                    <a:pt x="4216" y="3871"/>
                  </a:lnTo>
                  <a:lnTo>
                    <a:pt x="3664" y="3594"/>
                  </a:lnTo>
                  <a:lnTo>
                    <a:pt x="3975" y="2938"/>
                  </a:lnTo>
                  <a:lnTo>
                    <a:pt x="3525" y="2834"/>
                  </a:lnTo>
                  <a:lnTo>
                    <a:pt x="3111" y="2696"/>
                  </a:lnTo>
                  <a:lnTo>
                    <a:pt x="2661" y="2523"/>
                  </a:lnTo>
                  <a:lnTo>
                    <a:pt x="2247" y="2316"/>
                  </a:lnTo>
                  <a:lnTo>
                    <a:pt x="1832" y="2074"/>
                  </a:lnTo>
                  <a:lnTo>
                    <a:pt x="1452" y="1797"/>
                  </a:lnTo>
                  <a:lnTo>
                    <a:pt x="1072" y="1452"/>
                  </a:lnTo>
                  <a:lnTo>
                    <a:pt x="692" y="1106"/>
                  </a:lnTo>
                  <a:lnTo>
                    <a:pt x="450" y="830"/>
                  </a:lnTo>
                  <a:lnTo>
                    <a:pt x="277" y="553"/>
                  </a:lnTo>
                  <a:lnTo>
                    <a:pt x="104" y="277"/>
                  </a:lnTo>
                  <a:lnTo>
                    <a:pt x="1" y="0"/>
                  </a:lnTo>
                  <a:close/>
                </a:path>
              </a:pathLst>
            </a:custGeom>
            <a:solidFill>
              <a:srgbClr val="38384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63" name="Google Shape;14203;p81">
              <a:extLst>
                <a:ext uri="{FF2B5EF4-FFF2-40B4-BE49-F238E27FC236}">
                  <a16:creationId xmlns:a16="http://schemas.microsoft.com/office/drawing/2014/main" id="{19EB534B-18AA-E8CF-528C-F7BB0932FDFD}"/>
                </a:ext>
              </a:extLst>
            </p:cNvPr>
            <p:cNvSpPr/>
            <p:nvPr/>
          </p:nvSpPr>
          <p:spPr>
            <a:xfrm>
              <a:off x="6194375" y="2923150"/>
              <a:ext cx="105425" cy="96775"/>
            </a:xfrm>
            <a:custGeom>
              <a:avLst/>
              <a:gdLst/>
              <a:ahLst/>
              <a:cxnLst/>
              <a:rect l="l" t="t" r="r" b="b"/>
              <a:pathLst>
                <a:path w="4217" h="3871" fill="none" extrusionOk="0">
                  <a:moveTo>
                    <a:pt x="1" y="0"/>
                  </a:moveTo>
                  <a:lnTo>
                    <a:pt x="1" y="0"/>
                  </a:lnTo>
                  <a:lnTo>
                    <a:pt x="104" y="311"/>
                  </a:lnTo>
                  <a:lnTo>
                    <a:pt x="243" y="622"/>
                  </a:lnTo>
                  <a:lnTo>
                    <a:pt x="415" y="899"/>
                  </a:lnTo>
                  <a:lnTo>
                    <a:pt x="588" y="1210"/>
                  </a:lnTo>
                  <a:lnTo>
                    <a:pt x="795" y="1486"/>
                  </a:lnTo>
                  <a:lnTo>
                    <a:pt x="1037" y="1763"/>
                  </a:lnTo>
                  <a:lnTo>
                    <a:pt x="1556" y="2246"/>
                  </a:lnTo>
                  <a:lnTo>
                    <a:pt x="2178" y="2730"/>
                  </a:lnTo>
                  <a:lnTo>
                    <a:pt x="2834" y="3145"/>
                  </a:lnTo>
                  <a:lnTo>
                    <a:pt x="3491" y="3525"/>
                  </a:lnTo>
                  <a:lnTo>
                    <a:pt x="4216" y="3871"/>
                  </a:lnTo>
                  <a:lnTo>
                    <a:pt x="4216" y="3871"/>
                  </a:lnTo>
                  <a:lnTo>
                    <a:pt x="3664" y="3594"/>
                  </a:lnTo>
                  <a:lnTo>
                    <a:pt x="3664" y="3594"/>
                  </a:lnTo>
                  <a:lnTo>
                    <a:pt x="3975" y="2938"/>
                  </a:lnTo>
                  <a:lnTo>
                    <a:pt x="3975" y="2938"/>
                  </a:lnTo>
                  <a:lnTo>
                    <a:pt x="3525" y="2834"/>
                  </a:lnTo>
                  <a:lnTo>
                    <a:pt x="3111" y="2696"/>
                  </a:lnTo>
                  <a:lnTo>
                    <a:pt x="2661" y="2523"/>
                  </a:lnTo>
                  <a:lnTo>
                    <a:pt x="2247" y="2316"/>
                  </a:lnTo>
                  <a:lnTo>
                    <a:pt x="1832" y="2074"/>
                  </a:lnTo>
                  <a:lnTo>
                    <a:pt x="1452" y="1797"/>
                  </a:lnTo>
                  <a:lnTo>
                    <a:pt x="1072" y="1452"/>
                  </a:lnTo>
                  <a:lnTo>
                    <a:pt x="692" y="1106"/>
                  </a:lnTo>
                  <a:lnTo>
                    <a:pt x="692" y="1106"/>
                  </a:lnTo>
                  <a:lnTo>
                    <a:pt x="450" y="830"/>
                  </a:lnTo>
                  <a:lnTo>
                    <a:pt x="277" y="553"/>
                  </a:lnTo>
                  <a:lnTo>
                    <a:pt x="104" y="277"/>
                  </a:lnTo>
                  <a:lnTo>
                    <a:pt x="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64" name="Google Shape;14204;p81">
              <a:extLst>
                <a:ext uri="{FF2B5EF4-FFF2-40B4-BE49-F238E27FC236}">
                  <a16:creationId xmlns:a16="http://schemas.microsoft.com/office/drawing/2014/main" id="{B42489D5-143E-8C61-CB49-1C9C0A5164E5}"/>
                </a:ext>
              </a:extLst>
            </p:cNvPr>
            <p:cNvSpPr/>
            <p:nvPr/>
          </p:nvSpPr>
          <p:spPr>
            <a:xfrm>
              <a:off x="6412075" y="3016450"/>
              <a:ext cx="900" cy="41500"/>
            </a:xfrm>
            <a:custGeom>
              <a:avLst/>
              <a:gdLst/>
              <a:ahLst/>
              <a:cxnLst/>
              <a:rect l="l" t="t" r="r" b="b"/>
              <a:pathLst>
                <a:path w="36" h="1660" extrusionOk="0">
                  <a:moveTo>
                    <a:pt x="35" y="0"/>
                  </a:moveTo>
                  <a:lnTo>
                    <a:pt x="1" y="1659"/>
                  </a:lnTo>
                  <a:lnTo>
                    <a:pt x="35" y="933"/>
                  </a:lnTo>
                  <a:lnTo>
                    <a:pt x="35" y="0"/>
                  </a:lnTo>
                  <a:close/>
                </a:path>
              </a:pathLst>
            </a:custGeom>
            <a:solidFill>
              <a:srgbClr val="B1B1B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65" name="Google Shape;14205;p81">
              <a:extLst>
                <a:ext uri="{FF2B5EF4-FFF2-40B4-BE49-F238E27FC236}">
                  <a16:creationId xmlns:a16="http://schemas.microsoft.com/office/drawing/2014/main" id="{B1995D67-F59A-4211-6AFC-084BAC574A5E}"/>
                </a:ext>
              </a:extLst>
            </p:cNvPr>
            <p:cNvSpPr/>
            <p:nvPr/>
          </p:nvSpPr>
          <p:spPr>
            <a:xfrm>
              <a:off x="6412075" y="3016450"/>
              <a:ext cx="900" cy="41500"/>
            </a:xfrm>
            <a:custGeom>
              <a:avLst/>
              <a:gdLst/>
              <a:ahLst/>
              <a:cxnLst/>
              <a:rect l="l" t="t" r="r" b="b"/>
              <a:pathLst>
                <a:path w="36" h="1660" fill="none" extrusionOk="0">
                  <a:moveTo>
                    <a:pt x="35" y="0"/>
                  </a:moveTo>
                  <a:lnTo>
                    <a:pt x="35" y="0"/>
                  </a:lnTo>
                  <a:lnTo>
                    <a:pt x="35" y="0"/>
                  </a:lnTo>
                  <a:lnTo>
                    <a:pt x="35" y="0"/>
                  </a:lnTo>
                  <a:lnTo>
                    <a:pt x="1" y="1659"/>
                  </a:lnTo>
                  <a:lnTo>
                    <a:pt x="1" y="1659"/>
                  </a:lnTo>
                  <a:lnTo>
                    <a:pt x="35" y="933"/>
                  </a:lnTo>
                  <a:lnTo>
                    <a:pt x="35"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66" name="Google Shape;14206;p81">
              <a:extLst>
                <a:ext uri="{FF2B5EF4-FFF2-40B4-BE49-F238E27FC236}">
                  <a16:creationId xmlns:a16="http://schemas.microsoft.com/office/drawing/2014/main" id="{20247BBB-DD8B-DA22-BB00-06C44C634E5F}"/>
                </a:ext>
              </a:extLst>
            </p:cNvPr>
            <p:cNvSpPr/>
            <p:nvPr/>
          </p:nvSpPr>
          <p:spPr>
            <a:xfrm>
              <a:off x="6391350" y="3016450"/>
              <a:ext cx="21625" cy="41500"/>
            </a:xfrm>
            <a:custGeom>
              <a:avLst/>
              <a:gdLst/>
              <a:ahLst/>
              <a:cxnLst/>
              <a:rect l="l" t="t" r="r" b="b"/>
              <a:pathLst>
                <a:path w="865" h="1660" extrusionOk="0">
                  <a:moveTo>
                    <a:pt x="864" y="0"/>
                  </a:moveTo>
                  <a:lnTo>
                    <a:pt x="104" y="1383"/>
                  </a:lnTo>
                  <a:lnTo>
                    <a:pt x="70" y="1417"/>
                  </a:lnTo>
                  <a:lnTo>
                    <a:pt x="0" y="1452"/>
                  </a:lnTo>
                  <a:lnTo>
                    <a:pt x="830" y="1659"/>
                  </a:lnTo>
                  <a:lnTo>
                    <a:pt x="864" y="0"/>
                  </a:lnTo>
                  <a:close/>
                </a:path>
              </a:pathLst>
            </a:custGeom>
            <a:solidFill>
              <a:srgbClr val="38384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67" name="Google Shape;14207;p81">
              <a:extLst>
                <a:ext uri="{FF2B5EF4-FFF2-40B4-BE49-F238E27FC236}">
                  <a16:creationId xmlns:a16="http://schemas.microsoft.com/office/drawing/2014/main" id="{4EE320EE-AB8A-326A-5581-ED6E18E57119}"/>
                </a:ext>
              </a:extLst>
            </p:cNvPr>
            <p:cNvSpPr/>
            <p:nvPr/>
          </p:nvSpPr>
          <p:spPr>
            <a:xfrm>
              <a:off x="6391350" y="3016450"/>
              <a:ext cx="21625" cy="41500"/>
            </a:xfrm>
            <a:custGeom>
              <a:avLst/>
              <a:gdLst/>
              <a:ahLst/>
              <a:cxnLst/>
              <a:rect l="l" t="t" r="r" b="b"/>
              <a:pathLst>
                <a:path w="865" h="1660" fill="none" extrusionOk="0">
                  <a:moveTo>
                    <a:pt x="864" y="0"/>
                  </a:moveTo>
                  <a:lnTo>
                    <a:pt x="864" y="0"/>
                  </a:lnTo>
                  <a:lnTo>
                    <a:pt x="104" y="1383"/>
                  </a:lnTo>
                  <a:lnTo>
                    <a:pt x="104" y="1383"/>
                  </a:lnTo>
                  <a:lnTo>
                    <a:pt x="70" y="1417"/>
                  </a:lnTo>
                  <a:lnTo>
                    <a:pt x="0" y="1452"/>
                  </a:lnTo>
                  <a:lnTo>
                    <a:pt x="0" y="1452"/>
                  </a:lnTo>
                  <a:lnTo>
                    <a:pt x="830" y="1659"/>
                  </a:lnTo>
                  <a:lnTo>
                    <a:pt x="830" y="1659"/>
                  </a:lnTo>
                  <a:lnTo>
                    <a:pt x="830" y="1659"/>
                  </a:lnTo>
                  <a:lnTo>
                    <a:pt x="830" y="1659"/>
                  </a:lnTo>
                  <a:lnTo>
                    <a:pt x="864"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68" name="Google Shape;14208;p81">
              <a:extLst>
                <a:ext uri="{FF2B5EF4-FFF2-40B4-BE49-F238E27FC236}">
                  <a16:creationId xmlns:a16="http://schemas.microsoft.com/office/drawing/2014/main" id="{6BEDF16E-3DAA-E9BE-2EFF-4043A17EC5D0}"/>
                </a:ext>
              </a:extLst>
            </p:cNvPr>
            <p:cNvSpPr/>
            <p:nvPr/>
          </p:nvSpPr>
          <p:spPr>
            <a:xfrm>
              <a:off x="5885950" y="1997025"/>
              <a:ext cx="484700" cy="919225"/>
            </a:xfrm>
            <a:custGeom>
              <a:avLst/>
              <a:gdLst/>
              <a:ahLst/>
              <a:cxnLst/>
              <a:rect l="l" t="t" r="r" b="b"/>
              <a:pathLst>
                <a:path w="19388" h="36769" extrusionOk="0">
                  <a:moveTo>
                    <a:pt x="8744" y="1"/>
                  </a:moveTo>
                  <a:lnTo>
                    <a:pt x="8502" y="70"/>
                  </a:lnTo>
                  <a:lnTo>
                    <a:pt x="8260" y="208"/>
                  </a:lnTo>
                  <a:lnTo>
                    <a:pt x="8087" y="381"/>
                  </a:lnTo>
                  <a:lnTo>
                    <a:pt x="7880" y="588"/>
                  </a:lnTo>
                  <a:lnTo>
                    <a:pt x="7534" y="1038"/>
                  </a:lnTo>
                  <a:lnTo>
                    <a:pt x="7154" y="1556"/>
                  </a:lnTo>
                  <a:lnTo>
                    <a:pt x="6981" y="1798"/>
                  </a:lnTo>
                  <a:lnTo>
                    <a:pt x="6774" y="2005"/>
                  </a:lnTo>
                  <a:lnTo>
                    <a:pt x="6567" y="2212"/>
                  </a:lnTo>
                  <a:lnTo>
                    <a:pt x="6325" y="2351"/>
                  </a:lnTo>
                  <a:lnTo>
                    <a:pt x="6048" y="2454"/>
                  </a:lnTo>
                  <a:lnTo>
                    <a:pt x="5737" y="2523"/>
                  </a:lnTo>
                  <a:lnTo>
                    <a:pt x="5461" y="2523"/>
                  </a:lnTo>
                  <a:lnTo>
                    <a:pt x="5254" y="2489"/>
                  </a:lnTo>
                  <a:lnTo>
                    <a:pt x="5081" y="2420"/>
                  </a:lnTo>
                  <a:lnTo>
                    <a:pt x="4977" y="2316"/>
                  </a:lnTo>
                  <a:lnTo>
                    <a:pt x="4839" y="2074"/>
                  </a:lnTo>
                  <a:lnTo>
                    <a:pt x="4735" y="1936"/>
                  </a:lnTo>
                  <a:lnTo>
                    <a:pt x="4597" y="1763"/>
                  </a:lnTo>
                  <a:lnTo>
                    <a:pt x="4424" y="1590"/>
                  </a:lnTo>
                  <a:lnTo>
                    <a:pt x="4321" y="1521"/>
                  </a:lnTo>
                  <a:lnTo>
                    <a:pt x="4217" y="1452"/>
                  </a:lnTo>
                  <a:lnTo>
                    <a:pt x="3975" y="1452"/>
                  </a:lnTo>
                  <a:lnTo>
                    <a:pt x="3837" y="1521"/>
                  </a:lnTo>
                  <a:lnTo>
                    <a:pt x="3699" y="1660"/>
                  </a:lnTo>
                  <a:lnTo>
                    <a:pt x="3318" y="2074"/>
                  </a:lnTo>
                  <a:lnTo>
                    <a:pt x="2938" y="2523"/>
                  </a:lnTo>
                  <a:lnTo>
                    <a:pt x="2593" y="2973"/>
                  </a:lnTo>
                  <a:lnTo>
                    <a:pt x="2282" y="3422"/>
                  </a:lnTo>
                  <a:lnTo>
                    <a:pt x="2005" y="3906"/>
                  </a:lnTo>
                  <a:lnTo>
                    <a:pt x="1729" y="4424"/>
                  </a:lnTo>
                  <a:lnTo>
                    <a:pt x="1487" y="4942"/>
                  </a:lnTo>
                  <a:lnTo>
                    <a:pt x="1280" y="5461"/>
                  </a:lnTo>
                  <a:lnTo>
                    <a:pt x="1072" y="6014"/>
                  </a:lnTo>
                  <a:lnTo>
                    <a:pt x="899" y="6567"/>
                  </a:lnTo>
                  <a:lnTo>
                    <a:pt x="727" y="7119"/>
                  </a:lnTo>
                  <a:lnTo>
                    <a:pt x="588" y="7707"/>
                  </a:lnTo>
                  <a:lnTo>
                    <a:pt x="347" y="8882"/>
                  </a:lnTo>
                  <a:lnTo>
                    <a:pt x="174" y="10091"/>
                  </a:lnTo>
                  <a:lnTo>
                    <a:pt x="36" y="11335"/>
                  </a:lnTo>
                  <a:lnTo>
                    <a:pt x="1" y="12614"/>
                  </a:lnTo>
                  <a:lnTo>
                    <a:pt x="1" y="13893"/>
                  </a:lnTo>
                  <a:lnTo>
                    <a:pt x="36" y="15171"/>
                  </a:lnTo>
                  <a:lnTo>
                    <a:pt x="105" y="16484"/>
                  </a:lnTo>
                  <a:lnTo>
                    <a:pt x="243" y="17763"/>
                  </a:lnTo>
                  <a:lnTo>
                    <a:pt x="381" y="19076"/>
                  </a:lnTo>
                  <a:lnTo>
                    <a:pt x="554" y="20320"/>
                  </a:lnTo>
                  <a:lnTo>
                    <a:pt x="761" y="21599"/>
                  </a:lnTo>
                  <a:lnTo>
                    <a:pt x="969" y="22808"/>
                  </a:lnTo>
                  <a:lnTo>
                    <a:pt x="1452" y="25158"/>
                  </a:lnTo>
                  <a:lnTo>
                    <a:pt x="1902" y="27300"/>
                  </a:lnTo>
                  <a:lnTo>
                    <a:pt x="2351" y="29236"/>
                  </a:lnTo>
                  <a:lnTo>
                    <a:pt x="2696" y="30894"/>
                  </a:lnTo>
                  <a:lnTo>
                    <a:pt x="2938" y="32207"/>
                  </a:lnTo>
                  <a:lnTo>
                    <a:pt x="3007" y="32726"/>
                  </a:lnTo>
                  <a:lnTo>
                    <a:pt x="3042" y="33140"/>
                  </a:lnTo>
                  <a:lnTo>
                    <a:pt x="3042" y="33451"/>
                  </a:lnTo>
                  <a:lnTo>
                    <a:pt x="3007" y="33555"/>
                  </a:lnTo>
                  <a:lnTo>
                    <a:pt x="2973" y="33659"/>
                  </a:lnTo>
                  <a:lnTo>
                    <a:pt x="2904" y="33762"/>
                  </a:lnTo>
                  <a:lnTo>
                    <a:pt x="2904" y="33901"/>
                  </a:lnTo>
                  <a:lnTo>
                    <a:pt x="2904" y="34039"/>
                  </a:lnTo>
                  <a:lnTo>
                    <a:pt x="2973" y="34177"/>
                  </a:lnTo>
                  <a:lnTo>
                    <a:pt x="3111" y="34315"/>
                  </a:lnTo>
                  <a:lnTo>
                    <a:pt x="3249" y="34488"/>
                  </a:lnTo>
                  <a:lnTo>
                    <a:pt x="3629" y="34799"/>
                  </a:lnTo>
                  <a:lnTo>
                    <a:pt x="4148" y="35110"/>
                  </a:lnTo>
                  <a:lnTo>
                    <a:pt x="4804" y="35387"/>
                  </a:lnTo>
                  <a:lnTo>
                    <a:pt x="5530" y="35698"/>
                  </a:lnTo>
                  <a:lnTo>
                    <a:pt x="6325" y="35974"/>
                  </a:lnTo>
                  <a:lnTo>
                    <a:pt x="7189" y="36216"/>
                  </a:lnTo>
                  <a:lnTo>
                    <a:pt x="8087" y="36423"/>
                  </a:lnTo>
                  <a:lnTo>
                    <a:pt x="9055" y="36596"/>
                  </a:lnTo>
                  <a:lnTo>
                    <a:pt x="10022" y="36700"/>
                  </a:lnTo>
                  <a:lnTo>
                    <a:pt x="10955" y="36769"/>
                  </a:lnTo>
                  <a:lnTo>
                    <a:pt x="11923" y="36769"/>
                  </a:lnTo>
                  <a:lnTo>
                    <a:pt x="12821" y="36700"/>
                  </a:lnTo>
                  <a:lnTo>
                    <a:pt x="13271" y="36631"/>
                  </a:lnTo>
                  <a:lnTo>
                    <a:pt x="13720" y="36527"/>
                  </a:lnTo>
                  <a:lnTo>
                    <a:pt x="14273" y="36389"/>
                  </a:lnTo>
                  <a:lnTo>
                    <a:pt x="14791" y="36181"/>
                  </a:lnTo>
                  <a:lnTo>
                    <a:pt x="15275" y="35974"/>
                  </a:lnTo>
                  <a:lnTo>
                    <a:pt x="15724" y="35732"/>
                  </a:lnTo>
                  <a:lnTo>
                    <a:pt x="16139" y="35490"/>
                  </a:lnTo>
                  <a:lnTo>
                    <a:pt x="16519" y="35214"/>
                  </a:lnTo>
                  <a:lnTo>
                    <a:pt x="16864" y="34903"/>
                  </a:lnTo>
                  <a:lnTo>
                    <a:pt x="17210" y="34592"/>
                  </a:lnTo>
                  <a:lnTo>
                    <a:pt x="17487" y="34281"/>
                  </a:lnTo>
                  <a:lnTo>
                    <a:pt x="17763" y="33935"/>
                  </a:lnTo>
                  <a:lnTo>
                    <a:pt x="18005" y="33590"/>
                  </a:lnTo>
                  <a:lnTo>
                    <a:pt x="18212" y="33210"/>
                  </a:lnTo>
                  <a:lnTo>
                    <a:pt x="18420" y="32829"/>
                  </a:lnTo>
                  <a:lnTo>
                    <a:pt x="18592" y="32484"/>
                  </a:lnTo>
                  <a:lnTo>
                    <a:pt x="18869" y="31724"/>
                  </a:lnTo>
                  <a:lnTo>
                    <a:pt x="19076" y="30963"/>
                  </a:lnTo>
                  <a:lnTo>
                    <a:pt x="19214" y="30238"/>
                  </a:lnTo>
                  <a:lnTo>
                    <a:pt x="19318" y="29547"/>
                  </a:lnTo>
                  <a:lnTo>
                    <a:pt x="19353" y="28890"/>
                  </a:lnTo>
                  <a:lnTo>
                    <a:pt x="19387" y="28303"/>
                  </a:lnTo>
                  <a:lnTo>
                    <a:pt x="19353" y="27784"/>
                  </a:lnTo>
                  <a:lnTo>
                    <a:pt x="19283" y="27093"/>
                  </a:lnTo>
                  <a:lnTo>
                    <a:pt x="18592" y="22946"/>
                  </a:lnTo>
                  <a:lnTo>
                    <a:pt x="17176" y="15137"/>
                  </a:lnTo>
                  <a:lnTo>
                    <a:pt x="15171" y="4113"/>
                  </a:lnTo>
                  <a:lnTo>
                    <a:pt x="14618" y="3837"/>
                  </a:lnTo>
                  <a:lnTo>
                    <a:pt x="14031" y="3491"/>
                  </a:lnTo>
                  <a:lnTo>
                    <a:pt x="13271" y="3007"/>
                  </a:lnTo>
                  <a:lnTo>
                    <a:pt x="12372" y="2420"/>
                  </a:lnTo>
                  <a:lnTo>
                    <a:pt x="11370" y="1694"/>
                  </a:lnTo>
                  <a:lnTo>
                    <a:pt x="10333" y="899"/>
                  </a:lnTo>
                  <a:lnTo>
                    <a:pt x="9297" y="35"/>
                  </a:lnTo>
                  <a:lnTo>
                    <a:pt x="9020" y="1"/>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69" name="Google Shape;14209;p81">
              <a:extLst>
                <a:ext uri="{FF2B5EF4-FFF2-40B4-BE49-F238E27FC236}">
                  <a16:creationId xmlns:a16="http://schemas.microsoft.com/office/drawing/2014/main" id="{D1745183-A4E8-143B-3590-1CC90A40C047}"/>
                </a:ext>
              </a:extLst>
            </p:cNvPr>
            <p:cNvSpPr/>
            <p:nvPr/>
          </p:nvSpPr>
          <p:spPr>
            <a:xfrm>
              <a:off x="5885950" y="1997025"/>
              <a:ext cx="484700" cy="919225"/>
            </a:xfrm>
            <a:custGeom>
              <a:avLst/>
              <a:gdLst/>
              <a:ahLst/>
              <a:cxnLst/>
              <a:rect l="l" t="t" r="r" b="b"/>
              <a:pathLst>
                <a:path w="19388" h="36769" fill="none" extrusionOk="0">
                  <a:moveTo>
                    <a:pt x="9297" y="35"/>
                  </a:moveTo>
                  <a:lnTo>
                    <a:pt x="9297" y="35"/>
                  </a:lnTo>
                  <a:lnTo>
                    <a:pt x="9020" y="1"/>
                  </a:lnTo>
                  <a:lnTo>
                    <a:pt x="8744" y="1"/>
                  </a:lnTo>
                  <a:lnTo>
                    <a:pt x="8502" y="70"/>
                  </a:lnTo>
                  <a:lnTo>
                    <a:pt x="8260" y="208"/>
                  </a:lnTo>
                  <a:lnTo>
                    <a:pt x="8087" y="381"/>
                  </a:lnTo>
                  <a:lnTo>
                    <a:pt x="7880" y="588"/>
                  </a:lnTo>
                  <a:lnTo>
                    <a:pt x="7534" y="1038"/>
                  </a:lnTo>
                  <a:lnTo>
                    <a:pt x="7154" y="1556"/>
                  </a:lnTo>
                  <a:lnTo>
                    <a:pt x="6981" y="1798"/>
                  </a:lnTo>
                  <a:lnTo>
                    <a:pt x="6774" y="2005"/>
                  </a:lnTo>
                  <a:lnTo>
                    <a:pt x="6567" y="2212"/>
                  </a:lnTo>
                  <a:lnTo>
                    <a:pt x="6325" y="2351"/>
                  </a:lnTo>
                  <a:lnTo>
                    <a:pt x="6048" y="2454"/>
                  </a:lnTo>
                  <a:lnTo>
                    <a:pt x="5737" y="2523"/>
                  </a:lnTo>
                  <a:lnTo>
                    <a:pt x="5737" y="2523"/>
                  </a:lnTo>
                  <a:lnTo>
                    <a:pt x="5461" y="2523"/>
                  </a:lnTo>
                  <a:lnTo>
                    <a:pt x="5254" y="2489"/>
                  </a:lnTo>
                  <a:lnTo>
                    <a:pt x="5081" y="2420"/>
                  </a:lnTo>
                  <a:lnTo>
                    <a:pt x="4977" y="2316"/>
                  </a:lnTo>
                  <a:lnTo>
                    <a:pt x="4839" y="2074"/>
                  </a:lnTo>
                  <a:lnTo>
                    <a:pt x="4735" y="1936"/>
                  </a:lnTo>
                  <a:lnTo>
                    <a:pt x="4597" y="1763"/>
                  </a:lnTo>
                  <a:lnTo>
                    <a:pt x="4597" y="1763"/>
                  </a:lnTo>
                  <a:lnTo>
                    <a:pt x="4424" y="1590"/>
                  </a:lnTo>
                  <a:lnTo>
                    <a:pt x="4321" y="1521"/>
                  </a:lnTo>
                  <a:lnTo>
                    <a:pt x="4217" y="1452"/>
                  </a:lnTo>
                  <a:lnTo>
                    <a:pt x="4079" y="1452"/>
                  </a:lnTo>
                  <a:lnTo>
                    <a:pt x="3975" y="1452"/>
                  </a:lnTo>
                  <a:lnTo>
                    <a:pt x="3837" y="1521"/>
                  </a:lnTo>
                  <a:lnTo>
                    <a:pt x="3699" y="1660"/>
                  </a:lnTo>
                  <a:lnTo>
                    <a:pt x="3699" y="1660"/>
                  </a:lnTo>
                  <a:lnTo>
                    <a:pt x="3318" y="2074"/>
                  </a:lnTo>
                  <a:lnTo>
                    <a:pt x="2938" y="2523"/>
                  </a:lnTo>
                  <a:lnTo>
                    <a:pt x="2593" y="2973"/>
                  </a:lnTo>
                  <a:lnTo>
                    <a:pt x="2282" y="3422"/>
                  </a:lnTo>
                  <a:lnTo>
                    <a:pt x="2005" y="3906"/>
                  </a:lnTo>
                  <a:lnTo>
                    <a:pt x="1729" y="4424"/>
                  </a:lnTo>
                  <a:lnTo>
                    <a:pt x="1487" y="4942"/>
                  </a:lnTo>
                  <a:lnTo>
                    <a:pt x="1280" y="5461"/>
                  </a:lnTo>
                  <a:lnTo>
                    <a:pt x="1072" y="6014"/>
                  </a:lnTo>
                  <a:lnTo>
                    <a:pt x="899" y="6567"/>
                  </a:lnTo>
                  <a:lnTo>
                    <a:pt x="727" y="7119"/>
                  </a:lnTo>
                  <a:lnTo>
                    <a:pt x="588" y="7707"/>
                  </a:lnTo>
                  <a:lnTo>
                    <a:pt x="347" y="8882"/>
                  </a:lnTo>
                  <a:lnTo>
                    <a:pt x="174" y="10091"/>
                  </a:lnTo>
                  <a:lnTo>
                    <a:pt x="36" y="11335"/>
                  </a:lnTo>
                  <a:lnTo>
                    <a:pt x="1" y="12614"/>
                  </a:lnTo>
                  <a:lnTo>
                    <a:pt x="1" y="13893"/>
                  </a:lnTo>
                  <a:lnTo>
                    <a:pt x="36" y="15171"/>
                  </a:lnTo>
                  <a:lnTo>
                    <a:pt x="105" y="16484"/>
                  </a:lnTo>
                  <a:lnTo>
                    <a:pt x="243" y="17763"/>
                  </a:lnTo>
                  <a:lnTo>
                    <a:pt x="381" y="19076"/>
                  </a:lnTo>
                  <a:lnTo>
                    <a:pt x="554" y="20320"/>
                  </a:lnTo>
                  <a:lnTo>
                    <a:pt x="761" y="21599"/>
                  </a:lnTo>
                  <a:lnTo>
                    <a:pt x="969" y="22808"/>
                  </a:lnTo>
                  <a:lnTo>
                    <a:pt x="1452" y="25158"/>
                  </a:lnTo>
                  <a:lnTo>
                    <a:pt x="1902" y="27300"/>
                  </a:lnTo>
                  <a:lnTo>
                    <a:pt x="2351" y="29236"/>
                  </a:lnTo>
                  <a:lnTo>
                    <a:pt x="2696" y="30894"/>
                  </a:lnTo>
                  <a:lnTo>
                    <a:pt x="2938" y="32207"/>
                  </a:lnTo>
                  <a:lnTo>
                    <a:pt x="3007" y="32726"/>
                  </a:lnTo>
                  <a:lnTo>
                    <a:pt x="3042" y="33140"/>
                  </a:lnTo>
                  <a:lnTo>
                    <a:pt x="3042" y="33451"/>
                  </a:lnTo>
                  <a:lnTo>
                    <a:pt x="3007" y="33555"/>
                  </a:lnTo>
                  <a:lnTo>
                    <a:pt x="2973" y="33659"/>
                  </a:lnTo>
                  <a:lnTo>
                    <a:pt x="2973" y="33659"/>
                  </a:lnTo>
                  <a:lnTo>
                    <a:pt x="2904" y="33762"/>
                  </a:lnTo>
                  <a:lnTo>
                    <a:pt x="2904" y="33901"/>
                  </a:lnTo>
                  <a:lnTo>
                    <a:pt x="2904" y="34039"/>
                  </a:lnTo>
                  <a:lnTo>
                    <a:pt x="2973" y="34177"/>
                  </a:lnTo>
                  <a:lnTo>
                    <a:pt x="3111" y="34315"/>
                  </a:lnTo>
                  <a:lnTo>
                    <a:pt x="3249" y="34488"/>
                  </a:lnTo>
                  <a:lnTo>
                    <a:pt x="3629" y="34799"/>
                  </a:lnTo>
                  <a:lnTo>
                    <a:pt x="4148" y="35110"/>
                  </a:lnTo>
                  <a:lnTo>
                    <a:pt x="4804" y="35387"/>
                  </a:lnTo>
                  <a:lnTo>
                    <a:pt x="5530" y="35698"/>
                  </a:lnTo>
                  <a:lnTo>
                    <a:pt x="6325" y="35974"/>
                  </a:lnTo>
                  <a:lnTo>
                    <a:pt x="7189" y="36216"/>
                  </a:lnTo>
                  <a:lnTo>
                    <a:pt x="8087" y="36423"/>
                  </a:lnTo>
                  <a:lnTo>
                    <a:pt x="9055" y="36596"/>
                  </a:lnTo>
                  <a:lnTo>
                    <a:pt x="10022" y="36700"/>
                  </a:lnTo>
                  <a:lnTo>
                    <a:pt x="10955" y="36769"/>
                  </a:lnTo>
                  <a:lnTo>
                    <a:pt x="11923" y="36769"/>
                  </a:lnTo>
                  <a:lnTo>
                    <a:pt x="12821" y="36700"/>
                  </a:lnTo>
                  <a:lnTo>
                    <a:pt x="13271" y="36631"/>
                  </a:lnTo>
                  <a:lnTo>
                    <a:pt x="13720" y="36527"/>
                  </a:lnTo>
                  <a:lnTo>
                    <a:pt x="13720" y="36527"/>
                  </a:lnTo>
                  <a:lnTo>
                    <a:pt x="14273" y="36389"/>
                  </a:lnTo>
                  <a:lnTo>
                    <a:pt x="14791" y="36181"/>
                  </a:lnTo>
                  <a:lnTo>
                    <a:pt x="15275" y="35974"/>
                  </a:lnTo>
                  <a:lnTo>
                    <a:pt x="15724" y="35732"/>
                  </a:lnTo>
                  <a:lnTo>
                    <a:pt x="16139" y="35490"/>
                  </a:lnTo>
                  <a:lnTo>
                    <a:pt x="16519" y="35214"/>
                  </a:lnTo>
                  <a:lnTo>
                    <a:pt x="16864" y="34903"/>
                  </a:lnTo>
                  <a:lnTo>
                    <a:pt x="17210" y="34592"/>
                  </a:lnTo>
                  <a:lnTo>
                    <a:pt x="17487" y="34281"/>
                  </a:lnTo>
                  <a:lnTo>
                    <a:pt x="17763" y="33935"/>
                  </a:lnTo>
                  <a:lnTo>
                    <a:pt x="18005" y="33590"/>
                  </a:lnTo>
                  <a:lnTo>
                    <a:pt x="18212" y="33210"/>
                  </a:lnTo>
                  <a:lnTo>
                    <a:pt x="18420" y="32829"/>
                  </a:lnTo>
                  <a:lnTo>
                    <a:pt x="18592" y="32484"/>
                  </a:lnTo>
                  <a:lnTo>
                    <a:pt x="18869" y="31724"/>
                  </a:lnTo>
                  <a:lnTo>
                    <a:pt x="19076" y="30963"/>
                  </a:lnTo>
                  <a:lnTo>
                    <a:pt x="19214" y="30238"/>
                  </a:lnTo>
                  <a:lnTo>
                    <a:pt x="19318" y="29547"/>
                  </a:lnTo>
                  <a:lnTo>
                    <a:pt x="19353" y="28890"/>
                  </a:lnTo>
                  <a:lnTo>
                    <a:pt x="19387" y="28303"/>
                  </a:lnTo>
                  <a:lnTo>
                    <a:pt x="19353" y="27784"/>
                  </a:lnTo>
                  <a:lnTo>
                    <a:pt x="19283" y="27093"/>
                  </a:lnTo>
                  <a:lnTo>
                    <a:pt x="19283" y="27093"/>
                  </a:lnTo>
                  <a:lnTo>
                    <a:pt x="18592" y="22946"/>
                  </a:lnTo>
                  <a:lnTo>
                    <a:pt x="17176" y="15137"/>
                  </a:lnTo>
                  <a:lnTo>
                    <a:pt x="15171" y="4113"/>
                  </a:lnTo>
                  <a:lnTo>
                    <a:pt x="15171" y="4113"/>
                  </a:lnTo>
                  <a:lnTo>
                    <a:pt x="14618" y="3837"/>
                  </a:lnTo>
                  <a:lnTo>
                    <a:pt x="14031" y="3491"/>
                  </a:lnTo>
                  <a:lnTo>
                    <a:pt x="13271" y="3007"/>
                  </a:lnTo>
                  <a:lnTo>
                    <a:pt x="12372" y="2420"/>
                  </a:lnTo>
                  <a:lnTo>
                    <a:pt x="11370" y="1694"/>
                  </a:lnTo>
                  <a:lnTo>
                    <a:pt x="10333" y="899"/>
                  </a:lnTo>
                  <a:lnTo>
                    <a:pt x="9297" y="35"/>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70" name="Google Shape;14210;p81">
              <a:extLst>
                <a:ext uri="{FF2B5EF4-FFF2-40B4-BE49-F238E27FC236}">
                  <a16:creationId xmlns:a16="http://schemas.microsoft.com/office/drawing/2014/main" id="{65C91C28-DBDE-62DF-CEDF-0608E29634C2}"/>
                </a:ext>
              </a:extLst>
            </p:cNvPr>
            <p:cNvSpPr/>
            <p:nvPr/>
          </p:nvSpPr>
          <p:spPr>
            <a:xfrm>
              <a:off x="5226800" y="1711950"/>
              <a:ext cx="787900" cy="1279475"/>
            </a:xfrm>
            <a:custGeom>
              <a:avLst/>
              <a:gdLst/>
              <a:ahLst/>
              <a:cxnLst/>
              <a:rect l="l" t="t" r="r" b="b"/>
              <a:pathLst>
                <a:path w="31516" h="51179" extrusionOk="0">
                  <a:moveTo>
                    <a:pt x="2489" y="0"/>
                  </a:moveTo>
                  <a:lnTo>
                    <a:pt x="2385" y="69"/>
                  </a:lnTo>
                  <a:lnTo>
                    <a:pt x="2143" y="208"/>
                  </a:lnTo>
                  <a:lnTo>
                    <a:pt x="1867" y="449"/>
                  </a:lnTo>
                  <a:lnTo>
                    <a:pt x="1625" y="760"/>
                  </a:lnTo>
                  <a:lnTo>
                    <a:pt x="1348" y="1141"/>
                  </a:lnTo>
                  <a:lnTo>
                    <a:pt x="1106" y="1590"/>
                  </a:lnTo>
                  <a:lnTo>
                    <a:pt x="864" y="2039"/>
                  </a:lnTo>
                  <a:lnTo>
                    <a:pt x="657" y="2523"/>
                  </a:lnTo>
                  <a:lnTo>
                    <a:pt x="450" y="3007"/>
                  </a:lnTo>
                  <a:lnTo>
                    <a:pt x="277" y="3456"/>
                  </a:lnTo>
                  <a:lnTo>
                    <a:pt x="139" y="3905"/>
                  </a:lnTo>
                  <a:lnTo>
                    <a:pt x="35" y="4320"/>
                  </a:lnTo>
                  <a:lnTo>
                    <a:pt x="0" y="4665"/>
                  </a:lnTo>
                  <a:lnTo>
                    <a:pt x="0" y="4942"/>
                  </a:lnTo>
                  <a:lnTo>
                    <a:pt x="35" y="5080"/>
                  </a:lnTo>
                  <a:lnTo>
                    <a:pt x="70" y="5149"/>
                  </a:lnTo>
                  <a:lnTo>
                    <a:pt x="242" y="5322"/>
                  </a:lnTo>
                  <a:lnTo>
                    <a:pt x="588" y="5667"/>
                  </a:lnTo>
                  <a:lnTo>
                    <a:pt x="1694" y="6670"/>
                  </a:lnTo>
                  <a:lnTo>
                    <a:pt x="3283" y="8052"/>
                  </a:lnTo>
                  <a:lnTo>
                    <a:pt x="5149" y="9641"/>
                  </a:lnTo>
                  <a:lnTo>
                    <a:pt x="7085" y="11266"/>
                  </a:lnTo>
                  <a:lnTo>
                    <a:pt x="8951" y="12786"/>
                  </a:lnTo>
                  <a:lnTo>
                    <a:pt x="10575" y="14030"/>
                  </a:lnTo>
                  <a:lnTo>
                    <a:pt x="11231" y="14479"/>
                  </a:lnTo>
                  <a:lnTo>
                    <a:pt x="11784" y="14825"/>
                  </a:lnTo>
                  <a:lnTo>
                    <a:pt x="12406" y="15240"/>
                  </a:lnTo>
                  <a:lnTo>
                    <a:pt x="13166" y="15758"/>
                  </a:lnTo>
                  <a:lnTo>
                    <a:pt x="14860" y="16967"/>
                  </a:lnTo>
                  <a:lnTo>
                    <a:pt x="16691" y="18350"/>
                  </a:lnTo>
                  <a:lnTo>
                    <a:pt x="18557" y="19801"/>
                  </a:lnTo>
                  <a:lnTo>
                    <a:pt x="21840" y="22393"/>
                  </a:lnTo>
                  <a:lnTo>
                    <a:pt x="23602" y="23810"/>
                  </a:lnTo>
                  <a:lnTo>
                    <a:pt x="23741" y="23982"/>
                  </a:lnTo>
                  <a:lnTo>
                    <a:pt x="23948" y="24224"/>
                  </a:lnTo>
                  <a:lnTo>
                    <a:pt x="24121" y="24535"/>
                  </a:lnTo>
                  <a:lnTo>
                    <a:pt x="24328" y="24915"/>
                  </a:lnTo>
                  <a:lnTo>
                    <a:pt x="24743" y="25848"/>
                  </a:lnTo>
                  <a:lnTo>
                    <a:pt x="25123" y="26885"/>
                  </a:lnTo>
                  <a:lnTo>
                    <a:pt x="25469" y="27991"/>
                  </a:lnTo>
                  <a:lnTo>
                    <a:pt x="25745" y="29028"/>
                  </a:lnTo>
                  <a:lnTo>
                    <a:pt x="25814" y="29511"/>
                  </a:lnTo>
                  <a:lnTo>
                    <a:pt x="25883" y="29961"/>
                  </a:lnTo>
                  <a:lnTo>
                    <a:pt x="25883" y="30375"/>
                  </a:lnTo>
                  <a:lnTo>
                    <a:pt x="25883" y="30721"/>
                  </a:lnTo>
                  <a:lnTo>
                    <a:pt x="25572" y="32587"/>
                  </a:lnTo>
                  <a:lnTo>
                    <a:pt x="25434" y="33451"/>
                  </a:lnTo>
                  <a:lnTo>
                    <a:pt x="25330" y="34176"/>
                  </a:lnTo>
                  <a:lnTo>
                    <a:pt x="25158" y="35421"/>
                  </a:lnTo>
                  <a:lnTo>
                    <a:pt x="24916" y="37183"/>
                  </a:lnTo>
                  <a:lnTo>
                    <a:pt x="24674" y="39325"/>
                  </a:lnTo>
                  <a:lnTo>
                    <a:pt x="24570" y="40500"/>
                  </a:lnTo>
                  <a:lnTo>
                    <a:pt x="24501" y="41675"/>
                  </a:lnTo>
                  <a:lnTo>
                    <a:pt x="24466" y="42885"/>
                  </a:lnTo>
                  <a:lnTo>
                    <a:pt x="24466" y="44060"/>
                  </a:lnTo>
                  <a:lnTo>
                    <a:pt x="24535" y="45235"/>
                  </a:lnTo>
                  <a:lnTo>
                    <a:pt x="24674" y="46306"/>
                  </a:lnTo>
                  <a:lnTo>
                    <a:pt x="24777" y="46824"/>
                  </a:lnTo>
                  <a:lnTo>
                    <a:pt x="24881" y="47342"/>
                  </a:lnTo>
                  <a:lnTo>
                    <a:pt x="25019" y="47792"/>
                  </a:lnTo>
                  <a:lnTo>
                    <a:pt x="25192" y="48241"/>
                  </a:lnTo>
                  <a:lnTo>
                    <a:pt x="25365" y="48656"/>
                  </a:lnTo>
                  <a:lnTo>
                    <a:pt x="25572" y="49036"/>
                  </a:lnTo>
                  <a:lnTo>
                    <a:pt x="25814" y="49381"/>
                  </a:lnTo>
                  <a:lnTo>
                    <a:pt x="26091" y="49692"/>
                  </a:lnTo>
                  <a:lnTo>
                    <a:pt x="26436" y="50038"/>
                  </a:lnTo>
                  <a:lnTo>
                    <a:pt x="26782" y="50349"/>
                  </a:lnTo>
                  <a:lnTo>
                    <a:pt x="27093" y="50591"/>
                  </a:lnTo>
                  <a:lnTo>
                    <a:pt x="27438" y="50764"/>
                  </a:lnTo>
                  <a:lnTo>
                    <a:pt x="27749" y="50936"/>
                  </a:lnTo>
                  <a:lnTo>
                    <a:pt x="28060" y="51040"/>
                  </a:lnTo>
                  <a:lnTo>
                    <a:pt x="28337" y="51144"/>
                  </a:lnTo>
                  <a:lnTo>
                    <a:pt x="28648" y="51178"/>
                  </a:lnTo>
                  <a:lnTo>
                    <a:pt x="28924" y="51178"/>
                  </a:lnTo>
                  <a:lnTo>
                    <a:pt x="29201" y="51144"/>
                  </a:lnTo>
                  <a:lnTo>
                    <a:pt x="29443" y="51109"/>
                  </a:lnTo>
                  <a:lnTo>
                    <a:pt x="29719" y="51005"/>
                  </a:lnTo>
                  <a:lnTo>
                    <a:pt x="29961" y="50902"/>
                  </a:lnTo>
                  <a:lnTo>
                    <a:pt x="30203" y="50764"/>
                  </a:lnTo>
                  <a:lnTo>
                    <a:pt x="30410" y="50591"/>
                  </a:lnTo>
                  <a:lnTo>
                    <a:pt x="30617" y="50418"/>
                  </a:lnTo>
                  <a:lnTo>
                    <a:pt x="30790" y="50245"/>
                  </a:lnTo>
                  <a:lnTo>
                    <a:pt x="30963" y="50038"/>
                  </a:lnTo>
                  <a:lnTo>
                    <a:pt x="31067" y="49761"/>
                  </a:lnTo>
                  <a:lnTo>
                    <a:pt x="31170" y="49485"/>
                  </a:lnTo>
                  <a:lnTo>
                    <a:pt x="31274" y="49174"/>
                  </a:lnTo>
                  <a:lnTo>
                    <a:pt x="31343" y="48828"/>
                  </a:lnTo>
                  <a:lnTo>
                    <a:pt x="31447" y="48034"/>
                  </a:lnTo>
                  <a:lnTo>
                    <a:pt x="31516" y="47135"/>
                  </a:lnTo>
                  <a:lnTo>
                    <a:pt x="31516" y="46168"/>
                  </a:lnTo>
                  <a:lnTo>
                    <a:pt x="31481" y="45062"/>
                  </a:lnTo>
                  <a:lnTo>
                    <a:pt x="31447" y="43921"/>
                  </a:lnTo>
                  <a:lnTo>
                    <a:pt x="31309" y="41399"/>
                  </a:lnTo>
                  <a:lnTo>
                    <a:pt x="31205" y="38669"/>
                  </a:lnTo>
                  <a:lnTo>
                    <a:pt x="31205" y="37252"/>
                  </a:lnTo>
                  <a:lnTo>
                    <a:pt x="31205" y="35801"/>
                  </a:lnTo>
                  <a:lnTo>
                    <a:pt x="31274" y="34349"/>
                  </a:lnTo>
                  <a:lnTo>
                    <a:pt x="31378" y="32863"/>
                  </a:lnTo>
                  <a:lnTo>
                    <a:pt x="31447" y="31758"/>
                  </a:lnTo>
                  <a:lnTo>
                    <a:pt x="31447" y="30721"/>
                  </a:lnTo>
                  <a:lnTo>
                    <a:pt x="31378" y="29719"/>
                  </a:lnTo>
                  <a:lnTo>
                    <a:pt x="31274" y="28751"/>
                  </a:lnTo>
                  <a:lnTo>
                    <a:pt x="31136" y="27818"/>
                  </a:lnTo>
                  <a:lnTo>
                    <a:pt x="30928" y="26920"/>
                  </a:lnTo>
                  <a:lnTo>
                    <a:pt x="30548" y="25192"/>
                  </a:lnTo>
                  <a:lnTo>
                    <a:pt x="30134" y="23499"/>
                  </a:lnTo>
                  <a:lnTo>
                    <a:pt x="29961" y="22669"/>
                  </a:lnTo>
                  <a:lnTo>
                    <a:pt x="29823" y="21840"/>
                  </a:lnTo>
                  <a:lnTo>
                    <a:pt x="29719" y="20976"/>
                  </a:lnTo>
                  <a:lnTo>
                    <a:pt x="29684" y="20112"/>
                  </a:lnTo>
                  <a:lnTo>
                    <a:pt x="29684" y="19214"/>
                  </a:lnTo>
                  <a:lnTo>
                    <a:pt x="29788" y="18281"/>
                  </a:lnTo>
                  <a:lnTo>
                    <a:pt x="29926" y="16967"/>
                  </a:lnTo>
                  <a:lnTo>
                    <a:pt x="30030" y="15862"/>
                  </a:lnTo>
                  <a:lnTo>
                    <a:pt x="30065" y="14963"/>
                  </a:lnTo>
                  <a:lnTo>
                    <a:pt x="30099" y="14272"/>
                  </a:lnTo>
                  <a:lnTo>
                    <a:pt x="30065" y="13339"/>
                  </a:lnTo>
                  <a:lnTo>
                    <a:pt x="30065" y="13063"/>
                  </a:lnTo>
                  <a:lnTo>
                    <a:pt x="29408" y="13235"/>
                  </a:lnTo>
                  <a:lnTo>
                    <a:pt x="28786" y="13374"/>
                  </a:lnTo>
                  <a:lnTo>
                    <a:pt x="28164" y="13477"/>
                  </a:lnTo>
                  <a:lnTo>
                    <a:pt x="27542" y="13581"/>
                  </a:lnTo>
                  <a:lnTo>
                    <a:pt x="26954" y="13615"/>
                  </a:lnTo>
                  <a:lnTo>
                    <a:pt x="26367" y="13650"/>
                  </a:lnTo>
                  <a:lnTo>
                    <a:pt x="25192" y="13650"/>
                  </a:lnTo>
                  <a:lnTo>
                    <a:pt x="24639" y="13581"/>
                  </a:lnTo>
                  <a:lnTo>
                    <a:pt x="24052" y="13512"/>
                  </a:lnTo>
                  <a:lnTo>
                    <a:pt x="22980" y="13339"/>
                  </a:lnTo>
                  <a:lnTo>
                    <a:pt x="21909" y="13097"/>
                  </a:lnTo>
                  <a:lnTo>
                    <a:pt x="20873" y="12752"/>
                  </a:lnTo>
                  <a:lnTo>
                    <a:pt x="19905" y="12406"/>
                  </a:lnTo>
                  <a:lnTo>
                    <a:pt x="18937" y="11991"/>
                  </a:lnTo>
                  <a:lnTo>
                    <a:pt x="18004" y="11577"/>
                  </a:lnTo>
                  <a:lnTo>
                    <a:pt x="17140" y="11127"/>
                  </a:lnTo>
                  <a:lnTo>
                    <a:pt x="15482" y="10194"/>
                  </a:lnTo>
                  <a:lnTo>
                    <a:pt x="13996" y="9365"/>
                  </a:lnTo>
                  <a:lnTo>
                    <a:pt x="13616" y="9089"/>
                  </a:lnTo>
                  <a:lnTo>
                    <a:pt x="13097" y="8708"/>
                  </a:lnTo>
                  <a:lnTo>
                    <a:pt x="11681" y="7603"/>
                  </a:lnTo>
                  <a:lnTo>
                    <a:pt x="9987" y="6186"/>
                  </a:lnTo>
                  <a:lnTo>
                    <a:pt x="8156" y="4596"/>
                  </a:lnTo>
                  <a:lnTo>
                    <a:pt x="4735" y="1659"/>
                  </a:lnTo>
                  <a:lnTo>
                    <a:pt x="3491" y="622"/>
                  </a:lnTo>
                  <a:lnTo>
                    <a:pt x="2800" y="69"/>
                  </a:lnTo>
                  <a:lnTo>
                    <a:pt x="2696" y="35"/>
                  </a:lnTo>
                  <a:lnTo>
                    <a:pt x="2592" y="0"/>
                  </a:lnTo>
                  <a:close/>
                </a:path>
              </a:pathLst>
            </a:custGeom>
            <a:solidFill>
              <a:srgbClr val="DB536A"/>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71" name="Google Shape;14211;p81">
              <a:extLst>
                <a:ext uri="{FF2B5EF4-FFF2-40B4-BE49-F238E27FC236}">
                  <a16:creationId xmlns:a16="http://schemas.microsoft.com/office/drawing/2014/main" id="{62DA2B43-019B-1492-A42D-B643CD117373}"/>
                </a:ext>
              </a:extLst>
            </p:cNvPr>
            <p:cNvSpPr/>
            <p:nvPr/>
          </p:nvSpPr>
          <p:spPr>
            <a:xfrm>
              <a:off x="6280775" y="3011275"/>
              <a:ext cx="110600" cy="54450"/>
            </a:xfrm>
            <a:custGeom>
              <a:avLst/>
              <a:gdLst/>
              <a:ahLst/>
              <a:cxnLst/>
              <a:rect l="l" t="t" r="r" b="b"/>
              <a:pathLst>
                <a:path w="4424" h="2178" extrusionOk="0">
                  <a:moveTo>
                    <a:pt x="484" y="0"/>
                  </a:moveTo>
                  <a:lnTo>
                    <a:pt x="380" y="104"/>
                  </a:lnTo>
                  <a:lnTo>
                    <a:pt x="311" y="173"/>
                  </a:lnTo>
                  <a:lnTo>
                    <a:pt x="104" y="276"/>
                  </a:lnTo>
                  <a:lnTo>
                    <a:pt x="35" y="346"/>
                  </a:lnTo>
                  <a:lnTo>
                    <a:pt x="0" y="380"/>
                  </a:lnTo>
                  <a:lnTo>
                    <a:pt x="0" y="415"/>
                  </a:lnTo>
                  <a:lnTo>
                    <a:pt x="69" y="484"/>
                  </a:lnTo>
                  <a:lnTo>
                    <a:pt x="277" y="622"/>
                  </a:lnTo>
                  <a:lnTo>
                    <a:pt x="691" y="829"/>
                  </a:lnTo>
                  <a:lnTo>
                    <a:pt x="1832" y="1348"/>
                  </a:lnTo>
                  <a:lnTo>
                    <a:pt x="3387" y="2073"/>
                  </a:lnTo>
                  <a:lnTo>
                    <a:pt x="3456" y="2108"/>
                  </a:lnTo>
                  <a:lnTo>
                    <a:pt x="3490" y="2143"/>
                  </a:lnTo>
                  <a:lnTo>
                    <a:pt x="3594" y="2177"/>
                  </a:lnTo>
                  <a:lnTo>
                    <a:pt x="3698" y="2143"/>
                  </a:lnTo>
                  <a:lnTo>
                    <a:pt x="3801" y="2108"/>
                  </a:lnTo>
                  <a:lnTo>
                    <a:pt x="3905" y="2004"/>
                  </a:lnTo>
                  <a:lnTo>
                    <a:pt x="4043" y="1866"/>
                  </a:lnTo>
                  <a:lnTo>
                    <a:pt x="4182" y="1659"/>
                  </a:lnTo>
                  <a:lnTo>
                    <a:pt x="4251" y="1451"/>
                  </a:lnTo>
                  <a:lnTo>
                    <a:pt x="4354" y="1140"/>
                  </a:lnTo>
                  <a:lnTo>
                    <a:pt x="4389" y="899"/>
                  </a:lnTo>
                  <a:lnTo>
                    <a:pt x="4423" y="795"/>
                  </a:lnTo>
                  <a:lnTo>
                    <a:pt x="484" y="0"/>
                  </a:lnTo>
                  <a:close/>
                </a:path>
              </a:pathLst>
            </a:custGeom>
            <a:solidFill>
              <a:srgbClr val="E79E9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72" name="Google Shape;14212;p81">
              <a:extLst>
                <a:ext uri="{FF2B5EF4-FFF2-40B4-BE49-F238E27FC236}">
                  <a16:creationId xmlns:a16="http://schemas.microsoft.com/office/drawing/2014/main" id="{41D0CBE2-3BC9-BC86-45FD-E7F34F833DCA}"/>
                </a:ext>
              </a:extLst>
            </p:cNvPr>
            <p:cNvSpPr/>
            <p:nvPr/>
          </p:nvSpPr>
          <p:spPr>
            <a:xfrm>
              <a:off x="6110575" y="1997900"/>
              <a:ext cx="331775" cy="1002150"/>
            </a:xfrm>
            <a:custGeom>
              <a:avLst/>
              <a:gdLst/>
              <a:ahLst/>
              <a:cxnLst/>
              <a:rect l="l" t="t" r="r" b="b"/>
              <a:pathLst>
                <a:path w="13271" h="40086" extrusionOk="0">
                  <a:moveTo>
                    <a:pt x="312" y="0"/>
                  </a:moveTo>
                  <a:lnTo>
                    <a:pt x="243" y="1037"/>
                  </a:lnTo>
                  <a:lnTo>
                    <a:pt x="173" y="2627"/>
                  </a:lnTo>
                  <a:lnTo>
                    <a:pt x="104" y="4631"/>
                  </a:lnTo>
                  <a:lnTo>
                    <a:pt x="35" y="6981"/>
                  </a:lnTo>
                  <a:lnTo>
                    <a:pt x="1" y="9573"/>
                  </a:lnTo>
                  <a:lnTo>
                    <a:pt x="35" y="12268"/>
                  </a:lnTo>
                  <a:lnTo>
                    <a:pt x="139" y="15067"/>
                  </a:lnTo>
                  <a:lnTo>
                    <a:pt x="208" y="16415"/>
                  </a:lnTo>
                  <a:lnTo>
                    <a:pt x="312" y="17762"/>
                  </a:lnTo>
                  <a:lnTo>
                    <a:pt x="450" y="19076"/>
                  </a:lnTo>
                  <a:lnTo>
                    <a:pt x="657" y="20492"/>
                  </a:lnTo>
                  <a:lnTo>
                    <a:pt x="934" y="21944"/>
                  </a:lnTo>
                  <a:lnTo>
                    <a:pt x="1245" y="23395"/>
                  </a:lnTo>
                  <a:lnTo>
                    <a:pt x="1590" y="24846"/>
                  </a:lnTo>
                  <a:lnTo>
                    <a:pt x="1970" y="26229"/>
                  </a:lnTo>
                  <a:lnTo>
                    <a:pt x="2627" y="28544"/>
                  </a:lnTo>
                  <a:lnTo>
                    <a:pt x="2869" y="29442"/>
                  </a:lnTo>
                  <a:lnTo>
                    <a:pt x="3007" y="30272"/>
                  </a:lnTo>
                  <a:lnTo>
                    <a:pt x="3111" y="31067"/>
                  </a:lnTo>
                  <a:lnTo>
                    <a:pt x="3180" y="31792"/>
                  </a:lnTo>
                  <a:lnTo>
                    <a:pt x="3214" y="32483"/>
                  </a:lnTo>
                  <a:lnTo>
                    <a:pt x="3180" y="33175"/>
                  </a:lnTo>
                  <a:lnTo>
                    <a:pt x="3145" y="34384"/>
                  </a:lnTo>
                  <a:lnTo>
                    <a:pt x="3111" y="35455"/>
                  </a:lnTo>
                  <a:lnTo>
                    <a:pt x="3145" y="35974"/>
                  </a:lnTo>
                  <a:lnTo>
                    <a:pt x="3214" y="36423"/>
                  </a:lnTo>
                  <a:lnTo>
                    <a:pt x="3318" y="36872"/>
                  </a:lnTo>
                  <a:lnTo>
                    <a:pt x="3491" y="37321"/>
                  </a:lnTo>
                  <a:lnTo>
                    <a:pt x="3733" y="37736"/>
                  </a:lnTo>
                  <a:lnTo>
                    <a:pt x="4044" y="38116"/>
                  </a:lnTo>
                  <a:lnTo>
                    <a:pt x="4493" y="38565"/>
                  </a:lnTo>
                  <a:lnTo>
                    <a:pt x="4977" y="38945"/>
                  </a:lnTo>
                  <a:lnTo>
                    <a:pt x="5495" y="39256"/>
                  </a:lnTo>
                  <a:lnTo>
                    <a:pt x="6013" y="39533"/>
                  </a:lnTo>
                  <a:lnTo>
                    <a:pt x="6566" y="39740"/>
                  </a:lnTo>
                  <a:lnTo>
                    <a:pt x="7119" y="39913"/>
                  </a:lnTo>
                  <a:lnTo>
                    <a:pt x="7672" y="40017"/>
                  </a:lnTo>
                  <a:lnTo>
                    <a:pt x="8225" y="40051"/>
                  </a:lnTo>
                  <a:lnTo>
                    <a:pt x="8813" y="40086"/>
                  </a:lnTo>
                  <a:lnTo>
                    <a:pt x="9400" y="40051"/>
                  </a:lnTo>
                  <a:lnTo>
                    <a:pt x="9953" y="39948"/>
                  </a:lnTo>
                  <a:lnTo>
                    <a:pt x="10540" y="39809"/>
                  </a:lnTo>
                  <a:lnTo>
                    <a:pt x="11093" y="39637"/>
                  </a:lnTo>
                  <a:lnTo>
                    <a:pt x="11646" y="39429"/>
                  </a:lnTo>
                  <a:lnTo>
                    <a:pt x="12164" y="39187"/>
                  </a:lnTo>
                  <a:lnTo>
                    <a:pt x="12683" y="38876"/>
                  </a:lnTo>
                  <a:lnTo>
                    <a:pt x="12787" y="38773"/>
                  </a:lnTo>
                  <a:lnTo>
                    <a:pt x="12925" y="38669"/>
                  </a:lnTo>
                  <a:lnTo>
                    <a:pt x="12994" y="38496"/>
                  </a:lnTo>
                  <a:lnTo>
                    <a:pt x="13098" y="38323"/>
                  </a:lnTo>
                  <a:lnTo>
                    <a:pt x="13201" y="37909"/>
                  </a:lnTo>
                  <a:lnTo>
                    <a:pt x="13236" y="37390"/>
                  </a:lnTo>
                  <a:lnTo>
                    <a:pt x="13270" y="36803"/>
                  </a:lnTo>
                  <a:lnTo>
                    <a:pt x="13201" y="36146"/>
                  </a:lnTo>
                  <a:lnTo>
                    <a:pt x="13132" y="35421"/>
                  </a:lnTo>
                  <a:lnTo>
                    <a:pt x="13028" y="34626"/>
                  </a:lnTo>
                  <a:lnTo>
                    <a:pt x="12717" y="32933"/>
                  </a:lnTo>
                  <a:lnTo>
                    <a:pt x="12303" y="31136"/>
                  </a:lnTo>
                  <a:lnTo>
                    <a:pt x="11473" y="27507"/>
                  </a:lnTo>
                  <a:lnTo>
                    <a:pt x="11128" y="25918"/>
                  </a:lnTo>
                  <a:lnTo>
                    <a:pt x="10817" y="24466"/>
                  </a:lnTo>
                  <a:lnTo>
                    <a:pt x="10713" y="23810"/>
                  </a:lnTo>
                  <a:lnTo>
                    <a:pt x="10644" y="23222"/>
                  </a:lnTo>
                  <a:lnTo>
                    <a:pt x="10609" y="22669"/>
                  </a:lnTo>
                  <a:lnTo>
                    <a:pt x="10575" y="22186"/>
                  </a:lnTo>
                  <a:lnTo>
                    <a:pt x="10644" y="20320"/>
                  </a:lnTo>
                  <a:lnTo>
                    <a:pt x="10713" y="19041"/>
                  </a:lnTo>
                  <a:lnTo>
                    <a:pt x="10748" y="17520"/>
                  </a:lnTo>
                  <a:lnTo>
                    <a:pt x="10782" y="16657"/>
                  </a:lnTo>
                  <a:lnTo>
                    <a:pt x="10748" y="15620"/>
                  </a:lnTo>
                  <a:lnTo>
                    <a:pt x="10644" y="12994"/>
                  </a:lnTo>
                  <a:lnTo>
                    <a:pt x="10575" y="11715"/>
                  </a:lnTo>
                  <a:lnTo>
                    <a:pt x="10402" y="10402"/>
                  </a:lnTo>
                  <a:lnTo>
                    <a:pt x="10160" y="9054"/>
                  </a:lnTo>
                  <a:lnTo>
                    <a:pt x="9884" y="7741"/>
                  </a:lnTo>
                  <a:lnTo>
                    <a:pt x="9711" y="7119"/>
                  </a:lnTo>
                  <a:lnTo>
                    <a:pt x="9504" y="6497"/>
                  </a:lnTo>
                  <a:lnTo>
                    <a:pt x="9331" y="5944"/>
                  </a:lnTo>
                  <a:lnTo>
                    <a:pt x="9089" y="5391"/>
                  </a:lnTo>
                  <a:lnTo>
                    <a:pt x="8882" y="4907"/>
                  </a:lnTo>
                  <a:lnTo>
                    <a:pt x="8640" y="4458"/>
                  </a:lnTo>
                  <a:lnTo>
                    <a:pt x="8363" y="4078"/>
                  </a:lnTo>
                  <a:lnTo>
                    <a:pt x="8087" y="3767"/>
                  </a:lnTo>
                  <a:lnTo>
                    <a:pt x="7430" y="3110"/>
                  </a:lnTo>
                  <a:lnTo>
                    <a:pt x="6774" y="2558"/>
                  </a:lnTo>
                  <a:lnTo>
                    <a:pt x="6083" y="2074"/>
                  </a:lnTo>
                  <a:lnTo>
                    <a:pt x="5391" y="1625"/>
                  </a:lnTo>
                  <a:lnTo>
                    <a:pt x="4735" y="1279"/>
                  </a:lnTo>
                  <a:lnTo>
                    <a:pt x="4113" y="968"/>
                  </a:lnTo>
                  <a:lnTo>
                    <a:pt x="3491" y="726"/>
                  </a:lnTo>
                  <a:lnTo>
                    <a:pt x="2903" y="519"/>
                  </a:lnTo>
                  <a:lnTo>
                    <a:pt x="2350" y="346"/>
                  </a:lnTo>
                  <a:lnTo>
                    <a:pt x="1867" y="242"/>
                  </a:lnTo>
                  <a:lnTo>
                    <a:pt x="1037" y="70"/>
                  </a:lnTo>
                  <a:lnTo>
                    <a:pt x="519" y="0"/>
                  </a:lnTo>
                  <a:close/>
                </a:path>
              </a:pathLst>
            </a:custGeom>
            <a:solidFill>
              <a:srgbClr val="DB536A"/>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73" name="Google Shape;14213;p81">
              <a:extLst>
                <a:ext uri="{FF2B5EF4-FFF2-40B4-BE49-F238E27FC236}">
                  <a16:creationId xmlns:a16="http://schemas.microsoft.com/office/drawing/2014/main" id="{BE556E53-BC75-91AA-D073-4995F79F7C44}"/>
                </a:ext>
              </a:extLst>
            </p:cNvPr>
            <p:cNvSpPr/>
            <p:nvPr/>
          </p:nvSpPr>
          <p:spPr>
            <a:xfrm>
              <a:off x="6110575" y="1997900"/>
              <a:ext cx="331775" cy="1002150"/>
            </a:xfrm>
            <a:custGeom>
              <a:avLst/>
              <a:gdLst/>
              <a:ahLst/>
              <a:cxnLst/>
              <a:rect l="l" t="t" r="r" b="b"/>
              <a:pathLst>
                <a:path w="13271" h="40086" fill="none" extrusionOk="0">
                  <a:moveTo>
                    <a:pt x="12683" y="38876"/>
                  </a:moveTo>
                  <a:lnTo>
                    <a:pt x="12683" y="38876"/>
                  </a:lnTo>
                  <a:lnTo>
                    <a:pt x="12164" y="39187"/>
                  </a:lnTo>
                  <a:lnTo>
                    <a:pt x="11646" y="39429"/>
                  </a:lnTo>
                  <a:lnTo>
                    <a:pt x="11093" y="39637"/>
                  </a:lnTo>
                  <a:lnTo>
                    <a:pt x="10540" y="39809"/>
                  </a:lnTo>
                  <a:lnTo>
                    <a:pt x="9953" y="39948"/>
                  </a:lnTo>
                  <a:lnTo>
                    <a:pt x="9400" y="40051"/>
                  </a:lnTo>
                  <a:lnTo>
                    <a:pt x="8813" y="40086"/>
                  </a:lnTo>
                  <a:lnTo>
                    <a:pt x="8225" y="40051"/>
                  </a:lnTo>
                  <a:lnTo>
                    <a:pt x="7672" y="40017"/>
                  </a:lnTo>
                  <a:lnTo>
                    <a:pt x="7119" y="39913"/>
                  </a:lnTo>
                  <a:lnTo>
                    <a:pt x="6566" y="39740"/>
                  </a:lnTo>
                  <a:lnTo>
                    <a:pt x="6013" y="39533"/>
                  </a:lnTo>
                  <a:lnTo>
                    <a:pt x="5495" y="39256"/>
                  </a:lnTo>
                  <a:lnTo>
                    <a:pt x="4977" y="38945"/>
                  </a:lnTo>
                  <a:lnTo>
                    <a:pt x="4493" y="38565"/>
                  </a:lnTo>
                  <a:lnTo>
                    <a:pt x="4044" y="38116"/>
                  </a:lnTo>
                  <a:lnTo>
                    <a:pt x="4044" y="38116"/>
                  </a:lnTo>
                  <a:lnTo>
                    <a:pt x="3733" y="37736"/>
                  </a:lnTo>
                  <a:lnTo>
                    <a:pt x="3491" y="37321"/>
                  </a:lnTo>
                  <a:lnTo>
                    <a:pt x="3318" y="36872"/>
                  </a:lnTo>
                  <a:lnTo>
                    <a:pt x="3214" y="36423"/>
                  </a:lnTo>
                  <a:lnTo>
                    <a:pt x="3145" y="35974"/>
                  </a:lnTo>
                  <a:lnTo>
                    <a:pt x="3111" y="35455"/>
                  </a:lnTo>
                  <a:lnTo>
                    <a:pt x="3145" y="34384"/>
                  </a:lnTo>
                  <a:lnTo>
                    <a:pt x="3180" y="33175"/>
                  </a:lnTo>
                  <a:lnTo>
                    <a:pt x="3214" y="32483"/>
                  </a:lnTo>
                  <a:lnTo>
                    <a:pt x="3180" y="31792"/>
                  </a:lnTo>
                  <a:lnTo>
                    <a:pt x="3111" y="31067"/>
                  </a:lnTo>
                  <a:lnTo>
                    <a:pt x="3007" y="30272"/>
                  </a:lnTo>
                  <a:lnTo>
                    <a:pt x="2869" y="29442"/>
                  </a:lnTo>
                  <a:lnTo>
                    <a:pt x="2627" y="28544"/>
                  </a:lnTo>
                  <a:lnTo>
                    <a:pt x="2627" y="28544"/>
                  </a:lnTo>
                  <a:lnTo>
                    <a:pt x="1970" y="26229"/>
                  </a:lnTo>
                  <a:lnTo>
                    <a:pt x="1590" y="24846"/>
                  </a:lnTo>
                  <a:lnTo>
                    <a:pt x="1245" y="23395"/>
                  </a:lnTo>
                  <a:lnTo>
                    <a:pt x="934" y="21944"/>
                  </a:lnTo>
                  <a:lnTo>
                    <a:pt x="657" y="20492"/>
                  </a:lnTo>
                  <a:lnTo>
                    <a:pt x="450" y="19076"/>
                  </a:lnTo>
                  <a:lnTo>
                    <a:pt x="312" y="17762"/>
                  </a:lnTo>
                  <a:lnTo>
                    <a:pt x="312" y="17762"/>
                  </a:lnTo>
                  <a:lnTo>
                    <a:pt x="208" y="16415"/>
                  </a:lnTo>
                  <a:lnTo>
                    <a:pt x="139" y="15067"/>
                  </a:lnTo>
                  <a:lnTo>
                    <a:pt x="35" y="12268"/>
                  </a:lnTo>
                  <a:lnTo>
                    <a:pt x="1" y="9573"/>
                  </a:lnTo>
                  <a:lnTo>
                    <a:pt x="35" y="6981"/>
                  </a:lnTo>
                  <a:lnTo>
                    <a:pt x="104" y="4631"/>
                  </a:lnTo>
                  <a:lnTo>
                    <a:pt x="173" y="2627"/>
                  </a:lnTo>
                  <a:lnTo>
                    <a:pt x="243" y="1037"/>
                  </a:lnTo>
                  <a:lnTo>
                    <a:pt x="312" y="0"/>
                  </a:lnTo>
                  <a:lnTo>
                    <a:pt x="312" y="0"/>
                  </a:lnTo>
                  <a:lnTo>
                    <a:pt x="519" y="0"/>
                  </a:lnTo>
                  <a:lnTo>
                    <a:pt x="1037" y="70"/>
                  </a:lnTo>
                  <a:lnTo>
                    <a:pt x="1867" y="242"/>
                  </a:lnTo>
                  <a:lnTo>
                    <a:pt x="2350" y="346"/>
                  </a:lnTo>
                  <a:lnTo>
                    <a:pt x="2903" y="519"/>
                  </a:lnTo>
                  <a:lnTo>
                    <a:pt x="3491" y="726"/>
                  </a:lnTo>
                  <a:lnTo>
                    <a:pt x="4113" y="968"/>
                  </a:lnTo>
                  <a:lnTo>
                    <a:pt x="4735" y="1279"/>
                  </a:lnTo>
                  <a:lnTo>
                    <a:pt x="5391" y="1625"/>
                  </a:lnTo>
                  <a:lnTo>
                    <a:pt x="6083" y="2074"/>
                  </a:lnTo>
                  <a:lnTo>
                    <a:pt x="6774" y="2558"/>
                  </a:lnTo>
                  <a:lnTo>
                    <a:pt x="7430" y="3110"/>
                  </a:lnTo>
                  <a:lnTo>
                    <a:pt x="8087" y="3767"/>
                  </a:lnTo>
                  <a:lnTo>
                    <a:pt x="8087" y="3767"/>
                  </a:lnTo>
                  <a:lnTo>
                    <a:pt x="8363" y="4078"/>
                  </a:lnTo>
                  <a:lnTo>
                    <a:pt x="8640" y="4458"/>
                  </a:lnTo>
                  <a:lnTo>
                    <a:pt x="8882" y="4907"/>
                  </a:lnTo>
                  <a:lnTo>
                    <a:pt x="9089" y="5391"/>
                  </a:lnTo>
                  <a:lnTo>
                    <a:pt x="9331" y="5944"/>
                  </a:lnTo>
                  <a:lnTo>
                    <a:pt x="9504" y="6497"/>
                  </a:lnTo>
                  <a:lnTo>
                    <a:pt x="9711" y="7119"/>
                  </a:lnTo>
                  <a:lnTo>
                    <a:pt x="9884" y="7741"/>
                  </a:lnTo>
                  <a:lnTo>
                    <a:pt x="10160" y="9054"/>
                  </a:lnTo>
                  <a:lnTo>
                    <a:pt x="10402" y="10402"/>
                  </a:lnTo>
                  <a:lnTo>
                    <a:pt x="10575" y="11715"/>
                  </a:lnTo>
                  <a:lnTo>
                    <a:pt x="10644" y="12994"/>
                  </a:lnTo>
                  <a:lnTo>
                    <a:pt x="10644" y="12994"/>
                  </a:lnTo>
                  <a:lnTo>
                    <a:pt x="10748" y="15620"/>
                  </a:lnTo>
                  <a:lnTo>
                    <a:pt x="10748" y="15620"/>
                  </a:lnTo>
                  <a:lnTo>
                    <a:pt x="10782" y="16657"/>
                  </a:lnTo>
                  <a:lnTo>
                    <a:pt x="10748" y="17520"/>
                  </a:lnTo>
                  <a:lnTo>
                    <a:pt x="10713" y="19041"/>
                  </a:lnTo>
                  <a:lnTo>
                    <a:pt x="10713" y="19041"/>
                  </a:lnTo>
                  <a:lnTo>
                    <a:pt x="10644" y="20320"/>
                  </a:lnTo>
                  <a:lnTo>
                    <a:pt x="10644" y="20320"/>
                  </a:lnTo>
                  <a:lnTo>
                    <a:pt x="10644" y="20320"/>
                  </a:lnTo>
                  <a:lnTo>
                    <a:pt x="10575" y="22186"/>
                  </a:lnTo>
                  <a:lnTo>
                    <a:pt x="10575" y="22186"/>
                  </a:lnTo>
                  <a:lnTo>
                    <a:pt x="10609" y="22669"/>
                  </a:lnTo>
                  <a:lnTo>
                    <a:pt x="10644" y="23222"/>
                  </a:lnTo>
                  <a:lnTo>
                    <a:pt x="10713" y="23810"/>
                  </a:lnTo>
                  <a:lnTo>
                    <a:pt x="10817" y="24466"/>
                  </a:lnTo>
                  <a:lnTo>
                    <a:pt x="11128" y="25918"/>
                  </a:lnTo>
                  <a:lnTo>
                    <a:pt x="11473" y="27507"/>
                  </a:lnTo>
                  <a:lnTo>
                    <a:pt x="11473" y="27507"/>
                  </a:lnTo>
                  <a:lnTo>
                    <a:pt x="11473" y="27507"/>
                  </a:lnTo>
                  <a:lnTo>
                    <a:pt x="12303" y="31136"/>
                  </a:lnTo>
                  <a:lnTo>
                    <a:pt x="12717" y="32933"/>
                  </a:lnTo>
                  <a:lnTo>
                    <a:pt x="13028" y="34626"/>
                  </a:lnTo>
                  <a:lnTo>
                    <a:pt x="13132" y="35421"/>
                  </a:lnTo>
                  <a:lnTo>
                    <a:pt x="13201" y="36146"/>
                  </a:lnTo>
                  <a:lnTo>
                    <a:pt x="13270" y="36803"/>
                  </a:lnTo>
                  <a:lnTo>
                    <a:pt x="13236" y="37390"/>
                  </a:lnTo>
                  <a:lnTo>
                    <a:pt x="13201" y="37909"/>
                  </a:lnTo>
                  <a:lnTo>
                    <a:pt x="13098" y="38323"/>
                  </a:lnTo>
                  <a:lnTo>
                    <a:pt x="12994" y="38496"/>
                  </a:lnTo>
                  <a:lnTo>
                    <a:pt x="12925" y="38669"/>
                  </a:lnTo>
                  <a:lnTo>
                    <a:pt x="12787" y="38773"/>
                  </a:lnTo>
                  <a:lnTo>
                    <a:pt x="12683" y="38876"/>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74" name="Google Shape;14214;p81">
              <a:extLst>
                <a:ext uri="{FF2B5EF4-FFF2-40B4-BE49-F238E27FC236}">
                  <a16:creationId xmlns:a16="http://schemas.microsoft.com/office/drawing/2014/main" id="{0D712EEC-6B4B-FAD8-8BBE-DF0B3B58A82C}"/>
                </a:ext>
              </a:extLst>
            </p:cNvPr>
            <p:cNvSpPr/>
            <p:nvPr/>
          </p:nvSpPr>
          <p:spPr>
            <a:xfrm>
              <a:off x="6154650" y="2061825"/>
              <a:ext cx="450100" cy="991800"/>
            </a:xfrm>
            <a:custGeom>
              <a:avLst/>
              <a:gdLst/>
              <a:ahLst/>
              <a:cxnLst/>
              <a:rect l="l" t="t" r="r" b="b"/>
              <a:pathLst>
                <a:path w="18004" h="39672" extrusionOk="0">
                  <a:moveTo>
                    <a:pt x="2695" y="1"/>
                  </a:moveTo>
                  <a:lnTo>
                    <a:pt x="2177" y="35"/>
                  </a:lnTo>
                  <a:lnTo>
                    <a:pt x="1659" y="104"/>
                  </a:lnTo>
                  <a:lnTo>
                    <a:pt x="1209" y="208"/>
                  </a:lnTo>
                  <a:lnTo>
                    <a:pt x="795" y="381"/>
                  </a:lnTo>
                  <a:lnTo>
                    <a:pt x="622" y="484"/>
                  </a:lnTo>
                  <a:lnTo>
                    <a:pt x="484" y="623"/>
                  </a:lnTo>
                  <a:lnTo>
                    <a:pt x="346" y="761"/>
                  </a:lnTo>
                  <a:lnTo>
                    <a:pt x="207" y="899"/>
                  </a:lnTo>
                  <a:lnTo>
                    <a:pt x="138" y="1072"/>
                  </a:lnTo>
                  <a:lnTo>
                    <a:pt x="69" y="1279"/>
                  </a:lnTo>
                  <a:lnTo>
                    <a:pt x="35" y="1486"/>
                  </a:lnTo>
                  <a:lnTo>
                    <a:pt x="0" y="1694"/>
                  </a:lnTo>
                  <a:lnTo>
                    <a:pt x="35" y="2143"/>
                  </a:lnTo>
                  <a:lnTo>
                    <a:pt x="69" y="2592"/>
                  </a:lnTo>
                  <a:lnTo>
                    <a:pt x="138" y="3007"/>
                  </a:lnTo>
                  <a:lnTo>
                    <a:pt x="242" y="3387"/>
                  </a:lnTo>
                  <a:lnTo>
                    <a:pt x="449" y="4113"/>
                  </a:lnTo>
                  <a:lnTo>
                    <a:pt x="691" y="4735"/>
                  </a:lnTo>
                  <a:lnTo>
                    <a:pt x="933" y="5219"/>
                  </a:lnTo>
                  <a:lnTo>
                    <a:pt x="1106" y="5599"/>
                  </a:lnTo>
                  <a:lnTo>
                    <a:pt x="1313" y="5910"/>
                  </a:lnTo>
                  <a:lnTo>
                    <a:pt x="2972" y="8605"/>
                  </a:lnTo>
                  <a:lnTo>
                    <a:pt x="4458" y="10920"/>
                  </a:lnTo>
                  <a:lnTo>
                    <a:pt x="5736" y="12890"/>
                  </a:lnTo>
                  <a:lnTo>
                    <a:pt x="6842" y="14549"/>
                  </a:lnTo>
                  <a:lnTo>
                    <a:pt x="7810" y="15931"/>
                  </a:lnTo>
                  <a:lnTo>
                    <a:pt x="8605" y="17071"/>
                  </a:lnTo>
                  <a:lnTo>
                    <a:pt x="9849" y="18730"/>
                  </a:lnTo>
                  <a:lnTo>
                    <a:pt x="10643" y="19767"/>
                  </a:lnTo>
                  <a:lnTo>
                    <a:pt x="10920" y="20147"/>
                  </a:lnTo>
                  <a:lnTo>
                    <a:pt x="11127" y="20458"/>
                  </a:lnTo>
                  <a:lnTo>
                    <a:pt x="11265" y="20734"/>
                  </a:lnTo>
                  <a:lnTo>
                    <a:pt x="11369" y="21045"/>
                  </a:lnTo>
                  <a:lnTo>
                    <a:pt x="11438" y="21426"/>
                  </a:lnTo>
                  <a:lnTo>
                    <a:pt x="11507" y="21840"/>
                  </a:lnTo>
                  <a:lnTo>
                    <a:pt x="11507" y="22117"/>
                  </a:lnTo>
                  <a:lnTo>
                    <a:pt x="11473" y="22428"/>
                  </a:lnTo>
                  <a:lnTo>
                    <a:pt x="11404" y="22808"/>
                  </a:lnTo>
                  <a:lnTo>
                    <a:pt x="11300" y="23257"/>
                  </a:lnTo>
                  <a:lnTo>
                    <a:pt x="11024" y="24259"/>
                  </a:lnTo>
                  <a:lnTo>
                    <a:pt x="10609" y="25434"/>
                  </a:lnTo>
                  <a:lnTo>
                    <a:pt x="10160" y="26713"/>
                  </a:lnTo>
                  <a:lnTo>
                    <a:pt x="9641" y="28060"/>
                  </a:lnTo>
                  <a:lnTo>
                    <a:pt x="8466" y="30894"/>
                  </a:lnTo>
                  <a:lnTo>
                    <a:pt x="7291" y="33589"/>
                  </a:lnTo>
                  <a:lnTo>
                    <a:pt x="6255" y="35870"/>
                  </a:lnTo>
                  <a:lnTo>
                    <a:pt x="5253" y="38047"/>
                  </a:lnTo>
                  <a:lnTo>
                    <a:pt x="5875" y="38393"/>
                  </a:lnTo>
                  <a:lnTo>
                    <a:pt x="6497" y="38704"/>
                  </a:lnTo>
                  <a:lnTo>
                    <a:pt x="7257" y="39049"/>
                  </a:lnTo>
                  <a:lnTo>
                    <a:pt x="8017" y="39360"/>
                  </a:lnTo>
                  <a:lnTo>
                    <a:pt x="8397" y="39499"/>
                  </a:lnTo>
                  <a:lnTo>
                    <a:pt x="8708" y="39602"/>
                  </a:lnTo>
                  <a:lnTo>
                    <a:pt x="9019" y="39671"/>
                  </a:lnTo>
                  <a:lnTo>
                    <a:pt x="9261" y="39671"/>
                  </a:lnTo>
                  <a:lnTo>
                    <a:pt x="9468" y="39637"/>
                  </a:lnTo>
                  <a:lnTo>
                    <a:pt x="9538" y="39602"/>
                  </a:lnTo>
                  <a:lnTo>
                    <a:pt x="9572" y="39568"/>
                  </a:lnTo>
                  <a:lnTo>
                    <a:pt x="10090" y="38669"/>
                  </a:lnTo>
                  <a:lnTo>
                    <a:pt x="11127" y="36734"/>
                  </a:lnTo>
                  <a:lnTo>
                    <a:pt x="12509" y="34039"/>
                  </a:lnTo>
                  <a:lnTo>
                    <a:pt x="14064" y="30894"/>
                  </a:lnTo>
                  <a:lnTo>
                    <a:pt x="14859" y="29270"/>
                  </a:lnTo>
                  <a:lnTo>
                    <a:pt x="15585" y="27646"/>
                  </a:lnTo>
                  <a:lnTo>
                    <a:pt x="16276" y="26091"/>
                  </a:lnTo>
                  <a:lnTo>
                    <a:pt x="16864" y="24605"/>
                  </a:lnTo>
                  <a:lnTo>
                    <a:pt x="17382" y="23222"/>
                  </a:lnTo>
                  <a:lnTo>
                    <a:pt x="17589" y="22600"/>
                  </a:lnTo>
                  <a:lnTo>
                    <a:pt x="17727" y="22048"/>
                  </a:lnTo>
                  <a:lnTo>
                    <a:pt x="17866" y="21495"/>
                  </a:lnTo>
                  <a:lnTo>
                    <a:pt x="17969" y="21045"/>
                  </a:lnTo>
                  <a:lnTo>
                    <a:pt x="18004" y="20631"/>
                  </a:lnTo>
                  <a:lnTo>
                    <a:pt x="18004" y="20285"/>
                  </a:lnTo>
                  <a:lnTo>
                    <a:pt x="17935" y="19905"/>
                  </a:lnTo>
                  <a:lnTo>
                    <a:pt x="17831" y="19490"/>
                  </a:lnTo>
                  <a:lnTo>
                    <a:pt x="17658" y="19007"/>
                  </a:lnTo>
                  <a:lnTo>
                    <a:pt x="17451" y="18488"/>
                  </a:lnTo>
                  <a:lnTo>
                    <a:pt x="16898" y="17313"/>
                  </a:lnTo>
                  <a:lnTo>
                    <a:pt x="16172" y="15966"/>
                  </a:lnTo>
                  <a:lnTo>
                    <a:pt x="15378" y="14549"/>
                  </a:lnTo>
                  <a:lnTo>
                    <a:pt x="14445" y="13028"/>
                  </a:lnTo>
                  <a:lnTo>
                    <a:pt x="13477" y="11473"/>
                  </a:lnTo>
                  <a:lnTo>
                    <a:pt x="12475" y="9918"/>
                  </a:lnTo>
                  <a:lnTo>
                    <a:pt x="10436" y="6877"/>
                  </a:lnTo>
                  <a:lnTo>
                    <a:pt x="8570" y="4251"/>
                  </a:lnTo>
                  <a:lnTo>
                    <a:pt x="7119" y="2281"/>
                  </a:lnTo>
                  <a:lnTo>
                    <a:pt x="6289" y="1210"/>
                  </a:lnTo>
                  <a:lnTo>
                    <a:pt x="6047" y="968"/>
                  </a:lnTo>
                  <a:lnTo>
                    <a:pt x="5702" y="726"/>
                  </a:lnTo>
                  <a:lnTo>
                    <a:pt x="5287" y="519"/>
                  </a:lnTo>
                  <a:lnTo>
                    <a:pt x="4803" y="346"/>
                  </a:lnTo>
                  <a:lnTo>
                    <a:pt x="4320" y="208"/>
                  </a:lnTo>
                  <a:lnTo>
                    <a:pt x="3767" y="104"/>
                  </a:lnTo>
                  <a:lnTo>
                    <a:pt x="3214" y="35"/>
                  </a:lnTo>
                  <a:lnTo>
                    <a:pt x="2695" y="1"/>
                  </a:lnTo>
                  <a:close/>
                </a:path>
              </a:pathLst>
            </a:custGeom>
            <a:solidFill>
              <a:srgbClr val="DB536A"/>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75" name="Google Shape;14215;p81">
              <a:extLst>
                <a:ext uri="{FF2B5EF4-FFF2-40B4-BE49-F238E27FC236}">
                  <a16:creationId xmlns:a16="http://schemas.microsoft.com/office/drawing/2014/main" id="{74D542B9-F055-B456-00D8-8A4CA10D63BF}"/>
                </a:ext>
              </a:extLst>
            </p:cNvPr>
            <p:cNvSpPr/>
            <p:nvPr/>
          </p:nvSpPr>
          <p:spPr>
            <a:xfrm>
              <a:off x="6154650" y="2061825"/>
              <a:ext cx="450100" cy="991800"/>
            </a:xfrm>
            <a:custGeom>
              <a:avLst/>
              <a:gdLst/>
              <a:ahLst/>
              <a:cxnLst/>
              <a:rect l="l" t="t" r="r" b="b"/>
              <a:pathLst>
                <a:path w="18004" h="39672" fill="none" extrusionOk="0">
                  <a:moveTo>
                    <a:pt x="1313" y="5910"/>
                  </a:moveTo>
                  <a:lnTo>
                    <a:pt x="1313" y="5910"/>
                  </a:lnTo>
                  <a:lnTo>
                    <a:pt x="2972" y="8605"/>
                  </a:lnTo>
                  <a:lnTo>
                    <a:pt x="4458" y="10920"/>
                  </a:lnTo>
                  <a:lnTo>
                    <a:pt x="5736" y="12890"/>
                  </a:lnTo>
                  <a:lnTo>
                    <a:pt x="6842" y="14549"/>
                  </a:lnTo>
                  <a:lnTo>
                    <a:pt x="7810" y="15931"/>
                  </a:lnTo>
                  <a:lnTo>
                    <a:pt x="8605" y="17071"/>
                  </a:lnTo>
                  <a:lnTo>
                    <a:pt x="9849" y="18730"/>
                  </a:lnTo>
                  <a:lnTo>
                    <a:pt x="10643" y="19767"/>
                  </a:lnTo>
                  <a:lnTo>
                    <a:pt x="10920" y="20147"/>
                  </a:lnTo>
                  <a:lnTo>
                    <a:pt x="11127" y="20458"/>
                  </a:lnTo>
                  <a:lnTo>
                    <a:pt x="11265" y="20734"/>
                  </a:lnTo>
                  <a:lnTo>
                    <a:pt x="11369" y="21045"/>
                  </a:lnTo>
                  <a:lnTo>
                    <a:pt x="11438" y="21426"/>
                  </a:lnTo>
                  <a:lnTo>
                    <a:pt x="11507" y="21840"/>
                  </a:lnTo>
                  <a:lnTo>
                    <a:pt x="11507" y="21840"/>
                  </a:lnTo>
                  <a:lnTo>
                    <a:pt x="11507" y="22117"/>
                  </a:lnTo>
                  <a:lnTo>
                    <a:pt x="11473" y="22428"/>
                  </a:lnTo>
                  <a:lnTo>
                    <a:pt x="11404" y="22808"/>
                  </a:lnTo>
                  <a:lnTo>
                    <a:pt x="11300" y="23257"/>
                  </a:lnTo>
                  <a:lnTo>
                    <a:pt x="11024" y="24259"/>
                  </a:lnTo>
                  <a:lnTo>
                    <a:pt x="10609" y="25434"/>
                  </a:lnTo>
                  <a:lnTo>
                    <a:pt x="10160" y="26713"/>
                  </a:lnTo>
                  <a:lnTo>
                    <a:pt x="9641" y="28060"/>
                  </a:lnTo>
                  <a:lnTo>
                    <a:pt x="8466" y="30894"/>
                  </a:lnTo>
                  <a:lnTo>
                    <a:pt x="7291" y="33589"/>
                  </a:lnTo>
                  <a:lnTo>
                    <a:pt x="6255" y="35870"/>
                  </a:lnTo>
                  <a:lnTo>
                    <a:pt x="5253" y="38047"/>
                  </a:lnTo>
                  <a:lnTo>
                    <a:pt x="5253" y="38047"/>
                  </a:lnTo>
                  <a:lnTo>
                    <a:pt x="5875" y="38393"/>
                  </a:lnTo>
                  <a:lnTo>
                    <a:pt x="6497" y="38704"/>
                  </a:lnTo>
                  <a:lnTo>
                    <a:pt x="7257" y="39049"/>
                  </a:lnTo>
                  <a:lnTo>
                    <a:pt x="8017" y="39360"/>
                  </a:lnTo>
                  <a:lnTo>
                    <a:pt x="8397" y="39499"/>
                  </a:lnTo>
                  <a:lnTo>
                    <a:pt x="8708" y="39602"/>
                  </a:lnTo>
                  <a:lnTo>
                    <a:pt x="9019" y="39671"/>
                  </a:lnTo>
                  <a:lnTo>
                    <a:pt x="9261" y="39671"/>
                  </a:lnTo>
                  <a:lnTo>
                    <a:pt x="9468" y="39637"/>
                  </a:lnTo>
                  <a:lnTo>
                    <a:pt x="9538" y="39602"/>
                  </a:lnTo>
                  <a:lnTo>
                    <a:pt x="9572" y="39568"/>
                  </a:lnTo>
                  <a:lnTo>
                    <a:pt x="9572" y="39568"/>
                  </a:lnTo>
                  <a:lnTo>
                    <a:pt x="10090" y="38669"/>
                  </a:lnTo>
                  <a:lnTo>
                    <a:pt x="11127" y="36734"/>
                  </a:lnTo>
                  <a:lnTo>
                    <a:pt x="12509" y="34039"/>
                  </a:lnTo>
                  <a:lnTo>
                    <a:pt x="14064" y="30894"/>
                  </a:lnTo>
                  <a:lnTo>
                    <a:pt x="14859" y="29270"/>
                  </a:lnTo>
                  <a:lnTo>
                    <a:pt x="15585" y="27646"/>
                  </a:lnTo>
                  <a:lnTo>
                    <a:pt x="16276" y="26091"/>
                  </a:lnTo>
                  <a:lnTo>
                    <a:pt x="16864" y="24605"/>
                  </a:lnTo>
                  <a:lnTo>
                    <a:pt x="17382" y="23222"/>
                  </a:lnTo>
                  <a:lnTo>
                    <a:pt x="17589" y="22600"/>
                  </a:lnTo>
                  <a:lnTo>
                    <a:pt x="17727" y="22048"/>
                  </a:lnTo>
                  <a:lnTo>
                    <a:pt x="17866" y="21495"/>
                  </a:lnTo>
                  <a:lnTo>
                    <a:pt x="17969" y="21045"/>
                  </a:lnTo>
                  <a:lnTo>
                    <a:pt x="18004" y="20631"/>
                  </a:lnTo>
                  <a:lnTo>
                    <a:pt x="18004" y="20285"/>
                  </a:lnTo>
                  <a:lnTo>
                    <a:pt x="18004" y="20285"/>
                  </a:lnTo>
                  <a:lnTo>
                    <a:pt x="17935" y="19905"/>
                  </a:lnTo>
                  <a:lnTo>
                    <a:pt x="17831" y="19490"/>
                  </a:lnTo>
                  <a:lnTo>
                    <a:pt x="17658" y="19007"/>
                  </a:lnTo>
                  <a:lnTo>
                    <a:pt x="17451" y="18488"/>
                  </a:lnTo>
                  <a:lnTo>
                    <a:pt x="16898" y="17313"/>
                  </a:lnTo>
                  <a:lnTo>
                    <a:pt x="16172" y="15966"/>
                  </a:lnTo>
                  <a:lnTo>
                    <a:pt x="15378" y="14549"/>
                  </a:lnTo>
                  <a:lnTo>
                    <a:pt x="14445" y="13028"/>
                  </a:lnTo>
                  <a:lnTo>
                    <a:pt x="13477" y="11473"/>
                  </a:lnTo>
                  <a:lnTo>
                    <a:pt x="12475" y="9918"/>
                  </a:lnTo>
                  <a:lnTo>
                    <a:pt x="10436" y="6877"/>
                  </a:lnTo>
                  <a:lnTo>
                    <a:pt x="8570" y="4251"/>
                  </a:lnTo>
                  <a:lnTo>
                    <a:pt x="7119" y="2281"/>
                  </a:lnTo>
                  <a:lnTo>
                    <a:pt x="6289" y="1210"/>
                  </a:lnTo>
                  <a:lnTo>
                    <a:pt x="6289" y="1210"/>
                  </a:lnTo>
                  <a:lnTo>
                    <a:pt x="6047" y="968"/>
                  </a:lnTo>
                  <a:lnTo>
                    <a:pt x="5702" y="726"/>
                  </a:lnTo>
                  <a:lnTo>
                    <a:pt x="5287" y="519"/>
                  </a:lnTo>
                  <a:lnTo>
                    <a:pt x="4803" y="346"/>
                  </a:lnTo>
                  <a:lnTo>
                    <a:pt x="4320" y="208"/>
                  </a:lnTo>
                  <a:lnTo>
                    <a:pt x="3767" y="104"/>
                  </a:lnTo>
                  <a:lnTo>
                    <a:pt x="3214" y="35"/>
                  </a:lnTo>
                  <a:lnTo>
                    <a:pt x="2695" y="1"/>
                  </a:lnTo>
                  <a:lnTo>
                    <a:pt x="2177" y="35"/>
                  </a:lnTo>
                  <a:lnTo>
                    <a:pt x="1659" y="104"/>
                  </a:lnTo>
                  <a:lnTo>
                    <a:pt x="1209" y="208"/>
                  </a:lnTo>
                  <a:lnTo>
                    <a:pt x="795" y="381"/>
                  </a:lnTo>
                  <a:lnTo>
                    <a:pt x="622" y="484"/>
                  </a:lnTo>
                  <a:lnTo>
                    <a:pt x="484" y="623"/>
                  </a:lnTo>
                  <a:lnTo>
                    <a:pt x="346" y="761"/>
                  </a:lnTo>
                  <a:lnTo>
                    <a:pt x="207" y="899"/>
                  </a:lnTo>
                  <a:lnTo>
                    <a:pt x="138" y="1072"/>
                  </a:lnTo>
                  <a:lnTo>
                    <a:pt x="69" y="1279"/>
                  </a:lnTo>
                  <a:lnTo>
                    <a:pt x="35" y="1486"/>
                  </a:lnTo>
                  <a:lnTo>
                    <a:pt x="0" y="1694"/>
                  </a:lnTo>
                  <a:lnTo>
                    <a:pt x="0" y="1694"/>
                  </a:lnTo>
                  <a:lnTo>
                    <a:pt x="35" y="2143"/>
                  </a:lnTo>
                  <a:lnTo>
                    <a:pt x="69" y="2592"/>
                  </a:lnTo>
                  <a:lnTo>
                    <a:pt x="138" y="3007"/>
                  </a:lnTo>
                  <a:lnTo>
                    <a:pt x="242" y="3387"/>
                  </a:lnTo>
                  <a:lnTo>
                    <a:pt x="449" y="4113"/>
                  </a:lnTo>
                  <a:lnTo>
                    <a:pt x="691" y="4735"/>
                  </a:lnTo>
                  <a:lnTo>
                    <a:pt x="933" y="5219"/>
                  </a:lnTo>
                  <a:lnTo>
                    <a:pt x="1106" y="5599"/>
                  </a:lnTo>
                  <a:lnTo>
                    <a:pt x="1313" y="591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56" name="Google Shape;14216;p81">
              <a:extLst>
                <a:ext uri="{FF2B5EF4-FFF2-40B4-BE49-F238E27FC236}">
                  <a16:creationId xmlns:a16="http://schemas.microsoft.com/office/drawing/2014/main" id="{045F45CE-8F40-D1FD-2A15-F5ED417CA7C2}"/>
                </a:ext>
              </a:extLst>
            </p:cNvPr>
            <p:cNvSpPr/>
            <p:nvPr/>
          </p:nvSpPr>
          <p:spPr>
            <a:xfrm>
              <a:off x="6302375" y="2405675"/>
              <a:ext cx="95050" cy="279925"/>
            </a:xfrm>
            <a:custGeom>
              <a:avLst/>
              <a:gdLst/>
              <a:ahLst/>
              <a:cxnLst/>
              <a:rect l="l" t="t" r="r" b="b"/>
              <a:pathLst>
                <a:path w="3802" h="11197" extrusionOk="0">
                  <a:moveTo>
                    <a:pt x="0" y="0"/>
                  </a:moveTo>
                  <a:lnTo>
                    <a:pt x="35" y="380"/>
                  </a:lnTo>
                  <a:lnTo>
                    <a:pt x="104" y="1313"/>
                  </a:lnTo>
                  <a:lnTo>
                    <a:pt x="277" y="2730"/>
                  </a:lnTo>
                  <a:lnTo>
                    <a:pt x="415" y="3525"/>
                  </a:lnTo>
                  <a:lnTo>
                    <a:pt x="588" y="4423"/>
                  </a:lnTo>
                  <a:lnTo>
                    <a:pt x="795" y="5322"/>
                  </a:lnTo>
                  <a:lnTo>
                    <a:pt x="1037" y="6255"/>
                  </a:lnTo>
                  <a:lnTo>
                    <a:pt x="1348" y="7188"/>
                  </a:lnTo>
                  <a:lnTo>
                    <a:pt x="1693" y="8121"/>
                  </a:lnTo>
                  <a:lnTo>
                    <a:pt x="2143" y="8985"/>
                  </a:lnTo>
                  <a:lnTo>
                    <a:pt x="2350" y="9399"/>
                  </a:lnTo>
                  <a:lnTo>
                    <a:pt x="2626" y="9814"/>
                  </a:lnTo>
                  <a:lnTo>
                    <a:pt x="2868" y="10194"/>
                  </a:lnTo>
                  <a:lnTo>
                    <a:pt x="3179" y="10540"/>
                  </a:lnTo>
                  <a:lnTo>
                    <a:pt x="3456" y="10885"/>
                  </a:lnTo>
                  <a:lnTo>
                    <a:pt x="3801" y="11196"/>
                  </a:lnTo>
                  <a:lnTo>
                    <a:pt x="3801" y="11196"/>
                  </a:lnTo>
                  <a:lnTo>
                    <a:pt x="3456" y="9641"/>
                  </a:lnTo>
                  <a:lnTo>
                    <a:pt x="3179" y="8259"/>
                  </a:lnTo>
                  <a:lnTo>
                    <a:pt x="2972" y="7015"/>
                  </a:lnTo>
                  <a:lnTo>
                    <a:pt x="2937" y="6462"/>
                  </a:lnTo>
                  <a:lnTo>
                    <a:pt x="2903" y="5978"/>
                  </a:lnTo>
                  <a:lnTo>
                    <a:pt x="2903" y="5875"/>
                  </a:lnTo>
                  <a:lnTo>
                    <a:pt x="2972" y="4009"/>
                  </a:lnTo>
                  <a:lnTo>
                    <a:pt x="0" y="0"/>
                  </a:lnTo>
                  <a:close/>
                </a:path>
              </a:pathLst>
            </a:custGeom>
            <a:solidFill>
              <a:srgbClr val="AC465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57" name="Google Shape;14217;p81">
              <a:extLst>
                <a:ext uri="{FF2B5EF4-FFF2-40B4-BE49-F238E27FC236}">
                  <a16:creationId xmlns:a16="http://schemas.microsoft.com/office/drawing/2014/main" id="{FEA93C9C-AF15-2192-EFB4-F2BC65E62B71}"/>
                </a:ext>
              </a:extLst>
            </p:cNvPr>
            <p:cNvSpPr/>
            <p:nvPr/>
          </p:nvSpPr>
          <p:spPr>
            <a:xfrm>
              <a:off x="6302375" y="2405675"/>
              <a:ext cx="95050" cy="279925"/>
            </a:xfrm>
            <a:custGeom>
              <a:avLst/>
              <a:gdLst/>
              <a:ahLst/>
              <a:cxnLst/>
              <a:rect l="l" t="t" r="r" b="b"/>
              <a:pathLst>
                <a:path w="3802" h="11197" fill="none" extrusionOk="0">
                  <a:moveTo>
                    <a:pt x="0" y="0"/>
                  </a:moveTo>
                  <a:lnTo>
                    <a:pt x="0" y="0"/>
                  </a:lnTo>
                  <a:lnTo>
                    <a:pt x="35" y="380"/>
                  </a:lnTo>
                  <a:lnTo>
                    <a:pt x="104" y="1313"/>
                  </a:lnTo>
                  <a:lnTo>
                    <a:pt x="277" y="2730"/>
                  </a:lnTo>
                  <a:lnTo>
                    <a:pt x="415" y="3525"/>
                  </a:lnTo>
                  <a:lnTo>
                    <a:pt x="588" y="4423"/>
                  </a:lnTo>
                  <a:lnTo>
                    <a:pt x="795" y="5322"/>
                  </a:lnTo>
                  <a:lnTo>
                    <a:pt x="1037" y="6255"/>
                  </a:lnTo>
                  <a:lnTo>
                    <a:pt x="1348" y="7188"/>
                  </a:lnTo>
                  <a:lnTo>
                    <a:pt x="1693" y="8121"/>
                  </a:lnTo>
                  <a:lnTo>
                    <a:pt x="2143" y="8985"/>
                  </a:lnTo>
                  <a:lnTo>
                    <a:pt x="2350" y="9399"/>
                  </a:lnTo>
                  <a:lnTo>
                    <a:pt x="2626" y="9814"/>
                  </a:lnTo>
                  <a:lnTo>
                    <a:pt x="2868" y="10194"/>
                  </a:lnTo>
                  <a:lnTo>
                    <a:pt x="3179" y="10540"/>
                  </a:lnTo>
                  <a:lnTo>
                    <a:pt x="3456" y="10885"/>
                  </a:lnTo>
                  <a:lnTo>
                    <a:pt x="3801" y="11196"/>
                  </a:lnTo>
                  <a:lnTo>
                    <a:pt x="3801" y="11196"/>
                  </a:lnTo>
                  <a:lnTo>
                    <a:pt x="3456" y="9641"/>
                  </a:lnTo>
                  <a:lnTo>
                    <a:pt x="3179" y="8259"/>
                  </a:lnTo>
                  <a:lnTo>
                    <a:pt x="2972" y="7015"/>
                  </a:lnTo>
                  <a:lnTo>
                    <a:pt x="2937" y="6462"/>
                  </a:lnTo>
                  <a:lnTo>
                    <a:pt x="2903" y="5978"/>
                  </a:lnTo>
                  <a:lnTo>
                    <a:pt x="2903" y="5978"/>
                  </a:lnTo>
                  <a:lnTo>
                    <a:pt x="2903" y="5875"/>
                  </a:lnTo>
                  <a:lnTo>
                    <a:pt x="2903" y="5875"/>
                  </a:lnTo>
                  <a:lnTo>
                    <a:pt x="2972" y="4009"/>
                  </a:lnTo>
                  <a:lnTo>
                    <a:pt x="2972" y="4009"/>
                  </a:lnTo>
                  <a:lnTo>
                    <a:pt x="2972" y="4009"/>
                  </a:lnTo>
                  <a:lnTo>
                    <a:pt x="0"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58" name="Google Shape;14218;p81">
              <a:extLst>
                <a:ext uri="{FF2B5EF4-FFF2-40B4-BE49-F238E27FC236}">
                  <a16:creationId xmlns:a16="http://schemas.microsoft.com/office/drawing/2014/main" id="{8AC34E44-1416-3A5A-F41B-446C0FF9798A}"/>
                </a:ext>
              </a:extLst>
            </p:cNvPr>
            <p:cNvSpPr/>
            <p:nvPr/>
          </p:nvSpPr>
          <p:spPr>
            <a:xfrm>
              <a:off x="6402575" y="2707175"/>
              <a:ext cx="25" cy="25"/>
            </a:xfrm>
            <a:custGeom>
              <a:avLst/>
              <a:gdLst/>
              <a:ahLst/>
              <a:cxnLst/>
              <a:rect l="l" t="t" r="r" b="b"/>
              <a:pathLst>
                <a:path w="1" h="1" extrusionOk="0">
                  <a:moveTo>
                    <a:pt x="1" y="0"/>
                  </a:moveTo>
                  <a:lnTo>
                    <a:pt x="1" y="0"/>
                  </a:lnTo>
                  <a:lnTo>
                    <a:pt x="1" y="0"/>
                  </a:lnTo>
                  <a:lnTo>
                    <a:pt x="1" y="0"/>
                  </a:lnTo>
                  <a:lnTo>
                    <a:pt x="1" y="0"/>
                  </a:lnTo>
                  <a:close/>
                </a:path>
              </a:pathLst>
            </a:custGeom>
            <a:solidFill>
              <a:srgbClr val="C7C7C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59" name="Google Shape;14219;p81">
              <a:extLst>
                <a:ext uri="{FF2B5EF4-FFF2-40B4-BE49-F238E27FC236}">
                  <a16:creationId xmlns:a16="http://schemas.microsoft.com/office/drawing/2014/main" id="{2996E2F9-5BF1-0A13-9260-8476FE9D7960}"/>
                </a:ext>
              </a:extLst>
            </p:cNvPr>
            <p:cNvSpPr/>
            <p:nvPr/>
          </p:nvSpPr>
          <p:spPr>
            <a:xfrm>
              <a:off x="6402575" y="2707175"/>
              <a:ext cx="25" cy="25"/>
            </a:xfrm>
            <a:custGeom>
              <a:avLst/>
              <a:gdLst/>
              <a:ahLst/>
              <a:cxnLst/>
              <a:rect l="l" t="t" r="r" b="b"/>
              <a:pathLst>
                <a:path w="1" h="1" fill="none" extrusionOk="0">
                  <a:moveTo>
                    <a:pt x="1" y="0"/>
                  </a:moveTo>
                  <a:lnTo>
                    <a:pt x="1" y="0"/>
                  </a:lnTo>
                  <a:lnTo>
                    <a:pt x="1" y="0"/>
                  </a:lnTo>
                  <a:lnTo>
                    <a:pt x="1" y="0"/>
                  </a:lnTo>
                  <a:lnTo>
                    <a:pt x="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60" name="Google Shape;14220;p81">
              <a:extLst>
                <a:ext uri="{FF2B5EF4-FFF2-40B4-BE49-F238E27FC236}">
                  <a16:creationId xmlns:a16="http://schemas.microsoft.com/office/drawing/2014/main" id="{93763DCE-7F02-2427-6C1F-4626A2925714}"/>
                </a:ext>
              </a:extLst>
            </p:cNvPr>
            <p:cNvSpPr/>
            <p:nvPr/>
          </p:nvSpPr>
          <p:spPr>
            <a:xfrm>
              <a:off x="6298900" y="2707175"/>
              <a:ext cx="108900" cy="279050"/>
            </a:xfrm>
            <a:custGeom>
              <a:avLst/>
              <a:gdLst/>
              <a:ahLst/>
              <a:cxnLst/>
              <a:rect l="l" t="t" r="r" b="b"/>
              <a:pathLst>
                <a:path w="4356" h="11162" extrusionOk="0">
                  <a:moveTo>
                    <a:pt x="4148" y="0"/>
                  </a:moveTo>
                  <a:lnTo>
                    <a:pt x="1" y="11162"/>
                  </a:lnTo>
                  <a:lnTo>
                    <a:pt x="865" y="9227"/>
                  </a:lnTo>
                  <a:lnTo>
                    <a:pt x="2005" y="6670"/>
                  </a:lnTo>
                  <a:lnTo>
                    <a:pt x="3215" y="3801"/>
                  </a:lnTo>
                  <a:lnTo>
                    <a:pt x="3802" y="2350"/>
                  </a:lnTo>
                  <a:lnTo>
                    <a:pt x="4355" y="968"/>
                  </a:lnTo>
                  <a:lnTo>
                    <a:pt x="4148" y="0"/>
                  </a:lnTo>
                  <a:close/>
                </a:path>
              </a:pathLst>
            </a:custGeom>
            <a:solidFill>
              <a:srgbClr val="AC465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61" name="Google Shape;14221;p81">
              <a:extLst>
                <a:ext uri="{FF2B5EF4-FFF2-40B4-BE49-F238E27FC236}">
                  <a16:creationId xmlns:a16="http://schemas.microsoft.com/office/drawing/2014/main" id="{DA3C03E0-6821-7AF2-DAB5-49D15E3C8725}"/>
                </a:ext>
              </a:extLst>
            </p:cNvPr>
            <p:cNvSpPr/>
            <p:nvPr/>
          </p:nvSpPr>
          <p:spPr>
            <a:xfrm>
              <a:off x="6298900" y="2707175"/>
              <a:ext cx="108900" cy="279050"/>
            </a:xfrm>
            <a:custGeom>
              <a:avLst/>
              <a:gdLst/>
              <a:ahLst/>
              <a:cxnLst/>
              <a:rect l="l" t="t" r="r" b="b"/>
              <a:pathLst>
                <a:path w="4356" h="11162" fill="none" extrusionOk="0">
                  <a:moveTo>
                    <a:pt x="4148" y="0"/>
                  </a:moveTo>
                  <a:lnTo>
                    <a:pt x="1" y="11162"/>
                  </a:lnTo>
                  <a:lnTo>
                    <a:pt x="1" y="11162"/>
                  </a:lnTo>
                  <a:lnTo>
                    <a:pt x="865" y="9227"/>
                  </a:lnTo>
                  <a:lnTo>
                    <a:pt x="2005" y="6670"/>
                  </a:lnTo>
                  <a:lnTo>
                    <a:pt x="3215" y="3801"/>
                  </a:lnTo>
                  <a:lnTo>
                    <a:pt x="3802" y="2350"/>
                  </a:lnTo>
                  <a:lnTo>
                    <a:pt x="4355" y="968"/>
                  </a:lnTo>
                  <a:lnTo>
                    <a:pt x="4148" y="0"/>
                  </a:lnTo>
                  <a:lnTo>
                    <a:pt x="4148" y="0"/>
                  </a:lnTo>
                  <a:lnTo>
                    <a:pt x="4148"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76" name="Google Shape;14222;p81">
              <a:extLst>
                <a:ext uri="{FF2B5EF4-FFF2-40B4-BE49-F238E27FC236}">
                  <a16:creationId xmlns:a16="http://schemas.microsoft.com/office/drawing/2014/main" id="{C43374BA-7747-2DA7-3B1B-CCE6A16A8256}"/>
                </a:ext>
              </a:extLst>
            </p:cNvPr>
            <p:cNvSpPr/>
            <p:nvPr/>
          </p:nvSpPr>
          <p:spPr>
            <a:xfrm>
              <a:off x="6295450" y="2731350"/>
              <a:ext cx="115800" cy="263525"/>
            </a:xfrm>
            <a:custGeom>
              <a:avLst/>
              <a:gdLst/>
              <a:ahLst/>
              <a:cxnLst/>
              <a:rect l="l" t="t" r="r" b="b"/>
              <a:pathLst>
                <a:path w="4632" h="10541" extrusionOk="0">
                  <a:moveTo>
                    <a:pt x="4493" y="1"/>
                  </a:moveTo>
                  <a:lnTo>
                    <a:pt x="3940" y="1383"/>
                  </a:lnTo>
                  <a:lnTo>
                    <a:pt x="3353" y="2834"/>
                  </a:lnTo>
                  <a:lnTo>
                    <a:pt x="2143" y="5703"/>
                  </a:lnTo>
                  <a:lnTo>
                    <a:pt x="1003" y="8260"/>
                  </a:lnTo>
                  <a:lnTo>
                    <a:pt x="139" y="10195"/>
                  </a:lnTo>
                  <a:lnTo>
                    <a:pt x="1" y="10540"/>
                  </a:lnTo>
                  <a:lnTo>
                    <a:pt x="692" y="9124"/>
                  </a:lnTo>
                  <a:lnTo>
                    <a:pt x="2247" y="5979"/>
                  </a:lnTo>
                  <a:lnTo>
                    <a:pt x="3076" y="4217"/>
                  </a:lnTo>
                  <a:lnTo>
                    <a:pt x="3802" y="2627"/>
                  </a:lnTo>
                  <a:lnTo>
                    <a:pt x="4355" y="1348"/>
                  </a:lnTo>
                  <a:lnTo>
                    <a:pt x="4562" y="899"/>
                  </a:lnTo>
                  <a:lnTo>
                    <a:pt x="4631" y="588"/>
                  </a:lnTo>
                  <a:lnTo>
                    <a:pt x="4493" y="1"/>
                  </a:lnTo>
                  <a:close/>
                </a:path>
              </a:pathLst>
            </a:custGeom>
            <a:solidFill>
              <a:srgbClr val="AC465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77" name="Google Shape;14223;p81">
              <a:extLst>
                <a:ext uri="{FF2B5EF4-FFF2-40B4-BE49-F238E27FC236}">
                  <a16:creationId xmlns:a16="http://schemas.microsoft.com/office/drawing/2014/main" id="{A6A4FA51-FBF3-30B0-A717-67A2F4069EA5}"/>
                </a:ext>
              </a:extLst>
            </p:cNvPr>
            <p:cNvSpPr/>
            <p:nvPr/>
          </p:nvSpPr>
          <p:spPr>
            <a:xfrm>
              <a:off x="6295450" y="2731350"/>
              <a:ext cx="115800" cy="263525"/>
            </a:xfrm>
            <a:custGeom>
              <a:avLst/>
              <a:gdLst/>
              <a:ahLst/>
              <a:cxnLst/>
              <a:rect l="l" t="t" r="r" b="b"/>
              <a:pathLst>
                <a:path w="4632" h="10541" fill="none" extrusionOk="0">
                  <a:moveTo>
                    <a:pt x="4493" y="1"/>
                  </a:moveTo>
                  <a:lnTo>
                    <a:pt x="4493" y="1"/>
                  </a:lnTo>
                  <a:lnTo>
                    <a:pt x="3940" y="1383"/>
                  </a:lnTo>
                  <a:lnTo>
                    <a:pt x="3353" y="2834"/>
                  </a:lnTo>
                  <a:lnTo>
                    <a:pt x="2143" y="5703"/>
                  </a:lnTo>
                  <a:lnTo>
                    <a:pt x="1003" y="8260"/>
                  </a:lnTo>
                  <a:lnTo>
                    <a:pt x="139" y="10195"/>
                  </a:lnTo>
                  <a:lnTo>
                    <a:pt x="1" y="10540"/>
                  </a:lnTo>
                  <a:lnTo>
                    <a:pt x="1" y="10540"/>
                  </a:lnTo>
                  <a:lnTo>
                    <a:pt x="692" y="9124"/>
                  </a:lnTo>
                  <a:lnTo>
                    <a:pt x="2247" y="5979"/>
                  </a:lnTo>
                  <a:lnTo>
                    <a:pt x="3076" y="4217"/>
                  </a:lnTo>
                  <a:lnTo>
                    <a:pt x="3802" y="2627"/>
                  </a:lnTo>
                  <a:lnTo>
                    <a:pt x="4355" y="1348"/>
                  </a:lnTo>
                  <a:lnTo>
                    <a:pt x="4562" y="899"/>
                  </a:lnTo>
                  <a:lnTo>
                    <a:pt x="4631" y="588"/>
                  </a:lnTo>
                  <a:lnTo>
                    <a:pt x="4493"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78" name="Google Shape;14224;p81">
              <a:extLst>
                <a:ext uri="{FF2B5EF4-FFF2-40B4-BE49-F238E27FC236}">
                  <a16:creationId xmlns:a16="http://schemas.microsoft.com/office/drawing/2014/main" id="{8A30D24A-0333-133C-306A-1E2F7BD71873}"/>
                </a:ext>
              </a:extLst>
            </p:cNvPr>
            <p:cNvSpPr/>
            <p:nvPr/>
          </p:nvSpPr>
          <p:spPr>
            <a:xfrm>
              <a:off x="6409500" y="2225100"/>
              <a:ext cx="15575" cy="23350"/>
            </a:xfrm>
            <a:custGeom>
              <a:avLst/>
              <a:gdLst/>
              <a:ahLst/>
              <a:cxnLst/>
              <a:rect l="l" t="t" r="r" b="b"/>
              <a:pathLst>
                <a:path w="623" h="934" extrusionOk="0">
                  <a:moveTo>
                    <a:pt x="0" y="1"/>
                  </a:moveTo>
                  <a:lnTo>
                    <a:pt x="622" y="934"/>
                  </a:lnTo>
                  <a:lnTo>
                    <a:pt x="311" y="415"/>
                  </a:lnTo>
                  <a:lnTo>
                    <a:pt x="0" y="1"/>
                  </a:lnTo>
                  <a:close/>
                </a:path>
              </a:pathLst>
            </a:custGeom>
            <a:solidFill>
              <a:srgbClr val="D7D7D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79" name="Google Shape;14225;p81">
              <a:extLst>
                <a:ext uri="{FF2B5EF4-FFF2-40B4-BE49-F238E27FC236}">
                  <a16:creationId xmlns:a16="http://schemas.microsoft.com/office/drawing/2014/main" id="{1AAE1550-3EAD-B702-C174-2CF925082FF2}"/>
                </a:ext>
              </a:extLst>
            </p:cNvPr>
            <p:cNvSpPr/>
            <p:nvPr/>
          </p:nvSpPr>
          <p:spPr>
            <a:xfrm>
              <a:off x="6409500" y="2225100"/>
              <a:ext cx="15575" cy="23350"/>
            </a:xfrm>
            <a:custGeom>
              <a:avLst/>
              <a:gdLst/>
              <a:ahLst/>
              <a:cxnLst/>
              <a:rect l="l" t="t" r="r" b="b"/>
              <a:pathLst>
                <a:path w="623" h="934" fill="none" extrusionOk="0">
                  <a:moveTo>
                    <a:pt x="0" y="1"/>
                  </a:moveTo>
                  <a:lnTo>
                    <a:pt x="0" y="1"/>
                  </a:lnTo>
                  <a:lnTo>
                    <a:pt x="622" y="934"/>
                  </a:lnTo>
                  <a:lnTo>
                    <a:pt x="622" y="934"/>
                  </a:lnTo>
                  <a:lnTo>
                    <a:pt x="311" y="415"/>
                  </a:lnTo>
                  <a:lnTo>
                    <a:pt x="0"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80" name="Google Shape;14226;p81">
              <a:extLst>
                <a:ext uri="{FF2B5EF4-FFF2-40B4-BE49-F238E27FC236}">
                  <a16:creationId xmlns:a16="http://schemas.microsoft.com/office/drawing/2014/main" id="{1C7F376E-0848-34AF-AD85-45A3D3732352}"/>
                </a:ext>
              </a:extLst>
            </p:cNvPr>
            <p:cNvSpPr/>
            <p:nvPr/>
          </p:nvSpPr>
          <p:spPr>
            <a:xfrm>
              <a:off x="6037150" y="2058375"/>
              <a:ext cx="875" cy="25"/>
            </a:xfrm>
            <a:custGeom>
              <a:avLst/>
              <a:gdLst/>
              <a:ahLst/>
              <a:cxnLst/>
              <a:rect l="l" t="t" r="r" b="b"/>
              <a:pathLst>
                <a:path w="35" h="1" extrusionOk="0">
                  <a:moveTo>
                    <a:pt x="35" y="0"/>
                  </a:moveTo>
                  <a:lnTo>
                    <a:pt x="35" y="0"/>
                  </a:lnTo>
                  <a:lnTo>
                    <a:pt x="0" y="0"/>
                  </a:lnTo>
                  <a:lnTo>
                    <a:pt x="0" y="0"/>
                  </a:lnTo>
                  <a:lnTo>
                    <a:pt x="35" y="0"/>
                  </a:lnTo>
                  <a:close/>
                </a:path>
              </a:pathLst>
            </a:custGeom>
            <a:solidFill>
              <a:srgbClr val="C9949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81" name="Google Shape;14227;p81">
              <a:extLst>
                <a:ext uri="{FF2B5EF4-FFF2-40B4-BE49-F238E27FC236}">
                  <a16:creationId xmlns:a16="http://schemas.microsoft.com/office/drawing/2014/main" id="{CAE394EA-79BB-1BFC-B955-8215A8F1605E}"/>
                </a:ext>
              </a:extLst>
            </p:cNvPr>
            <p:cNvSpPr/>
            <p:nvPr/>
          </p:nvSpPr>
          <p:spPr>
            <a:xfrm>
              <a:off x="6037150" y="2058375"/>
              <a:ext cx="875" cy="25"/>
            </a:xfrm>
            <a:custGeom>
              <a:avLst/>
              <a:gdLst/>
              <a:ahLst/>
              <a:cxnLst/>
              <a:rect l="l" t="t" r="r" b="b"/>
              <a:pathLst>
                <a:path w="35" h="1" fill="none" extrusionOk="0">
                  <a:moveTo>
                    <a:pt x="35" y="0"/>
                  </a:moveTo>
                  <a:lnTo>
                    <a:pt x="35" y="0"/>
                  </a:lnTo>
                  <a:lnTo>
                    <a:pt x="0" y="0"/>
                  </a:lnTo>
                  <a:lnTo>
                    <a:pt x="0" y="0"/>
                  </a:lnTo>
                  <a:lnTo>
                    <a:pt x="35"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82" name="Google Shape;14228;p81">
              <a:extLst>
                <a:ext uri="{FF2B5EF4-FFF2-40B4-BE49-F238E27FC236}">
                  <a16:creationId xmlns:a16="http://schemas.microsoft.com/office/drawing/2014/main" id="{B3FF55D9-FB22-7B6A-C05E-46857F05EFE4}"/>
                </a:ext>
              </a:extLst>
            </p:cNvPr>
            <p:cNvSpPr/>
            <p:nvPr/>
          </p:nvSpPr>
          <p:spPr>
            <a:xfrm>
              <a:off x="6033700" y="2057500"/>
              <a:ext cx="78625" cy="137400"/>
            </a:xfrm>
            <a:custGeom>
              <a:avLst/>
              <a:gdLst/>
              <a:ahLst/>
              <a:cxnLst/>
              <a:rect l="l" t="t" r="r" b="b"/>
              <a:pathLst>
                <a:path w="3145" h="5496" extrusionOk="0">
                  <a:moveTo>
                    <a:pt x="242" y="1"/>
                  </a:moveTo>
                  <a:lnTo>
                    <a:pt x="173" y="35"/>
                  </a:lnTo>
                  <a:lnTo>
                    <a:pt x="138" y="35"/>
                  </a:lnTo>
                  <a:lnTo>
                    <a:pt x="35" y="104"/>
                  </a:lnTo>
                  <a:lnTo>
                    <a:pt x="0" y="243"/>
                  </a:lnTo>
                  <a:lnTo>
                    <a:pt x="0" y="381"/>
                  </a:lnTo>
                  <a:lnTo>
                    <a:pt x="0" y="554"/>
                  </a:lnTo>
                  <a:lnTo>
                    <a:pt x="69" y="726"/>
                  </a:lnTo>
                  <a:lnTo>
                    <a:pt x="173" y="899"/>
                  </a:lnTo>
                  <a:lnTo>
                    <a:pt x="242" y="1037"/>
                  </a:lnTo>
                  <a:lnTo>
                    <a:pt x="346" y="1072"/>
                  </a:lnTo>
                  <a:lnTo>
                    <a:pt x="380" y="1072"/>
                  </a:lnTo>
                  <a:lnTo>
                    <a:pt x="415" y="1107"/>
                  </a:lnTo>
                  <a:lnTo>
                    <a:pt x="484" y="1176"/>
                  </a:lnTo>
                  <a:lnTo>
                    <a:pt x="657" y="1521"/>
                  </a:lnTo>
                  <a:lnTo>
                    <a:pt x="1210" y="2627"/>
                  </a:lnTo>
                  <a:lnTo>
                    <a:pt x="1590" y="3353"/>
                  </a:lnTo>
                  <a:lnTo>
                    <a:pt x="2004" y="4078"/>
                  </a:lnTo>
                  <a:lnTo>
                    <a:pt x="2523" y="4804"/>
                  </a:lnTo>
                  <a:lnTo>
                    <a:pt x="2799" y="5150"/>
                  </a:lnTo>
                  <a:lnTo>
                    <a:pt x="3110" y="5495"/>
                  </a:lnTo>
                  <a:lnTo>
                    <a:pt x="3145" y="3145"/>
                  </a:lnTo>
                  <a:lnTo>
                    <a:pt x="2592" y="2662"/>
                  </a:lnTo>
                  <a:lnTo>
                    <a:pt x="2108" y="2178"/>
                  </a:lnTo>
                  <a:lnTo>
                    <a:pt x="1659" y="1659"/>
                  </a:lnTo>
                  <a:lnTo>
                    <a:pt x="1244" y="1210"/>
                  </a:lnTo>
                  <a:lnTo>
                    <a:pt x="1106" y="1037"/>
                  </a:lnTo>
                  <a:lnTo>
                    <a:pt x="1002" y="830"/>
                  </a:lnTo>
                  <a:lnTo>
                    <a:pt x="864" y="485"/>
                  </a:lnTo>
                  <a:lnTo>
                    <a:pt x="760" y="312"/>
                  </a:lnTo>
                  <a:lnTo>
                    <a:pt x="657" y="208"/>
                  </a:lnTo>
                  <a:lnTo>
                    <a:pt x="518" y="104"/>
                  </a:lnTo>
                  <a:lnTo>
                    <a:pt x="346" y="35"/>
                  </a:lnTo>
                  <a:lnTo>
                    <a:pt x="242" y="1"/>
                  </a:lnTo>
                  <a:close/>
                </a:path>
              </a:pathLst>
            </a:custGeom>
            <a:solidFill>
              <a:srgbClr val="D7D7D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83" name="Google Shape;14229;p81">
              <a:extLst>
                <a:ext uri="{FF2B5EF4-FFF2-40B4-BE49-F238E27FC236}">
                  <a16:creationId xmlns:a16="http://schemas.microsoft.com/office/drawing/2014/main" id="{2A8C2986-8B73-132E-AAE7-D777D26B4AA4}"/>
                </a:ext>
              </a:extLst>
            </p:cNvPr>
            <p:cNvSpPr/>
            <p:nvPr/>
          </p:nvSpPr>
          <p:spPr>
            <a:xfrm>
              <a:off x="6033700" y="2057500"/>
              <a:ext cx="78625" cy="137400"/>
            </a:xfrm>
            <a:custGeom>
              <a:avLst/>
              <a:gdLst/>
              <a:ahLst/>
              <a:cxnLst/>
              <a:rect l="l" t="t" r="r" b="b"/>
              <a:pathLst>
                <a:path w="3145" h="5496" fill="none" extrusionOk="0">
                  <a:moveTo>
                    <a:pt x="242" y="1"/>
                  </a:moveTo>
                  <a:lnTo>
                    <a:pt x="242" y="1"/>
                  </a:lnTo>
                  <a:lnTo>
                    <a:pt x="173" y="35"/>
                  </a:lnTo>
                  <a:lnTo>
                    <a:pt x="173" y="35"/>
                  </a:lnTo>
                  <a:lnTo>
                    <a:pt x="138" y="35"/>
                  </a:lnTo>
                  <a:lnTo>
                    <a:pt x="138" y="35"/>
                  </a:lnTo>
                  <a:lnTo>
                    <a:pt x="35" y="104"/>
                  </a:lnTo>
                  <a:lnTo>
                    <a:pt x="0" y="243"/>
                  </a:lnTo>
                  <a:lnTo>
                    <a:pt x="0" y="381"/>
                  </a:lnTo>
                  <a:lnTo>
                    <a:pt x="0" y="554"/>
                  </a:lnTo>
                  <a:lnTo>
                    <a:pt x="0" y="554"/>
                  </a:lnTo>
                  <a:lnTo>
                    <a:pt x="69" y="726"/>
                  </a:lnTo>
                  <a:lnTo>
                    <a:pt x="173" y="899"/>
                  </a:lnTo>
                  <a:lnTo>
                    <a:pt x="242" y="1037"/>
                  </a:lnTo>
                  <a:lnTo>
                    <a:pt x="346" y="1072"/>
                  </a:lnTo>
                  <a:lnTo>
                    <a:pt x="346" y="1072"/>
                  </a:lnTo>
                  <a:lnTo>
                    <a:pt x="380" y="1072"/>
                  </a:lnTo>
                  <a:lnTo>
                    <a:pt x="380" y="1072"/>
                  </a:lnTo>
                  <a:lnTo>
                    <a:pt x="380" y="1072"/>
                  </a:lnTo>
                  <a:lnTo>
                    <a:pt x="380" y="1072"/>
                  </a:lnTo>
                  <a:lnTo>
                    <a:pt x="415" y="1107"/>
                  </a:lnTo>
                  <a:lnTo>
                    <a:pt x="484" y="1176"/>
                  </a:lnTo>
                  <a:lnTo>
                    <a:pt x="657" y="1521"/>
                  </a:lnTo>
                  <a:lnTo>
                    <a:pt x="1210" y="2627"/>
                  </a:lnTo>
                  <a:lnTo>
                    <a:pt x="1590" y="3353"/>
                  </a:lnTo>
                  <a:lnTo>
                    <a:pt x="2004" y="4078"/>
                  </a:lnTo>
                  <a:lnTo>
                    <a:pt x="2523" y="4804"/>
                  </a:lnTo>
                  <a:lnTo>
                    <a:pt x="2799" y="5150"/>
                  </a:lnTo>
                  <a:lnTo>
                    <a:pt x="3110" y="5495"/>
                  </a:lnTo>
                  <a:lnTo>
                    <a:pt x="3110" y="5495"/>
                  </a:lnTo>
                  <a:lnTo>
                    <a:pt x="3145" y="3145"/>
                  </a:lnTo>
                  <a:lnTo>
                    <a:pt x="3145" y="3145"/>
                  </a:lnTo>
                  <a:lnTo>
                    <a:pt x="2592" y="2662"/>
                  </a:lnTo>
                  <a:lnTo>
                    <a:pt x="2108" y="2178"/>
                  </a:lnTo>
                  <a:lnTo>
                    <a:pt x="1659" y="1659"/>
                  </a:lnTo>
                  <a:lnTo>
                    <a:pt x="1244" y="1210"/>
                  </a:lnTo>
                  <a:lnTo>
                    <a:pt x="1244" y="1210"/>
                  </a:lnTo>
                  <a:lnTo>
                    <a:pt x="1106" y="1037"/>
                  </a:lnTo>
                  <a:lnTo>
                    <a:pt x="1002" y="830"/>
                  </a:lnTo>
                  <a:lnTo>
                    <a:pt x="864" y="485"/>
                  </a:lnTo>
                  <a:lnTo>
                    <a:pt x="760" y="312"/>
                  </a:lnTo>
                  <a:lnTo>
                    <a:pt x="657" y="208"/>
                  </a:lnTo>
                  <a:lnTo>
                    <a:pt x="518" y="104"/>
                  </a:lnTo>
                  <a:lnTo>
                    <a:pt x="346" y="35"/>
                  </a:lnTo>
                  <a:lnTo>
                    <a:pt x="346" y="35"/>
                  </a:lnTo>
                  <a:lnTo>
                    <a:pt x="242"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84" name="Google Shape;14230;p81">
              <a:extLst>
                <a:ext uri="{FF2B5EF4-FFF2-40B4-BE49-F238E27FC236}">
                  <a16:creationId xmlns:a16="http://schemas.microsoft.com/office/drawing/2014/main" id="{B2827F8C-8E61-DAA6-2AF8-75B7BC5EECA7}"/>
                </a:ext>
              </a:extLst>
            </p:cNvPr>
            <p:cNvSpPr/>
            <p:nvPr/>
          </p:nvSpPr>
          <p:spPr>
            <a:xfrm>
              <a:off x="6111450" y="2136125"/>
              <a:ext cx="94175" cy="102825"/>
            </a:xfrm>
            <a:custGeom>
              <a:avLst/>
              <a:gdLst/>
              <a:ahLst/>
              <a:cxnLst/>
              <a:rect l="l" t="t" r="r" b="b"/>
              <a:pathLst>
                <a:path w="3767" h="4113" extrusionOk="0">
                  <a:moveTo>
                    <a:pt x="35" y="0"/>
                  </a:moveTo>
                  <a:lnTo>
                    <a:pt x="0" y="2350"/>
                  </a:lnTo>
                  <a:lnTo>
                    <a:pt x="380" y="2730"/>
                  </a:lnTo>
                  <a:lnTo>
                    <a:pt x="795" y="3041"/>
                  </a:lnTo>
                  <a:lnTo>
                    <a:pt x="1279" y="3352"/>
                  </a:lnTo>
                  <a:lnTo>
                    <a:pt x="1763" y="3594"/>
                  </a:lnTo>
                  <a:lnTo>
                    <a:pt x="2246" y="3802"/>
                  </a:lnTo>
                  <a:lnTo>
                    <a:pt x="2765" y="3940"/>
                  </a:lnTo>
                  <a:lnTo>
                    <a:pt x="3249" y="4044"/>
                  </a:lnTo>
                  <a:lnTo>
                    <a:pt x="3767" y="4113"/>
                  </a:lnTo>
                  <a:lnTo>
                    <a:pt x="3041" y="2938"/>
                  </a:lnTo>
                  <a:lnTo>
                    <a:pt x="2799" y="2523"/>
                  </a:lnTo>
                  <a:lnTo>
                    <a:pt x="2557" y="2074"/>
                  </a:lnTo>
                  <a:lnTo>
                    <a:pt x="2281" y="1452"/>
                  </a:lnTo>
                  <a:lnTo>
                    <a:pt x="1693" y="1175"/>
                  </a:lnTo>
                  <a:lnTo>
                    <a:pt x="1141" y="830"/>
                  </a:lnTo>
                  <a:lnTo>
                    <a:pt x="588" y="415"/>
                  </a:lnTo>
                  <a:lnTo>
                    <a:pt x="35" y="0"/>
                  </a:lnTo>
                  <a:close/>
                </a:path>
              </a:pathLst>
            </a:custGeom>
            <a:solidFill>
              <a:srgbClr val="B94A6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85" name="Google Shape;14231;p81">
              <a:extLst>
                <a:ext uri="{FF2B5EF4-FFF2-40B4-BE49-F238E27FC236}">
                  <a16:creationId xmlns:a16="http://schemas.microsoft.com/office/drawing/2014/main" id="{5B279D8F-0786-7218-9570-FBC026E618E6}"/>
                </a:ext>
              </a:extLst>
            </p:cNvPr>
            <p:cNvSpPr/>
            <p:nvPr/>
          </p:nvSpPr>
          <p:spPr>
            <a:xfrm>
              <a:off x="6111450" y="2136125"/>
              <a:ext cx="94175" cy="102825"/>
            </a:xfrm>
            <a:custGeom>
              <a:avLst/>
              <a:gdLst/>
              <a:ahLst/>
              <a:cxnLst/>
              <a:rect l="l" t="t" r="r" b="b"/>
              <a:pathLst>
                <a:path w="3767" h="4113" fill="none" extrusionOk="0">
                  <a:moveTo>
                    <a:pt x="35" y="0"/>
                  </a:moveTo>
                  <a:lnTo>
                    <a:pt x="35" y="0"/>
                  </a:lnTo>
                  <a:lnTo>
                    <a:pt x="0" y="2350"/>
                  </a:lnTo>
                  <a:lnTo>
                    <a:pt x="0" y="2350"/>
                  </a:lnTo>
                  <a:lnTo>
                    <a:pt x="380" y="2730"/>
                  </a:lnTo>
                  <a:lnTo>
                    <a:pt x="795" y="3041"/>
                  </a:lnTo>
                  <a:lnTo>
                    <a:pt x="795" y="3041"/>
                  </a:lnTo>
                  <a:lnTo>
                    <a:pt x="1279" y="3352"/>
                  </a:lnTo>
                  <a:lnTo>
                    <a:pt x="1763" y="3594"/>
                  </a:lnTo>
                  <a:lnTo>
                    <a:pt x="2246" y="3802"/>
                  </a:lnTo>
                  <a:lnTo>
                    <a:pt x="2765" y="3940"/>
                  </a:lnTo>
                  <a:lnTo>
                    <a:pt x="2765" y="3940"/>
                  </a:lnTo>
                  <a:lnTo>
                    <a:pt x="3249" y="4044"/>
                  </a:lnTo>
                  <a:lnTo>
                    <a:pt x="3767" y="4113"/>
                  </a:lnTo>
                  <a:lnTo>
                    <a:pt x="3767" y="4113"/>
                  </a:lnTo>
                  <a:lnTo>
                    <a:pt x="3041" y="2938"/>
                  </a:lnTo>
                  <a:lnTo>
                    <a:pt x="3041" y="2938"/>
                  </a:lnTo>
                  <a:lnTo>
                    <a:pt x="2799" y="2523"/>
                  </a:lnTo>
                  <a:lnTo>
                    <a:pt x="2557" y="2074"/>
                  </a:lnTo>
                  <a:lnTo>
                    <a:pt x="2281" y="1452"/>
                  </a:lnTo>
                  <a:lnTo>
                    <a:pt x="2281" y="1452"/>
                  </a:lnTo>
                  <a:lnTo>
                    <a:pt x="1693" y="1175"/>
                  </a:lnTo>
                  <a:lnTo>
                    <a:pt x="1141" y="830"/>
                  </a:lnTo>
                  <a:lnTo>
                    <a:pt x="1141" y="830"/>
                  </a:lnTo>
                  <a:lnTo>
                    <a:pt x="588" y="415"/>
                  </a:lnTo>
                  <a:lnTo>
                    <a:pt x="35"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86" name="Google Shape;14232;p81">
              <a:extLst>
                <a:ext uri="{FF2B5EF4-FFF2-40B4-BE49-F238E27FC236}">
                  <a16:creationId xmlns:a16="http://schemas.microsoft.com/office/drawing/2014/main" id="{C604E800-1028-2E30-2EC2-B89BA6E5B9DF}"/>
                </a:ext>
              </a:extLst>
            </p:cNvPr>
            <p:cNvSpPr/>
            <p:nvPr/>
          </p:nvSpPr>
          <p:spPr>
            <a:xfrm>
              <a:off x="6168450" y="2172400"/>
              <a:ext cx="256625" cy="76050"/>
            </a:xfrm>
            <a:custGeom>
              <a:avLst/>
              <a:gdLst/>
              <a:ahLst/>
              <a:cxnLst/>
              <a:rect l="l" t="t" r="r" b="b"/>
              <a:pathLst>
                <a:path w="10265" h="3042" extrusionOk="0">
                  <a:moveTo>
                    <a:pt x="1" y="1"/>
                  </a:moveTo>
                  <a:lnTo>
                    <a:pt x="277" y="623"/>
                  </a:lnTo>
                  <a:lnTo>
                    <a:pt x="519" y="1072"/>
                  </a:lnTo>
                  <a:lnTo>
                    <a:pt x="761" y="1487"/>
                  </a:lnTo>
                  <a:lnTo>
                    <a:pt x="1487" y="2662"/>
                  </a:lnTo>
                  <a:lnTo>
                    <a:pt x="2454" y="2765"/>
                  </a:lnTo>
                  <a:lnTo>
                    <a:pt x="3560" y="2834"/>
                  </a:lnTo>
                  <a:lnTo>
                    <a:pt x="5910" y="2938"/>
                  </a:lnTo>
                  <a:lnTo>
                    <a:pt x="8225" y="2973"/>
                  </a:lnTo>
                  <a:lnTo>
                    <a:pt x="10264" y="3042"/>
                  </a:lnTo>
                  <a:lnTo>
                    <a:pt x="9642" y="2109"/>
                  </a:lnTo>
                  <a:lnTo>
                    <a:pt x="8986" y="1348"/>
                  </a:lnTo>
                  <a:lnTo>
                    <a:pt x="8605" y="865"/>
                  </a:lnTo>
                  <a:lnTo>
                    <a:pt x="8156" y="174"/>
                  </a:lnTo>
                  <a:lnTo>
                    <a:pt x="6981" y="312"/>
                  </a:lnTo>
                  <a:lnTo>
                    <a:pt x="5668" y="450"/>
                  </a:lnTo>
                  <a:lnTo>
                    <a:pt x="4286" y="519"/>
                  </a:lnTo>
                  <a:lnTo>
                    <a:pt x="2973" y="554"/>
                  </a:lnTo>
                  <a:lnTo>
                    <a:pt x="1867" y="519"/>
                  </a:lnTo>
                  <a:lnTo>
                    <a:pt x="1418" y="450"/>
                  </a:lnTo>
                  <a:lnTo>
                    <a:pt x="1072" y="381"/>
                  </a:lnTo>
                  <a:lnTo>
                    <a:pt x="554" y="208"/>
                  </a:lnTo>
                  <a:lnTo>
                    <a:pt x="1" y="1"/>
                  </a:lnTo>
                  <a:close/>
                </a:path>
              </a:pathLst>
            </a:custGeom>
            <a:solidFill>
              <a:srgbClr val="B94A6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87" name="Google Shape;14233;p81">
              <a:extLst>
                <a:ext uri="{FF2B5EF4-FFF2-40B4-BE49-F238E27FC236}">
                  <a16:creationId xmlns:a16="http://schemas.microsoft.com/office/drawing/2014/main" id="{6BAF7DD0-2CD1-7C47-DAA3-625D22E38D6C}"/>
                </a:ext>
              </a:extLst>
            </p:cNvPr>
            <p:cNvSpPr/>
            <p:nvPr/>
          </p:nvSpPr>
          <p:spPr>
            <a:xfrm>
              <a:off x="6168450" y="2172400"/>
              <a:ext cx="256625" cy="76050"/>
            </a:xfrm>
            <a:custGeom>
              <a:avLst/>
              <a:gdLst/>
              <a:ahLst/>
              <a:cxnLst/>
              <a:rect l="l" t="t" r="r" b="b"/>
              <a:pathLst>
                <a:path w="10265" h="3042" fill="none" extrusionOk="0">
                  <a:moveTo>
                    <a:pt x="1" y="1"/>
                  </a:moveTo>
                  <a:lnTo>
                    <a:pt x="1" y="1"/>
                  </a:lnTo>
                  <a:lnTo>
                    <a:pt x="277" y="623"/>
                  </a:lnTo>
                  <a:lnTo>
                    <a:pt x="519" y="1072"/>
                  </a:lnTo>
                  <a:lnTo>
                    <a:pt x="761" y="1487"/>
                  </a:lnTo>
                  <a:lnTo>
                    <a:pt x="761" y="1487"/>
                  </a:lnTo>
                  <a:lnTo>
                    <a:pt x="1487" y="2662"/>
                  </a:lnTo>
                  <a:lnTo>
                    <a:pt x="1487" y="2662"/>
                  </a:lnTo>
                  <a:lnTo>
                    <a:pt x="2454" y="2765"/>
                  </a:lnTo>
                  <a:lnTo>
                    <a:pt x="3560" y="2834"/>
                  </a:lnTo>
                  <a:lnTo>
                    <a:pt x="5910" y="2938"/>
                  </a:lnTo>
                  <a:lnTo>
                    <a:pt x="8225" y="2973"/>
                  </a:lnTo>
                  <a:lnTo>
                    <a:pt x="10264" y="3042"/>
                  </a:lnTo>
                  <a:lnTo>
                    <a:pt x="10264" y="3042"/>
                  </a:lnTo>
                  <a:lnTo>
                    <a:pt x="10264" y="3042"/>
                  </a:lnTo>
                  <a:lnTo>
                    <a:pt x="10264" y="3042"/>
                  </a:lnTo>
                  <a:lnTo>
                    <a:pt x="9642" y="2109"/>
                  </a:lnTo>
                  <a:lnTo>
                    <a:pt x="9642" y="2109"/>
                  </a:lnTo>
                  <a:lnTo>
                    <a:pt x="8986" y="1348"/>
                  </a:lnTo>
                  <a:lnTo>
                    <a:pt x="8605" y="865"/>
                  </a:lnTo>
                  <a:lnTo>
                    <a:pt x="8156" y="174"/>
                  </a:lnTo>
                  <a:lnTo>
                    <a:pt x="8156" y="174"/>
                  </a:lnTo>
                  <a:lnTo>
                    <a:pt x="6981" y="312"/>
                  </a:lnTo>
                  <a:lnTo>
                    <a:pt x="5668" y="450"/>
                  </a:lnTo>
                  <a:lnTo>
                    <a:pt x="4286" y="519"/>
                  </a:lnTo>
                  <a:lnTo>
                    <a:pt x="2973" y="554"/>
                  </a:lnTo>
                  <a:lnTo>
                    <a:pt x="2973" y="554"/>
                  </a:lnTo>
                  <a:lnTo>
                    <a:pt x="1867" y="519"/>
                  </a:lnTo>
                  <a:lnTo>
                    <a:pt x="1418" y="450"/>
                  </a:lnTo>
                  <a:lnTo>
                    <a:pt x="1072" y="381"/>
                  </a:lnTo>
                  <a:lnTo>
                    <a:pt x="1072" y="381"/>
                  </a:lnTo>
                  <a:lnTo>
                    <a:pt x="554" y="208"/>
                  </a:lnTo>
                  <a:lnTo>
                    <a:pt x="1"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88" name="Google Shape;14234;p81">
              <a:extLst>
                <a:ext uri="{FF2B5EF4-FFF2-40B4-BE49-F238E27FC236}">
                  <a16:creationId xmlns:a16="http://schemas.microsoft.com/office/drawing/2014/main" id="{84703DD1-30C5-A66B-D31D-3769E13FFBD4}"/>
                </a:ext>
              </a:extLst>
            </p:cNvPr>
            <p:cNvSpPr/>
            <p:nvPr/>
          </p:nvSpPr>
          <p:spPr>
            <a:xfrm>
              <a:off x="6019000" y="2038500"/>
              <a:ext cx="1054850" cy="372375"/>
            </a:xfrm>
            <a:custGeom>
              <a:avLst/>
              <a:gdLst/>
              <a:ahLst/>
              <a:cxnLst/>
              <a:rect l="l" t="t" r="r" b="b"/>
              <a:pathLst>
                <a:path w="42194" h="14895" extrusionOk="0">
                  <a:moveTo>
                    <a:pt x="934" y="1"/>
                  </a:moveTo>
                  <a:lnTo>
                    <a:pt x="692" y="35"/>
                  </a:lnTo>
                  <a:lnTo>
                    <a:pt x="519" y="104"/>
                  </a:lnTo>
                  <a:lnTo>
                    <a:pt x="381" y="208"/>
                  </a:lnTo>
                  <a:lnTo>
                    <a:pt x="243" y="312"/>
                  </a:lnTo>
                  <a:lnTo>
                    <a:pt x="173" y="450"/>
                  </a:lnTo>
                  <a:lnTo>
                    <a:pt x="104" y="588"/>
                  </a:lnTo>
                  <a:lnTo>
                    <a:pt x="70" y="726"/>
                  </a:lnTo>
                  <a:lnTo>
                    <a:pt x="1" y="1003"/>
                  </a:lnTo>
                  <a:lnTo>
                    <a:pt x="1" y="1314"/>
                  </a:lnTo>
                  <a:lnTo>
                    <a:pt x="1" y="1486"/>
                  </a:lnTo>
                  <a:lnTo>
                    <a:pt x="35" y="1590"/>
                  </a:lnTo>
                  <a:lnTo>
                    <a:pt x="104" y="1694"/>
                  </a:lnTo>
                  <a:lnTo>
                    <a:pt x="208" y="1763"/>
                  </a:lnTo>
                  <a:lnTo>
                    <a:pt x="484" y="1867"/>
                  </a:lnTo>
                  <a:lnTo>
                    <a:pt x="692" y="1867"/>
                  </a:lnTo>
                  <a:lnTo>
                    <a:pt x="899" y="1797"/>
                  </a:lnTo>
                  <a:lnTo>
                    <a:pt x="1072" y="1728"/>
                  </a:lnTo>
                  <a:lnTo>
                    <a:pt x="1141" y="1763"/>
                  </a:lnTo>
                  <a:lnTo>
                    <a:pt x="1245" y="1867"/>
                  </a:lnTo>
                  <a:lnTo>
                    <a:pt x="1590" y="2350"/>
                  </a:lnTo>
                  <a:lnTo>
                    <a:pt x="2109" y="3076"/>
                  </a:lnTo>
                  <a:lnTo>
                    <a:pt x="2765" y="3905"/>
                  </a:lnTo>
                  <a:lnTo>
                    <a:pt x="3145" y="4355"/>
                  </a:lnTo>
                  <a:lnTo>
                    <a:pt x="3560" y="4804"/>
                  </a:lnTo>
                  <a:lnTo>
                    <a:pt x="4009" y="5219"/>
                  </a:lnTo>
                  <a:lnTo>
                    <a:pt x="4493" y="5599"/>
                  </a:lnTo>
                  <a:lnTo>
                    <a:pt x="5011" y="5979"/>
                  </a:lnTo>
                  <a:lnTo>
                    <a:pt x="5564" y="6290"/>
                  </a:lnTo>
                  <a:lnTo>
                    <a:pt x="6117" y="6532"/>
                  </a:lnTo>
                  <a:lnTo>
                    <a:pt x="6428" y="6635"/>
                  </a:lnTo>
                  <a:lnTo>
                    <a:pt x="6739" y="6704"/>
                  </a:lnTo>
                  <a:lnTo>
                    <a:pt x="7327" y="6843"/>
                  </a:lnTo>
                  <a:lnTo>
                    <a:pt x="7983" y="6912"/>
                  </a:lnTo>
                  <a:lnTo>
                    <a:pt x="8640" y="6981"/>
                  </a:lnTo>
                  <a:lnTo>
                    <a:pt x="9365" y="7015"/>
                  </a:lnTo>
                  <a:lnTo>
                    <a:pt x="10920" y="7085"/>
                  </a:lnTo>
                  <a:lnTo>
                    <a:pt x="12476" y="7085"/>
                  </a:lnTo>
                  <a:lnTo>
                    <a:pt x="14031" y="7119"/>
                  </a:lnTo>
                  <a:lnTo>
                    <a:pt x="15516" y="7154"/>
                  </a:lnTo>
                  <a:lnTo>
                    <a:pt x="16173" y="7223"/>
                  </a:lnTo>
                  <a:lnTo>
                    <a:pt x="16795" y="7257"/>
                  </a:lnTo>
                  <a:lnTo>
                    <a:pt x="17383" y="7361"/>
                  </a:lnTo>
                  <a:lnTo>
                    <a:pt x="17901" y="7465"/>
                  </a:lnTo>
                  <a:lnTo>
                    <a:pt x="18385" y="7638"/>
                  </a:lnTo>
                  <a:lnTo>
                    <a:pt x="18868" y="7845"/>
                  </a:lnTo>
                  <a:lnTo>
                    <a:pt x="19352" y="8156"/>
                  </a:lnTo>
                  <a:lnTo>
                    <a:pt x="19871" y="8501"/>
                  </a:lnTo>
                  <a:lnTo>
                    <a:pt x="20389" y="8916"/>
                  </a:lnTo>
                  <a:lnTo>
                    <a:pt x="20907" y="9331"/>
                  </a:lnTo>
                  <a:lnTo>
                    <a:pt x="22013" y="10264"/>
                  </a:lnTo>
                  <a:lnTo>
                    <a:pt x="23188" y="11197"/>
                  </a:lnTo>
                  <a:lnTo>
                    <a:pt x="23775" y="11681"/>
                  </a:lnTo>
                  <a:lnTo>
                    <a:pt x="24432" y="12130"/>
                  </a:lnTo>
                  <a:lnTo>
                    <a:pt x="25054" y="12510"/>
                  </a:lnTo>
                  <a:lnTo>
                    <a:pt x="25745" y="12890"/>
                  </a:lnTo>
                  <a:lnTo>
                    <a:pt x="26436" y="13201"/>
                  </a:lnTo>
                  <a:lnTo>
                    <a:pt x="27162" y="13478"/>
                  </a:lnTo>
                  <a:lnTo>
                    <a:pt x="27680" y="13616"/>
                  </a:lnTo>
                  <a:lnTo>
                    <a:pt x="28337" y="13754"/>
                  </a:lnTo>
                  <a:lnTo>
                    <a:pt x="29996" y="14030"/>
                  </a:lnTo>
                  <a:lnTo>
                    <a:pt x="31965" y="14307"/>
                  </a:lnTo>
                  <a:lnTo>
                    <a:pt x="34039" y="14514"/>
                  </a:lnTo>
                  <a:lnTo>
                    <a:pt x="36078" y="14722"/>
                  </a:lnTo>
                  <a:lnTo>
                    <a:pt x="37874" y="14825"/>
                  </a:lnTo>
                  <a:lnTo>
                    <a:pt x="39222" y="14894"/>
                  </a:lnTo>
                  <a:lnTo>
                    <a:pt x="39706" y="14894"/>
                  </a:lnTo>
                  <a:lnTo>
                    <a:pt x="40017" y="14860"/>
                  </a:lnTo>
                  <a:lnTo>
                    <a:pt x="40397" y="14722"/>
                  </a:lnTo>
                  <a:lnTo>
                    <a:pt x="40777" y="14583"/>
                  </a:lnTo>
                  <a:lnTo>
                    <a:pt x="41157" y="14376"/>
                  </a:lnTo>
                  <a:lnTo>
                    <a:pt x="41468" y="14134"/>
                  </a:lnTo>
                  <a:lnTo>
                    <a:pt x="41710" y="13892"/>
                  </a:lnTo>
                  <a:lnTo>
                    <a:pt x="41918" y="13650"/>
                  </a:lnTo>
                  <a:lnTo>
                    <a:pt x="42090" y="13408"/>
                  </a:lnTo>
                  <a:lnTo>
                    <a:pt x="42159" y="13167"/>
                  </a:lnTo>
                  <a:lnTo>
                    <a:pt x="42194" y="13063"/>
                  </a:lnTo>
                  <a:lnTo>
                    <a:pt x="42159" y="12959"/>
                  </a:lnTo>
                  <a:lnTo>
                    <a:pt x="42125" y="12856"/>
                  </a:lnTo>
                  <a:lnTo>
                    <a:pt x="42090" y="12752"/>
                  </a:lnTo>
                  <a:lnTo>
                    <a:pt x="41918" y="12545"/>
                  </a:lnTo>
                  <a:lnTo>
                    <a:pt x="41676" y="12337"/>
                  </a:lnTo>
                  <a:lnTo>
                    <a:pt x="41365" y="12164"/>
                  </a:lnTo>
                  <a:lnTo>
                    <a:pt x="40950" y="11957"/>
                  </a:lnTo>
                  <a:lnTo>
                    <a:pt x="40501" y="11784"/>
                  </a:lnTo>
                  <a:lnTo>
                    <a:pt x="39982" y="11611"/>
                  </a:lnTo>
                  <a:lnTo>
                    <a:pt x="39671" y="11508"/>
                  </a:lnTo>
                  <a:lnTo>
                    <a:pt x="39257" y="11473"/>
                  </a:lnTo>
                  <a:lnTo>
                    <a:pt x="38185" y="11473"/>
                  </a:lnTo>
                  <a:lnTo>
                    <a:pt x="36803" y="11508"/>
                  </a:lnTo>
                  <a:lnTo>
                    <a:pt x="35214" y="11577"/>
                  </a:lnTo>
                  <a:lnTo>
                    <a:pt x="33451" y="11577"/>
                  </a:lnTo>
                  <a:lnTo>
                    <a:pt x="32518" y="11542"/>
                  </a:lnTo>
                  <a:lnTo>
                    <a:pt x="31585" y="11473"/>
                  </a:lnTo>
                  <a:lnTo>
                    <a:pt x="30652" y="11335"/>
                  </a:lnTo>
                  <a:lnTo>
                    <a:pt x="29685" y="11197"/>
                  </a:lnTo>
                  <a:lnTo>
                    <a:pt x="28752" y="10955"/>
                  </a:lnTo>
                  <a:lnTo>
                    <a:pt x="27819" y="10678"/>
                  </a:lnTo>
                  <a:lnTo>
                    <a:pt x="26955" y="10367"/>
                  </a:lnTo>
                  <a:lnTo>
                    <a:pt x="26160" y="9987"/>
                  </a:lnTo>
                  <a:lnTo>
                    <a:pt x="25469" y="9607"/>
                  </a:lnTo>
                  <a:lnTo>
                    <a:pt x="24812" y="9193"/>
                  </a:lnTo>
                  <a:lnTo>
                    <a:pt x="24259" y="8778"/>
                  </a:lnTo>
                  <a:lnTo>
                    <a:pt x="23741" y="8329"/>
                  </a:lnTo>
                  <a:lnTo>
                    <a:pt x="23257" y="7879"/>
                  </a:lnTo>
                  <a:lnTo>
                    <a:pt x="22808" y="7430"/>
                  </a:lnTo>
                  <a:lnTo>
                    <a:pt x="21944" y="6532"/>
                  </a:lnTo>
                  <a:lnTo>
                    <a:pt x="21529" y="6117"/>
                  </a:lnTo>
                  <a:lnTo>
                    <a:pt x="21080" y="5702"/>
                  </a:lnTo>
                  <a:lnTo>
                    <a:pt x="20596" y="5322"/>
                  </a:lnTo>
                  <a:lnTo>
                    <a:pt x="20112" y="4977"/>
                  </a:lnTo>
                  <a:lnTo>
                    <a:pt x="19560" y="4666"/>
                  </a:lnTo>
                  <a:lnTo>
                    <a:pt x="18972" y="4389"/>
                  </a:lnTo>
                  <a:lnTo>
                    <a:pt x="18627" y="4286"/>
                  </a:lnTo>
                  <a:lnTo>
                    <a:pt x="18281" y="4182"/>
                  </a:lnTo>
                  <a:lnTo>
                    <a:pt x="17590" y="4044"/>
                  </a:lnTo>
                  <a:lnTo>
                    <a:pt x="16830" y="3975"/>
                  </a:lnTo>
                  <a:lnTo>
                    <a:pt x="16035" y="3940"/>
                  </a:lnTo>
                  <a:lnTo>
                    <a:pt x="15240" y="3975"/>
                  </a:lnTo>
                  <a:lnTo>
                    <a:pt x="14411" y="4044"/>
                  </a:lnTo>
                  <a:lnTo>
                    <a:pt x="12752" y="4251"/>
                  </a:lnTo>
                  <a:lnTo>
                    <a:pt x="11128" y="4458"/>
                  </a:lnTo>
                  <a:lnTo>
                    <a:pt x="9642" y="4666"/>
                  </a:lnTo>
                  <a:lnTo>
                    <a:pt x="8985" y="4735"/>
                  </a:lnTo>
                  <a:lnTo>
                    <a:pt x="8363" y="4735"/>
                  </a:lnTo>
                  <a:lnTo>
                    <a:pt x="7810" y="4700"/>
                  </a:lnTo>
                  <a:lnTo>
                    <a:pt x="7327" y="4631"/>
                  </a:lnTo>
                  <a:lnTo>
                    <a:pt x="6877" y="4493"/>
                  </a:lnTo>
                  <a:lnTo>
                    <a:pt x="6463" y="4320"/>
                  </a:lnTo>
                  <a:lnTo>
                    <a:pt x="6083" y="4147"/>
                  </a:lnTo>
                  <a:lnTo>
                    <a:pt x="5668" y="3940"/>
                  </a:lnTo>
                  <a:lnTo>
                    <a:pt x="4942" y="3491"/>
                  </a:lnTo>
                  <a:lnTo>
                    <a:pt x="4251" y="3007"/>
                  </a:lnTo>
                  <a:lnTo>
                    <a:pt x="3629" y="2454"/>
                  </a:lnTo>
                  <a:lnTo>
                    <a:pt x="3076" y="1901"/>
                  </a:lnTo>
                  <a:lnTo>
                    <a:pt x="2558" y="1348"/>
                  </a:lnTo>
                  <a:lnTo>
                    <a:pt x="2074" y="830"/>
                  </a:lnTo>
                  <a:lnTo>
                    <a:pt x="1867" y="519"/>
                  </a:lnTo>
                  <a:lnTo>
                    <a:pt x="1694" y="277"/>
                  </a:lnTo>
                  <a:lnTo>
                    <a:pt x="1590" y="208"/>
                  </a:lnTo>
                  <a:lnTo>
                    <a:pt x="1487" y="139"/>
                  </a:lnTo>
                  <a:lnTo>
                    <a:pt x="1348" y="70"/>
                  </a:lnTo>
                  <a:lnTo>
                    <a:pt x="1176" y="35"/>
                  </a:lnTo>
                  <a:lnTo>
                    <a:pt x="934" y="1"/>
                  </a:lnTo>
                  <a:close/>
                </a:path>
              </a:pathLst>
            </a:custGeom>
            <a:solidFill>
              <a:srgbClr val="FFB6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89" name="Google Shape;14235;p81">
              <a:extLst>
                <a:ext uri="{FF2B5EF4-FFF2-40B4-BE49-F238E27FC236}">
                  <a16:creationId xmlns:a16="http://schemas.microsoft.com/office/drawing/2014/main" id="{12E07A9C-6D35-6A74-A47C-205371D9BEC1}"/>
                </a:ext>
              </a:extLst>
            </p:cNvPr>
            <p:cNvSpPr/>
            <p:nvPr/>
          </p:nvSpPr>
          <p:spPr>
            <a:xfrm>
              <a:off x="546150" y="5054400"/>
              <a:ext cx="1569725" cy="83825"/>
            </a:xfrm>
            <a:custGeom>
              <a:avLst/>
              <a:gdLst/>
              <a:ahLst/>
              <a:cxnLst/>
              <a:rect l="l" t="t" r="r" b="b"/>
              <a:pathLst>
                <a:path w="62789" h="3353" extrusionOk="0">
                  <a:moveTo>
                    <a:pt x="31896" y="1"/>
                  </a:moveTo>
                  <a:lnTo>
                    <a:pt x="25606" y="35"/>
                  </a:lnTo>
                  <a:lnTo>
                    <a:pt x="19697" y="105"/>
                  </a:lnTo>
                  <a:lnTo>
                    <a:pt x="14272" y="208"/>
                  </a:lnTo>
                  <a:lnTo>
                    <a:pt x="9538" y="346"/>
                  </a:lnTo>
                  <a:lnTo>
                    <a:pt x="7430" y="416"/>
                  </a:lnTo>
                  <a:lnTo>
                    <a:pt x="5564" y="519"/>
                  </a:lnTo>
                  <a:lnTo>
                    <a:pt x="3939" y="623"/>
                  </a:lnTo>
                  <a:lnTo>
                    <a:pt x="2557" y="761"/>
                  </a:lnTo>
                  <a:lnTo>
                    <a:pt x="1451" y="899"/>
                  </a:lnTo>
                  <a:lnTo>
                    <a:pt x="657" y="1038"/>
                  </a:lnTo>
                  <a:lnTo>
                    <a:pt x="380" y="1107"/>
                  </a:lnTo>
                  <a:lnTo>
                    <a:pt x="173" y="1210"/>
                  </a:lnTo>
                  <a:lnTo>
                    <a:pt x="35" y="1280"/>
                  </a:lnTo>
                  <a:lnTo>
                    <a:pt x="0" y="1349"/>
                  </a:lnTo>
                  <a:lnTo>
                    <a:pt x="35" y="1452"/>
                  </a:lnTo>
                  <a:lnTo>
                    <a:pt x="173" y="1521"/>
                  </a:lnTo>
                  <a:lnTo>
                    <a:pt x="380" y="1625"/>
                  </a:lnTo>
                  <a:lnTo>
                    <a:pt x="657" y="1729"/>
                  </a:lnTo>
                  <a:lnTo>
                    <a:pt x="1451" y="1902"/>
                  </a:lnTo>
                  <a:lnTo>
                    <a:pt x="2557" y="2074"/>
                  </a:lnTo>
                  <a:lnTo>
                    <a:pt x="3939" y="2247"/>
                  </a:lnTo>
                  <a:lnTo>
                    <a:pt x="5564" y="2385"/>
                  </a:lnTo>
                  <a:lnTo>
                    <a:pt x="7430" y="2558"/>
                  </a:lnTo>
                  <a:lnTo>
                    <a:pt x="9538" y="2696"/>
                  </a:lnTo>
                  <a:lnTo>
                    <a:pt x="11818" y="2835"/>
                  </a:lnTo>
                  <a:lnTo>
                    <a:pt x="14272" y="2973"/>
                  </a:lnTo>
                  <a:lnTo>
                    <a:pt x="16933" y="3076"/>
                  </a:lnTo>
                  <a:lnTo>
                    <a:pt x="19697" y="3180"/>
                  </a:lnTo>
                  <a:lnTo>
                    <a:pt x="22600" y="3249"/>
                  </a:lnTo>
                  <a:lnTo>
                    <a:pt x="25606" y="3318"/>
                  </a:lnTo>
                  <a:lnTo>
                    <a:pt x="28716" y="3353"/>
                  </a:lnTo>
                  <a:lnTo>
                    <a:pt x="31896" y="3353"/>
                  </a:lnTo>
                  <a:lnTo>
                    <a:pt x="38116" y="3318"/>
                  </a:lnTo>
                  <a:lnTo>
                    <a:pt x="43921" y="3215"/>
                  </a:lnTo>
                  <a:lnTo>
                    <a:pt x="49174" y="3076"/>
                  </a:lnTo>
                  <a:lnTo>
                    <a:pt x="53735" y="2869"/>
                  </a:lnTo>
                  <a:lnTo>
                    <a:pt x="55739" y="2765"/>
                  </a:lnTo>
                  <a:lnTo>
                    <a:pt x="57536" y="2627"/>
                  </a:lnTo>
                  <a:lnTo>
                    <a:pt x="59057" y="2489"/>
                  </a:lnTo>
                  <a:lnTo>
                    <a:pt x="60370" y="2351"/>
                  </a:lnTo>
                  <a:lnTo>
                    <a:pt x="61407" y="2178"/>
                  </a:lnTo>
                  <a:lnTo>
                    <a:pt x="62167" y="2040"/>
                  </a:lnTo>
                  <a:lnTo>
                    <a:pt x="62443" y="1936"/>
                  </a:lnTo>
                  <a:lnTo>
                    <a:pt x="62651" y="1867"/>
                  </a:lnTo>
                  <a:lnTo>
                    <a:pt x="62754" y="1763"/>
                  </a:lnTo>
                  <a:lnTo>
                    <a:pt x="62789" y="1694"/>
                  </a:lnTo>
                  <a:lnTo>
                    <a:pt x="62754" y="1591"/>
                  </a:lnTo>
                  <a:lnTo>
                    <a:pt x="62651" y="1521"/>
                  </a:lnTo>
                  <a:lnTo>
                    <a:pt x="62443" y="1418"/>
                  </a:lnTo>
                  <a:lnTo>
                    <a:pt x="62167" y="1349"/>
                  </a:lnTo>
                  <a:lnTo>
                    <a:pt x="61407" y="1176"/>
                  </a:lnTo>
                  <a:lnTo>
                    <a:pt x="60370" y="1038"/>
                  </a:lnTo>
                  <a:lnTo>
                    <a:pt x="59057" y="899"/>
                  </a:lnTo>
                  <a:lnTo>
                    <a:pt x="57536" y="761"/>
                  </a:lnTo>
                  <a:lnTo>
                    <a:pt x="55739" y="623"/>
                  </a:lnTo>
                  <a:lnTo>
                    <a:pt x="53735" y="485"/>
                  </a:lnTo>
                  <a:lnTo>
                    <a:pt x="49174" y="312"/>
                  </a:lnTo>
                  <a:lnTo>
                    <a:pt x="43921" y="139"/>
                  </a:lnTo>
                  <a:lnTo>
                    <a:pt x="38116" y="35"/>
                  </a:lnTo>
                  <a:lnTo>
                    <a:pt x="31896" y="1"/>
                  </a:lnTo>
                  <a:close/>
                </a:path>
              </a:pathLst>
            </a:custGeom>
            <a:solidFill>
              <a:srgbClr val="E6E6E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90" name="Google Shape;14236;p81">
              <a:extLst>
                <a:ext uri="{FF2B5EF4-FFF2-40B4-BE49-F238E27FC236}">
                  <a16:creationId xmlns:a16="http://schemas.microsoft.com/office/drawing/2014/main" id="{3062CCE8-E7DB-9FF9-91CA-23BA215EA878}"/>
                </a:ext>
              </a:extLst>
            </p:cNvPr>
            <p:cNvSpPr/>
            <p:nvPr/>
          </p:nvSpPr>
          <p:spPr>
            <a:xfrm>
              <a:off x="546150" y="5054400"/>
              <a:ext cx="1569725" cy="83825"/>
            </a:xfrm>
            <a:custGeom>
              <a:avLst/>
              <a:gdLst/>
              <a:ahLst/>
              <a:cxnLst/>
              <a:rect l="l" t="t" r="r" b="b"/>
              <a:pathLst>
                <a:path w="62789" h="3353" fill="none" extrusionOk="0">
                  <a:moveTo>
                    <a:pt x="31896" y="1"/>
                  </a:moveTo>
                  <a:lnTo>
                    <a:pt x="31896" y="1"/>
                  </a:lnTo>
                  <a:lnTo>
                    <a:pt x="25606" y="35"/>
                  </a:lnTo>
                  <a:lnTo>
                    <a:pt x="19697" y="105"/>
                  </a:lnTo>
                  <a:lnTo>
                    <a:pt x="14272" y="208"/>
                  </a:lnTo>
                  <a:lnTo>
                    <a:pt x="9538" y="346"/>
                  </a:lnTo>
                  <a:lnTo>
                    <a:pt x="7430" y="416"/>
                  </a:lnTo>
                  <a:lnTo>
                    <a:pt x="5564" y="519"/>
                  </a:lnTo>
                  <a:lnTo>
                    <a:pt x="3939" y="623"/>
                  </a:lnTo>
                  <a:lnTo>
                    <a:pt x="2557" y="761"/>
                  </a:lnTo>
                  <a:lnTo>
                    <a:pt x="1451" y="899"/>
                  </a:lnTo>
                  <a:lnTo>
                    <a:pt x="657" y="1038"/>
                  </a:lnTo>
                  <a:lnTo>
                    <a:pt x="380" y="1107"/>
                  </a:lnTo>
                  <a:lnTo>
                    <a:pt x="173" y="1210"/>
                  </a:lnTo>
                  <a:lnTo>
                    <a:pt x="35" y="1280"/>
                  </a:lnTo>
                  <a:lnTo>
                    <a:pt x="0" y="1349"/>
                  </a:lnTo>
                  <a:lnTo>
                    <a:pt x="0" y="1349"/>
                  </a:lnTo>
                  <a:lnTo>
                    <a:pt x="35" y="1452"/>
                  </a:lnTo>
                  <a:lnTo>
                    <a:pt x="173" y="1521"/>
                  </a:lnTo>
                  <a:lnTo>
                    <a:pt x="380" y="1625"/>
                  </a:lnTo>
                  <a:lnTo>
                    <a:pt x="657" y="1729"/>
                  </a:lnTo>
                  <a:lnTo>
                    <a:pt x="1451" y="1902"/>
                  </a:lnTo>
                  <a:lnTo>
                    <a:pt x="2557" y="2074"/>
                  </a:lnTo>
                  <a:lnTo>
                    <a:pt x="3939" y="2247"/>
                  </a:lnTo>
                  <a:lnTo>
                    <a:pt x="5564" y="2385"/>
                  </a:lnTo>
                  <a:lnTo>
                    <a:pt x="7430" y="2558"/>
                  </a:lnTo>
                  <a:lnTo>
                    <a:pt x="9538" y="2696"/>
                  </a:lnTo>
                  <a:lnTo>
                    <a:pt x="11818" y="2835"/>
                  </a:lnTo>
                  <a:lnTo>
                    <a:pt x="14272" y="2973"/>
                  </a:lnTo>
                  <a:lnTo>
                    <a:pt x="16933" y="3076"/>
                  </a:lnTo>
                  <a:lnTo>
                    <a:pt x="19697" y="3180"/>
                  </a:lnTo>
                  <a:lnTo>
                    <a:pt x="22600" y="3249"/>
                  </a:lnTo>
                  <a:lnTo>
                    <a:pt x="25606" y="3318"/>
                  </a:lnTo>
                  <a:lnTo>
                    <a:pt x="28716" y="3353"/>
                  </a:lnTo>
                  <a:lnTo>
                    <a:pt x="31896" y="3353"/>
                  </a:lnTo>
                  <a:lnTo>
                    <a:pt x="31896" y="3353"/>
                  </a:lnTo>
                  <a:lnTo>
                    <a:pt x="38116" y="3318"/>
                  </a:lnTo>
                  <a:lnTo>
                    <a:pt x="43921" y="3215"/>
                  </a:lnTo>
                  <a:lnTo>
                    <a:pt x="49174" y="3076"/>
                  </a:lnTo>
                  <a:lnTo>
                    <a:pt x="53735" y="2869"/>
                  </a:lnTo>
                  <a:lnTo>
                    <a:pt x="55739" y="2765"/>
                  </a:lnTo>
                  <a:lnTo>
                    <a:pt x="57536" y="2627"/>
                  </a:lnTo>
                  <a:lnTo>
                    <a:pt x="59057" y="2489"/>
                  </a:lnTo>
                  <a:lnTo>
                    <a:pt x="60370" y="2351"/>
                  </a:lnTo>
                  <a:lnTo>
                    <a:pt x="61407" y="2178"/>
                  </a:lnTo>
                  <a:lnTo>
                    <a:pt x="62167" y="2040"/>
                  </a:lnTo>
                  <a:lnTo>
                    <a:pt x="62443" y="1936"/>
                  </a:lnTo>
                  <a:lnTo>
                    <a:pt x="62651" y="1867"/>
                  </a:lnTo>
                  <a:lnTo>
                    <a:pt x="62754" y="1763"/>
                  </a:lnTo>
                  <a:lnTo>
                    <a:pt x="62789" y="1694"/>
                  </a:lnTo>
                  <a:lnTo>
                    <a:pt x="62789" y="1694"/>
                  </a:lnTo>
                  <a:lnTo>
                    <a:pt x="62754" y="1591"/>
                  </a:lnTo>
                  <a:lnTo>
                    <a:pt x="62651" y="1521"/>
                  </a:lnTo>
                  <a:lnTo>
                    <a:pt x="62443" y="1418"/>
                  </a:lnTo>
                  <a:lnTo>
                    <a:pt x="62167" y="1349"/>
                  </a:lnTo>
                  <a:lnTo>
                    <a:pt x="61407" y="1176"/>
                  </a:lnTo>
                  <a:lnTo>
                    <a:pt x="60370" y="1038"/>
                  </a:lnTo>
                  <a:lnTo>
                    <a:pt x="59057" y="899"/>
                  </a:lnTo>
                  <a:lnTo>
                    <a:pt x="57536" y="761"/>
                  </a:lnTo>
                  <a:lnTo>
                    <a:pt x="55739" y="623"/>
                  </a:lnTo>
                  <a:lnTo>
                    <a:pt x="53735" y="485"/>
                  </a:lnTo>
                  <a:lnTo>
                    <a:pt x="49174" y="312"/>
                  </a:lnTo>
                  <a:lnTo>
                    <a:pt x="43921" y="139"/>
                  </a:lnTo>
                  <a:lnTo>
                    <a:pt x="38116" y="35"/>
                  </a:lnTo>
                  <a:lnTo>
                    <a:pt x="31896"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91" name="Google Shape;14237;p81">
              <a:extLst>
                <a:ext uri="{FF2B5EF4-FFF2-40B4-BE49-F238E27FC236}">
                  <a16:creationId xmlns:a16="http://schemas.microsoft.com/office/drawing/2014/main" id="{463B59CB-CD77-6111-9BF8-B1FA8C3088A1}"/>
                </a:ext>
              </a:extLst>
            </p:cNvPr>
            <p:cNvSpPr/>
            <p:nvPr/>
          </p:nvSpPr>
          <p:spPr>
            <a:xfrm>
              <a:off x="1044625" y="3889000"/>
              <a:ext cx="301525" cy="1136925"/>
            </a:xfrm>
            <a:custGeom>
              <a:avLst/>
              <a:gdLst/>
              <a:ahLst/>
              <a:cxnLst/>
              <a:rect l="l" t="t" r="r" b="b"/>
              <a:pathLst>
                <a:path w="12061" h="45477" extrusionOk="0">
                  <a:moveTo>
                    <a:pt x="11058" y="0"/>
                  </a:moveTo>
                  <a:lnTo>
                    <a:pt x="10021" y="864"/>
                  </a:lnTo>
                  <a:lnTo>
                    <a:pt x="8916" y="1797"/>
                  </a:lnTo>
                  <a:lnTo>
                    <a:pt x="7672" y="2903"/>
                  </a:lnTo>
                  <a:lnTo>
                    <a:pt x="6358" y="4113"/>
                  </a:lnTo>
                  <a:lnTo>
                    <a:pt x="5771" y="4700"/>
                  </a:lnTo>
                  <a:lnTo>
                    <a:pt x="5218" y="5287"/>
                  </a:lnTo>
                  <a:lnTo>
                    <a:pt x="4734" y="5840"/>
                  </a:lnTo>
                  <a:lnTo>
                    <a:pt x="4320" y="6359"/>
                  </a:lnTo>
                  <a:lnTo>
                    <a:pt x="4009" y="6808"/>
                  </a:lnTo>
                  <a:lnTo>
                    <a:pt x="3905" y="7015"/>
                  </a:lnTo>
                  <a:lnTo>
                    <a:pt x="3836" y="7188"/>
                  </a:lnTo>
                  <a:lnTo>
                    <a:pt x="3767" y="7672"/>
                  </a:lnTo>
                  <a:lnTo>
                    <a:pt x="3663" y="8501"/>
                  </a:lnTo>
                  <a:lnTo>
                    <a:pt x="3628" y="9538"/>
                  </a:lnTo>
                  <a:lnTo>
                    <a:pt x="3559" y="10817"/>
                  </a:lnTo>
                  <a:lnTo>
                    <a:pt x="3490" y="13823"/>
                  </a:lnTo>
                  <a:lnTo>
                    <a:pt x="3490" y="17175"/>
                  </a:lnTo>
                  <a:lnTo>
                    <a:pt x="3490" y="23464"/>
                  </a:lnTo>
                  <a:lnTo>
                    <a:pt x="3456" y="25779"/>
                  </a:lnTo>
                  <a:lnTo>
                    <a:pt x="3421" y="27023"/>
                  </a:lnTo>
                  <a:lnTo>
                    <a:pt x="3317" y="27887"/>
                  </a:lnTo>
                  <a:lnTo>
                    <a:pt x="3179" y="29235"/>
                  </a:lnTo>
                  <a:lnTo>
                    <a:pt x="2937" y="30859"/>
                  </a:lnTo>
                  <a:lnTo>
                    <a:pt x="2661" y="32691"/>
                  </a:lnTo>
                  <a:lnTo>
                    <a:pt x="2350" y="34488"/>
                  </a:lnTo>
                  <a:lnTo>
                    <a:pt x="2039" y="36215"/>
                  </a:lnTo>
                  <a:lnTo>
                    <a:pt x="1693" y="37667"/>
                  </a:lnTo>
                  <a:lnTo>
                    <a:pt x="1521" y="38254"/>
                  </a:lnTo>
                  <a:lnTo>
                    <a:pt x="1348" y="38738"/>
                  </a:lnTo>
                  <a:lnTo>
                    <a:pt x="1037" y="39429"/>
                  </a:lnTo>
                  <a:lnTo>
                    <a:pt x="760" y="39913"/>
                  </a:lnTo>
                  <a:lnTo>
                    <a:pt x="553" y="40224"/>
                  </a:lnTo>
                  <a:lnTo>
                    <a:pt x="346" y="40466"/>
                  </a:lnTo>
                  <a:lnTo>
                    <a:pt x="207" y="40639"/>
                  </a:lnTo>
                  <a:lnTo>
                    <a:pt x="69" y="40881"/>
                  </a:lnTo>
                  <a:lnTo>
                    <a:pt x="0" y="41192"/>
                  </a:lnTo>
                  <a:lnTo>
                    <a:pt x="0" y="41641"/>
                  </a:lnTo>
                  <a:lnTo>
                    <a:pt x="0" y="41779"/>
                  </a:lnTo>
                  <a:lnTo>
                    <a:pt x="69" y="41952"/>
                  </a:lnTo>
                  <a:lnTo>
                    <a:pt x="173" y="42090"/>
                  </a:lnTo>
                  <a:lnTo>
                    <a:pt x="311" y="42263"/>
                  </a:lnTo>
                  <a:lnTo>
                    <a:pt x="691" y="42608"/>
                  </a:lnTo>
                  <a:lnTo>
                    <a:pt x="1210" y="42954"/>
                  </a:lnTo>
                  <a:lnTo>
                    <a:pt x="1832" y="43300"/>
                  </a:lnTo>
                  <a:lnTo>
                    <a:pt x="2488" y="43645"/>
                  </a:lnTo>
                  <a:lnTo>
                    <a:pt x="3214" y="43991"/>
                  </a:lnTo>
                  <a:lnTo>
                    <a:pt x="3939" y="44336"/>
                  </a:lnTo>
                  <a:lnTo>
                    <a:pt x="4665" y="44613"/>
                  </a:lnTo>
                  <a:lnTo>
                    <a:pt x="5356" y="44889"/>
                  </a:lnTo>
                  <a:lnTo>
                    <a:pt x="6013" y="45096"/>
                  </a:lnTo>
                  <a:lnTo>
                    <a:pt x="6600" y="45304"/>
                  </a:lnTo>
                  <a:lnTo>
                    <a:pt x="7084" y="45407"/>
                  </a:lnTo>
                  <a:lnTo>
                    <a:pt x="7430" y="45477"/>
                  </a:lnTo>
                  <a:lnTo>
                    <a:pt x="7533" y="45477"/>
                  </a:lnTo>
                  <a:lnTo>
                    <a:pt x="7637" y="45442"/>
                  </a:lnTo>
                  <a:lnTo>
                    <a:pt x="7672" y="45407"/>
                  </a:lnTo>
                  <a:lnTo>
                    <a:pt x="7672" y="45338"/>
                  </a:lnTo>
                  <a:lnTo>
                    <a:pt x="7222" y="44474"/>
                  </a:lnTo>
                  <a:lnTo>
                    <a:pt x="6497" y="43161"/>
                  </a:lnTo>
                  <a:lnTo>
                    <a:pt x="5287" y="41053"/>
                  </a:lnTo>
                  <a:lnTo>
                    <a:pt x="5287" y="40915"/>
                  </a:lnTo>
                  <a:lnTo>
                    <a:pt x="5287" y="40639"/>
                  </a:lnTo>
                  <a:lnTo>
                    <a:pt x="5425" y="39809"/>
                  </a:lnTo>
                  <a:lnTo>
                    <a:pt x="5667" y="38531"/>
                  </a:lnTo>
                  <a:lnTo>
                    <a:pt x="5978" y="36907"/>
                  </a:lnTo>
                  <a:lnTo>
                    <a:pt x="6877" y="32898"/>
                  </a:lnTo>
                  <a:lnTo>
                    <a:pt x="7948" y="28233"/>
                  </a:lnTo>
                  <a:lnTo>
                    <a:pt x="10160" y="18937"/>
                  </a:lnTo>
                  <a:lnTo>
                    <a:pt x="11576" y="13028"/>
                  </a:lnTo>
                  <a:lnTo>
                    <a:pt x="11715" y="12302"/>
                  </a:lnTo>
                  <a:lnTo>
                    <a:pt x="11853" y="11542"/>
                  </a:lnTo>
                  <a:lnTo>
                    <a:pt x="11922" y="10817"/>
                  </a:lnTo>
                  <a:lnTo>
                    <a:pt x="11991" y="10056"/>
                  </a:lnTo>
                  <a:lnTo>
                    <a:pt x="12026" y="9296"/>
                  </a:lnTo>
                  <a:lnTo>
                    <a:pt x="12060" y="8501"/>
                  </a:lnTo>
                  <a:lnTo>
                    <a:pt x="12060" y="7706"/>
                  </a:lnTo>
                  <a:lnTo>
                    <a:pt x="12026" y="6912"/>
                  </a:lnTo>
                  <a:lnTo>
                    <a:pt x="11887" y="5253"/>
                  </a:lnTo>
                  <a:lnTo>
                    <a:pt x="11680" y="3560"/>
                  </a:lnTo>
                  <a:lnTo>
                    <a:pt x="11404" y="1832"/>
                  </a:lnTo>
                  <a:lnTo>
                    <a:pt x="11058" y="0"/>
                  </a:lnTo>
                  <a:close/>
                </a:path>
              </a:pathLst>
            </a:custGeom>
            <a:solidFill>
              <a:srgbClr val="8A3A1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92" name="Google Shape;14238;p81">
              <a:extLst>
                <a:ext uri="{FF2B5EF4-FFF2-40B4-BE49-F238E27FC236}">
                  <a16:creationId xmlns:a16="http://schemas.microsoft.com/office/drawing/2014/main" id="{E0F2C702-FAFE-0AEB-56A9-2D3473A7DDA2}"/>
                </a:ext>
              </a:extLst>
            </p:cNvPr>
            <p:cNvSpPr/>
            <p:nvPr/>
          </p:nvSpPr>
          <p:spPr>
            <a:xfrm>
              <a:off x="1044625" y="3889000"/>
              <a:ext cx="301525" cy="1136925"/>
            </a:xfrm>
            <a:custGeom>
              <a:avLst/>
              <a:gdLst/>
              <a:ahLst/>
              <a:cxnLst/>
              <a:rect l="l" t="t" r="r" b="b"/>
              <a:pathLst>
                <a:path w="12061" h="45477" fill="none" extrusionOk="0">
                  <a:moveTo>
                    <a:pt x="11058" y="0"/>
                  </a:moveTo>
                  <a:lnTo>
                    <a:pt x="11058" y="0"/>
                  </a:lnTo>
                  <a:lnTo>
                    <a:pt x="11404" y="1832"/>
                  </a:lnTo>
                  <a:lnTo>
                    <a:pt x="11680" y="3560"/>
                  </a:lnTo>
                  <a:lnTo>
                    <a:pt x="11887" y="5253"/>
                  </a:lnTo>
                  <a:lnTo>
                    <a:pt x="12026" y="6912"/>
                  </a:lnTo>
                  <a:lnTo>
                    <a:pt x="12060" y="7706"/>
                  </a:lnTo>
                  <a:lnTo>
                    <a:pt x="12060" y="8501"/>
                  </a:lnTo>
                  <a:lnTo>
                    <a:pt x="12026" y="9296"/>
                  </a:lnTo>
                  <a:lnTo>
                    <a:pt x="11991" y="10056"/>
                  </a:lnTo>
                  <a:lnTo>
                    <a:pt x="11922" y="10817"/>
                  </a:lnTo>
                  <a:lnTo>
                    <a:pt x="11853" y="11542"/>
                  </a:lnTo>
                  <a:lnTo>
                    <a:pt x="11715" y="12302"/>
                  </a:lnTo>
                  <a:lnTo>
                    <a:pt x="11576" y="13028"/>
                  </a:lnTo>
                  <a:lnTo>
                    <a:pt x="11576" y="13028"/>
                  </a:lnTo>
                  <a:lnTo>
                    <a:pt x="10160" y="18937"/>
                  </a:lnTo>
                  <a:lnTo>
                    <a:pt x="7948" y="28233"/>
                  </a:lnTo>
                  <a:lnTo>
                    <a:pt x="6877" y="32898"/>
                  </a:lnTo>
                  <a:lnTo>
                    <a:pt x="5978" y="36907"/>
                  </a:lnTo>
                  <a:lnTo>
                    <a:pt x="5667" y="38531"/>
                  </a:lnTo>
                  <a:lnTo>
                    <a:pt x="5425" y="39809"/>
                  </a:lnTo>
                  <a:lnTo>
                    <a:pt x="5287" y="40639"/>
                  </a:lnTo>
                  <a:lnTo>
                    <a:pt x="5287" y="40915"/>
                  </a:lnTo>
                  <a:lnTo>
                    <a:pt x="5287" y="41053"/>
                  </a:lnTo>
                  <a:lnTo>
                    <a:pt x="5287" y="41053"/>
                  </a:lnTo>
                  <a:lnTo>
                    <a:pt x="6497" y="43161"/>
                  </a:lnTo>
                  <a:lnTo>
                    <a:pt x="7222" y="44474"/>
                  </a:lnTo>
                  <a:lnTo>
                    <a:pt x="7672" y="45338"/>
                  </a:lnTo>
                  <a:lnTo>
                    <a:pt x="7672" y="45338"/>
                  </a:lnTo>
                  <a:lnTo>
                    <a:pt x="7672" y="45407"/>
                  </a:lnTo>
                  <a:lnTo>
                    <a:pt x="7637" y="45442"/>
                  </a:lnTo>
                  <a:lnTo>
                    <a:pt x="7533" y="45477"/>
                  </a:lnTo>
                  <a:lnTo>
                    <a:pt x="7430" y="45477"/>
                  </a:lnTo>
                  <a:lnTo>
                    <a:pt x="7084" y="45407"/>
                  </a:lnTo>
                  <a:lnTo>
                    <a:pt x="6600" y="45304"/>
                  </a:lnTo>
                  <a:lnTo>
                    <a:pt x="6013" y="45096"/>
                  </a:lnTo>
                  <a:lnTo>
                    <a:pt x="5356" y="44889"/>
                  </a:lnTo>
                  <a:lnTo>
                    <a:pt x="4665" y="44613"/>
                  </a:lnTo>
                  <a:lnTo>
                    <a:pt x="3939" y="44336"/>
                  </a:lnTo>
                  <a:lnTo>
                    <a:pt x="3214" y="43991"/>
                  </a:lnTo>
                  <a:lnTo>
                    <a:pt x="2488" y="43645"/>
                  </a:lnTo>
                  <a:lnTo>
                    <a:pt x="1832" y="43300"/>
                  </a:lnTo>
                  <a:lnTo>
                    <a:pt x="1210" y="42954"/>
                  </a:lnTo>
                  <a:lnTo>
                    <a:pt x="691" y="42608"/>
                  </a:lnTo>
                  <a:lnTo>
                    <a:pt x="311" y="42263"/>
                  </a:lnTo>
                  <a:lnTo>
                    <a:pt x="173" y="42090"/>
                  </a:lnTo>
                  <a:lnTo>
                    <a:pt x="69" y="41952"/>
                  </a:lnTo>
                  <a:lnTo>
                    <a:pt x="0" y="41779"/>
                  </a:lnTo>
                  <a:lnTo>
                    <a:pt x="0" y="41641"/>
                  </a:lnTo>
                  <a:lnTo>
                    <a:pt x="0" y="41641"/>
                  </a:lnTo>
                  <a:lnTo>
                    <a:pt x="0" y="41192"/>
                  </a:lnTo>
                  <a:lnTo>
                    <a:pt x="69" y="40881"/>
                  </a:lnTo>
                  <a:lnTo>
                    <a:pt x="207" y="40639"/>
                  </a:lnTo>
                  <a:lnTo>
                    <a:pt x="346" y="40466"/>
                  </a:lnTo>
                  <a:lnTo>
                    <a:pt x="553" y="40224"/>
                  </a:lnTo>
                  <a:lnTo>
                    <a:pt x="760" y="39913"/>
                  </a:lnTo>
                  <a:lnTo>
                    <a:pt x="1037" y="39429"/>
                  </a:lnTo>
                  <a:lnTo>
                    <a:pt x="1348" y="38738"/>
                  </a:lnTo>
                  <a:lnTo>
                    <a:pt x="1348" y="38738"/>
                  </a:lnTo>
                  <a:lnTo>
                    <a:pt x="1521" y="38254"/>
                  </a:lnTo>
                  <a:lnTo>
                    <a:pt x="1693" y="37667"/>
                  </a:lnTo>
                  <a:lnTo>
                    <a:pt x="2039" y="36215"/>
                  </a:lnTo>
                  <a:lnTo>
                    <a:pt x="2350" y="34488"/>
                  </a:lnTo>
                  <a:lnTo>
                    <a:pt x="2661" y="32691"/>
                  </a:lnTo>
                  <a:lnTo>
                    <a:pt x="2937" y="30859"/>
                  </a:lnTo>
                  <a:lnTo>
                    <a:pt x="3179" y="29235"/>
                  </a:lnTo>
                  <a:lnTo>
                    <a:pt x="3317" y="27887"/>
                  </a:lnTo>
                  <a:lnTo>
                    <a:pt x="3421" y="27023"/>
                  </a:lnTo>
                  <a:lnTo>
                    <a:pt x="3421" y="27023"/>
                  </a:lnTo>
                  <a:lnTo>
                    <a:pt x="3456" y="25779"/>
                  </a:lnTo>
                  <a:lnTo>
                    <a:pt x="3490" y="23464"/>
                  </a:lnTo>
                  <a:lnTo>
                    <a:pt x="3490" y="17175"/>
                  </a:lnTo>
                  <a:lnTo>
                    <a:pt x="3490" y="13823"/>
                  </a:lnTo>
                  <a:lnTo>
                    <a:pt x="3559" y="10817"/>
                  </a:lnTo>
                  <a:lnTo>
                    <a:pt x="3628" y="9538"/>
                  </a:lnTo>
                  <a:lnTo>
                    <a:pt x="3663" y="8501"/>
                  </a:lnTo>
                  <a:lnTo>
                    <a:pt x="3767" y="7672"/>
                  </a:lnTo>
                  <a:lnTo>
                    <a:pt x="3836" y="7188"/>
                  </a:lnTo>
                  <a:lnTo>
                    <a:pt x="3836" y="7188"/>
                  </a:lnTo>
                  <a:lnTo>
                    <a:pt x="3905" y="7015"/>
                  </a:lnTo>
                  <a:lnTo>
                    <a:pt x="4009" y="6808"/>
                  </a:lnTo>
                  <a:lnTo>
                    <a:pt x="4320" y="6359"/>
                  </a:lnTo>
                  <a:lnTo>
                    <a:pt x="4734" y="5840"/>
                  </a:lnTo>
                  <a:lnTo>
                    <a:pt x="5218" y="5287"/>
                  </a:lnTo>
                  <a:lnTo>
                    <a:pt x="5771" y="4700"/>
                  </a:lnTo>
                  <a:lnTo>
                    <a:pt x="6358" y="4113"/>
                  </a:lnTo>
                  <a:lnTo>
                    <a:pt x="7672" y="2903"/>
                  </a:lnTo>
                  <a:lnTo>
                    <a:pt x="8916" y="1797"/>
                  </a:lnTo>
                  <a:lnTo>
                    <a:pt x="10021" y="864"/>
                  </a:lnTo>
                  <a:lnTo>
                    <a:pt x="11058"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93" name="Google Shape;14239;p81">
              <a:extLst>
                <a:ext uri="{FF2B5EF4-FFF2-40B4-BE49-F238E27FC236}">
                  <a16:creationId xmlns:a16="http://schemas.microsoft.com/office/drawing/2014/main" id="{D342853D-4B37-C30A-D020-B02C1CE4A9DF}"/>
                </a:ext>
              </a:extLst>
            </p:cNvPr>
            <p:cNvSpPr/>
            <p:nvPr/>
          </p:nvSpPr>
          <p:spPr>
            <a:xfrm>
              <a:off x="1705500" y="3103700"/>
              <a:ext cx="170225" cy="94200"/>
            </a:xfrm>
            <a:custGeom>
              <a:avLst/>
              <a:gdLst/>
              <a:ahLst/>
              <a:cxnLst/>
              <a:rect l="l" t="t" r="r" b="b"/>
              <a:pathLst>
                <a:path w="6809" h="3768" extrusionOk="0">
                  <a:moveTo>
                    <a:pt x="3940" y="1"/>
                  </a:moveTo>
                  <a:lnTo>
                    <a:pt x="3767" y="35"/>
                  </a:lnTo>
                  <a:lnTo>
                    <a:pt x="3353" y="139"/>
                  </a:lnTo>
                  <a:lnTo>
                    <a:pt x="2938" y="346"/>
                  </a:lnTo>
                  <a:lnTo>
                    <a:pt x="2489" y="553"/>
                  </a:lnTo>
                  <a:lnTo>
                    <a:pt x="2074" y="761"/>
                  </a:lnTo>
                  <a:lnTo>
                    <a:pt x="1728" y="934"/>
                  </a:lnTo>
                  <a:lnTo>
                    <a:pt x="1417" y="1003"/>
                  </a:lnTo>
                  <a:lnTo>
                    <a:pt x="1314" y="1003"/>
                  </a:lnTo>
                  <a:lnTo>
                    <a:pt x="1210" y="968"/>
                  </a:lnTo>
                  <a:lnTo>
                    <a:pt x="1141" y="968"/>
                  </a:lnTo>
                  <a:lnTo>
                    <a:pt x="1072" y="1003"/>
                  </a:lnTo>
                  <a:lnTo>
                    <a:pt x="899" y="1175"/>
                  </a:lnTo>
                  <a:lnTo>
                    <a:pt x="692" y="1417"/>
                  </a:lnTo>
                  <a:lnTo>
                    <a:pt x="484" y="1728"/>
                  </a:lnTo>
                  <a:lnTo>
                    <a:pt x="139" y="2350"/>
                  </a:lnTo>
                  <a:lnTo>
                    <a:pt x="1" y="2627"/>
                  </a:lnTo>
                  <a:lnTo>
                    <a:pt x="277" y="2869"/>
                  </a:lnTo>
                  <a:lnTo>
                    <a:pt x="623" y="3076"/>
                  </a:lnTo>
                  <a:lnTo>
                    <a:pt x="968" y="3283"/>
                  </a:lnTo>
                  <a:lnTo>
                    <a:pt x="1314" y="3422"/>
                  </a:lnTo>
                  <a:lnTo>
                    <a:pt x="1694" y="3560"/>
                  </a:lnTo>
                  <a:lnTo>
                    <a:pt x="2109" y="3629"/>
                  </a:lnTo>
                  <a:lnTo>
                    <a:pt x="2489" y="3698"/>
                  </a:lnTo>
                  <a:lnTo>
                    <a:pt x="2869" y="3767"/>
                  </a:lnTo>
                  <a:lnTo>
                    <a:pt x="3664" y="3767"/>
                  </a:lnTo>
                  <a:lnTo>
                    <a:pt x="4044" y="3733"/>
                  </a:lnTo>
                  <a:lnTo>
                    <a:pt x="4389" y="3664"/>
                  </a:lnTo>
                  <a:lnTo>
                    <a:pt x="4735" y="3594"/>
                  </a:lnTo>
                  <a:lnTo>
                    <a:pt x="5046" y="3491"/>
                  </a:lnTo>
                  <a:lnTo>
                    <a:pt x="5322" y="3353"/>
                  </a:lnTo>
                  <a:lnTo>
                    <a:pt x="5564" y="3214"/>
                  </a:lnTo>
                  <a:lnTo>
                    <a:pt x="5806" y="3042"/>
                  </a:lnTo>
                  <a:lnTo>
                    <a:pt x="6013" y="2834"/>
                  </a:lnTo>
                  <a:lnTo>
                    <a:pt x="6221" y="2592"/>
                  </a:lnTo>
                  <a:lnTo>
                    <a:pt x="6394" y="2350"/>
                  </a:lnTo>
                  <a:lnTo>
                    <a:pt x="6532" y="2109"/>
                  </a:lnTo>
                  <a:lnTo>
                    <a:pt x="6635" y="1867"/>
                  </a:lnTo>
                  <a:lnTo>
                    <a:pt x="6739" y="1625"/>
                  </a:lnTo>
                  <a:lnTo>
                    <a:pt x="6774" y="1383"/>
                  </a:lnTo>
                  <a:lnTo>
                    <a:pt x="6808" y="1175"/>
                  </a:lnTo>
                  <a:lnTo>
                    <a:pt x="6774" y="968"/>
                  </a:lnTo>
                  <a:lnTo>
                    <a:pt x="6739" y="795"/>
                  </a:lnTo>
                  <a:lnTo>
                    <a:pt x="6635" y="692"/>
                  </a:lnTo>
                  <a:lnTo>
                    <a:pt x="6532" y="588"/>
                  </a:lnTo>
                  <a:lnTo>
                    <a:pt x="6152" y="588"/>
                  </a:lnTo>
                  <a:lnTo>
                    <a:pt x="5875" y="692"/>
                  </a:lnTo>
                  <a:lnTo>
                    <a:pt x="5495" y="864"/>
                  </a:lnTo>
                  <a:lnTo>
                    <a:pt x="5184" y="968"/>
                  </a:lnTo>
                  <a:lnTo>
                    <a:pt x="4908" y="1003"/>
                  </a:lnTo>
                  <a:lnTo>
                    <a:pt x="4700" y="1037"/>
                  </a:lnTo>
                  <a:lnTo>
                    <a:pt x="4562" y="1003"/>
                  </a:lnTo>
                  <a:lnTo>
                    <a:pt x="4458" y="934"/>
                  </a:lnTo>
                  <a:lnTo>
                    <a:pt x="4389" y="864"/>
                  </a:lnTo>
                  <a:lnTo>
                    <a:pt x="4355" y="761"/>
                  </a:lnTo>
                  <a:lnTo>
                    <a:pt x="4320" y="519"/>
                  </a:lnTo>
                  <a:lnTo>
                    <a:pt x="4286" y="277"/>
                  </a:lnTo>
                  <a:lnTo>
                    <a:pt x="4286" y="173"/>
                  </a:lnTo>
                  <a:lnTo>
                    <a:pt x="4251" y="104"/>
                  </a:lnTo>
                  <a:lnTo>
                    <a:pt x="4217" y="35"/>
                  </a:lnTo>
                  <a:lnTo>
                    <a:pt x="4113" y="1"/>
                  </a:lnTo>
                  <a:close/>
                </a:path>
              </a:pathLst>
            </a:custGeom>
            <a:solidFill>
              <a:srgbClr val="8A3A1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94" name="Google Shape;14240;p81">
              <a:extLst>
                <a:ext uri="{FF2B5EF4-FFF2-40B4-BE49-F238E27FC236}">
                  <a16:creationId xmlns:a16="http://schemas.microsoft.com/office/drawing/2014/main" id="{40861274-9AB4-5E90-E87E-DF5C97BF271B}"/>
                </a:ext>
              </a:extLst>
            </p:cNvPr>
            <p:cNvSpPr/>
            <p:nvPr/>
          </p:nvSpPr>
          <p:spPr>
            <a:xfrm>
              <a:off x="1874825" y="2241525"/>
              <a:ext cx="111475" cy="162425"/>
            </a:xfrm>
            <a:custGeom>
              <a:avLst/>
              <a:gdLst/>
              <a:ahLst/>
              <a:cxnLst/>
              <a:rect l="l" t="t" r="r" b="b"/>
              <a:pathLst>
                <a:path w="4459" h="6497" extrusionOk="0">
                  <a:moveTo>
                    <a:pt x="3353" y="0"/>
                  </a:moveTo>
                  <a:lnTo>
                    <a:pt x="3076" y="35"/>
                  </a:lnTo>
                  <a:lnTo>
                    <a:pt x="2800" y="69"/>
                  </a:lnTo>
                  <a:lnTo>
                    <a:pt x="2523" y="173"/>
                  </a:lnTo>
                  <a:lnTo>
                    <a:pt x="2212" y="277"/>
                  </a:lnTo>
                  <a:lnTo>
                    <a:pt x="1936" y="380"/>
                  </a:lnTo>
                  <a:lnTo>
                    <a:pt x="1694" y="553"/>
                  </a:lnTo>
                  <a:lnTo>
                    <a:pt x="1487" y="726"/>
                  </a:lnTo>
                  <a:lnTo>
                    <a:pt x="1279" y="968"/>
                  </a:lnTo>
                  <a:lnTo>
                    <a:pt x="1072" y="1210"/>
                  </a:lnTo>
                  <a:lnTo>
                    <a:pt x="865" y="1486"/>
                  </a:lnTo>
                  <a:lnTo>
                    <a:pt x="692" y="1797"/>
                  </a:lnTo>
                  <a:lnTo>
                    <a:pt x="519" y="2143"/>
                  </a:lnTo>
                  <a:lnTo>
                    <a:pt x="381" y="2488"/>
                  </a:lnTo>
                  <a:lnTo>
                    <a:pt x="243" y="2868"/>
                  </a:lnTo>
                  <a:lnTo>
                    <a:pt x="139" y="3249"/>
                  </a:lnTo>
                  <a:lnTo>
                    <a:pt x="70" y="3663"/>
                  </a:lnTo>
                  <a:lnTo>
                    <a:pt x="35" y="4043"/>
                  </a:lnTo>
                  <a:lnTo>
                    <a:pt x="1" y="4458"/>
                  </a:lnTo>
                  <a:lnTo>
                    <a:pt x="35" y="4838"/>
                  </a:lnTo>
                  <a:lnTo>
                    <a:pt x="70" y="5218"/>
                  </a:lnTo>
                  <a:lnTo>
                    <a:pt x="173" y="5598"/>
                  </a:lnTo>
                  <a:lnTo>
                    <a:pt x="277" y="5979"/>
                  </a:lnTo>
                  <a:lnTo>
                    <a:pt x="588" y="6151"/>
                  </a:lnTo>
                  <a:lnTo>
                    <a:pt x="899" y="6290"/>
                  </a:lnTo>
                  <a:lnTo>
                    <a:pt x="1314" y="6428"/>
                  </a:lnTo>
                  <a:lnTo>
                    <a:pt x="1521" y="6462"/>
                  </a:lnTo>
                  <a:lnTo>
                    <a:pt x="1763" y="6497"/>
                  </a:lnTo>
                  <a:lnTo>
                    <a:pt x="2005" y="6462"/>
                  </a:lnTo>
                  <a:lnTo>
                    <a:pt x="2281" y="6428"/>
                  </a:lnTo>
                  <a:lnTo>
                    <a:pt x="2523" y="6359"/>
                  </a:lnTo>
                  <a:lnTo>
                    <a:pt x="2765" y="6220"/>
                  </a:lnTo>
                  <a:lnTo>
                    <a:pt x="3007" y="6013"/>
                  </a:lnTo>
                  <a:lnTo>
                    <a:pt x="3214" y="5771"/>
                  </a:lnTo>
                  <a:lnTo>
                    <a:pt x="3387" y="5529"/>
                  </a:lnTo>
                  <a:lnTo>
                    <a:pt x="3491" y="5287"/>
                  </a:lnTo>
                  <a:lnTo>
                    <a:pt x="3560" y="5011"/>
                  </a:lnTo>
                  <a:lnTo>
                    <a:pt x="3629" y="4700"/>
                  </a:lnTo>
                  <a:lnTo>
                    <a:pt x="3664" y="4113"/>
                  </a:lnTo>
                  <a:lnTo>
                    <a:pt x="3664" y="3456"/>
                  </a:lnTo>
                  <a:lnTo>
                    <a:pt x="3664" y="2834"/>
                  </a:lnTo>
                  <a:lnTo>
                    <a:pt x="3664" y="2523"/>
                  </a:lnTo>
                  <a:lnTo>
                    <a:pt x="3698" y="2212"/>
                  </a:lnTo>
                  <a:lnTo>
                    <a:pt x="3767" y="1935"/>
                  </a:lnTo>
                  <a:lnTo>
                    <a:pt x="3871" y="1659"/>
                  </a:lnTo>
                  <a:lnTo>
                    <a:pt x="4009" y="1383"/>
                  </a:lnTo>
                  <a:lnTo>
                    <a:pt x="4182" y="1141"/>
                  </a:lnTo>
                  <a:lnTo>
                    <a:pt x="4355" y="933"/>
                  </a:lnTo>
                  <a:lnTo>
                    <a:pt x="4458" y="761"/>
                  </a:lnTo>
                  <a:lnTo>
                    <a:pt x="4458" y="588"/>
                  </a:lnTo>
                  <a:lnTo>
                    <a:pt x="4458" y="415"/>
                  </a:lnTo>
                  <a:lnTo>
                    <a:pt x="4355" y="311"/>
                  </a:lnTo>
                  <a:lnTo>
                    <a:pt x="4217" y="208"/>
                  </a:lnTo>
                  <a:lnTo>
                    <a:pt x="4044" y="104"/>
                  </a:lnTo>
                  <a:lnTo>
                    <a:pt x="3836" y="69"/>
                  </a:lnTo>
                  <a:lnTo>
                    <a:pt x="3595" y="35"/>
                  </a:lnTo>
                  <a:lnTo>
                    <a:pt x="3353" y="0"/>
                  </a:lnTo>
                  <a:close/>
                </a:path>
              </a:pathLst>
            </a:custGeom>
            <a:solidFill>
              <a:srgbClr val="8A3A1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95" name="Google Shape;14241;p81">
              <a:extLst>
                <a:ext uri="{FF2B5EF4-FFF2-40B4-BE49-F238E27FC236}">
                  <a16:creationId xmlns:a16="http://schemas.microsoft.com/office/drawing/2014/main" id="{4F7E16C8-6D76-5749-4D75-D67BCC24F8A1}"/>
                </a:ext>
              </a:extLst>
            </p:cNvPr>
            <p:cNvSpPr/>
            <p:nvPr/>
          </p:nvSpPr>
          <p:spPr>
            <a:xfrm>
              <a:off x="994500" y="4854850"/>
              <a:ext cx="305850" cy="254875"/>
            </a:xfrm>
            <a:custGeom>
              <a:avLst/>
              <a:gdLst/>
              <a:ahLst/>
              <a:cxnLst/>
              <a:rect l="l" t="t" r="r" b="b"/>
              <a:pathLst>
                <a:path w="12234" h="10195" extrusionOk="0">
                  <a:moveTo>
                    <a:pt x="2903" y="0"/>
                  </a:moveTo>
                  <a:lnTo>
                    <a:pt x="2731" y="70"/>
                  </a:lnTo>
                  <a:lnTo>
                    <a:pt x="1901" y="657"/>
                  </a:lnTo>
                  <a:lnTo>
                    <a:pt x="1072" y="1244"/>
                  </a:lnTo>
                  <a:lnTo>
                    <a:pt x="865" y="1452"/>
                  </a:lnTo>
                  <a:lnTo>
                    <a:pt x="657" y="1694"/>
                  </a:lnTo>
                  <a:lnTo>
                    <a:pt x="450" y="1970"/>
                  </a:lnTo>
                  <a:lnTo>
                    <a:pt x="277" y="2281"/>
                  </a:lnTo>
                  <a:lnTo>
                    <a:pt x="139" y="2558"/>
                  </a:lnTo>
                  <a:lnTo>
                    <a:pt x="35" y="2799"/>
                  </a:lnTo>
                  <a:lnTo>
                    <a:pt x="1" y="3041"/>
                  </a:lnTo>
                  <a:lnTo>
                    <a:pt x="1" y="3180"/>
                  </a:lnTo>
                  <a:lnTo>
                    <a:pt x="70" y="3352"/>
                  </a:lnTo>
                  <a:lnTo>
                    <a:pt x="243" y="3560"/>
                  </a:lnTo>
                  <a:lnTo>
                    <a:pt x="796" y="4113"/>
                  </a:lnTo>
                  <a:lnTo>
                    <a:pt x="1452" y="4700"/>
                  </a:lnTo>
                  <a:lnTo>
                    <a:pt x="2143" y="5357"/>
                  </a:lnTo>
                  <a:lnTo>
                    <a:pt x="2351" y="5357"/>
                  </a:lnTo>
                  <a:lnTo>
                    <a:pt x="2454" y="5322"/>
                  </a:lnTo>
                  <a:lnTo>
                    <a:pt x="2558" y="5218"/>
                  </a:lnTo>
                  <a:lnTo>
                    <a:pt x="2696" y="5115"/>
                  </a:lnTo>
                  <a:lnTo>
                    <a:pt x="2731" y="5115"/>
                  </a:lnTo>
                  <a:lnTo>
                    <a:pt x="2834" y="5184"/>
                  </a:lnTo>
                  <a:lnTo>
                    <a:pt x="3180" y="5460"/>
                  </a:lnTo>
                  <a:lnTo>
                    <a:pt x="4251" y="6428"/>
                  </a:lnTo>
                  <a:lnTo>
                    <a:pt x="6566" y="8674"/>
                  </a:lnTo>
                  <a:lnTo>
                    <a:pt x="6808" y="8847"/>
                  </a:lnTo>
                  <a:lnTo>
                    <a:pt x="7085" y="9054"/>
                  </a:lnTo>
                  <a:lnTo>
                    <a:pt x="7396" y="9227"/>
                  </a:lnTo>
                  <a:lnTo>
                    <a:pt x="7741" y="9400"/>
                  </a:lnTo>
                  <a:lnTo>
                    <a:pt x="8502" y="9711"/>
                  </a:lnTo>
                  <a:lnTo>
                    <a:pt x="9331" y="9953"/>
                  </a:lnTo>
                  <a:lnTo>
                    <a:pt x="9746" y="10056"/>
                  </a:lnTo>
                  <a:lnTo>
                    <a:pt x="10126" y="10125"/>
                  </a:lnTo>
                  <a:lnTo>
                    <a:pt x="10540" y="10160"/>
                  </a:lnTo>
                  <a:lnTo>
                    <a:pt x="10886" y="10195"/>
                  </a:lnTo>
                  <a:lnTo>
                    <a:pt x="11232" y="10160"/>
                  </a:lnTo>
                  <a:lnTo>
                    <a:pt x="11543" y="10125"/>
                  </a:lnTo>
                  <a:lnTo>
                    <a:pt x="11819" y="10022"/>
                  </a:lnTo>
                  <a:lnTo>
                    <a:pt x="12026" y="9918"/>
                  </a:lnTo>
                  <a:lnTo>
                    <a:pt x="12165" y="9711"/>
                  </a:lnTo>
                  <a:lnTo>
                    <a:pt x="12234" y="9503"/>
                  </a:lnTo>
                  <a:lnTo>
                    <a:pt x="12199" y="9296"/>
                  </a:lnTo>
                  <a:lnTo>
                    <a:pt x="12130" y="9054"/>
                  </a:lnTo>
                  <a:lnTo>
                    <a:pt x="12026" y="8812"/>
                  </a:lnTo>
                  <a:lnTo>
                    <a:pt x="11854" y="8536"/>
                  </a:lnTo>
                  <a:lnTo>
                    <a:pt x="11646" y="8294"/>
                  </a:lnTo>
                  <a:lnTo>
                    <a:pt x="11439" y="8017"/>
                  </a:lnTo>
                  <a:lnTo>
                    <a:pt x="10955" y="7534"/>
                  </a:lnTo>
                  <a:lnTo>
                    <a:pt x="10471" y="7050"/>
                  </a:lnTo>
                  <a:lnTo>
                    <a:pt x="10022" y="6670"/>
                  </a:lnTo>
                  <a:lnTo>
                    <a:pt x="9780" y="6428"/>
                  </a:lnTo>
                  <a:lnTo>
                    <a:pt x="9677" y="6324"/>
                  </a:lnTo>
                  <a:lnTo>
                    <a:pt x="9538" y="6255"/>
                  </a:lnTo>
                  <a:lnTo>
                    <a:pt x="9227" y="6082"/>
                  </a:lnTo>
                  <a:lnTo>
                    <a:pt x="8363" y="5840"/>
                  </a:lnTo>
                  <a:lnTo>
                    <a:pt x="7845" y="5668"/>
                  </a:lnTo>
                  <a:lnTo>
                    <a:pt x="7327" y="5460"/>
                  </a:lnTo>
                  <a:lnTo>
                    <a:pt x="6774" y="5149"/>
                  </a:lnTo>
                  <a:lnTo>
                    <a:pt x="6497" y="4977"/>
                  </a:lnTo>
                  <a:lnTo>
                    <a:pt x="6221" y="4769"/>
                  </a:lnTo>
                  <a:lnTo>
                    <a:pt x="5737" y="4355"/>
                  </a:lnTo>
                  <a:lnTo>
                    <a:pt x="5392" y="3940"/>
                  </a:lnTo>
                  <a:lnTo>
                    <a:pt x="5115" y="3560"/>
                  </a:lnTo>
                  <a:lnTo>
                    <a:pt x="4908" y="3180"/>
                  </a:lnTo>
                  <a:lnTo>
                    <a:pt x="4804" y="2834"/>
                  </a:lnTo>
                  <a:lnTo>
                    <a:pt x="4735" y="2523"/>
                  </a:lnTo>
                  <a:lnTo>
                    <a:pt x="4597" y="1970"/>
                  </a:lnTo>
                  <a:lnTo>
                    <a:pt x="4493" y="1625"/>
                  </a:lnTo>
                  <a:lnTo>
                    <a:pt x="4251" y="1175"/>
                  </a:lnTo>
                  <a:lnTo>
                    <a:pt x="4078" y="933"/>
                  </a:lnTo>
                  <a:lnTo>
                    <a:pt x="3871" y="657"/>
                  </a:lnTo>
                  <a:lnTo>
                    <a:pt x="3629" y="381"/>
                  </a:lnTo>
                  <a:lnTo>
                    <a:pt x="3353" y="104"/>
                  </a:lnTo>
                  <a:lnTo>
                    <a:pt x="3215" y="35"/>
                  </a:lnTo>
                  <a:lnTo>
                    <a:pt x="3042" y="0"/>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96" name="Google Shape;14242;p81">
              <a:extLst>
                <a:ext uri="{FF2B5EF4-FFF2-40B4-BE49-F238E27FC236}">
                  <a16:creationId xmlns:a16="http://schemas.microsoft.com/office/drawing/2014/main" id="{FD19F8E1-E786-65DB-180B-EED83EB1FC88}"/>
                </a:ext>
              </a:extLst>
            </p:cNvPr>
            <p:cNvSpPr/>
            <p:nvPr/>
          </p:nvSpPr>
          <p:spPr>
            <a:xfrm>
              <a:off x="1380675" y="3920100"/>
              <a:ext cx="415575" cy="1118775"/>
            </a:xfrm>
            <a:custGeom>
              <a:avLst/>
              <a:gdLst/>
              <a:ahLst/>
              <a:cxnLst/>
              <a:rect l="l" t="t" r="r" b="b"/>
              <a:pathLst>
                <a:path w="16623" h="44751" extrusionOk="0">
                  <a:moveTo>
                    <a:pt x="1175" y="0"/>
                  </a:moveTo>
                  <a:lnTo>
                    <a:pt x="968" y="35"/>
                  </a:lnTo>
                  <a:lnTo>
                    <a:pt x="726" y="69"/>
                  </a:lnTo>
                  <a:lnTo>
                    <a:pt x="519" y="173"/>
                  </a:lnTo>
                  <a:lnTo>
                    <a:pt x="346" y="277"/>
                  </a:lnTo>
                  <a:lnTo>
                    <a:pt x="173" y="450"/>
                  </a:lnTo>
                  <a:lnTo>
                    <a:pt x="70" y="692"/>
                  </a:lnTo>
                  <a:lnTo>
                    <a:pt x="0" y="968"/>
                  </a:lnTo>
                  <a:lnTo>
                    <a:pt x="0" y="1279"/>
                  </a:lnTo>
                  <a:lnTo>
                    <a:pt x="104" y="2350"/>
                  </a:lnTo>
                  <a:lnTo>
                    <a:pt x="415" y="4389"/>
                  </a:lnTo>
                  <a:lnTo>
                    <a:pt x="1348" y="10333"/>
                  </a:lnTo>
                  <a:lnTo>
                    <a:pt x="2039" y="14583"/>
                  </a:lnTo>
                  <a:lnTo>
                    <a:pt x="2834" y="19490"/>
                  </a:lnTo>
                  <a:lnTo>
                    <a:pt x="3594" y="23913"/>
                  </a:lnTo>
                  <a:lnTo>
                    <a:pt x="4182" y="27196"/>
                  </a:lnTo>
                  <a:lnTo>
                    <a:pt x="4389" y="28268"/>
                  </a:lnTo>
                  <a:lnTo>
                    <a:pt x="4527" y="28855"/>
                  </a:lnTo>
                  <a:lnTo>
                    <a:pt x="4735" y="29753"/>
                  </a:lnTo>
                  <a:lnTo>
                    <a:pt x="5046" y="31101"/>
                  </a:lnTo>
                  <a:lnTo>
                    <a:pt x="5426" y="32725"/>
                  </a:lnTo>
                  <a:lnTo>
                    <a:pt x="5771" y="34557"/>
                  </a:lnTo>
                  <a:lnTo>
                    <a:pt x="6117" y="36457"/>
                  </a:lnTo>
                  <a:lnTo>
                    <a:pt x="6393" y="38220"/>
                  </a:lnTo>
                  <a:lnTo>
                    <a:pt x="6497" y="39015"/>
                  </a:lnTo>
                  <a:lnTo>
                    <a:pt x="6601" y="39740"/>
                  </a:lnTo>
                  <a:lnTo>
                    <a:pt x="6635" y="40362"/>
                  </a:lnTo>
                  <a:lnTo>
                    <a:pt x="6635" y="40881"/>
                  </a:lnTo>
                  <a:lnTo>
                    <a:pt x="6566" y="41641"/>
                  </a:lnTo>
                  <a:lnTo>
                    <a:pt x="6463" y="42194"/>
                  </a:lnTo>
                  <a:lnTo>
                    <a:pt x="6359" y="42608"/>
                  </a:lnTo>
                  <a:lnTo>
                    <a:pt x="6255" y="42885"/>
                  </a:lnTo>
                  <a:lnTo>
                    <a:pt x="6186" y="43127"/>
                  </a:lnTo>
                  <a:lnTo>
                    <a:pt x="6151" y="43369"/>
                  </a:lnTo>
                  <a:lnTo>
                    <a:pt x="6186" y="43714"/>
                  </a:lnTo>
                  <a:lnTo>
                    <a:pt x="6324" y="44163"/>
                  </a:lnTo>
                  <a:lnTo>
                    <a:pt x="6393" y="44267"/>
                  </a:lnTo>
                  <a:lnTo>
                    <a:pt x="6532" y="44405"/>
                  </a:lnTo>
                  <a:lnTo>
                    <a:pt x="6704" y="44474"/>
                  </a:lnTo>
                  <a:lnTo>
                    <a:pt x="6912" y="44578"/>
                  </a:lnTo>
                  <a:lnTo>
                    <a:pt x="7188" y="44613"/>
                  </a:lnTo>
                  <a:lnTo>
                    <a:pt x="7499" y="44682"/>
                  </a:lnTo>
                  <a:lnTo>
                    <a:pt x="8225" y="44751"/>
                  </a:lnTo>
                  <a:lnTo>
                    <a:pt x="9054" y="44751"/>
                  </a:lnTo>
                  <a:lnTo>
                    <a:pt x="9953" y="44716"/>
                  </a:lnTo>
                  <a:lnTo>
                    <a:pt x="10886" y="44682"/>
                  </a:lnTo>
                  <a:lnTo>
                    <a:pt x="11853" y="44578"/>
                  </a:lnTo>
                  <a:lnTo>
                    <a:pt x="12821" y="44474"/>
                  </a:lnTo>
                  <a:lnTo>
                    <a:pt x="13719" y="44336"/>
                  </a:lnTo>
                  <a:lnTo>
                    <a:pt x="14583" y="44198"/>
                  </a:lnTo>
                  <a:lnTo>
                    <a:pt x="15309" y="44060"/>
                  </a:lnTo>
                  <a:lnTo>
                    <a:pt x="15896" y="43887"/>
                  </a:lnTo>
                  <a:lnTo>
                    <a:pt x="16346" y="43749"/>
                  </a:lnTo>
                  <a:lnTo>
                    <a:pt x="16484" y="43680"/>
                  </a:lnTo>
                  <a:lnTo>
                    <a:pt x="16588" y="43611"/>
                  </a:lnTo>
                  <a:lnTo>
                    <a:pt x="16622" y="43541"/>
                  </a:lnTo>
                  <a:lnTo>
                    <a:pt x="16588" y="43507"/>
                  </a:lnTo>
                  <a:lnTo>
                    <a:pt x="16449" y="43403"/>
                  </a:lnTo>
                  <a:lnTo>
                    <a:pt x="16207" y="43265"/>
                  </a:lnTo>
                  <a:lnTo>
                    <a:pt x="15620" y="43023"/>
                  </a:lnTo>
                  <a:lnTo>
                    <a:pt x="14860" y="42816"/>
                  </a:lnTo>
                  <a:lnTo>
                    <a:pt x="13996" y="42574"/>
                  </a:lnTo>
                  <a:lnTo>
                    <a:pt x="12372" y="42090"/>
                  </a:lnTo>
                  <a:lnTo>
                    <a:pt x="11750" y="41883"/>
                  </a:lnTo>
                  <a:lnTo>
                    <a:pt x="11508" y="41779"/>
                  </a:lnTo>
                  <a:lnTo>
                    <a:pt x="11335" y="41675"/>
                  </a:lnTo>
                  <a:lnTo>
                    <a:pt x="11300" y="41606"/>
                  </a:lnTo>
                  <a:lnTo>
                    <a:pt x="11266" y="41433"/>
                  </a:lnTo>
                  <a:lnTo>
                    <a:pt x="11162" y="40846"/>
                  </a:lnTo>
                  <a:lnTo>
                    <a:pt x="11024" y="39982"/>
                  </a:lnTo>
                  <a:lnTo>
                    <a:pt x="10920" y="38842"/>
                  </a:lnTo>
                  <a:lnTo>
                    <a:pt x="10609" y="35801"/>
                  </a:lnTo>
                  <a:lnTo>
                    <a:pt x="10298" y="32034"/>
                  </a:lnTo>
                  <a:lnTo>
                    <a:pt x="9642" y="23188"/>
                  </a:lnTo>
                  <a:lnTo>
                    <a:pt x="8951" y="14134"/>
                  </a:lnTo>
                  <a:lnTo>
                    <a:pt x="8640" y="9849"/>
                  </a:lnTo>
                  <a:lnTo>
                    <a:pt x="8329" y="5564"/>
                  </a:lnTo>
                  <a:lnTo>
                    <a:pt x="8190" y="4078"/>
                  </a:lnTo>
                  <a:lnTo>
                    <a:pt x="8087" y="3076"/>
                  </a:lnTo>
                  <a:lnTo>
                    <a:pt x="7948" y="2385"/>
                  </a:lnTo>
                  <a:lnTo>
                    <a:pt x="7810" y="1797"/>
                  </a:lnTo>
                  <a:lnTo>
                    <a:pt x="7637" y="1314"/>
                  </a:lnTo>
                  <a:lnTo>
                    <a:pt x="7465" y="933"/>
                  </a:lnTo>
                  <a:lnTo>
                    <a:pt x="7223" y="622"/>
                  </a:lnTo>
                  <a:lnTo>
                    <a:pt x="6946" y="380"/>
                  </a:lnTo>
                  <a:lnTo>
                    <a:pt x="6670" y="208"/>
                  </a:lnTo>
                  <a:lnTo>
                    <a:pt x="6324" y="104"/>
                  </a:lnTo>
                  <a:lnTo>
                    <a:pt x="5979" y="35"/>
                  </a:lnTo>
                  <a:lnTo>
                    <a:pt x="5564" y="0"/>
                  </a:lnTo>
                  <a:lnTo>
                    <a:pt x="5149" y="35"/>
                  </a:lnTo>
                  <a:lnTo>
                    <a:pt x="4666" y="35"/>
                  </a:lnTo>
                  <a:lnTo>
                    <a:pt x="3629" y="104"/>
                  </a:lnTo>
                  <a:lnTo>
                    <a:pt x="2454" y="173"/>
                  </a:lnTo>
                  <a:lnTo>
                    <a:pt x="2074" y="69"/>
                  </a:lnTo>
                  <a:lnTo>
                    <a:pt x="1659" y="0"/>
                  </a:lnTo>
                  <a:close/>
                </a:path>
              </a:pathLst>
            </a:custGeom>
            <a:solidFill>
              <a:srgbClr val="8A3A1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97" name="Google Shape;14243;p81">
              <a:extLst>
                <a:ext uri="{FF2B5EF4-FFF2-40B4-BE49-F238E27FC236}">
                  <a16:creationId xmlns:a16="http://schemas.microsoft.com/office/drawing/2014/main" id="{885C52BA-97EA-3305-A7FD-1C86283FABB5}"/>
                </a:ext>
              </a:extLst>
            </p:cNvPr>
            <p:cNvSpPr/>
            <p:nvPr/>
          </p:nvSpPr>
          <p:spPr>
            <a:xfrm>
              <a:off x="1380675" y="3920100"/>
              <a:ext cx="415575" cy="1118775"/>
            </a:xfrm>
            <a:custGeom>
              <a:avLst/>
              <a:gdLst/>
              <a:ahLst/>
              <a:cxnLst/>
              <a:rect l="l" t="t" r="r" b="b"/>
              <a:pathLst>
                <a:path w="16623" h="44751" fill="none" extrusionOk="0">
                  <a:moveTo>
                    <a:pt x="0" y="1279"/>
                  </a:moveTo>
                  <a:lnTo>
                    <a:pt x="0" y="1279"/>
                  </a:lnTo>
                  <a:lnTo>
                    <a:pt x="104" y="2350"/>
                  </a:lnTo>
                  <a:lnTo>
                    <a:pt x="415" y="4389"/>
                  </a:lnTo>
                  <a:lnTo>
                    <a:pt x="1348" y="10333"/>
                  </a:lnTo>
                  <a:lnTo>
                    <a:pt x="1348" y="10333"/>
                  </a:lnTo>
                  <a:lnTo>
                    <a:pt x="2039" y="14583"/>
                  </a:lnTo>
                  <a:lnTo>
                    <a:pt x="2039" y="14583"/>
                  </a:lnTo>
                  <a:lnTo>
                    <a:pt x="2834" y="19490"/>
                  </a:lnTo>
                  <a:lnTo>
                    <a:pt x="3594" y="23913"/>
                  </a:lnTo>
                  <a:lnTo>
                    <a:pt x="4182" y="27196"/>
                  </a:lnTo>
                  <a:lnTo>
                    <a:pt x="4389" y="28268"/>
                  </a:lnTo>
                  <a:lnTo>
                    <a:pt x="4527" y="28855"/>
                  </a:lnTo>
                  <a:lnTo>
                    <a:pt x="4527" y="28855"/>
                  </a:lnTo>
                  <a:lnTo>
                    <a:pt x="4735" y="29753"/>
                  </a:lnTo>
                  <a:lnTo>
                    <a:pt x="5046" y="31101"/>
                  </a:lnTo>
                  <a:lnTo>
                    <a:pt x="5426" y="32725"/>
                  </a:lnTo>
                  <a:lnTo>
                    <a:pt x="5771" y="34557"/>
                  </a:lnTo>
                  <a:lnTo>
                    <a:pt x="6117" y="36457"/>
                  </a:lnTo>
                  <a:lnTo>
                    <a:pt x="6393" y="38220"/>
                  </a:lnTo>
                  <a:lnTo>
                    <a:pt x="6497" y="39015"/>
                  </a:lnTo>
                  <a:lnTo>
                    <a:pt x="6601" y="39740"/>
                  </a:lnTo>
                  <a:lnTo>
                    <a:pt x="6635" y="40362"/>
                  </a:lnTo>
                  <a:lnTo>
                    <a:pt x="6635" y="40881"/>
                  </a:lnTo>
                  <a:lnTo>
                    <a:pt x="6635" y="40881"/>
                  </a:lnTo>
                  <a:lnTo>
                    <a:pt x="6566" y="41641"/>
                  </a:lnTo>
                  <a:lnTo>
                    <a:pt x="6463" y="42194"/>
                  </a:lnTo>
                  <a:lnTo>
                    <a:pt x="6359" y="42608"/>
                  </a:lnTo>
                  <a:lnTo>
                    <a:pt x="6255" y="42885"/>
                  </a:lnTo>
                  <a:lnTo>
                    <a:pt x="6186" y="43127"/>
                  </a:lnTo>
                  <a:lnTo>
                    <a:pt x="6151" y="43369"/>
                  </a:lnTo>
                  <a:lnTo>
                    <a:pt x="6186" y="43714"/>
                  </a:lnTo>
                  <a:lnTo>
                    <a:pt x="6324" y="44163"/>
                  </a:lnTo>
                  <a:lnTo>
                    <a:pt x="6324" y="44163"/>
                  </a:lnTo>
                  <a:lnTo>
                    <a:pt x="6393" y="44267"/>
                  </a:lnTo>
                  <a:lnTo>
                    <a:pt x="6532" y="44405"/>
                  </a:lnTo>
                  <a:lnTo>
                    <a:pt x="6704" y="44474"/>
                  </a:lnTo>
                  <a:lnTo>
                    <a:pt x="6912" y="44578"/>
                  </a:lnTo>
                  <a:lnTo>
                    <a:pt x="7188" y="44613"/>
                  </a:lnTo>
                  <a:lnTo>
                    <a:pt x="7499" y="44682"/>
                  </a:lnTo>
                  <a:lnTo>
                    <a:pt x="8225" y="44751"/>
                  </a:lnTo>
                  <a:lnTo>
                    <a:pt x="9054" y="44751"/>
                  </a:lnTo>
                  <a:lnTo>
                    <a:pt x="9953" y="44716"/>
                  </a:lnTo>
                  <a:lnTo>
                    <a:pt x="10886" y="44682"/>
                  </a:lnTo>
                  <a:lnTo>
                    <a:pt x="11853" y="44578"/>
                  </a:lnTo>
                  <a:lnTo>
                    <a:pt x="12821" y="44474"/>
                  </a:lnTo>
                  <a:lnTo>
                    <a:pt x="13719" y="44336"/>
                  </a:lnTo>
                  <a:lnTo>
                    <a:pt x="14583" y="44198"/>
                  </a:lnTo>
                  <a:lnTo>
                    <a:pt x="15309" y="44060"/>
                  </a:lnTo>
                  <a:lnTo>
                    <a:pt x="15896" y="43887"/>
                  </a:lnTo>
                  <a:lnTo>
                    <a:pt x="16346" y="43749"/>
                  </a:lnTo>
                  <a:lnTo>
                    <a:pt x="16484" y="43680"/>
                  </a:lnTo>
                  <a:lnTo>
                    <a:pt x="16588" y="43611"/>
                  </a:lnTo>
                  <a:lnTo>
                    <a:pt x="16622" y="43541"/>
                  </a:lnTo>
                  <a:lnTo>
                    <a:pt x="16588" y="43507"/>
                  </a:lnTo>
                  <a:lnTo>
                    <a:pt x="16588" y="43507"/>
                  </a:lnTo>
                  <a:lnTo>
                    <a:pt x="16449" y="43403"/>
                  </a:lnTo>
                  <a:lnTo>
                    <a:pt x="16207" y="43265"/>
                  </a:lnTo>
                  <a:lnTo>
                    <a:pt x="15620" y="43023"/>
                  </a:lnTo>
                  <a:lnTo>
                    <a:pt x="14860" y="42816"/>
                  </a:lnTo>
                  <a:lnTo>
                    <a:pt x="13996" y="42574"/>
                  </a:lnTo>
                  <a:lnTo>
                    <a:pt x="12372" y="42090"/>
                  </a:lnTo>
                  <a:lnTo>
                    <a:pt x="11750" y="41883"/>
                  </a:lnTo>
                  <a:lnTo>
                    <a:pt x="11508" y="41779"/>
                  </a:lnTo>
                  <a:lnTo>
                    <a:pt x="11335" y="41675"/>
                  </a:lnTo>
                  <a:lnTo>
                    <a:pt x="11335" y="41675"/>
                  </a:lnTo>
                  <a:lnTo>
                    <a:pt x="11300" y="41606"/>
                  </a:lnTo>
                  <a:lnTo>
                    <a:pt x="11266" y="41433"/>
                  </a:lnTo>
                  <a:lnTo>
                    <a:pt x="11162" y="40846"/>
                  </a:lnTo>
                  <a:lnTo>
                    <a:pt x="11024" y="39982"/>
                  </a:lnTo>
                  <a:lnTo>
                    <a:pt x="10920" y="38842"/>
                  </a:lnTo>
                  <a:lnTo>
                    <a:pt x="10609" y="35801"/>
                  </a:lnTo>
                  <a:lnTo>
                    <a:pt x="10298" y="32034"/>
                  </a:lnTo>
                  <a:lnTo>
                    <a:pt x="9642" y="23188"/>
                  </a:lnTo>
                  <a:lnTo>
                    <a:pt x="8951" y="14134"/>
                  </a:lnTo>
                  <a:lnTo>
                    <a:pt x="8951" y="14134"/>
                  </a:lnTo>
                  <a:lnTo>
                    <a:pt x="8640" y="9849"/>
                  </a:lnTo>
                  <a:lnTo>
                    <a:pt x="8640" y="9849"/>
                  </a:lnTo>
                  <a:lnTo>
                    <a:pt x="8329" y="5564"/>
                  </a:lnTo>
                  <a:lnTo>
                    <a:pt x="8190" y="4078"/>
                  </a:lnTo>
                  <a:lnTo>
                    <a:pt x="8087" y="3076"/>
                  </a:lnTo>
                  <a:lnTo>
                    <a:pt x="8087" y="3076"/>
                  </a:lnTo>
                  <a:lnTo>
                    <a:pt x="7948" y="2385"/>
                  </a:lnTo>
                  <a:lnTo>
                    <a:pt x="7810" y="1797"/>
                  </a:lnTo>
                  <a:lnTo>
                    <a:pt x="7637" y="1314"/>
                  </a:lnTo>
                  <a:lnTo>
                    <a:pt x="7465" y="933"/>
                  </a:lnTo>
                  <a:lnTo>
                    <a:pt x="7223" y="622"/>
                  </a:lnTo>
                  <a:lnTo>
                    <a:pt x="6946" y="380"/>
                  </a:lnTo>
                  <a:lnTo>
                    <a:pt x="6670" y="208"/>
                  </a:lnTo>
                  <a:lnTo>
                    <a:pt x="6324" y="104"/>
                  </a:lnTo>
                  <a:lnTo>
                    <a:pt x="5979" y="35"/>
                  </a:lnTo>
                  <a:lnTo>
                    <a:pt x="5564" y="0"/>
                  </a:lnTo>
                  <a:lnTo>
                    <a:pt x="5149" y="35"/>
                  </a:lnTo>
                  <a:lnTo>
                    <a:pt x="4666" y="35"/>
                  </a:lnTo>
                  <a:lnTo>
                    <a:pt x="3629" y="104"/>
                  </a:lnTo>
                  <a:lnTo>
                    <a:pt x="2454" y="173"/>
                  </a:lnTo>
                  <a:lnTo>
                    <a:pt x="2454" y="173"/>
                  </a:lnTo>
                  <a:lnTo>
                    <a:pt x="2074" y="69"/>
                  </a:lnTo>
                  <a:lnTo>
                    <a:pt x="1659" y="0"/>
                  </a:lnTo>
                  <a:lnTo>
                    <a:pt x="1175" y="0"/>
                  </a:lnTo>
                  <a:lnTo>
                    <a:pt x="968" y="35"/>
                  </a:lnTo>
                  <a:lnTo>
                    <a:pt x="726" y="69"/>
                  </a:lnTo>
                  <a:lnTo>
                    <a:pt x="519" y="173"/>
                  </a:lnTo>
                  <a:lnTo>
                    <a:pt x="346" y="277"/>
                  </a:lnTo>
                  <a:lnTo>
                    <a:pt x="173" y="450"/>
                  </a:lnTo>
                  <a:lnTo>
                    <a:pt x="70" y="692"/>
                  </a:lnTo>
                  <a:lnTo>
                    <a:pt x="0" y="968"/>
                  </a:lnTo>
                  <a:lnTo>
                    <a:pt x="0" y="1279"/>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98" name="Google Shape;14244;p81">
              <a:extLst>
                <a:ext uri="{FF2B5EF4-FFF2-40B4-BE49-F238E27FC236}">
                  <a16:creationId xmlns:a16="http://schemas.microsoft.com/office/drawing/2014/main" id="{42D0C536-D5D7-57E7-1CB4-75E54E449D36}"/>
                </a:ext>
              </a:extLst>
            </p:cNvPr>
            <p:cNvSpPr/>
            <p:nvPr/>
          </p:nvSpPr>
          <p:spPr>
            <a:xfrm>
              <a:off x="1514575" y="4975800"/>
              <a:ext cx="358550" cy="120975"/>
            </a:xfrm>
            <a:custGeom>
              <a:avLst/>
              <a:gdLst/>
              <a:ahLst/>
              <a:cxnLst/>
              <a:rect l="l" t="t" r="r" b="b"/>
              <a:pathLst>
                <a:path w="14342" h="4839" extrusionOk="0">
                  <a:moveTo>
                    <a:pt x="1037" y="0"/>
                  </a:moveTo>
                  <a:lnTo>
                    <a:pt x="899" y="35"/>
                  </a:lnTo>
                  <a:lnTo>
                    <a:pt x="726" y="104"/>
                  </a:lnTo>
                  <a:lnTo>
                    <a:pt x="623" y="208"/>
                  </a:lnTo>
                  <a:lnTo>
                    <a:pt x="554" y="380"/>
                  </a:lnTo>
                  <a:lnTo>
                    <a:pt x="277" y="1383"/>
                  </a:lnTo>
                  <a:lnTo>
                    <a:pt x="35" y="2419"/>
                  </a:lnTo>
                  <a:lnTo>
                    <a:pt x="1" y="2730"/>
                  </a:lnTo>
                  <a:lnTo>
                    <a:pt x="1" y="3076"/>
                  </a:lnTo>
                  <a:lnTo>
                    <a:pt x="35" y="3421"/>
                  </a:lnTo>
                  <a:lnTo>
                    <a:pt x="104" y="3767"/>
                  </a:lnTo>
                  <a:lnTo>
                    <a:pt x="173" y="4078"/>
                  </a:lnTo>
                  <a:lnTo>
                    <a:pt x="277" y="4320"/>
                  </a:lnTo>
                  <a:lnTo>
                    <a:pt x="381" y="4527"/>
                  </a:lnTo>
                  <a:lnTo>
                    <a:pt x="519" y="4665"/>
                  </a:lnTo>
                  <a:lnTo>
                    <a:pt x="692" y="4735"/>
                  </a:lnTo>
                  <a:lnTo>
                    <a:pt x="968" y="4769"/>
                  </a:lnTo>
                  <a:lnTo>
                    <a:pt x="1763" y="4804"/>
                  </a:lnTo>
                  <a:lnTo>
                    <a:pt x="2731" y="4838"/>
                  </a:lnTo>
                  <a:lnTo>
                    <a:pt x="3733" y="4838"/>
                  </a:lnTo>
                  <a:lnTo>
                    <a:pt x="3802" y="4769"/>
                  </a:lnTo>
                  <a:lnTo>
                    <a:pt x="3871" y="4700"/>
                  </a:lnTo>
                  <a:lnTo>
                    <a:pt x="3906" y="4596"/>
                  </a:lnTo>
                  <a:lnTo>
                    <a:pt x="3940" y="4458"/>
                  </a:lnTo>
                  <a:lnTo>
                    <a:pt x="3940" y="4285"/>
                  </a:lnTo>
                  <a:lnTo>
                    <a:pt x="3975" y="4285"/>
                  </a:lnTo>
                  <a:lnTo>
                    <a:pt x="4113" y="4251"/>
                  </a:lnTo>
                  <a:lnTo>
                    <a:pt x="4562" y="4285"/>
                  </a:lnTo>
                  <a:lnTo>
                    <a:pt x="6152" y="4493"/>
                  </a:lnTo>
                  <a:lnTo>
                    <a:pt x="8018" y="4700"/>
                  </a:lnTo>
                  <a:lnTo>
                    <a:pt x="8882" y="4804"/>
                  </a:lnTo>
                  <a:lnTo>
                    <a:pt x="9573" y="4838"/>
                  </a:lnTo>
                  <a:lnTo>
                    <a:pt x="10195" y="4838"/>
                  </a:lnTo>
                  <a:lnTo>
                    <a:pt x="10921" y="4735"/>
                  </a:lnTo>
                  <a:lnTo>
                    <a:pt x="11681" y="4562"/>
                  </a:lnTo>
                  <a:lnTo>
                    <a:pt x="12441" y="4354"/>
                  </a:lnTo>
                  <a:lnTo>
                    <a:pt x="12787" y="4216"/>
                  </a:lnTo>
                  <a:lnTo>
                    <a:pt x="13098" y="4078"/>
                  </a:lnTo>
                  <a:lnTo>
                    <a:pt x="13409" y="3905"/>
                  </a:lnTo>
                  <a:lnTo>
                    <a:pt x="13685" y="3732"/>
                  </a:lnTo>
                  <a:lnTo>
                    <a:pt x="13927" y="3525"/>
                  </a:lnTo>
                  <a:lnTo>
                    <a:pt x="14100" y="3318"/>
                  </a:lnTo>
                  <a:lnTo>
                    <a:pt x="14238" y="3110"/>
                  </a:lnTo>
                  <a:lnTo>
                    <a:pt x="14342" y="2868"/>
                  </a:lnTo>
                  <a:lnTo>
                    <a:pt x="14307" y="2627"/>
                  </a:lnTo>
                  <a:lnTo>
                    <a:pt x="14238" y="2385"/>
                  </a:lnTo>
                  <a:lnTo>
                    <a:pt x="14100" y="2177"/>
                  </a:lnTo>
                  <a:lnTo>
                    <a:pt x="13892" y="2005"/>
                  </a:lnTo>
                  <a:lnTo>
                    <a:pt x="13650" y="1797"/>
                  </a:lnTo>
                  <a:lnTo>
                    <a:pt x="13374" y="1659"/>
                  </a:lnTo>
                  <a:lnTo>
                    <a:pt x="13063" y="1486"/>
                  </a:lnTo>
                  <a:lnTo>
                    <a:pt x="12752" y="1383"/>
                  </a:lnTo>
                  <a:lnTo>
                    <a:pt x="12061" y="1141"/>
                  </a:lnTo>
                  <a:lnTo>
                    <a:pt x="11439" y="1002"/>
                  </a:lnTo>
                  <a:lnTo>
                    <a:pt x="10886" y="899"/>
                  </a:lnTo>
                  <a:lnTo>
                    <a:pt x="10506" y="830"/>
                  </a:lnTo>
                  <a:lnTo>
                    <a:pt x="10195" y="830"/>
                  </a:lnTo>
                  <a:lnTo>
                    <a:pt x="9815" y="899"/>
                  </a:lnTo>
                  <a:lnTo>
                    <a:pt x="8951" y="1141"/>
                  </a:lnTo>
                  <a:lnTo>
                    <a:pt x="8432" y="1279"/>
                  </a:lnTo>
                  <a:lnTo>
                    <a:pt x="7845" y="1417"/>
                  </a:lnTo>
                  <a:lnTo>
                    <a:pt x="7223" y="1555"/>
                  </a:lnTo>
                  <a:lnTo>
                    <a:pt x="6497" y="1624"/>
                  </a:lnTo>
                  <a:lnTo>
                    <a:pt x="5841" y="1624"/>
                  </a:lnTo>
                  <a:lnTo>
                    <a:pt x="5288" y="1555"/>
                  </a:lnTo>
                  <a:lnTo>
                    <a:pt x="4804" y="1452"/>
                  </a:lnTo>
                  <a:lnTo>
                    <a:pt x="4389" y="1279"/>
                  </a:lnTo>
                  <a:lnTo>
                    <a:pt x="4044" y="1106"/>
                  </a:lnTo>
                  <a:lnTo>
                    <a:pt x="3767" y="899"/>
                  </a:lnTo>
                  <a:lnTo>
                    <a:pt x="3318" y="553"/>
                  </a:lnTo>
                  <a:lnTo>
                    <a:pt x="3007" y="380"/>
                  </a:lnTo>
                  <a:lnTo>
                    <a:pt x="2489" y="173"/>
                  </a:lnTo>
                  <a:lnTo>
                    <a:pt x="2178" y="104"/>
                  </a:lnTo>
                  <a:lnTo>
                    <a:pt x="1832" y="35"/>
                  </a:lnTo>
                  <a:lnTo>
                    <a:pt x="1452" y="0"/>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99" name="Google Shape;14245;p81">
              <a:extLst>
                <a:ext uri="{FF2B5EF4-FFF2-40B4-BE49-F238E27FC236}">
                  <a16:creationId xmlns:a16="http://schemas.microsoft.com/office/drawing/2014/main" id="{16B32935-BAD2-065D-85D3-7280F45A53F6}"/>
                </a:ext>
              </a:extLst>
            </p:cNvPr>
            <p:cNvSpPr/>
            <p:nvPr/>
          </p:nvSpPr>
          <p:spPr>
            <a:xfrm>
              <a:off x="1318475" y="4255300"/>
              <a:ext cx="6075" cy="25925"/>
            </a:xfrm>
            <a:custGeom>
              <a:avLst/>
              <a:gdLst/>
              <a:ahLst/>
              <a:cxnLst/>
              <a:rect l="l" t="t" r="r" b="b"/>
              <a:pathLst>
                <a:path w="243" h="1037" extrusionOk="0">
                  <a:moveTo>
                    <a:pt x="242" y="0"/>
                  </a:moveTo>
                  <a:lnTo>
                    <a:pt x="242" y="0"/>
                  </a:lnTo>
                  <a:lnTo>
                    <a:pt x="0" y="1037"/>
                  </a:lnTo>
                  <a:lnTo>
                    <a:pt x="0" y="1037"/>
                  </a:lnTo>
                  <a:lnTo>
                    <a:pt x="242" y="0"/>
                  </a:lnTo>
                  <a:lnTo>
                    <a:pt x="242" y="0"/>
                  </a:lnTo>
                  <a:lnTo>
                    <a:pt x="242" y="0"/>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00" name="Google Shape;14246;p81">
              <a:extLst>
                <a:ext uri="{FF2B5EF4-FFF2-40B4-BE49-F238E27FC236}">
                  <a16:creationId xmlns:a16="http://schemas.microsoft.com/office/drawing/2014/main" id="{01F8BCFB-B1B3-0361-8902-17367976494D}"/>
                </a:ext>
              </a:extLst>
            </p:cNvPr>
            <p:cNvSpPr/>
            <p:nvPr/>
          </p:nvSpPr>
          <p:spPr>
            <a:xfrm>
              <a:off x="1318475" y="4255300"/>
              <a:ext cx="6075" cy="25925"/>
            </a:xfrm>
            <a:custGeom>
              <a:avLst/>
              <a:gdLst/>
              <a:ahLst/>
              <a:cxnLst/>
              <a:rect l="l" t="t" r="r" b="b"/>
              <a:pathLst>
                <a:path w="243" h="1037" fill="none" extrusionOk="0">
                  <a:moveTo>
                    <a:pt x="242" y="0"/>
                  </a:moveTo>
                  <a:lnTo>
                    <a:pt x="242" y="0"/>
                  </a:lnTo>
                  <a:lnTo>
                    <a:pt x="0" y="1037"/>
                  </a:lnTo>
                  <a:lnTo>
                    <a:pt x="0" y="1037"/>
                  </a:lnTo>
                  <a:lnTo>
                    <a:pt x="242" y="0"/>
                  </a:lnTo>
                  <a:lnTo>
                    <a:pt x="242" y="0"/>
                  </a:lnTo>
                  <a:lnTo>
                    <a:pt x="242"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01" name="Google Shape;14247;p81">
              <a:extLst>
                <a:ext uri="{FF2B5EF4-FFF2-40B4-BE49-F238E27FC236}">
                  <a16:creationId xmlns:a16="http://schemas.microsoft.com/office/drawing/2014/main" id="{3D23DB32-7E22-B045-3006-56915F100743}"/>
                </a:ext>
              </a:extLst>
            </p:cNvPr>
            <p:cNvSpPr/>
            <p:nvPr/>
          </p:nvSpPr>
          <p:spPr>
            <a:xfrm>
              <a:off x="1131875" y="4228525"/>
              <a:ext cx="192675" cy="57900"/>
            </a:xfrm>
            <a:custGeom>
              <a:avLst/>
              <a:gdLst/>
              <a:ahLst/>
              <a:cxnLst/>
              <a:rect l="l" t="t" r="r" b="b"/>
              <a:pathLst>
                <a:path w="7707" h="2316" extrusionOk="0">
                  <a:moveTo>
                    <a:pt x="35" y="0"/>
                  </a:moveTo>
                  <a:lnTo>
                    <a:pt x="0" y="1279"/>
                  </a:lnTo>
                  <a:lnTo>
                    <a:pt x="449" y="1417"/>
                  </a:lnTo>
                  <a:lnTo>
                    <a:pt x="899" y="1555"/>
                  </a:lnTo>
                  <a:lnTo>
                    <a:pt x="1382" y="1693"/>
                  </a:lnTo>
                  <a:lnTo>
                    <a:pt x="1901" y="1762"/>
                  </a:lnTo>
                  <a:lnTo>
                    <a:pt x="2903" y="1935"/>
                  </a:lnTo>
                  <a:lnTo>
                    <a:pt x="3940" y="2039"/>
                  </a:lnTo>
                  <a:lnTo>
                    <a:pt x="5875" y="2143"/>
                  </a:lnTo>
                  <a:lnTo>
                    <a:pt x="6704" y="2212"/>
                  </a:lnTo>
                  <a:lnTo>
                    <a:pt x="7430" y="2315"/>
                  </a:lnTo>
                  <a:lnTo>
                    <a:pt x="7464" y="2108"/>
                  </a:lnTo>
                  <a:lnTo>
                    <a:pt x="7706" y="1071"/>
                  </a:lnTo>
                  <a:lnTo>
                    <a:pt x="6808" y="1071"/>
                  </a:lnTo>
                  <a:lnTo>
                    <a:pt x="5875" y="1002"/>
                  </a:lnTo>
                  <a:lnTo>
                    <a:pt x="4873" y="898"/>
                  </a:lnTo>
                  <a:lnTo>
                    <a:pt x="3871" y="760"/>
                  </a:lnTo>
                  <a:lnTo>
                    <a:pt x="2834" y="587"/>
                  </a:lnTo>
                  <a:lnTo>
                    <a:pt x="1866" y="415"/>
                  </a:lnTo>
                  <a:lnTo>
                    <a:pt x="899" y="207"/>
                  </a:lnTo>
                  <a:lnTo>
                    <a:pt x="35" y="0"/>
                  </a:lnTo>
                  <a:close/>
                </a:path>
              </a:pathLst>
            </a:custGeom>
            <a:solidFill>
              <a:srgbClr val="8A3A1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02" name="Google Shape;14248;p81">
              <a:extLst>
                <a:ext uri="{FF2B5EF4-FFF2-40B4-BE49-F238E27FC236}">
                  <a16:creationId xmlns:a16="http://schemas.microsoft.com/office/drawing/2014/main" id="{9C6C59ED-1FFE-83B2-01A8-212916556F2E}"/>
                </a:ext>
              </a:extLst>
            </p:cNvPr>
            <p:cNvSpPr/>
            <p:nvPr/>
          </p:nvSpPr>
          <p:spPr>
            <a:xfrm>
              <a:off x="1131875" y="4228525"/>
              <a:ext cx="192675" cy="57900"/>
            </a:xfrm>
            <a:custGeom>
              <a:avLst/>
              <a:gdLst/>
              <a:ahLst/>
              <a:cxnLst/>
              <a:rect l="l" t="t" r="r" b="b"/>
              <a:pathLst>
                <a:path w="7707" h="2316" fill="none" extrusionOk="0">
                  <a:moveTo>
                    <a:pt x="35" y="0"/>
                  </a:moveTo>
                  <a:lnTo>
                    <a:pt x="35" y="0"/>
                  </a:lnTo>
                  <a:lnTo>
                    <a:pt x="0" y="1279"/>
                  </a:lnTo>
                  <a:lnTo>
                    <a:pt x="0" y="1279"/>
                  </a:lnTo>
                  <a:lnTo>
                    <a:pt x="449" y="1417"/>
                  </a:lnTo>
                  <a:lnTo>
                    <a:pt x="899" y="1555"/>
                  </a:lnTo>
                  <a:lnTo>
                    <a:pt x="1382" y="1693"/>
                  </a:lnTo>
                  <a:lnTo>
                    <a:pt x="1901" y="1762"/>
                  </a:lnTo>
                  <a:lnTo>
                    <a:pt x="2903" y="1935"/>
                  </a:lnTo>
                  <a:lnTo>
                    <a:pt x="3940" y="2039"/>
                  </a:lnTo>
                  <a:lnTo>
                    <a:pt x="5875" y="2143"/>
                  </a:lnTo>
                  <a:lnTo>
                    <a:pt x="6704" y="2212"/>
                  </a:lnTo>
                  <a:lnTo>
                    <a:pt x="7430" y="2315"/>
                  </a:lnTo>
                  <a:lnTo>
                    <a:pt x="7430" y="2315"/>
                  </a:lnTo>
                  <a:lnTo>
                    <a:pt x="7464" y="2108"/>
                  </a:lnTo>
                  <a:lnTo>
                    <a:pt x="7464" y="2108"/>
                  </a:lnTo>
                  <a:lnTo>
                    <a:pt x="7706" y="1071"/>
                  </a:lnTo>
                  <a:lnTo>
                    <a:pt x="7706" y="1071"/>
                  </a:lnTo>
                  <a:lnTo>
                    <a:pt x="6808" y="1071"/>
                  </a:lnTo>
                  <a:lnTo>
                    <a:pt x="5875" y="1002"/>
                  </a:lnTo>
                  <a:lnTo>
                    <a:pt x="4873" y="898"/>
                  </a:lnTo>
                  <a:lnTo>
                    <a:pt x="3871" y="760"/>
                  </a:lnTo>
                  <a:lnTo>
                    <a:pt x="2834" y="587"/>
                  </a:lnTo>
                  <a:lnTo>
                    <a:pt x="1866" y="415"/>
                  </a:lnTo>
                  <a:lnTo>
                    <a:pt x="899" y="207"/>
                  </a:lnTo>
                  <a:lnTo>
                    <a:pt x="35"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03" name="Google Shape;14249;p81">
              <a:extLst>
                <a:ext uri="{FF2B5EF4-FFF2-40B4-BE49-F238E27FC236}">
                  <a16:creationId xmlns:a16="http://schemas.microsoft.com/office/drawing/2014/main" id="{21717D68-C663-B8A9-BAB6-771D6B6F926F}"/>
                </a:ext>
              </a:extLst>
            </p:cNvPr>
            <p:cNvSpPr/>
            <p:nvPr/>
          </p:nvSpPr>
          <p:spPr>
            <a:xfrm>
              <a:off x="1423000" y="4233700"/>
              <a:ext cx="6950" cy="39750"/>
            </a:xfrm>
            <a:custGeom>
              <a:avLst/>
              <a:gdLst/>
              <a:ahLst/>
              <a:cxnLst/>
              <a:rect l="l" t="t" r="r" b="b"/>
              <a:pathLst>
                <a:path w="278" h="1590" extrusionOk="0">
                  <a:moveTo>
                    <a:pt x="1" y="0"/>
                  </a:moveTo>
                  <a:lnTo>
                    <a:pt x="1" y="0"/>
                  </a:lnTo>
                  <a:lnTo>
                    <a:pt x="1" y="0"/>
                  </a:lnTo>
                  <a:lnTo>
                    <a:pt x="277" y="1590"/>
                  </a:lnTo>
                  <a:lnTo>
                    <a:pt x="277" y="1590"/>
                  </a:lnTo>
                  <a:lnTo>
                    <a:pt x="1" y="0"/>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04" name="Google Shape;14250;p81">
              <a:extLst>
                <a:ext uri="{FF2B5EF4-FFF2-40B4-BE49-F238E27FC236}">
                  <a16:creationId xmlns:a16="http://schemas.microsoft.com/office/drawing/2014/main" id="{0A1DA06B-61F7-CE28-D7E5-E6428303C627}"/>
                </a:ext>
              </a:extLst>
            </p:cNvPr>
            <p:cNvSpPr/>
            <p:nvPr/>
          </p:nvSpPr>
          <p:spPr>
            <a:xfrm>
              <a:off x="1423000" y="4233700"/>
              <a:ext cx="6950" cy="39750"/>
            </a:xfrm>
            <a:custGeom>
              <a:avLst/>
              <a:gdLst/>
              <a:ahLst/>
              <a:cxnLst/>
              <a:rect l="l" t="t" r="r" b="b"/>
              <a:pathLst>
                <a:path w="278" h="1590" fill="none" extrusionOk="0">
                  <a:moveTo>
                    <a:pt x="1" y="0"/>
                  </a:moveTo>
                  <a:lnTo>
                    <a:pt x="1" y="0"/>
                  </a:lnTo>
                  <a:lnTo>
                    <a:pt x="1" y="0"/>
                  </a:lnTo>
                  <a:lnTo>
                    <a:pt x="277" y="1590"/>
                  </a:lnTo>
                  <a:lnTo>
                    <a:pt x="277" y="1590"/>
                  </a:lnTo>
                  <a:lnTo>
                    <a:pt x="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05" name="Google Shape;14251;p81">
              <a:extLst>
                <a:ext uri="{FF2B5EF4-FFF2-40B4-BE49-F238E27FC236}">
                  <a16:creationId xmlns:a16="http://schemas.microsoft.com/office/drawing/2014/main" id="{76BAA211-712B-3068-1E09-E11E5E5E3704}"/>
                </a:ext>
              </a:extLst>
            </p:cNvPr>
            <p:cNvSpPr/>
            <p:nvPr/>
          </p:nvSpPr>
          <p:spPr>
            <a:xfrm>
              <a:off x="1423000" y="4208650"/>
              <a:ext cx="181450" cy="68275"/>
            </a:xfrm>
            <a:custGeom>
              <a:avLst/>
              <a:gdLst/>
              <a:ahLst/>
              <a:cxnLst/>
              <a:rect l="l" t="t" r="r" b="b"/>
              <a:pathLst>
                <a:path w="7258" h="2731" extrusionOk="0">
                  <a:moveTo>
                    <a:pt x="3595" y="0"/>
                  </a:moveTo>
                  <a:lnTo>
                    <a:pt x="3007" y="69"/>
                  </a:lnTo>
                  <a:lnTo>
                    <a:pt x="2420" y="173"/>
                  </a:lnTo>
                  <a:lnTo>
                    <a:pt x="1901" y="311"/>
                  </a:lnTo>
                  <a:lnTo>
                    <a:pt x="1383" y="449"/>
                  </a:lnTo>
                  <a:lnTo>
                    <a:pt x="899" y="622"/>
                  </a:lnTo>
                  <a:lnTo>
                    <a:pt x="1" y="1002"/>
                  </a:lnTo>
                  <a:lnTo>
                    <a:pt x="277" y="2592"/>
                  </a:lnTo>
                  <a:lnTo>
                    <a:pt x="277" y="2730"/>
                  </a:lnTo>
                  <a:lnTo>
                    <a:pt x="623" y="2592"/>
                  </a:lnTo>
                  <a:lnTo>
                    <a:pt x="1003" y="2488"/>
                  </a:lnTo>
                  <a:lnTo>
                    <a:pt x="1383" y="2385"/>
                  </a:lnTo>
                  <a:lnTo>
                    <a:pt x="1763" y="2315"/>
                  </a:lnTo>
                  <a:lnTo>
                    <a:pt x="2558" y="2246"/>
                  </a:lnTo>
                  <a:lnTo>
                    <a:pt x="3387" y="2212"/>
                  </a:lnTo>
                  <a:lnTo>
                    <a:pt x="4389" y="2246"/>
                  </a:lnTo>
                  <a:lnTo>
                    <a:pt x="5392" y="2350"/>
                  </a:lnTo>
                  <a:lnTo>
                    <a:pt x="6359" y="2454"/>
                  </a:lnTo>
                  <a:lnTo>
                    <a:pt x="7258" y="2592"/>
                  </a:lnTo>
                  <a:lnTo>
                    <a:pt x="7119" y="449"/>
                  </a:lnTo>
                  <a:lnTo>
                    <a:pt x="6325" y="242"/>
                  </a:lnTo>
                  <a:lnTo>
                    <a:pt x="5564" y="104"/>
                  </a:lnTo>
                  <a:lnTo>
                    <a:pt x="4873" y="0"/>
                  </a:lnTo>
                  <a:close/>
                </a:path>
              </a:pathLst>
            </a:custGeom>
            <a:solidFill>
              <a:srgbClr val="8A3A1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06" name="Google Shape;14252;p81">
              <a:extLst>
                <a:ext uri="{FF2B5EF4-FFF2-40B4-BE49-F238E27FC236}">
                  <a16:creationId xmlns:a16="http://schemas.microsoft.com/office/drawing/2014/main" id="{7B9319FF-D3DC-551E-2062-E90B195418E9}"/>
                </a:ext>
              </a:extLst>
            </p:cNvPr>
            <p:cNvSpPr/>
            <p:nvPr/>
          </p:nvSpPr>
          <p:spPr>
            <a:xfrm>
              <a:off x="1423000" y="4208650"/>
              <a:ext cx="181450" cy="68275"/>
            </a:xfrm>
            <a:custGeom>
              <a:avLst/>
              <a:gdLst/>
              <a:ahLst/>
              <a:cxnLst/>
              <a:rect l="l" t="t" r="r" b="b"/>
              <a:pathLst>
                <a:path w="7258" h="2731" fill="none" extrusionOk="0">
                  <a:moveTo>
                    <a:pt x="4217" y="0"/>
                  </a:moveTo>
                  <a:lnTo>
                    <a:pt x="4217" y="0"/>
                  </a:lnTo>
                  <a:lnTo>
                    <a:pt x="3595" y="0"/>
                  </a:lnTo>
                  <a:lnTo>
                    <a:pt x="3007" y="69"/>
                  </a:lnTo>
                  <a:lnTo>
                    <a:pt x="2420" y="173"/>
                  </a:lnTo>
                  <a:lnTo>
                    <a:pt x="1901" y="311"/>
                  </a:lnTo>
                  <a:lnTo>
                    <a:pt x="1383" y="449"/>
                  </a:lnTo>
                  <a:lnTo>
                    <a:pt x="899" y="622"/>
                  </a:lnTo>
                  <a:lnTo>
                    <a:pt x="1" y="1002"/>
                  </a:lnTo>
                  <a:lnTo>
                    <a:pt x="1" y="1002"/>
                  </a:lnTo>
                  <a:lnTo>
                    <a:pt x="277" y="2592"/>
                  </a:lnTo>
                  <a:lnTo>
                    <a:pt x="277" y="2592"/>
                  </a:lnTo>
                  <a:lnTo>
                    <a:pt x="277" y="2730"/>
                  </a:lnTo>
                  <a:lnTo>
                    <a:pt x="277" y="2730"/>
                  </a:lnTo>
                  <a:lnTo>
                    <a:pt x="623" y="2592"/>
                  </a:lnTo>
                  <a:lnTo>
                    <a:pt x="1003" y="2488"/>
                  </a:lnTo>
                  <a:lnTo>
                    <a:pt x="1383" y="2385"/>
                  </a:lnTo>
                  <a:lnTo>
                    <a:pt x="1763" y="2315"/>
                  </a:lnTo>
                  <a:lnTo>
                    <a:pt x="2558" y="2246"/>
                  </a:lnTo>
                  <a:lnTo>
                    <a:pt x="3387" y="2212"/>
                  </a:lnTo>
                  <a:lnTo>
                    <a:pt x="3387" y="2212"/>
                  </a:lnTo>
                  <a:lnTo>
                    <a:pt x="4389" y="2246"/>
                  </a:lnTo>
                  <a:lnTo>
                    <a:pt x="5392" y="2350"/>
                  </a:lnTo>
                  <a:lnTo>
                    <a:pt x="6359" y="2454"/>
                  </a:lnTo>
                  <a:lnTo>
                    <a:pt x="7258" y="2592"/>
                  </a:lnTo>
                  <a:lnTo>
                    <a:pt x="7258" y="2592"/>
                  </a:lnTo>
                  <a:lnTo>
                    <a:pt x="7119" y="449"/>
                  </a:lnTo>
                  <a:lnTo>
                    <a:pt x="7119" y="449"/>
                  </a:lnTo>
                  <a:lnTo>
                    <a:pt x="6325" y="242"/>
                  </a:lnTo>
                  <a:lnTo>
                    <a:pt x="5564" y="104"/>
                  </a:lnTo>
                  <a:lnTo>
                    <a:pt x="4873" y="0"/>
                  </a:lnTo>
                  <a:lnTo>
                    <a:pt x="4217"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07" name="Google Shape;14253;p81">
              <a:extLst>
                <a:ext uri="{FF2B5EF4-FFF2-40B4-BE49-F238E27FC236}">
                  <a16:creationId xmlns:a16="http://schemas.microsoft.com/office/drawing/2014/main" id="{6B258B6B-D240-9A35-B9E0-8C8EEF0D5FC4}"/>
                </a:ext>
              </a:extLst>
            </p:cNvPr>
            <p:cNvSpPr/>
            <p:nvPr/>
          </p:nvSpPr>
          <p:spPr>
            <a:xfrm>
              <a:off x="785450" y="3182325"/>
              <a:ext cx="901925" cy="1073000"/>
            </a:xfrm>
            <a:custGeom>
              <a:avLst/>
              <a:gdLst/>
              <a:ahLst/>
              <a:cxnLst/>
              <a:rect l="l" t="t" r="r" b="b"/>
              <a:pathLst>
                <a:path w="36077" h="42920" extrusionOk="0">
                  <a:moveTo>
                    <a:pt x="20872" y="0"/>
                  </a:moveTo>
                  <a:lnTo>
                    <a:pt x="20250" y="35"/>
                  </a:lnTo>
                  <a:lnTo>
                    <a:pt x="19663" y="104"/>
                  </a:lnTo>
                  <a:lnTo>
                    <a:pt x="19041" y="173"/>
                  </a:lnTo>
                  <a:lnTo>
                    <a:pt x="18453" y="311"/>
                  </a:lnTo>
                  <a:lnTo>
                    <a:pt x="17831" y="484"/>
                  </a:lnTo>
                  <a:lnTo>
                    <a:pt x="17244" y="691"/>
                  </a:lnTo>
                  <a:lnTo>
                    <a:pt x="16622" y="933"/>
                  </a:lnTo>
                  <a:lnTo>
                    <a:pt x="16034" y="1210"/>
                  </a:lnTo>
                  <a:lnTo>
                    <a:pt x="15239" y="1659"/>
                  </a:lnTo>
                  <a:lnTo>
                    <a:pt x="14445" y="2212"/>
                  </a:lnTo>
                  <a:lnTo>
                    <a:pt x="14065" y="2488"/>
                  </a:lnTo>
                  <a:lnTo>
                    <a:pt x="13684" y="2834"/>
                  </a:lnTo>
                  <a:lnTo>
                    <a:pt x="13304" y="3179"/>
                  </a:lnTo>
                  <a:lnTo>
                    <a:pt x="12924" y="3560"/>
                  </a:lnTo>
                  <a:lnTo>
                    <a:pt x="12890" y="3629"/>
                  </a:lnTo>
                  <a:lnTo>
                    <a:pt x="12302" y="4596"/>
                  </a:lnTo>
                  <a:lnTo>
                    <a:pt x="11784" y="5598"/>
                  </a:lnTo>
                  <a:lnTo>
                    <a:pt x="11335" y="6600"/>
                  </a:lnTo>
                  <a:lnTo>
                    <a:pt x="10920" y="7568"/>
                  </a:lnTo>
                  <a:lnTo>
                    <a:pt x="10574" y="8570"/>
                  </a:lnTo>
                  <a:lnTo>
                    <a:pt x="10263" y="9607"/>
                  </a:lnTo>
                  <a:lnTo>
                    <a:pt x="9987" y="10609"/>
                  </a:lnTo>
                  <a:lnTo>
                    <a:pt x="9710" y="11611"/>
                  </a:lnTo>
                  <a:lnTo>
                    <a:pt x="9503" y="12648"/>
                  </a:lnTo>
                  <a:lnTo>
                    <a:pt x="9330" y="13685"/>
                  </a:lnTo>
                  <a:lnTo>
                    <a:pt x="8950" y="15758"/>
                  </a:lnTo>
                  <a:lnTo>
                    <a:pt x="8639" y="17900"/>
                  </a:lnTo>
                  <a:lnTo>
                    <a:pt x="8294" y="20043"/>
                  </a:lnTo>
                  <a:lnTo>
                    <a:pt x="7914" y="22220"/>
                  </a:lnTo>
                  <a:lnTo>
                    <a:pt x="7672" y="23360"/>
                  </a:lnTo>
                  <a:lnTo>
                    <a:pt x="7430" y="24466"/>
                  </a:lnTo>
                  <a:lnTo>
                    <a:pt x="7119" y="25607"/>
                  </a:lnTo>
                  <a:lnTo>
                    <a:pt x="6773" y="26747"/>
                  </a:lnTo>
                  <a:lnTo>
                    <a:pt x="6393" y="27922"/>
                  </a:lnTo>
                  <a:lnTo>
                    <a:pt x="5944" y="29097"/>
                  </a:lnTo>
                  <a:lnTo>
                    <a:pt x="5460" y="30272"/>
                  </a:lnTo>
                  <a:lnTo>
                    <a:pt x="4907" y="31481"/>
                  </a:lnTo>
                  <a:lnTo>
                    <a:pt x="4285" y="32691"/>
                  </a:lnTo>
                  <a:lnTo>
                    <a:pt x="3594" y="33935"/>
                  </a:lnTo>
                  <a:lnTo>
                    <a:pt x="2834" y="35179"/>
                  </a:lnTo>
                  <a:lnTo>
                    <a:pt x="1970" y="36423"/>
                  </a:lnTo>
                  <a:lnTo>
                    <a:pt x="1037" y="37701"/>
                  </a:lnTo>
                  <a:lnTo>
                    <a:pt x="0" y="39014"/>
                  </a:lnTo>
                  <a:lnTo>
                    <a:pt x="242" y="39256"/>
                  </a:lnTo>
                  <a:lnTo>
                    <a:pt x="518" y="39498"/>
                  </a:lnTo>
                  <a:lnTo>
                    <a:pt x="864" y="39706"/>
                  </a:lnTo>
                  <a:lnTo>
                    <a:pt x="1175" y="39878"/>
                  </a:lnTo>
                  <a:lnTo>
                    <a:pt x="1555" y="40017"/>
                  </a:lnTo>
                  <a:lnTo>
                    <a:pt x="1935" y="40155"/>
                  </a:lnTo>
                  <a:lnTo>
                    <a:pt x="2350" y="40224"/>
                  </a:lnTo>
                  <a:lnTo>
                    <a:pt x="2799" y="40328"/>
                  </a:lnTo>
                  <a:lnTo>
                    <a:pt x="3698" y="40431"/>
                  </a:lnTo>
                  <a:lnTo>
                    <a:pt x="4631" y="40466"/>
                  </a:lnTo>
                  <a:lnTo>
                    <a:pt x="8639" y="40466"/>
                  </a:lnTo>
                  <a:lnTo>
                    <a:pt x="9261" y="40500"/>
                  </a:lnTo>
                  <a:lnTo>
                    <a:pt x="9849" y="40569"/>
                  </a:lnTo>
                  <a:lnTo>
                    <a:pt x="10367" y="40673"/>
                  </a:lnTo>
                  <a:lnTo>
                    <a:pt x="10851" y="40811"/>
                  </a:lnTo>
                  <a:lnTo>
                    <a:pt x="11300" y="40984"/>
                  </a:lnTo>
                  <a:lnTo>
                    <a:pt x="11646" y="41157"/>
                  </a:lnTo>
                  <a:lnTo>
                    <a:pt x="12095" y="41330"/>
                  </a:lnTo>
                  <a:lnTo>
                    <a:pt x="12613" y="41502"/>
                  </a:lnTo>
                  <a:lnTo>
                    <a:pt x="13235" y="41675"/>
                  </a:lnTo>
                  <a:lnTo>
                    <a:pt x="14479" y="41986"/>
                  </a:lnTo>
                  <a:lnTo>
                    <a:pt x="15861" y="42297"/>
                  </a:lnTo>
                  <a:lnTo>
                    <a:pt x="17313" y="42539"/>
                  </a:lnTo>
                  <a:lnTo>
                    <a:pt x="18764" y="42746"/>
                  </a:lnTo>
                  <a:lnTo>
                    <a:pt x="20216" y="42885"/>
                  </a:lnTo>
                  <a:lnTo>
                    <a:pt x="20872" y="42919"/>
                  </a:lnTo>
                  <a:lnTo>
                    <a:pt x="22151" y="42919"/>
                  </a:lnTo>
                  <a:lnTo>
                    <a:pt x="22704" y="42885"/>
                  </a:lnTo>
                  <a:lnTo>
                    <a:pt x="23187" y="42850"/>
                  </a:lnTo>
                  <a:lnTo>
                    <a:pt x="23637" y="42746"/>
                  </a:lnTo>
                  <a:lnTo>
                    <a:pt x="24155" y="42574"/>
                  </a:lnTo>
                  <a:lnTo>
                    <a:pt x="24673" y="42401"/>
                  </a:lnTo>
                  <a:lnTo>
                    <a:pt x="25745" y="41952"/>
                  </a:lnTo>
                  <a:lnTo>
                    <a:pt x="26332" y="41710"/>
                  </a:lnTo>
                  <a:lnTo>
                    <a:pt x="26920" y="41502"/>
                  </a:lnTo>
                  <a:lnTo>
                    <a:pt x="27542" y="41330"/>
                  </a:lnTo>
                  <a:lnTo>
                    <a:pt x="28233" y="41157"/>
                  </a:lnTo>
                  <a:lnTo>
                    <a:pt x="28924" y="41088"/>
                  </a:lnTo>
                  <a:lnTo>
                    <a:pt x="29684" y="41053"/>
                  </a:lnTo>
                  <a:lnTo>
                    <a:pt x="30513" y="41088"/>
                  </a:lnTo>
                  <a:lnTo>
                    <a:pt x="30963" y="41122"/>
                  </a:lnTo>
                  <a:lnTo>
                    <a:pt x="31412" y="41191"/>
                  </a:lnTo>
                  <a:lnTo>
                    <a:pt x="31861" y="41295"/>
                  </a:lnTo>
                  <a:lnTo>
                    <a:pt x="32345" y="41433"/>
                  </a:lnTo>
                  <a:lnTo>
                    <a:pt x="32863" y="41572"/>
                  </a:lnTo>
                  <a:lnTo>
                    <a:pt x="33382" y="41779"/>
                  </a:lnTo>
                  <a:lnTo>
                    <a:pt x="33934" y="41986"/>
                  </a:lnTo>
                  <a:lnTo>
                    <a:pt x="34487" y="42228"/>
                  </a:lnTo>
                  <a:lnTo>
                    <a:pt x="35075" y="42505"/>
                  </a:lnTo>
                  <a:lnTo>
                    <a:pt x="35697" y="42816"/>
                  </a:lnTo>
                  <a:lnTo>
                    <a:pt x="35835" y="42194"/>
                  </a:lnTo>
                  <a:lnTo>
                    <a:pt x="35939" y="41468"/>
                  </a:lnTo>
                  <a:lnTo>
                    <a:pt x="36008" y="40639"/>
                  </a:lnTo>
                  <a:lnTo>
                    <a:pt x="36042" y="39671"/>
                  </a:lnTo>
                  <a:lnTo>
                    <a:pt x="36077" y="38634"/>
                  </a:lnTo>
                  <a:lnTo>
                    <a:pt x="36042" y="37528"/>
                  </a:lnTo>
                  <a:lnTo>
                    <a:pt x="36008" y="36319"/>
                  </a:lnTo>
                  <a:lnTo>
                    <a:pt x="35939" y="35075"/>
                  </a:lnTo>
                  <a:lnTo>
                    <a:pt x="35766" y="32380"/>
                  </a:lnTo>
                  <a:lnTo>
                    <a:pt x="35455" y="29477"/>
                  </a:lnTo>
                  <a:lnTo>
                    <a:pt x="35109" y="26470"/>
                  </a:lnTo>
                  <a:lnTo>
                    <a:pt x="34695" y="23360"/>
                  </a:lnTo>
                  <a:lnTo>
                    <a:pt x="34211" y="20250"/>
                  </a:lnTo>
                  <a:lnTo>
                    <a:pt x="33693" y="17209"/>
                  </a:lnTo>
                  <a:lnTo>
                    <a:pt x="33140" y="14272"/>
                  </a:lnTo>
                  <a:lnTo>
                    <a:pt x="32552" y="11507"/>
                  </a:lnTo>
                  <a:lnTo>
                    <a:pt x="31965" y="8950"/>
                  </a:lnTo>
                  <a:lnTo>
                    <a:pt x="31377" y="6670"/>
                  </a:lnTo>
                  <a:lnTo>
                    <a:pt x="31101" y="5667"/>
                  </a:lnTo>
                  <a:lnTo>
                    <a:pt x="30790" y="4734"/>
                  </a:lnTo>
                  <a:lnTo>
                    <a:pt x="30513" y="3905"/>
                  </a:lnTo>
                  <a:lnTo>
                    <a:pt x="30237" y="3214"/>
                  </a:lnTo>
                  <a:lnTo>
                    <a:pt x="29995" y="2696"/>
                  </a:lnTo>
                  <a:lnTo>
                    <a:pt x="29753" y="2246"/>
                  </a:lnTo>
                  <a:lnTo>
                    <a:pt x="29442" y="2074"/>
                  </a:lnTo>
                  <a:lnTo>
                    <a:pt x="28509" y="1624"/>
                  </a:lnTo>
                  <a:lnTo>
                    <a:pt x="27853" y="1348"/>
                  </a:lnTo>
                  <a:lnTo>
                    <a:pt x="27092" y="1071"/>
                  </a:lnTo>
                  <a:lnTo>
                    <a:pt x="26228" y="760"/>
                  </a:lnTo>
                  <a:lnTo>
                    <a:pt x="25295" y="519"/>
                  </a:lnTo>
                  <a:lnTo>
                    <a:pt x="24259" y="277"/>
                  </a:lnTo>
                  <a:lnTo>
                    <a:pt x="23187" y="104"/>
                  </a:lnTo>
                  <a:lnTo>
                    <a:pt x="22600" y="35"/>
                  </a:lnTo>
                  <a:lnTo>
                    <a:pt x="22047" y="0"/>
                  </a:lnTo>
                  <a:close/>
                </a:path>
              </a:pathLst>
            </a:custGeom>
            <a:solidFill>
              <a:srgbClr val="D04A0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08" name="Google Shape;14254;p81">
              <a:extLst>
                <a:ext uri="{FF2B5EF4-FFF2-40B4-BE49-F238E27FC236}">
                  <a16:creationId xmlns:a16="http://schemas.microsoft.com/office/drawing/2014/main" id="{91A53C7B-20B0-0552-8036-FA7A1CCEA284}"/>
                </a:ext>
              </a:extLst>
            </p:cNvPr>
            <p:cNvSpPr/>
            <p:nvPr/>
          </p:nvSpPr>
          <p:spPr>
            <a:xfrm>
              <a:off x="785450" y="3182325"/>
              <a:ext cx="901925" cy="1073000"/>
            </a:xfrm>
            <a:custGeom>
              <a:avLst/>
              <a:gdLst/>
              <a:ahLst/>
              <a:cxnLst/>
              <a:rect l="l" t="t" r="r" b="b"/>
              <a:pathLst>
                <a:path w="36077" h="42920" fill="none" extrusionOk="0">
                  <a:moveTo>
                    <a:pt x="0" y="39014"/>
                  </a:moveTo>
                  <a:lnTo>
                    <a:pt x="0" y="39014"/>
                  </a:lnTo>
                  <a:lnTo>
                    <a:pt x="242" y="39256"/>
                  </a:lnTo>
                  <a:lnTo>
                    <a:pt x="518" y="39498"/>
                  </a:lnTo>
                  <a:lnTo>
                    <a:pt x="864" y="39706"/>
                  </a:lnTo>
                  <a:lnTo>
                    <a:pt x="1175" y="39878"/>
                  </a:lnTo>
                  <a:lnTo>
                    <a:pt x="1555" y="40017"/>
                  </a:lnTo>
                  <a:lnTo>
                    <a:pt x="1935" y="40155"/>
                  </a:lnTo>
                  <a:lnTo>
                    <a:pt x="2350" y="40224"/>
                  </a:lnTo>
                  <a:lnTo>
                    <a:pt x="2799" y="40328"/>
                  </a:lnTo>
                  <a:lnTo>
                    <a:pt x="3698" y="40431"/>
                  </a:lnTo>
                  <a:lnTo>
                    <a:pt x="4631" y="40466"/>
                  </a:lnTo>
                  <a:lnTo>
                    <a:pt x="5633" y="40466"/>
                  </a:lnTo>
                  <a:lnTo>
                    <a:pt x="6600" y="40466"/>
                  </a:lnTo>
                  <a:lnTo>
                    <a:pt x="6600" y="40466"/>
                  </a:lnTo>
                  <a:lnTo>
                    <a:pt x="7983" y="40466"/>
                  </a:lnTo>
                  <a:lnTo>
                    <a:pt x="8639" y="40466"/>
                  </a:lnTo>
                  <a:lnTo>
                    <a:pt x="9261" y="40500"/>
                  </a:lnTo>
                  <a:lnTo>
                    <a:pt x="9849" y="40569"/>
                  </a:lnTo>
                  <a:lnTo>
                    <a:pt x="10367" y="40673"/>
                  </a:lnTo>
                  <a:lnTo>
                    <a:pt x="10851" y="40811"/>
                  </a:lnTo>
                  <a:lnTo>
                    <a:pt x="11300" y="40984"/>
                  </a:lnTo>
                  <a:lnTo>
                    <a:pt x="11300" y="40984"/>
                  </a:lnTo>
                  <a:lnTo>
                    <a:pt x="11646" y="41157"/>
                  </a:lnTo>
                  <a:lnTo>
                    <a:pt x="12095" y="41330"/>
                  </a:lnTo>
                  <a:lnTo>
                    <a:pt x="12613" y="41502"/>
                  </a:lnTo>
                  <a:lnTo>
                    <a:pt x="13235" y="41675"/>
                  </a:lnTo>
                  <a:lnTo>
                    <a:pt x="13235" y="41675"/>
                  </a:lnTo>
                  <a:lnTo>
                    <a:pt x="14479" y="41986"/>
                  </a:lnTo>
                  <a:lnTo>
                    <a:pt x="15861" y="42297"/>
                  </a:lnTo>
                  <a:lnTo>
                    <a:pt x="17313" y="42539"/>
                  </a:lnTo>
                  <a:lnTo>
                    <a:pt x="18764" y="42746"/>
                  </a:lnTo>
                  <a:lnTo>
                    <a:pt x="20216" y="42885"/>
                  </a:lnTo>
                  <a:lnTo>
                    <a:pt x="20872" y="42919"/>
                  </a:lnTo>
                  <a:lnTo>
                    <a:pt x="21529" y="42919"/>
                  </a:lnTo>
                  <a:lnTo>
                    <a:pt x="22151" y="42919"/>
                  </a:lnTo>
                  <a:lnTo>
                    <a:pt x="22704" y="42885"/>
                  </a:lnTo>
                  <a:lnTo>
                    <a:pt x="23187" y="42850"/>
                  </a:lnTo>
                  <a:lnTo>
                    <a:pt x="23637" y="42746"/>
                  </a:lnTo>
                  <a:lnTo>
                    <a:pt x="23637" y="42746"/>
                  </a:lnTo>
                  <a:lnTo>
                    <a:pt x="24155" y="42574"/>
                  </a:lnTo>
                  <a:lnTo>
                    <a:pt x="24673" y="42401"/>
                  </a:lnTo>
                  <a:lnTo>
                    <a:pt x="25745" y="41952"/>
                  </a:lnTo>
                  <a:lnTo>
                    <a:pt x="26332" y="41710"/>
                  </a:lnTo>
                  <a:lnTo>
                    <a:pt x="26920" y="41502"/>
                  </a:lnTo>
                  <a:lnTo>
                    <a:pt x="27542" y="41330"/>
                  </a:lnTo>
                  <a:lnTo>
                    <a:pt x="28233" y="41157"/>
                  </a:lnTo>
                  <a:lnTo>
                    <a:pt x="28924" y="41088"/>
                  </a:lnTo>
                  <a:lnTo>
                    <a:pt x="29684" y="41053"/>
                  </a:lnTo>
                  <a:lnTo>
                    <a:pt x="30513" y="41088"/>
                  </a:lnTo>
                  <a:lnTo>
                    <a:pt x="30963" y="41122"/>
                  </a:lnTo>
                  <a:lnTo>
                    <a:pt x="31412" y="41191"/>
                  </a:lnTo>
                  <a:lnTo>
                    <a:pt x="31861" y="41295"/>
                  </a:lnTo>
                  <a:lnTo>
                    <a:pt x="32345" y="41433"/>
                  </a:lnTo>
                  <a:lnTo>
                    <a:pt x="32863" y="41572"/>
                  </a:lnTo>
                  <a:lnTo>
                    <a:pt x="33382" y="41779"/>
                  </a:lnTo>
                  <a:lnTo>
                    <a:pt x="33934" y="41986"/>
                  </a:lnTo>
                  <a:lnTo>
                    <a:pt x="34487" y="42228"/>
                  </a:lnTo>
                  <a:lnTo>
                    <a:pt x="35075" y="42505"/>
                  </a:lnTo>
                  <a:lnTo>
                    <a:pt x="35697" y="42816"/>
                  </a:lnTo>
                  <a:lnTo>
                    <a:pt x="35697" y="42816"/>
                  </a:lnTo>
                  <a:lnTo>
                    <a:pt x="35835" y="42194"/>
                  </a:lnTo>
                  <a:lnTo>
                    <a:pt x="35939" y="41468"/>
                  </a:lnTo>
                  <a:lnTo>
                    <a:pt x="36008" y="40639"/>
                  </a:lnTo>
                  <a:lnTo>
                    <a:pt x="36042" y="39671"/>
                  </a:lnTo>
                  <a:lnTo>
                    <a:pt x="36077" y="38634"/>
                  </a:lnTo>
                  <a:lnTo>
                    <a:pt x="36042" y="37528"/>
                  </a:lnTo>
                  <a:lnTo>
                    <a:pt x="36008" y="36319"/>
                  </a:lnTo>
                  <a:lnTo>
                    <a:pt x="35939" y="35075"/>
                  </a:lnTo>
                  <a:lnTo>
                    <a:pt x="35766" y="32380"/>
                  </a:lnTo>
                  <a:lnTo>
                    <a:pt x="35455" y="29477"/>
                  </a:lnTo>
                  <a:lnTo>
                    <a:pt x="35109" y="26470"/>
                  </a:lnTo>
                  <a:lnTo>
                    <a:pt x="34695" y="23360"/>
                  </a:lnTo>
                  <a:lnTo>
                    <a:pt x="34211" y="20250"/>
                  </a:lnTo>
                  <a:lnTo>
                    <a:pt x="33693" y="17209"/>
                  </a:lnTo>
                  <a:lnTo>
                    <a:pt x="33140" y="14272"/>
                  </a:lnTo>
                  <a:lnTo>
                    <a:pt x="32552" y="11507"/>
                  </a:lnTo>
                  <a:lnTo>
                    <a:pt x="31965" y="8950"/>
                  </a:lnTo>
                  <a:lnTo>
                    <a:pt x="31377" y="6670"/>
                  </a:lnTo>
                  <a:lnTo>
                    <a:pt x="31101" y="5667"/>
                  </a:lnTo>
                  <a:lnTo>
                    <a:pt x="30790" y="4734"/>
                  </a:lnTo>
                  <a:lnTo>
                    <a:pt x="30513" y="3905"/>
                  </a:lnTo>
                  <a:lnTo>
                    <a:pt x="30237" y="3214"/>
                  </a:lnTo>
                  <a:lnTo>
                    <a:pt x="30237" y="3214"/>
                  </a:lnTo>
                  <a:lnTo>
                    <a:pt x="30237" y="3214"/>
                  </a:lnTo>
                  <a:lnTo>
                    <a:pt x="29995" y="2696"/>
                  </a:lnTo>
                  <a:lnTo>
                    <a:pt x="29753" y="2246"/>
                  </a:lnTo>
                  <a:lnTo>
                    <a:pt x="29753" y="2246"/>
                  </a:lnTo>
                  <a:lnTo>
                    <a:pt x="29442" y="2074"/>
                  </a:lnTo>
                  <a:lnTo>
                    <a:pt x="28509" y="1624"/>
                  </a:lnTo>
                  <a:lnTo>
                    <a:pt x="27853" y="1348"/>
                  </a:lnTo>
                  <a:lnTo>
                    <a:pt x="27092" y="1071"/>
                  </a:lnTo>
                  <a:lnTo>
                    <a:pt x="26228" y="760"/>
                  </a:lnTo>
                  <a:lnTo>
                    <a:pt x="25295" y="519"/>
                  </a:lnTo>
                  <a:lnTo>
                    <a:pt x="24259" y="277"/>
                  </a:lnTo>
                  <a:lnTo>
                    <a:pt x="23187" y="104"/>
                  </a:lnTo>
                  <a:lnTo>
                    <a:pt x="22600" y="35"/>
                  </a:lnTo>
                  <a:lnTo>
                    <a:pt x="22047" y="0"/>
                  </a:lnTo>
                  <a:lnTo>
                    <a:pt x="21460" y="0"/>
                  </a:lnTo>
                  <a:lnTo>
                    <a:pt x="20872" y="0"/>
                  </a:lnTo>
                  <a:lnTo>
                    <a:pt x="20250" y="35"/>
                  </a:lnTo>
                  <a:lnTo>
                    <a:pt x="19663" y="104"/>
                  </a:lnTo>
                  <a:lnTo>
                    <a:pt x="19041" y="173"/>
                  </a:lnTo>
                  <a:lnTo>
                    <a:pt x="18453" y="311"/>
                  </a:lnTo>
                  <a:lnTo>
                    <a:pt x="17831" y="484"/>
                  </a:lnTo>
                  <a:lnTo>
                    <a:pt x="17244" y="691"/>
                  </a:lnTo>
                  <a:lnTo>
                    <a:pt x="16622" y="933"/>
                  </a:lnTo>
                  <a:lnTo>
                    <a:pt x="16034" y="1210"/>
                  </a:lnTo>
                  <a:lnTo>
                    <a:pt x="16034" y="1210"/>
                  </a:lnTo>
                  <a:lnTo>
                    <a:pt x="15239" y="1659"/>
                  </a:lnTo>
                  <a:lnTo>
                    <a:pt x="14445" y="2212"/>
                  </a:lnTo>
                  <a:lnTo>
                    <a:pt x="14065" y="2488"/>
                  </a:lnTo>
                  <a:lnTo>
                    <a:pt x="13684" y="2834"/>
                  </a:lnTo>
                  <a:lnTo>
                    <a:pt x="13304" y="3179"/>
                  </a:lnTo>
                  <a:lnTo>
                    <a:pt x="12924" y="3560"/>
                  </a:lnTo>
                  <a:lnTo>
                    <a:pt x="12924" y="3560"/>
                  </a:lnTo>
                  <a:lnTo>
                    <a:pt x="12890" y="3629"/>
                  </a:lnTo>
                  <a:lnTo>
                    <a:pt x="12890" y="3629"/>
                  </a:lnTo>
                  <a:lnTo>
                    <a:pt x="12302" y="4596"/>
                  </a:lnTo>
                  <a:lnTo>
                    <a:pt x="11784" y="5598"/>
                  </a:lnTo>
                  <a:lnTo>
                    <a:pt x="11335" y="6600"/>
                  </a:lnTo>
                  <a:lnTo>
                    <a:pt x="10920" y="7568"/>
                  </a:lnTo>
                  <a:lnTo>
                    <a:pt x="10574" y="8570"/>
                  </a:lnTo>
                  <a:lnTo>
                    <a:pt x="10263" y="9607"/>
                  </a:lnTo>
                  <a:lnTo>
                    <a:pt x="9987" y="10609"/>
                  </a:lnTo>
                  <a:lnTo>
                    <a:pt x="9710" y="11611"/>
                  </a:lnTo>
                  <a:lnTo>
                    <a:pt x="9503" y="12648"/>
                  </a:lnTo>
                  <a:lnTo>
                    <a:pt x="9330" y="13685"/>
                  </a:lnTo>
                  <a:lnTo>
                    <a:pt x="8950" y="15758"/>
                  </a:lnTo>
                  <a:lnTo>
                    <a:pt x="8639" y="17900"/>
                  </a:lnTo>
                  <a:lnTo>
                    <a:pt x="8294" y="20043"/>
                  </a:lnTo>
                  <a:lnTo>
                    <a:pt x="7914" y="22220"/>
                  </a:lnTo>
                  <a:lnTo>
                    <a:pt x="7672" y="23360"/>
                  </a:lnTo>
                  <a:lnTo>
                    <a:pt x="7430" y="24466"/>
                  </a:lnTo>
                  <a:lnTo>
                    <a:pt x="7119" y="25607"/>
                  </a:lnTo>
                  <a:lnTo>
                    <a:pt x="6773" y="26747"/>
                  </a:lnTo>
                  <a:lnTo>
                    <a:pt x="6393" y="27922"/>
                  </a:lnTo>
                  <a:lnTo>
                    <a:pt x="5944" y="29097"/>
                  </a:lnTo>
                  <a:lnTo>
                    <a:pt x="5460" y="30272"/>
                  </a:lnTo>
                  <a:lnTo>
                    <a:pt x="4907" y="31481"/>
                  </a:lnTo>
                  <a:lnTo>
                    <a:pt x="4285" y="32691"/>
                  </a:lnTo>
                  <a:lnTo>
                    <a:pt x="3594" y="33935"/>
                  </a:lnTo>
                  <a:lnTo>
                    <a:pt x="2834" y="35179"/>
                  </a:lnTo>
                  <a:lnTo>
                    <a:pt x="1970" y="36423"/>
                  </a:lnTo>
                  <a:lnTo>
                    <a:pt x="1037" y="37701"/>
                  </a:lnTo>
                  <a:lnTo>
                    <a:pt x="0" y="39014"/>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09" name="Google Shape;14255;p81">
              <a:extLst>
                <a:ext uri="{FF2B5EF4-FFF2-40B4-BE49-F238E27FC236}">
                  <a16:creationId xmlns:a16="http://schemas.microsoft.com/office/drawing/2014/main" id="{C04EFB8A-79DF-1A38-C657-E9AEF8F530B4}"/>
                </a:ext>
              </a:extLst>
            </p:cNvPr>
            <p:cNvSpPr/>
            <p:nvPr/>
          </p:nvSpPr>
          <p:spPr>
            <a:xfrm>
              <a:off x="1082625" y="2352100"/>
              <a:ext cx="861350" cy="951200"/>
            </a:xfrm>
            <a:custGeom>
              <a:avLst/>
              <a:gdLst/>
              <a:ahLst/>
              <a:cxnLst/>
              <a:rect l="l" t="t" r="r" b="b"/>
              <a:pathLst>
                <a:path w="34454" h="38048" extrusionOk="0">
                  <a:moveTo>
                    <a:pt x="31620" y="1"/>
                  </a:moveTo>
                  <a:lnTo>
                    <a:pt x="31412" y="35"/>
                  </a:lnTo>
                  <a:lnTo>
                    <a:pt x="31309" y="35"/>
                  </a:lnTo>
                  <a:lnTo>
                    <a:pt x="31205" y="104"/>
                  </a:lnTo>
                  <a:lnTo>
                    <a:pt x="31136" y="173"/>
                  </a:lnTo>
                  <a:lnTo>
                    <a:pt x="31101" y="242"/>
                  </a:lnTo>
                  <a:lnTo>
                    <a:pt x="30721" y="934"/>
                  </a:lnTo>
                  <a:lnTo>
                    <a:pt x="29961" y="2247"/>
                  </a:lnTo>
                  <a:lnTo>
                    <a:pt x="28959" y="3940"/>
                  </a:lnTo>
                  <a:lnTo>
                    <a:pt x="27749" y="5806"/>
                  </a:lnTo>
                  <a:lnTo>
                    <a:pt x="27093" y="6774"/>
                  </a:lnTo>
                  <a:lnTo>
                    <a:pt x="26471" y="7707"/>
                  </a:lnTo>
                  <a:lnTo>
                    <a:pt x="25849" y="8570"/>
                  </a:lnTo>
                  <a:lnTo>
                    <a:pt x="25227" y="9365"/>
                  </a:lnTo>
                  <a:lnTo>
                    <a:pt x="24639" y="10056"/>
                  </a:lnTo>
                  <a:lnTo>
                    <a:pt x="24086" y="10644"/>
                  </a:lnTo>
                  <a:lnTo>
                    <a:pt x="23810" y="10851"/>
                  </a:lnTo>
                  <a:lnTo>
                    <a:pt x="23568" y="11059"/>
                  </a:lnTo>
                  <a:lnTo>
                    <a:pt x="23361" y="11197"/>
                  </a:lnTo>
                  <a:lnTo>
                    <a:pt x="23153" y="11300"/>
                  </a:lnTo>
                  <a:lnTo>
                    <a:pt x="22773" y="11370"/>
                  </a:lnTo>
                  <a:lnTo>
                    <a:pt x="22255" y="11439"/>
                  </a:lnTo>
                  <a:lnTo>
                    <a:pt x="21633" y="11439"/>
                  </a:lnTo>
                  <a:lnTo>
                    <a:pt x="20942" y="11404"/>
                  </a:lnTo>
                  <a:lnTo>
                    <a:pt x="20216" y="11335"/>
                  </a:lnTo>
                  <a:lnTo>
                    <a:pt x="19387" y="11231"/>
                  </a:lnTo>
                  <a:lnTo>
                    <a:pt x="18523" y="11093"/>
                  </a:lnTo>
                  <a:lnTo>
                    <a:pt x="17624" y="10920"/>
                  </a:lnTo>
                  <a:lnTo>
                    <a:pt x="16726" y="10748"/>
                  </a:lnTo>
                  <a:lnTo>
                    <a:pt x="15827" y="10540"/>
                  </a:lnTo>
                  <a:lnTo>
                    <a:pt x="14929" y="10298"/>
                  </a:lnTo>
                  <a:lnTo>
                    <a:pt x="14065" y="10022"/>
                  </a:lnTo>
                  <a:lnTo>
                    <a:pt x="13236" y="9780"/>
                  </a:lnTo>
                  <a:lnTo>
                    <a:pt x="12441" y="9504"/>
                  </a:lnTo>
                  <a:lnTo>
                    <a:pt x="11750" y="9193"/>
                  </a:lnTo>
                  <a:lnTo>
                    <a:pt x="11093" y="8916"/>
                  </a:lnTo>
                  <a:lnTo>
                    <a:pt x="10609" y="8847"/>
                  </a:lnTo>
                  <a:lnTo>
                    <a:pt x="9434" y="8709"/>
                  </a:lnTo>
                  <a:lnTo>
                    <a:pt x="8709" y="8640"/>
                  </a:lnTo>
                  <a:lnTo>
                    <a:pt x="7983" y="8570"/>
                  </a:lnTo>
                  <a:lnTo>
                    <a:pt x="6704" y="8570"/>
                  </a:lnTo>
                  <a:lnTo>
                    <a:pt x="6393" y="8640"/>
                  </a:lnTo>
                  <a:lnTo>
                    <a:pt x="6048" y="8743"/>
                  </a:lnTo>
                  <a:lnTo>
                    <a:pt x="5668" y="8916"/>
                  </a:lnTo>
                  <a:lnTo>
                    <a:pt x="5253" y="9123"/>
                  </a:lnTo>
                  <a:lnTo>
                    <a:pt x="4355" y="9676"/>
                  </a:lnTo>
                  <a:lnTo>
                    <a:pt x="3387" y="10298"/>
                  </a:lnTo>
                  <a:lnTo>
                    <a:pt x="2489" y="10989"/>
                  </a:lnTo>
                  <a:lnTo>
                    <a:pt x="1625" y="11715"/>
                  </a:lnTo>
                  <a:lnTo>
                    <a:pt x="934" y="12337"/>
                  </a:lnTo>
                  <a:lnTo>
                    <a:pt x="657" y="12648"/>
                  </a:lnTo>
                  <a:lnTo>
                    <a:pt x="415" y="12890"/>
                  </a:lnTo>
                  <a:lnTo>
                    <a:pt x="346" y="13063"/>
                  </a:lnTo>
                  <a:lnTo>
                    <a:pt x="242" y="13236"/>
                  </a:lnTo>
                  <a:lnTo>
                    <a:pt x="104" y="13616"/>
                  </a:lnTo>
                  <a:lnTo>
                    <a:pt x="35" y="14134"/>
                  </a:lnTo>
                  <a:lnTo>
                    <a:pt x="1" y="14687"/>
                  </a:lnTo>
                  <a:lnTo>
                    <a:pt x="1" y="15344"/>
                  </a:lnTo>
                  <a:lnTo>
                    <a:pt x="35" y="16035"/>
                  </a:lnTo>
                  <a:lnTo>
                    <a:pt x="139" y="16795"/>
                  </a:lnTo>
                  <a:lnTo>
                    <a:pt x="242" y="17590"/>
                  </a:lnTo>
                  <a:lnTo>
                    <a:pt x="381" y="18419"/>
                  </a:lnTo>
                  <a:lnTo>
                    <a:pt x="553" y="19283"/>
                  </a:lnTo>
                  <a:lnTo>
                    <a:pt x="968" y="21045"/>
                  </a:lnTo>
                  <a:lnTo>
                    <a:pt x="1452" y="22877"/>
                  </a:lnTo>
                  <a:lnTo>
                    <a:pt x="1936" y="24639"/>
                  </a:lnTo>
                  <a:lnTo>
                    <a:pt x="2005" y="24777"/>
                  </a:lnTo>
                  <a:lnTo>
                    <a:pt x="2108" y="24916"/>
                  </a:lnTo>
                  <a:lnTo>
                    <a:pt x="2350" y="25192"/>
                  </a:lnTo>
                  <a:lnTo>
                    <a:pt x="2730" y="25503"/>
                  </a:lnTo>
                  <a:lnTo>
                    <a:pt x="3214" y="25814"/>
                  </a:lnTo>
                  <a:lnTo>
                    <a:pt x="3663" y="26078"/>
                  </a:lnTo>
                  <a:lnTo>
                    <a:pt x="3663" y="26078"/>
                  </a:lnTo>
                  <a:lnTo>
                    <a:pt x="3663" y="26125"/>
                  </a:lnTo>
                  <a:lnTo>
                    <a:pt x="3663" y="26816"/>
                  </a:lnTo>
                  <a:lnTo>
                    <a:pt x="3629" y="27473"/>
                  </a:lnTo>
                  <a:lnTo>
                    <a:pt x="3525" y="28682"/>
                  </a:lnTo>
                  <a:lnTo>
                    <a:pt x="3456" y="29719"/>
                  </a:lnTo>
                  <a:lnTo>
                    <a:pt x="3318" y="30756"/>
                  </a:lnTo>
                  <a:lnTo>
                    <a:pt x="3145" y="31723"/>
                  </a:lnTo>
                  <a:lnTo>
                    <a:pt x="2903" y="32691"/>
                  </a:lnTo>
                  <a:lnTo>
                    <a:pt x="2627" y="33624"/>
                  </a:lnTo>
                  <a:lnTo>
                    <a:pt x="2281" y="34488"/>
                  </a:lnTo>
                  <a:lnTo>
                    <a:pt x="1936" y="35283"/>
                  </a:lnTo>
                  <a:lnTo>
                    <a:pt x="1486" y="36043"/>
                  </a:lnTo>
                  <a:lnTo>
                    <a:pt x="1037" y="36769"/>
                  </a:lnTo>
                  <a:lnTo>
                    <a:pt x="1003" y="36838"/>
                  </a:lnTo>
                  <a:lnTo>
                    <a:pt x="968" y="36976"/>
                  </a:lnTo>
                  <a:lnTo>
                    <a:pt x="968" y="37114"/>
                  </a:lnTo>
                  <a:lnTo>
                    <a:pt x="1072" y="37218"/>
                  </a:lnTo>
                  <a:lnTo>
                    <a:pt x="1210" y="37356"/>
                  </a:lnTo>
                  <a:lnTo>
                    <a:pt x="1417" y="37460"/>
                  </a:lnTo>
                  <a:lnTo>
                    <a:pt x="1659" y="37563"/>
                  </a:lnTo>
                  <a:lnTo>
                    <a:pt x="2316" y="37702"/>
                  </a:lnTo>
                  <a:lnTo>
                    <a:pt x="3145" y="37840"/>
                  </a:lnTo>
                  <a:lnTo>
                    <a:pt x="4113" y="37943"/>
                  </a:lnTo>
                  <a:lnTo>
                    <a:pt x="5219" y="38013"/>
                  </a:lnTo>
                  <a:lnTo>
                    <a:pt x="6393" y="38047"/>
                  </a:lnTo>
                  <a:lnTo>
                    <a:pt x="8259" y="38013"/>
                  </a:lnTo>
                  <a:lnTo>
                    <a:pt x="10160" y="37978"/>
                  </a:lnTo>
                  <a:lnTo>
                    <a:pt x="12061" y="37874"/>
                  </a:lnTo>
                  <a:lnTo>
                    <a:pt x="13858" y="37702"/>
                  </a:lnTo>
                  <a:lnTo>
                    <a:pt x="15447" y="37529"/>
                  </a:lnTo>
                  <a:lnTo>
                    <a:pt x="16760" y="37321"/>
                  </a:lnTo>
                  <a:lnTo>
                    <a:pt x="17279" y="37183"/>
                  </a:lnTo>
                  <a:lnTo>
                    <a:pt x="17693" y="37080"/>
                  </a:lnTo>
                  <a:lnTo>
                    <a:pt x="18004" y="36941"/>
                  </a:lnTo>
                  <a:lnTo>
                    <a:pt x="18177" y="36803"/>
                  </a:lnTo>
                  <a:lnTo>
                    <a:pt x="18281" y="36630"/>
                  </a:lnTo>
                  <a:lnTo>
                    <a:pt x="18350" y="36423"/>
                  </a:lnTo>
                  <a:lnTo>
                    <a:pt x="18350" y="36181"/>
                  </a:lnTo>
                  <a:lnTo>
                    <a:pt x="18350" y="35939"/>
                  </a:lnTo>
                  <a:lnTo>
                    <a:pt x="18281" y="35352"/>
                  </a:lnTo>
                  <a:lnTo>
                    <a:pt x="18143" y="34626"/>
                  </a:lnTo>
                  <a:lnTo>
                    <a:pt x="17970" y="33831"/>
                  </a:lnTo>
                  <a:lnTo>
                    <a:pt x="17728" y="32967"/>
                  </a:lnTo>
                  <a:lnTo>
                    <a:pt x="17451" y="32069"/>
                  </a:lnTo>
                  <a:lnTo>
                    <a:pt x="17172" y="31216"/>
                  </a:lnTo>
                  <a:lnTo>
                    <a:pt x="17172" y="31216"/>
                  </a:lnTo>
                  <a:lnTo>
                    <a:pt x="18626" y="31689"/>
                  </a:lnTo>
                  <a:lnTo>
                    <a:pt x="22462" y="32898"/>
                  </a:lnTo>
                  <a:lnTo>
                    <a:pt x="25227" y="33762"/>
                  </a:lnTo>
                  <a:lnTo>
                    <a:pt x="26056" y="34039"/>
                  </a:lnTo>
                  <a:lnTo>
                    <a:pt x="26402" y="34211"/>
                  </a:lnTo>
                  <a:lnTo>
                    <a:pt x="26436" y="34211"/>
                  </a:lnTo>
                  <a:lnTo>
                    <a:pt x="26471" y="34177"/>
                  </a:lnTo>
                  <a:lnTo>
                    <a:pt x="26540" y="34073"/>
                  </a:lnTo>
                  <a:lnTo>
                    <a:pt x="26678" y="33624"/>
                  </a:lnTo>
                  <a:lnTo>
                    <a:pt x="26851" y="32967"/>
                  </a:lnTo>
                  <a:lnTo>
                    <a:pt x="27058" y="32173"/>
                  </a:lnTo>
                  <a:lnTo>
                    <a:pt x="27196" y="31378"/>
                  </a:lnTo>
                  <a:lnTo>
                    <a:pt x="27300" y="30617"/>
                  </a:lnTo>
                  <a:lnTo>
                    <a:pt x="27300" y="30306"/>
                  </a:lnTo>
                  <a:lnTo>
                    <a:pt x="27300" y="30065"/>
                  </a:lnTo>
                  <a:lnTo>
                    <a:pt x="27265" y="29857"/>
                  </a:lnTo>
                  <a:lnTo>
                    <a:pt x="27231" y="29719"/>
                  </a:lnTo>
                  <a:lnTo>
                    <a:pt x="27093" y="29650"/>
                  </a:lnTo>
                  <a:lnTo>
                    <a:pt x="26851" y="29546"/>
                  </a:lnTo>
                  <a:lnTo>
                    <a:pt x="26160" y="29304"/>
                  </a:lnTo>
                  <a:lnTo>
                    <a:pt x="25227" y="29028"/>
                  </a:lnTo>
                  <a:lnTo>
                    <a:pt x="24155" y="28751"/>
                  </a:lnTo>
                  <a:lnTo>
                    <a:pt x="22151" y="28268"/>
                  </a:lnTo>
                  <a:lnTo>
                    <a:pt x="20976" y="27991"/>
                  </a:lnTo>
                  <a:lnTo>
                    <a:pt x="20112" y="27715"/>
                  </a:lnTo>
                  <a:lnTo>
                    <a:pt x="18937" y="27369"/>
                  </a:lnTo>
                  <a:lnTo>
                    <a:pt x="16035" y="26505"/>
                  </a:lnTo>
                  <a:lnTo>
                    <a:pt x="15566" y="26349"/>
                  </a:lnTo>
                  <a:lnTo>
                    <a:pt x="15566" y="26349"/>
                  </a:lnTo>
                  <a:lnTo>
                    <a:pt x="15447" y="25952"/>
                  </a:lnTo>
                  <a:lnTo>
                    <a:pt x="15274" y="25330"/>
                  </a:lnTo>
                  <a:lnTo>
                    <a:pt x="15171" y="24847"/>
                  </a:lnTo>
                  <a:lnTo>
                    <a:pt x="15136" y="24501"/>
                  </a:lnTo>
                  <a:lnTo>
                    <a:pt x="15171" y="24225"/>
                  </a:lnTo>
                  <a:lnTo>
                    <a:pt x="15274" y="23948"/>
                  </a:lnTo>
                  <a:lnTo>
                    <a:pt x="15447" y="23706"/>
                  </a:lnTo>
                  <a:lnTo>
                    <a:pt x="15620" y="23464"/>
                  </a:lnTo>
                  <a:lnTo>
                    <a:pt x="15862" y="23257"/>
                  </a:lnTo>
                  <a:lnTo>
                    <a:pt x="16104" y="23015"/>
                  </a:lnTo>
                  <a:lnTo>
                    <a:pt x="16657" y="22635"/>
                  </a:lnTo>
                  <a:lnTo>
                    <a:pt x="17210" y="22255"/>
                  </a:lnTo>
                  <a:lnTo>
                    <a:pt x="17728" y="21840"/>
                  </a:lnTo>
                  <a:lnTo>
                    <a:pt x="17935" y="21667"/>
                  </a:lnTo>
                  <a:lnTo>
                    <a:pt x="18108" y="21460"/>
                  </a:lnTo>
                  <a:lnTo>
                    <a:pt x="18212" y="21253"/>
                  </a:lnTo>
                  <a:lnTo>
                    <a:pt x="18315" y="21011"/>
                  </a:lnTo>
                  <a:lnTo>
                    <a:pt x="18315" y="20769"/>
                  </a:lnTo>
                  <a:lnTo>
                    <a:pt x="18246" y="20492"/>
                  </a:lnTo>
                  <a:lnTo>
                    <a:pt x="18143" y="20147"/>
                  </a:lnTo>
                  <a:lnTo>
                    <a:pt x="17970" y="19801"/>
                  </a:lnTo>
                  <a:lnTo>
                    <a:pt x="17521" y="19041"/>
                  </a:lnTo>
                  <a:lnTo>
                    <a:pt x="17037" y="18281"/>
                  </a:lnTo>
                  <a:lnTo>
                    <a:pt x="16173" y="17071"/>
                  </a:lnTo>
                  <a:lnTo>
                    <a:pt x="15966" y="16760"/>
                  </a:lnTo>
                  <a:lnTo>
                    <a:pt x="15966" y="16691"/>
                  </a:lnTo>
                  <a:lnTo>
                    <a:pt x="16035" y="16726"/>
                  </a:lnTo>
                  <a:lnTo>
                    <a:pt x="16242" y="16795"/>
                  </a:lnTo>
                  <a:lnTo>
                    <a:pt x="16484" y="16864"/>
                  </a:lnTo>
                  <a:lnTo>
                    <a:pt x="16726" y="16933"/>
                  </a:lnTo>
                  <a:lnTo>
                    <a:pt x="17037" y="16968"/>
                  </a:lnTo>
                  <a:lnTo>
                    <a:pt x="17659" y="17002"/>
                  </a:lnTo>
                  <a:lnTo>
                    <a:pt x="18385" y="16968"/>
                  </a:lnTo>
                  <a:lnTo>
                    <a:pt x="19145" y="16864"/>
                  </a:lnTo>
                  <a:lnTo>
                    <a:pt x="19974" y="16726"/>
                  </a:lnTo>
                  <a:lnTo>
                    <a:pt x="20838" y="16553"/>
                  </a:lnTo>
                  <a:lnTo>
                    <a:pt x="21702" y="16346"/>
                  </a:lnTo>
                  <a:lnTo>
                    <a:pt x="22566" y="16104"/>
                  </a:lnTo>
                  <a:lnTo>
                    <a:pt x="23430" y="15827"/>
                  </a:lnTo>
                  <a:lnTo>
                    <a:pt x="24225" y="15551"/>
                  </a:lnTo>
                  <a:lnTo>
                    <a:pt x="24985" y="15274"/>
                  </a:lnTo>
                  <a:lnTo>
                    <a:pt x="25641" y="14963"/>
                  </a:lnTo>
                  <a:lnTo>
                    <a:pt x="26229" y="14687"/>
                  </a:lnTo>
                  <a:lnTo>
                    <a:pt x="26713" y="14411"/>
                  </a:lnTo>
                  <a:lnTo>
                    <a:pt x="27058" y="14134"/>
                  </a:lnTo>
                  <a:lnTo>
                    <a:pt x="27404" y="13789"/>
                  </a:lnTo>
                  <a:lnTo>
                    <a:pt x="27818" y="13270"/>
                  </a:lnTo>
                  <a:lnTo>
                    <a:pt x="28302" y="12614"/>
                  </a:lnTo>
                  <a:lnTo>
                    <a:pt x="28855" y="11819"/>
                  </a:lnTo>
                  <a:lnTo>
                    <a:pt x="30065" y="9953"/>
                  </a:lnTo>
                  <a:lnTo>
                    <a:pt x="31274" y="7914"/>
                  </a:lnTo>
                  <a:lnTo>
                    <a:pt x="32449" y="5944"/>
                  </a:lnTo>
                  <a:lnTo>
                    <a:pt x="33451" y="4216"/>
                  </a:lnTo>
                  <a:lnTo>
                    <a:pt x="34419" y="2454"/>
                  </a:lnTo>
                  <a:lnTo>
                    <a:pt x="34453" y="2281"/>
                  </a:lnTo>
                  <a:lnTo>
                    <a:pt x="34419" y="2108"/>
                  </a:lnTo>
                  <a:lnTo>
                    <a:pt x="34280" y="1867"/>
                  </a:lnTo>
                  <a:lnTo>
                    <a:pt x="34108" y="1659"/>
                  </a:lnTo>
                  <a:lnTo>
                    <a:pt x="33900" y="1417"/>
                  </a:lnTo>
                  <a:lnTo>
                    <a:pt x="33658" y="1175"/>
                  </a:lnTo>
                  <a:lnTo>
                    <a:pt x="33382" y="934"/>
                  </a:lnTo>
                  <a:lnTo>
                    <a:pt x="33071" y="692"/>
                  </a:lnTo>
                  <a:lnTo>
                    <a:pt x="32760" y="484"/>
                  </a:lnTo>
                  <a:lnTo>
                    <a:pt x="32449" y="312"/>
                  </a:lnTo>
                  <a:lnTo>
                    <a:pt x="32173" y="173"/>
                  </a:lnTo>
                  <a:lnTo>
                    <a:pt x="31861" y="70"/>
                  </a:lnTo>
                  <a:lnTo>
                    <a:pt x="31620" y="1"/>
                  </a:lnTo>
                  <a:close/>
                </a:path>
              </a:pathLst>
            </a:custGeom>
            <a:solidFill>
              <a:srgbClr val="FFB6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10" name="Google Shape;14256;p81">
              <a:extLst>
                <a:ext uri="{FF2B5EF4-FFF2-40B4-BE49-F238E27FC236}">
                  <a16:creationId xmlns:a16="http://schemas.microsoft.com/office/drawing/2014/main" id="{A40B0DA2-B57A-966C-D607-E5A7E24F9E34}"/>
                </a:ext>
              </a:extLst>
            </p:cNvPr>
            <p:cNvSpPr/>
            <p:nvPr/>
          </p:nvSpPr>
          <p:spPr>
            <a:xfrm>
              <a:off x="1082625" y="2352100"/>
              <a:ext cx="861350" cy="951200"/>
            </a:xfrm>
            <a:custGeom>
              <a:avLst/>
              <a:gdLst/>
              <a:ahLst/>
              <a:cxnLst/>
              <a:rect l="l" t="t" r="r" b="b"/>
              <a:pathLst>
                <a:path w="34454" h="38048" fill="none" extrusionOk="0">
                  <a:moveTo>
                    <a:pt x="26402" y="34211"/>
                  </a:moveTo>
                  <a:lnTo>
                    <a:pt x="26402" y="34211"/>
                  </a:lnTo>
                  <a:lnTo>
                    <a:pt x="26436" y="34211"/>
                  </a:lnTo>
                  <a:lnTo>
                    <a:pt x="26471" y="34177"/>
                  </a:lnTo>
                  <a:lnTo>
                    <a:pt x="26540" y="34073"/>
                  </a:lnTo>
                  <a:lnTo>
                    <a:pt x="26678" y="33624"/>
                  </a:lnTo>
                  <a:lnTo>
                    <a:pt x="26851" y="32967"/>
                  </a:lnTo>
                  <a:lnTo>
                    <a:pt x="27058" y="32173"/>
                  </a:lnTo>
                  <a:lnTo>
                    <a:pt x="27196" y="31378"/>
                  </a:lnTo>
                  <a:lnTo>
                    <a:pt x="27300" y="30617"/>
                  </a:lnTo>
                  <a:lnTo>
                    <a:pt x="27300" y="30306"/>
                  </a:lnTo>
                  <a:lnTo>
                    <a:pt x="27300" y="30065"/>
                  </a:lnTo>
                  <a:lnTo>
                    <a:pt x="27265" y="29857"/>
                  </a:lnTo>
                  <a:lnTo>
                    <a:pt x="27231" y="29719"/>
                  </a:lnTo>
                  <a:lnTo>
                    <a:pt x="27231" y="29719"/>
                  </a:lnTo>
                  <a:lnTo>
                    <a:pt x="27093" y="29650"/>
                  </a:lnTo>
                  <a:lnTo>
                    <a:pt x="26851" y="29546"/>
                  </a:lnTo>
                  <a:lnTo>
                    <a:pt x="26160" y="29304"/>
                  </a:lnTo>
                  <a:lnTo>
                    <a:pt x="25227" y="29028"/>
                  </a:lnTo>
                  <a:lnTo>
                    <a:pt x="24155" y="28751"/>
                  </a:lnTo>
                  <a:lnTo>
                    <a:pt x="22151" y="28268"/>
                  </a:lnTo>
                  <a:lnTo>
                    <a:pt x="20976" y="27991"/>
                  </a:lnTo>
                  <a:lnTo>
                    <a:pt x="20976" y="27991"/>
                  </a:lnTo>
                  <a:lnTo>
                    <a:pt x="20112" y="27715"/>
                  </a:lnTo>
                  <a:lnTo>
                    <a:pt x="18937" y="27369"/>
                  </a:lnTo>
                  <a:lnTo>
                    <a:pt x="16035" y="26505"/>
                  </a:lnTo>
                  <a:lnTo>
                    <a:pt x="14480" y="25987"/>
                  </a:lnTo>
                  <a:lnTo>
                    <a:pt x="12994" y="25469"/>
                  </a:lnTo>
                  <a:lnTo>
                    <a:pt x="12303" y="25192"/>
                  </a:lnTo>
                  <a:lnTo>
                    <a:pt x="11646" y="24916"/>
                  </a:lnTo>
                  <a:lnTo>
                    <a:pt x="11024" y="24605"/>
                  </a:lnTo>
                  <a:lnTo>
                    <a:pt x="10506" y="24328"/>
                  </a:lnTo>
                  <a:lnTo>
                    <a:pt x="10506" y="24328"/>
                  </a:lnTo>
                  <a:lnTo>
                    <a:pt x="9815" y="23914"/>
                  </a:lnTo>
                  <a:lnTo>
                    <a:pt x="9089" y="23533"/>
                  </a:lnTo>
                  <a:lnTo>
                    <a:pt x="7430" y="22704"/>
                  </a:lnTo>
                  <a:lnTo>
                    <a:pt x="6359" y="22151"/>
                  </a:lnTo>
                  <a:lnTo>
                    <a:pt x="5046" y="21425"/>
                  </a:lnTo>
                  <a:lnTo>
                    <a:pt x="3491" y="20527"/>
                  </a:lnTo>
                  <a:lnTo>
                    <a:pt x="1556" y="19387"/>
                  </a:lnTo>
                  <a:lnTo>
                    <a:pt x="1556" y="19387"/>
                  </a:lnTo>
                  <a:lnTo>
                    <a:pt x="1797" y="19663"/>
                  </a:lnTo>
                  <a:lnTo>
                    <a:pt x="2005" y="19940"/>
                  </a:lnTo>
                  <a:lnTo>
                    <a:pt x="2419" y="20527"/>
                  </a:lnTo>
                  <a:lnTo>
                    <a:pt x="2765" y="21184"/>
                  </a:lnTo>
                  <a:lnTo>
                    <a:pt x="3041" y="21840"/>
                  </a:lnTo>
                  <a:lnTo>
                    <a:pt x="3249" y="22531"/>
                  </a:lnTo>
                  <a:lnTo>
                    <a:pt x="3422" y="23257"/>
                  </a:lnTo>
                  <a:lnTo>
                    <a:pt x="3525" y="23983"/>
                  </a:lnTo>
                  <a:lnTo>
                    <a:pt x="3594" y="24708"/>
                  </a:lnTo>
                  <a:lnTo>
                    <a:pt x="3663" y="25399"/>
                  </a:lnTo>
                  <a:lnTo>
                    <a:pt x="3663" y="26125"/>
                  </a:lnTo>
                  <a:lnTo>
                    <a:pt x="3663" y="26816"/>
                  </a:lnTo>
                  <a:lnTo>
                    <a:pt x="3629" y="27473"/>
                  </a:lnTo>
                  <a:lnTo>
                    <a:pt x="3525" y="28682"/>
                  </a:lnTo>
                  <a:lnTo>
                    <a:pt x="3456" y="29719"/>
                  </a:lnTo>
                  <a:lnTo>
                    <a:pt x="3456" y="29719"/>
                  </a:lnTo>
                  <a:lnTo>
                    <a:pt x="3318" y="30756"/>
                  </a:lnTo>
                  <a:lnTo>
                    <a:pt x="3145" y="31723"/>
                  </a:lnTo>
                  <a:lnTo>
                    <a:pt x="2903" y="32691"/>
                  </a:lnTo>
                  <a:lnTo>
                    <a:pt x="2627" y="33624"/>
                  </a:lnTo>
                  <a:lnTo>
                    <a:pt x="2281" y="34488"/>
                  </a:lnTo>
                  <a:lnTo>
                    <a:pt x="1936" y="35283"/>
                  </a:lnTo>
                  <a:lnTo>
                    <a:pt x="1486" y="36043"/>
                  </a:lnTo>
                  <a:lnTo>
                    <a:pt x="1037" y="36769"/>
                  </a:lnTo>
                  <a:lnTo>
                    <a:pt x="1037" y="36769"/>
                  </a:lnTo>
                  <a:lnTo>
                    <a:pt x="1003" y="36838"/>
                  </a:lnTo>
                  <a:lnTo>
                    <a:pt x="1003" y="36838"/>
                  </a:lnTo>
                  <a:lnTo>
                    <a:pt x="968" y="36976"/>
                  </a:lnTo>
                  <a:lnTo>
                    <a:pt x="968" y="37114"/>
                  </a:lnTo>
                  <a:lnTo>
                    <a:pt x="1072" y="37218"/>
                  </a:lnTo>
                  <a:lnTo>
                    <a:pt x="1210" y="37356"/>
                  </a:lnTo>
                  <a:lnTo>
                    <a:pt x="1417" y="37460"/>
                  </a:lnTo>
                  <a:lnTo>
                    <a:pt x="1659" y="37563"/>
                  </a:lnTo>
                  <a:lnTo>
                    <a:pt x="2316" y="37702"/>
                  </a:lnTo>
                  <a:lnTo>
                    <a:pt x="3145" y="37840"/>
                  </a:lnTo>
                  <a:lnTo>
                    <a:pt x="4113" y="37943"/>
                  </a:lnTo>
                  <a:lnTo>
                    <a:pt x="5219" y="38013"/>
                  </a:lnTo>
                  <a:lnTo>
                    <a:pt x="6393" y="38047"/>
                  </a:lnTo>
                  <a:lnTo>
                    <a:pt x="6393" y="38047"/>
                  </a:lnTo>
                  <a:lnTo>
                    <a:pt x="8259" y="38013"/>
                  </a:lnTo>
                  <a:lnTo>
                    <a:pt x="10160" y="37978"/>
                  </a:lnTo>
                  <a:lnTo>
                    <a:pt x="12061" y="37874"/>
                  </a:lnTo>
                  <a:lnTo>
                    <a:pt x="13858" y="37702"/>
                  </a:lnTo>
                  <a:lnTo>
                    <a:pt x="15447" y="37529"/>
                  </a:lnTo>
                  <a:lnTo>
                    <a:pt x="16760" y="37321"/>
                  </a:lnTo>
                  <a:lnTo>
                    <a:pt x="17279" y="37183"/>
                  </a:lnTo>
                  <a:lnTo>
                    <a:pt x="17693" y="37080"/>
                  </a:lnTo>
                  <a:lnTo>
                    <a:pt x="18004" y="36941"/>
                  </a:lnTo>
                  <a:lnTo>
                    <a:pt x="18177" y="36803"/>
                  </a:lnTo>
                  <a:lnTo>
                    <a:pt x="18177" y="36803"/>
                  </a:lnTo>
                  <a:lnTo>
                    <a:pt x="18281" y="36630"/>
                  </a:lnTo>
                  <a:lnTo>
                    <a:pt x="18350" y="36423"/>
                  </a:lnTo>
                  <a:lnTo>
                    <a:pt x="18350" y="36423"/>
                  </a:lnTo>
                  <a:lnTo>
                    <a:pt x="18350" y="36181"/>
                  </a:lnTo>
                  <a:lnTo>
                    <a:pt x="18350" y="35939"/>
                  </a:lnTo>
                  <a:lnTo>
                    <a:pt x="18281" y="35352"/>
                  </a:lnTo>
                  <a:lnTo>
                    <a:pt x="18143" y="34626"/>
                  </a:lnTo>
                  <a:lnTo>
                    <a:pt x="17970" y="33831"/>
                  </a:lnTo>
                  <a:lnTo>
                    <a:pt x="17728" y="32967"/>
                  </a:lnTo>
                  <a:lnTo>
                    <a:pt x="17451" y="32069"/>
                  </a:lnTo>
                  <a:lnTo>
                    <a:pt x="16829" y="30168"/>
                  </a:lnTo>
                  <a:lnTo>
                    <a:pt x="16207" y="28337"/>
                  </a:lnTo>
                  <a:lnTo>
                    <a:pt x="15655" y="26643"/>
                  </a:lnTo>
                  <a:lnTo>
                    <a:pt x="15447" y="25952"/>
                  </a:lnTo>
                  <a:lnTo>
                    <a:pt x="15274" y="25330"/>
                  </a:lnTo>
                  <a:lnTo>
                    <a:pt x="15171" y="24847"/>
                  </a:lnTo>
                  <a:lnTo>
                    <a:pt x="15136" y="24501"/>
                  </a:lnTo>
                  <a:lnTo>
                    <a:pt x="15136" y="24501"/>
                  </a:lnTo>
                  <a:lnTo>
                    <a:pt x="15171" y="24225"/>
                  </a:lnTo>
                  <a:lnTo>
                    <a:pt x="15274" y="23948"/>
                  </a:lnTo>
                  <a:lnTo>
                    <a:pt x="15447" y="23706"/>
                  </a:lnTo>
                  <a:lnTo>
                    <a:pt x="15620" y="23464"/>
                  </a:lnTo>
                  <a:lnTo>
                    <a:pt x="15862" y="23257"/>
                  </a:lnTo>
                  <a:lnTo>
                    <a:pt x="16104" y="23015"/>
                  </a:lnTo>
                  <a:lnTo>
                    <a:pt x="16657" y="22635"/>
                  </a:lnTo>
                  <a:lnTo>
                    <a:pt x="17210" y="22255"/>
                  </a:lnTo>
                  <a:lnTo>
                    <a:pt x="17728" y="21840"/>
                  </a:lnTo>
                  <a:lnTo>
                    <a:pt x="17935" y="21667"/>
                  </a:lnTo>
                  <a:lnTo>
                    <a:pt x="18108" y="21460"/>
                  </a:lnTo>
                  <a:lnTo>
                    <a:pt x="18212" y="21253"/>
                  </a:lnTo>
                  <a:lnTo>
                    <a:pt x="18315" y="21011"/>
                  </a:lnTo>
                  <a:lnTo>
                    <a:pt x="18315" y="21011"/>
                  </a:lnTo>
                  <a:lnTo>
                    <a:pt x="18315" y="20769"/>
                  </a:lnTo>
                  <a:lnTo>
                    <a:pt x="18246" y="20492"/>
                  </a:lnTo>
                  <a:lnTo>
                    <a:pt x="18143" y="20147"/>
                  </a:lnTo>
                  <a:lnTo>
                    <a:pt x="17970" y="19801"/>
                  </a:lnTo>
                  <a:lnTo>
                    <a:pt x="17521" y="19041"/>
                  </a:lnTo>
                  <a:lnTo>
                    <a:pt x="17037" y="18281"/>
                  </a:lnTo>
                  <a:lnTo>
                    <a:pt x="16173" y="17071"/>
                  </a:lnTo>
                  <a:lnTo>
                    <a:pt x="15966" y="16760"/>
                  </a:lnTo>
                  <a:lnTo>
                    <a:pt x="15966" y="16691"/>
                  </a:lnTo>
                  <a:lnTo>
                    <a:pt x="16035" y="16726"/>
                  </a:lnTo>
                  <a:lnTo>
                    <a:pt x="16035" y="16726"/>
                  </a:lnTo>
                  <a:lnTo>
                    <a:pt x="16242" y="16795"/>
                  </a:lnTo>
                  <a:lnTo>
                    <a:pt x="16484" y="16864"/>
                  </a:lnTo>
                  <a:lnTo>
                    <a:pt x="16726" y="16933"/>
                  </a:lnTo>
                  <a:lnTo>
                    <a:pt x="17037" y="16968"/>
                  </a:lnTo>
                  <a:lnTo>
                    <a:pt x="17659" y="17002"/>
                  </a:lnTo>
                  <a:lnTo>
                    <a:pt x="18385" y="16968"/>
                  </a:lnTo>
                  <a:lnTo>
                    <a:pt x="19145" y="16864"/>
                  </a:lnTo>
                  <a:lnTo>
                    <a:pt x="19974" y="16726"/>
                  </a:lnTo>
                  <a:lnTo>
                    <a:pt x="20838" y="16553"/>
                  </a:lnTo>
                  <a:lnTo>
                    <a:pt x="21702" y="16346"/>
                  </a:lnTo>
                  <a:lnTo>
                    <a:pt x="22566" y="16104"/>
                  </a:lnTo>
                  <a:lnTo>
                    <a:pt x="23430" y="15827"/>
                  </a:lnTo>
                  <a:lnTo>
                    <a:pt x="24225" y="15551"/>
                  </a:lnTo>
                  <a:lnTo>
                    <a:pt x="24985" y="15274"/>
                  </a:lnTo>
                  <a:lnTo>
                    <a:pt x="25641" y="14963"/>
                  </a:lnTo>
                  <a:lnTo>
                    <a:pt x="26229" y="14687"/>
                  </a:lnTo>
                  <a:lnTo>
                    <a:pt x="26713" y="14411"/>
                  </a:lnTo>
                  <a:lnTo>
                    <a:pt x="27058" y="14134"/>
                  </a:lnTo>
                  <a:lnTo>
                    <a:pt x="27058" y="14134"/>
                  </a:lnTo>
                  <a:lnTo>
                    <a:pt x="27404" y="13789"/>
                  </a:lnTo>
                  <a:lnTo>
                    <a:pt x="27818" y="13270"/>
                  </a:lnTo>
                  <a:lnTo>
                    <a:pt x="28302" y="12614"/>
                  </a:lnTo>
                  <a:lnTo>
                    <a:pt x="28855" y="11819"/>
                  </a:lnTo>
                  <a:lnTo>
                    <a:pt x="30065" y="9953"/>
                  </a:lnTo>
                  <a:lnTo>
                    <a:pt x="31274" y="7914"/>
                  </a:lnTo>
                  <a:lnTo>
                    <a:pt x="32449" y="5944"/>
                  </a:lnTo>
                  <a:lnTo>
                    <a:pt x="33451" y="4216"/>
                  </a:lnTo>
                  <a:lnTo>
                    <a:pt x="34419" y="2454"/>
                  </a:lnTo>
                  <a:lnTo>
                    <a:pt x="34419" y="2454"/>
                  </a:lnTo>
                  <a:lnTo>
                    <a:pt x="34453" y="2281"/>
                  </a:lnTo>
                  <a:lnTo>
                    <a:pt x="34419" y="2108"/>
                  </a:lnTo>
                  <a:lnTo>
                    <a:pt x="34280" y="1867"/>
                  </a:lnTo>
                  <a:lnTo>
                    <a:pt x="34108" y="1659"/>
                  </a:lnTo>
                  <a:lnTo>
                    <a:pt x="33900" y="1417"/>
                  </a:lnTo>
                  <a:lnTo>
                    <a:pt x="33658" y="1175"/>
                  </a:lnTo>
                  <a:lnTo>
                    <a:pt x="33382" y="934"/>
                  </a:lnTo>
                  <a:lnTo>
                    <a:pt x="33071" y="692"/>
                  </a:lnTo>
                  <a:lnTo>
                    <a:pt x="32760" y="484"/>
                  </a:lnTo>
                  <a:lnTo>
                    <a:pt x="32449" y="312"/>
                  </a:lnTo>
                  <a:lnTo>
                    <a:pt x="32173" y="173"/>
                  </a:lnTo>
                  <a:lnTo>
                    <a:pt x="31861" y="70"/>
                  </a:lnTo>
                  <a:lnTo>
                    <a:pt x="31620" y="1"/>
                  </a:lnTo>
                  <a:lnTo>
                    <a:pt x="31412" y="35"/>
                  </a:lnTo>
                  <a:lnTo>
                    <a:pt x="31309" y="35"/>
                  </a:lnTo>
                  <a:lnTo>
                    <a:pt x="31205" y="104"/>
                  </a:lnTo>
                  <a:lnTo>
                    <a:pt x="31136" y="173"/>
                  </a:lnTo>
                  <a:lnTo>
                    <a:pt x="31101" y="242"/>
                  </a:lnTo>
                  <a:lnTo>
                    <a:pt x="31101" y="242"/>
                  </a:lnTo>
                  <a:lnTo>
                    <a:pt x="30721" y="934"/>
                  </a:lnTo>
                  <a:lnTo>
                    <a:pt x="29961" y="2247"/>
                  </a:lnTo>
                  <a:lnTo>
                    <a:pt x="28959" y="3940"/>
                  </a:lnTo>
                  <a:lnTo>
                    <a:pt x="27749" y="5806"/>
                  </a:lnTo>
                  <a:lnTo>
                    <a:pt x="27093" y="6774"/>
                  </a:lnTo>
                  <a:lnTo>
                    <a:pt x="26471" y="7707"/>
                  </a:lnTo>
                  <a:lnTo>
                    <a:pt x="25849" y="8570"/>
                  </a:lnTo>
                  <a:lnTo>
                    <a:pt x="25227" y="9365"/>
                  </a:lnTo>
                  <a:lnTo>
                    <a:pt x="24639" y="10056"/>
                  </a:lnTo>
                  <a:lnTo>
                    <a:pt x="24086" y="10644"/>
                  </a:lnTo>
                  <a:lnTo>
                    <a:pt x="23810" y="10851"/>
                  </a:lnTo>
                  <a:lnTo>
                    <a:pt x="23568" y="11059"/>
                  </a:lnTo>
                  <a:lnTo>
                    <a:pt x="23361" y="11197"/>
                  </a:lnTo>
                  <a:lnTo>
                    <a:pt x="23153" y="11300"/>
                  </a:lnTo>
                  <a:lnTo>
                    <a:pt x="23153" y="11300"/>
                  </a:lnTo>
                  <a:lnTo>
                    <a:pt x="22773" y="11370"/>
                  </a:lnTo>
                  <a:lnTo>
                    <a:pt x="22255" y="11439"/>
                  </a:lnTo>
                  <a:lnTo>
                    <a:pt x="21633" y="11439"/>
                  </a:lnTo>
                  <a:lnTo>
                    <a:pt x="20942" y="11404"/>
                  </a:lnTo>
                  <a:lnTo>
                    <a:pt x="20216" y="11335"/>
                  </a:lnTo>
                  <a:lnTo>
                    <a:pt x="19387" y="11231"/>
                  </a:lnTo>
                  <a:lnTo>
                    <a:pt x="18523" y="11093"/>
                  </a:lnTo>
                  <a:lnTo>
                    <a:pt x="17624" y="10920"/>
                  </a:lnTo>
                  <a:lnTo>
                    <a:pt x="16726" y="10748"/>
                  </a:lnTo>
                  <a:lnTo>
                    <a:pt x="15827" y="10540"/>
                  </a:lnTo>
                  <a:lnTo>
                    <a:pt x="14929" y="10298"/>
                  </a:lnTo>
                  <a:lnTo>
                    <a:pt x="14065" y="10022"/>
                  </a:lnTo>
                  <a:lnTo>
                    <a:pt x="13236" y="9780"/>
                  </a:lnTo>
                  <a:lnTo>
                    <a:pt x="12441" y="9504"/>
                  </a:lnTo>
                  <a:lnTo>
                    <a:pt x="11750" y="9193"/>
                  </a:lnTo>
                  <a:lnTo>
                    <a:pt x="11093" y="8916"/>
                  </a:lnTo>
                  <a:lnTo>
                    <a:pt x="11093" y="8916"/>
                  </a:lnTo>
                  <a:lnTo>
                    <a:pt x="10609" y="8847"/>
                  </a:lnTo>
                  <a:lnTo>
                    <a:pt x="9434" y="8709"/>
                  </a:lnTo>
                  <a:lnTo>
                    <a:pt x="8709" y="8640"/>
                  </a:lnTo>
                  <a:lnTo>
                    <a:pt x="7983" y="8570"/>
                  </a:lnTo>
                  <a:lnTo>
                    <a:pt x="7292" y="8570"/>
                  </a:lnTo>
                  <a:lnTo>
                    <a:pt x="6704" y="8570"/>
                  </a:lnTo>
                  <a:lnTo>
                    <a:pt x="6704" y="8570"/>
                  </a:lnTo>
                  <a:lnTo>
                    <a:pt x="6393" y="8640"/>
                  </a:lnTo>
                  <a:lnTo>
                    <a:pt x="6048" y="8743"/>
                  </a:lnTo>
                  <a:lnTo>
                    <a:pt x="5668" y="8916"/>
                  </a:lnTo>
                  <a:lnTo>
                    <a:pt x="5253" y="9123"/>
                  </a:lnTo>
                  <a:lnTo>
                    <a:pt x="4355" y="9676"/>
                  </a:lnTo>
                  <a:lnTo>
                    <a:pt x="3387" y="10298"/>
                  </a:lnTo>
                  <a:lnTo>
                    <a:pt x="2489" y="10989"/>
                  </a:lnTo>
                  <a:lnTo>
                    <a:pt x="1625" y="11715"/>
                  </a:lnTo>
                  <a:lnTo>
                    <a:pt x="934" y="12337"/>
                  </a:lnTo>
                  <a:lnTo>
                    <a:pt x="657" y="12648"/>
                  </a:lnTo>
                  <a:lnTo>
                    <a:pt x="415" y="12890"/>
                  </a:lnTo>
                  <a:lnTo>
                    <a:pt x="415" y="12890"/>
                  </a:lnTo>
                  <a:lnTo>
                    <a:pt x="346" y="13063"/>
                  </a:lnTo>
                  <a:lnTo>
                    <a:pt x="242" y="13236"/>
                  </a:lnTo>
                  <a:lnTo>
                    <a:pt x="104" y="13616"/>
                  </a:lnTo>
                  <a:lnTo>
                    <a:pt x="35" y="14134"/>
                  </a:lnTo>
                  <a:lnTo>
                    <a:pt x="1" y="14687"/>
                  </a:lnTo>
                  <a:lnTo>
                    <a:pt x="1" y="15344"/>
                  </a:lnTo>
                  <a:lnTo>
                    <a:pt x="35" y="16035"/>
                  </a:lnTo>
                  <a:lnTo>
                    <a:pt x="139" y="16795"/>
                  </a:lnTo>
                  <a:lnTo>
                    <a:pt x="242" y="17590"/>
                  </a:lnTo>
                  <a:lnTo>
                    <a:pt x="381" y="18419"/>
                  </a:lnTo>
                  <a:lnTo>
                    <a:pt x="553" y="19283"/>
                  </a:lnTo>
                  <a:lnTo>
                    <a:pt x="968" y="21045"/>
                  </a:lnTo>
                  <a:lnTo>
                    <a:pt x="1452" y="22877"/>
                  </a:lnTo>
                  <a:lnTo>
                    <a:pt x="1936" y="24639"/>
                  </a:lnTo>
                  <a:lnTo>
                    <a:pt x="1936" y="24639"/>
                  </a:lnTo>
                  <a:lnTo>
                    <a:pt x="2005" y="24777"/>
                  </a:lnTo>
                  <a:lnTo>
                    <a:pt x="2108" y="24916"/>
                  </a:lnTo>
                  <a:lnTo>
                    <a:pt x="2350" y="25192"/>
                  </a:lnTo>
                  <a:lnTo>
                    <a:pt x="2730" y="25503"/>
                  </a:lnTo>
                  <a:lnTo>
                    <a:pt x="3214" y="25814"/>
                  </a:lnTo>
                  <a:lnTo>
                    <a:pt x="3802" y="26160"/>
                  </a:lnTo>
                  <a:lnTo>
                    <a:pt x="4458" y="26505"/>
                  </a:lnTo>
                  <a:lnTo>
                    <a:pt x="5219" y="26851"/>
                  </a:lnTo>
                  <a:lnTo>
                    <a:pt x="6048" y="27231"/>
                  </a:lnTo>
                  <a:lnTo>
                    <a:pt x="7879" y="27957"/>
                  </a:lnTo>
                  <a:lnTo>
                    <a:pt x="9884" y="28751"/>
                  </a:lnTo>
                  <a:lnTo>
                    <a:pt x="12061" y="29512"/>
                  </a:lnTo>
                  <a:lnTo>
                    <a:pt x="14272" y="30272"/>
                  </a:lnTo>
                  <a:lnTo>
                    <a:pt x="18626" y="31689"/>
                  </a:lnTo>
                  <a:lnTo>
                    <a:pt x="22462" y="32898"/>
                  </a:lnTo>
                  <a:lnTo>
                    <a:pt x="25227" y="33762"/>
                  </a:lnTo>
                  <a:lnTo>
                    <a:pt x="26056" y="34039"/>
                  </a:lnTo>
                  <a:lnTo>
                    <a:pt x="26402" y="3421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11" name="Google Shape;14257;p81">
              <a:extLst>
                <a:ext uri="{FF2B5EF4-FFF2-40B4-BE49-F238E27FC236}">
                  <a16:creationId xmlns:a16="http://schemas.microsoft.com/office/drawing/2014/main" id="{B1E3E395-4E38-5497-087A-3BAFD872DC19}"/>
                </a:ext>
              </a:extLst>
            </p:cNvPr>
            <p:cNvSpPr/>
            <p:nvPr/>
          </p:nvSpPr>
          <p:spPr>
            <a:xfrm>
              <a:off x="1210475" y="2415175"/>
              <a:ext cx="134800" cy="251425"/>
            </a:xfrm>
            <a:custGeom>
              <a:avLst/>
              <a:gdLst/>
              <a:ahLst/>
              <a:cxnLst/>
              <a:rect l="l" t="t" r="r" b="b"/>
              <a:pathLst>
                <a:path w="5392" h="10057" extrusionOk="0">
                  <a:moveTo>
                    <a:pt x="3733" y="0"/>
                  </a:moveTo>
                  <a:lnTo>
                    <a:pt x="3629" y="35"/>
                  </a:lnTo>
                  <a:lnTo>
                    <a:pt x="3526" y="104"/>
                  </a:lnTo>
                  <a:lnTo>
                    <a:pt x="3422" y="207"/>
                  </a:lnTo>
                  <a:lnTo>
                    <a:pt x="3318" y="346"/>
                  </a:lnTo>
                  <a:lnTo>
                    <a:pt x="3076" y="760"/>
                  </a:lnTo>
                  <a:lnTo>
                    <a:pt x="2593" y="1797"/>
                  </a:lnTo>
                  <a:lnTo>
                    <a:pt x="2074" y="2799"/>
                  </a:lnTo>
                  <a:lnTo>
                    <a:pt x="1072" y="4665"/>
                  </a:lnTo>
                  <a:lnTo>
                    <a:pt x="1" y="6600"/>
                  </a:lnTo>
                  <a:lnTo>
                    <a:pt x="105" y="6808"/>
                  </a:lnTo>
                  <a:lnTo>
                    <a:pt x="346" y="7257"/>
                  </a:lnTo>
                  <a:lnTo>
                    <a:pt x="554" y="7568"/>
                  </a:lnTo>
                  <a:lnTo>
                    <a:pt x="796" y="7844"/>
                  </a:lnTo>
                  <a:lnTo>
                    <a:pt x="1038" y="8155"/>
                  </a:lnTo>
                  <a:lnTo>
                    <a:pt x="1349" y="8397"/>
                  </a:lnTo>
                  <a:lnTo>
                    <a:pt x="1729" y="8639"/>
                  </a:lnTo>
                  <a:lnTo>
                    <a:pt x="2212" y="8916"/>
                  </a:lnTo>
                  <a:lnTo>
                    <a:pt x="3318" y="9469"/>
                  </a:lnTo>
                  <a:lnTo>
                    <a:pt x="4355" y="9883"/>
                  </a:lnTo>
                  <a:lnTo>
                    <a:pt x="4701" y="10021"/>
                  </a:lnTo>
                  <a:lnTo>
                    <a:pt x="4942" y="10056"/>
                  </a:lnTo>
                  <a:lnTo>
                    <a:pt x="5081" y="10056"/>
                  </a:lnTo>
                  <a:lnTo>
                    <a:pt x="5184" y="9987"/>
                  </a:lnTo>
                  <a:lnTo>
                    <a:pt x="5288" y="9918"/>
                  </a:lnTo>
                  <a:lnTo>
                    <a:pt x="5323" y="9814"/>
                  </a:lnTo>
                  <a:lnTo>
                    <a:pt x="5357" y="9676"/>
                  </a:lnTo>
                  <a:lnTo>
                    <a:pt x="5392" y="9503"/>
                  </a:lnTo>
                  <a:lnTo>
                    <a:pt x="5357" y="9158"/>
                  </a:lnTo>
                  <a:lnTo>
                    <a:pt x="5288" y="8777"/>
                  </a:lnTo>
                  <a:lnTo>
                    <a:pt x="5184" y="8363"/>
                  </a:lnTo>
                  <a:lnTo>
                    <a:pt x="5046" y="8017"/>
                  </a:lnTo>
                  <a:lnTo>
                    <a:pt x="4873" y="7706"/>
                  </a:lnTo>
                  <a:lnTo>
                    <a:pt x="4735" y="7395"/>
                  </a:lnTo>
                  <a:lnTo>
                    <a:pt x="4631" y="7050"/>
                  </a:lnTo>
                  <a:lnTo>
                    <a:pt x="4562" y="6635"/>
                  </a:lnTo>
                  <a:lnTo>
                    <a:pt x="4528" y="6117"/>
                  </a:lnTo>
                  <a:lnTo>
                    <a:pt x="4528" y="5529"/>
                  </a:lnTo>
                  <a:lnTo>
                    <a:pt x="4597" y="4873"/>
                  </a:lnTo>
                  <a:lnTo>
                    <a:pt x="4701" y="4078"/>
                  </a:lnTo>
                  <a:lnTo>
                    <a:pt x="4873" y="3214"/>
                  </a:lnTo>
                  <a:lnTo>
                    <a:pt x="4770" y="2454"/>
                  </a:lnTo>
                  <a:lnTo>
                    <a:pt x="4666" y="1728"/>
                  </a:lnTo>
                  <a:lnTo>
                    <a:pt x="4459" y="1002"/>
                  </a:lnTo>
                  <a:lnTo>
                    <a:pt x="4355" y="657"/>
                  </a:lnTo>
                  <a:lnTo>
                    <a:pt x="4217" y="380"/>
                  </a:lnTo>
                  <a:lnTo>
                    <a:pt x="4079" y="173"/>
                  </a:lnTo>
                  <a:lnTo>
                    <a:pt x="3975" y="69"/>
                  </a:lnTo>
                  <a:lnTo>
                    <a:pt x="3906" y="35"/>
                  </a:lnTo>
                  <a:lnTo>
                    <a:pt x="3802" y="0"/>
                  </a:lnTo>
                  <a:close/>
                </a:path>
              </a:pathLst>
            </a:custGeom>
            <a:solidFill>
              <a:srgbClr val="8A3A1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12" name="Google Shape;14258;p81">
              <a:extLst>
                <a:ext uri="{FF2B5EF4-FFF2-40B4-BE49-F238E27FC236}">
                  <a16:creationId xmlns:a16="http://schemas.microsoft.com/office/drawing/2014/main" id="{C44C20FE-39BB-51E6-1E68-93D82576C4AE}"/>
                </a:ext>
              </a:extLst>
            </p:cNvPr>
            <p:cNvSpPr/>
            <p:nvPr/>
          </p:nvSpPr>
          <p:spPr>
            <a:xfrm>
              <a:off x="1210475" y="2415175"/>
              <a:ext cx="134800" cy="251425"/>
            </a:xfrm>
            <a:custGeom>
              <a:avLst/>
              <a:gdLst/>
              <a:ahLst/>
              <a:cxnLst/>
              <a:rect l="l" t="t" r="r" b="b"/>
              <a:pathLst>
                <a:path w="5392" h="10057" fill="none" extrusionOk="0">
                  <a:moveTo>
                    <a:pt x="4873" y="3214"/>
                  </a:moveTo>
                  <a:lnTo>
                    <a:pt x="4873" y="3214"/>
                  </a:lnTo>
                  <a:lnTo>
                    <a:pt x="4701" y="4078"/>
                  </a:lnTo>
                  <a:lnTo>
                    <a:pt x="4597" y="4873"/>
                  </a:lnTo>
                  <a:lnTo>
                    <a:pt x="4528" y="5529"/>
                  </a:lnTo>
                  <a:lnTo>
                    <a:pt x="4528" y="6117"/>
                  </a:lnTo>
                  <a:lnTo>
                    <a:pt x="4562" y="6635"/>
                  </a:lnTo>
                  <a:lnTo>
                    <a:pt x="4631" y="7050"/>
                  </a:lnTo>
                  <a:lnTo>
                    <a:pt x="4735" y="7395"/>
                  </a:lnTo>
                  <a:lnTo>
                    <a:pt x="4873" y="7706"/>
                  </a:lnTo>
                  <a:lnTo>
                    <a:pt x="4873" y="7706"/>
                  </a:lnTo>
                  <a:lnTo>
                    <a:pt x="5046" y="8017"/>
                  </a:lnTo>
                  <a:lnTo>
                    <a:pt x="5184" y="8363"/>
                  </a:lnTo>
                  <a:lnTo>
                    <a:pt x="5288" y="8777"/>
                  </a:lnTo>
                  <a:lnTo>
                    <a:pt x="5357" y="9158"/>
                  </a:lnTo>
                  <a:lnTo>
                    <a:pt x="5392" y="9503"/>
                  </a:lnTo>
                  <a:lnTo>
                    <a:pt x="5357" y="9676"/>
                  </a:lnTo>
                  <a:lnTo>
                    <a:pt x="5323" y="9814"/>
                  </a:lnTo>
                  <a:lnTo>
                    <a:pt x="5288" y="9918"/>
                  </a:lnTo>
                  <a:lnTo>
                    <a:pt x="5184" y="9987"/>
                  </a:lnTo>
                  <a:lnTo>
                    <a:pt x="5081" y="10056"/>
                  </a:lnTo>
                  <a:lnTo>
                    <a:pt x="4942" y="10056"/>
                  </a:lnTo>
                  <a:lnTo>
                    <a:pt x="4942" y="10056"/>
                  </a:lnTo>
                  <a:lnTo>
                    <a:pt x="4701" y="10021"/>
                  </a:lnTo>
                  <a:lnTo>
                    <a:pt x="4355" y="9883"/>
                  </a:lnTo>
                  <a:lnTo>
                    <a:pt x="3318" y="9469"/>
                  </a:lnTo>
                  <a:lnTo>
                    <a:pt x="2212" y="8916"/>
                  </a:lnTo>
                  <a:lnTo>
                    <a:pt x="1729" y="8639"/>
                  </a:lnTo>
                  <a:lnTo>
                    <a:pt x="1349" y="8397"/>
                  </a:lnTo>
                  <a:lnTo>
                    <a:pt x="1349" y="8397"/>
                  </a:lnTo>
                  <a:lnTo>
                    <a:pt x="1038" y="8155"/>
                  </a:lnTo>
                  <a:lnTo>
                    <a:pt x="796" y="7844"/>
                  </a:lnTo>
                  <a:lnTo>
                    <a:pt x="554" y="7568"/>
                  </a:lnTo>
                  <a:lnTo>
                    <a:pt x="346" y="7257"/>
                  </a:lnTo>
                  <a:lnTo>
                    <a:pt x="105" y="6808"/>
                  </a:lnTo>
                  <a:lnTo>
                    <a:pt x="1" y="6600"/>
                  </a:lnTo>
                  <a:lnTo>
                    <a:pt x="1" y="6600"/>
                  </a:lnTo>
                  <a:lnTo>
                    <a:pt x="1072" y="4665"/>
                  </a:lnTo>
                  <a:lnTo>
                    <a:pt x="2074" y="2799"/>
                  </a:lnTo>
                  <a:lnTo>
                    <a:pt x="2593" y="1797"/>
                  </a:lnTo>
                  <a:lnTo>
                    <a:pt x="3076" y="760"/>
                  </a:lnTo>
                  <a:lnTo>
                    <a:pt x="3076" y="760"/>
                  </a:lnTo>
                  <a:lnTo>
                    <a:pt x="3318" y="346"/>
                  </a:lnTo>
                  <a:lnTo>
                    <a:pt x="3422" y="207"/>
                  </a:lnTo>
                  <a:lnTo>
                    <a:pt x="3526" y="104"/>
                  </a:lnTo>
                  <a:lnTo>
                    <a:pt x="3629" y="35"/>
                  </a:lnTo>
                  <a:lnTo>
                    <a:pt x="3733" y="0"/>
                  </a:lnTo>
                  <a:lnTo>
                    <a:pt x="3802" y="0"/>
                  </a:lnTo>
                  <a:lnTo>
                    <a:pt x="3906" y="35"/>
                  </a:lnTo>
                  <a:lnTo>
                    <a:pt x="3975" y="69"/>
                  </a:lnTo>
                  <a:lnTo>
                    <a:pt x="4079" y="173"/>
                  </a:lnTo>
                  <a:lnTo>
                    <a:pt x="4217" y="380"/>
                  </a:lnTo>
                  <a:lnTo>
                    <a:pt x="4355" y="657"/>
                  </a:lnTo>
                  <a:lnTo>
                    <a:pt x="4459" y="1002"/>
                  </a:lnTo>
                  <a:lnTo>
                    <a:pt x="4666" y="1728"/>
                  </a:lnTo>
                  <a:lnTo>
                    <a:pt x="4770" y="2454"/>
                  </a:lnTo>
                  <a:lnTo>
                    <a:pt x="4873" y="3214"/>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13" name="Google Shape;14259;p81">
              <a:extLst>
                <a:ext uri="{FF2B5EF4-FFF2-40B4-BE49-F238E27FC236}">
                  <a16:creationId xmlns:a16="http://schemas.microsoft.com/office/drawing/2014/main" id="{F277FE3F-6421-5671-BE4D-8BB9C354D898}"/>
                </a:ext>
              </a:extLst>
            </p:cNvPr>
            <p:cNvSpPr/>
            <p:nvPr/>
          </p:nvSpPr>
          <p:spPr>
            <a:xfrm>
              <a:off x="1323650" y="2495500"/>
              <a:ext cx="8675" cy="58775"/>
            </a:xfrm>
            <a:custGeom>
              <a:avLst/>
              <a:gdLst/>
              <a:ahLst/>
              <a:cxnLst/>
              <a:rect l="l" t="t" r="r" b="b"/>
              <a:pathLst>
                <a:path w="347" h="2351" extrusionOk="0">
                  <a:moveTo>
                    <a:pt x="346" y="1"/>
                  </a:moveTo>
                  <a:lnTo>
                    <a:pt x="208" y="657"/>
                  </a:lnTo>
                  <a:lnTo>
                    <a:pt x="150" y="1176"/>
                  </a:lnTo>
                  <a:lnTo>
                    <a:pt x="346" y="1"/>
                  </a:lnTo>
                  <a:close/>
                  <a:moveTo>
                    <a:pt x="150" y="1176"/>
                  </a:moveTo>
                  <a:lnTo>
                    <a:pt x="139" y="1245"/>
                  </a:lnTo>
                  <a:lnTo>
                    <a:pt x="70" y="1832"/>
                  </a:lnTo>
                  <a:lnTo>
                    <a:pt x="70" y="1832"/>
                  </a:lnTo>
                  <a:lnTo>
                    <a:pt x="139" y="1279"/>
                  </a:lnTo>
                  <a:lnTo>
                    <a:pt x="150" y="1176"/>
                  </a:lnTo>
                  <a:close/>
                  <a:moveTo>
                    <a:pt x="70" y="1832"/>
                  </a:moveTo>
                  <a:lnTo>
                    <a:pt x="1" y="2351"/>
                  </a:lnTo>
                  <a:lnTo>
                    <a:pt x="35" y="2351"/>
                  </a:lnTo>
                  <a:lnTo>
                    <a:pt x="70" y="1832"/>
                  </a:lnTo>
                  <a:close/>
                </a:path>
              </a:pathLst>
            </a:custGeom>
            <a:solidFill>
              <a:srgbClr val="C1C1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14" name="Google Shape;14260;p81">
              <a:extLst>
                <a:ext uri="{FF2B5EF4-FFF2-40B4-BE49-F238E27FC236}">
                  <a16:creationId xmlns:a16="http://schemas.microsoft.com/office/drawing/2014/main" id="{8A4C160E-BA24-A6BA-340D-2F416D78AB96}"/>
                </a:ext>
              </a:extLst>
            </p:cNvPr>
            <p:cNvSpPr/>
            <p:nvPr/>
          </p:nvSpPr>
          <p:spPr>
            <a:xfrm>
              <a:off x="1323650" y="2495500"/>
              <a:ext cx="8675" cy="58775"/>
            </a:xfrm>
            <a:custGeom>
              <a:avLst/>
              <a:gdLst/>
              <a:ahLst/>
              <a:cxnLst/>
              <a:rect l="l" t="t" r="r" b="b"/>
              <a:pathLst>
                <a:path w="347" h="2351" fill="none" extrusionOk="0">
                  <a:moveTo>
                    <a:pt x="346" y="1"/>
                  </a:moveTo>
                  <a:lnTo>
                    <a:pt x="346" y="1"/>
                  </a:lnTo>
                  <a:lnTo>
                    <a:pt x="208" y="657"/>
                  </a:lnTo>
                  <a:lnTo>
                    <a:pt x="139" y="1279"/>
                  </a:lnTo>
                  <a:lnTo>
                    <a:pt x="70" y="1832"/>
                  </a:lnTo>
                  <a:lnTo>
                    <a:pt x="1" y="2351"/>
                  </a:lnTo>
                  <a:lnTo>
                    <a:pt x="1" y="2351"/>
                  </a:lnTo>
                  <a:lnTo>
                    <a:pt x="35" y="2351"/>
                  </a:lnTo>
                  <a:lnTo>
                    <a:pt x="35" y="2351"/>
                  </a:lnTo>
                  <a:lnTo>
                    <a:pt x="70" y="1832"/>
                  </a:lnTo>
                  <a:lnTo>
                    <a:pt x="139" y="1245"/>
                  </a:lnTo>
                  <a:lnTo>
                    <a:pt x="139" y="1245"/>
                  </a:lnTo>
                  <a:lnTo>
                    <a:pt x="346"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15" name="Google Shape;14261;p81">
              <a:extLst>
                <a:ext uri="{FF2B5EF4-FFF2-40B4-BE49-F238E27FC236}">
                  <a16:creationId xmlns:a16="http://schemas.microsoft.com/office/drawing/2014/main" id="{FF2F7B35-F53F-3B0F-763D-DB0AA66CB73A}"/>
                </a:ext>
              </a:extLst>
            </p:cNvPr>
            <p:cNvSpPr/>
            <p:nvPr/>
          </p:nvSpPr>
          <p:spPr>
            <a:xfrm>
              <a:off x="1283050" y="2479100"/>
              <a:ext cx="49275" cy="75175"/>
            </a:xfrm>
            <a:custGeom>
              <a:avLst/>
              <a:gdLst/>
              <a:ahLst/>
              <a:cxnLst/>
              <a:rect l="l" t="t" r="r" b="b"/>
              <a:pathLst>
                <a:path w="1971" h="3007" extrusionOk="0">
                  <a:moveTo>
                    <a:pt x="553" y="0"/>
                  </a:moveTo>
                  <a:lnTo>
                    <a:pt x="415" y="35"/>
                  </a:lnTo>
                  <a:lnTo>
                    <a:pt x="312" y="139"/>
                  </a:lnTo>
                  <a:lnTo>
                    <a:pt x="208" y="311"/>
                  </a:lnTo>
                  <a:lnTo>
                    <a:pt x="104" y="519"/>
                  </a:lnTo>
                  <a:lnTo>
                    <a:pt x="35" y="726"/>
                  </a:lnTo>
                  <a:lnTo>
                    <a:pt x="1" y="968"/>
                  </a:lnTo>
                  <a:lnTo>
                    <a:pt x="1" y="1210"/>
                  </a:lnTo>
                  <a:lnTo>
                    <a:pt x="35" y="1417"/>
                  </a:lnTo>
                  <a:lnTo>
                    <a:pt x="242" y="1694"/>
                  </a:lnTo>
                  <a:lnTo>
                    <a:pt x="588" y="2143"/>
                  </a:lnTo>
                  <a:lnTo>
                    <a:pt x="830" y="2385"/>
                  </a:lnTo>
                  <a:lnTo>
                    <a:pt x="1072" y="2627"/>
                  </a:lnTo>
                  <a:lnTo>
                    <a:pt x="1348" y="2834"/>
                  </a:lnTo>
                  <a:lnTo>
                    <a:pt x="1625" y="3007"/>
                  </a:lnTo>
                  <a:lnTo>
                    <a:pt x="1694" y="2488"/>
                  </a:lnTo>
                  <a:lnTo>
                    <a:pt x="1763" y="1935"/>
                  </a:lnTo>
                  <a:lnTo>
                    <a:pt x="1832" y="1313"/>
                  </a:lnTo>
                  <a:lnTo>
                    <a:pt x="1970" y="657"/>
                  </a:lnTo>
                  <a:lnTo>
                    <a:pt x="1728" y="450"/>
                  </a:lnTo>
                  <a:lnTo>
                    <a:pt x="1590" y="346"/>
                  </a:lnTo>
                  <a:lnTo>
                    <a:pt x="1452" y="311"/>
                  </a:lnTo>
                  <a:lnTo>
                    <a:pt x="1072" y="277"/>
                  </a:lnTo>
                  <a:lnTo>
                    <a:pt x="865" y="208"/>
                  </a:lnTo>
                  <a:lnTo>
                    <a:pt x="761" y="173"/>
                  </a:lnTo>
                  <a:lnTo>
                    <a:pt x="692" y="104"/>
                  </a:lnTo>
                  <a:lnTo>
                    <a:pt x="623" y="35"/>
                  </a:lnTo>
                  <a:lnTo>
                    <a:pt x="553" y="0"/>
                  </a:lnTo>
                  <a:close/>
                </a:path>
              </a:pathLst>
            </a:custGeom>
            <a:solidFill>
              <a:srgbClr val="6C322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16" name="Google Shape;14262;p81">
              <a:extLst>
                <a:ext uri="{FF2B5EF4-FFF2-40B4-BE49-F238E27FC236}">
                  <a16:creationId xmlns:a16="http://schemas.microsoft.com/office/drawing/2014/main" id="{A1422CB7-CAA6-468D-621D-CF12783A493D}"/>
                </a:ext>
              </a:extLst>
            </p:cNvPr>
            <p:cNvSpPr/>
            <p:nvPr/>
          </p:nvSpPr>
          <p:spPr>
            <a:xfrm>
              <a:off x="1283050" y="2479100"/>
              <a:ext cx="49275" cy="75175"/>
            </a:xfrm>
            <a:custGeom>
              <a:avLst/>
              <a:gdLst/>
              <a:ahLst/>
              <a:cxnLst/>
              <a:rect l="l" t="t" r="r" b="b"/>
              <a:pathLst>
                <a:path w="1971" h="3007" fill="none" extrusionOk="0">
                  <a:moveTo>
                    <a:pt x="553" y="0"/>
                  </a:moveTo>
                  <a:lnTo>
                    <a:pt x="553" y="0"/>
                  </a:lnTo>
                  <a:lnTo>
                    <a:pt x="415" y="35"/>
                  </a:lnTo>
                  <a:lnTo>
                    <a:pt x="312" y="139"/>
                  </a:lnTo>
                  <a:lnTo>
                    <a:pt x="208" y="311"/>
                  </a:lnTo>
                  <a:lnTo>
                    <a:pt x="104" y="519"/>
                  </a:lnTo>
                  <a:lnTo>
                    <a:pt x="35" y="726"/>
                  </a:lnTo>
                  <a:lnTo>
                    <a:pt x="1" y="968"/>
                  </a:lnTo>
                  <a:lnTo>
                    <a:pt x="1" y="1210"/>
                  </a:lnTo>
                  <a:lnTo>
                    <a:pt x="35" y="1417"/>
                  </a:lnTo>
                  <a:lnTo>
                    <a:pt x="35" y="1417"/>
                  </a:lnTo>
                  <a:lnTo>
                    <a:pt x="242" y="1694"/>
                  </a:lnTo>
                  <a:lnTo>
                    <a:pt x="588" y="2143"/>
                  </a:lnTo>
                  <a:lnTo>
                    <a:pt x="830" y="2385"/>
                  </a:lnTo>
                  <a:lnTo>
                    <a:pt x="1072" y="2627"/>
                  </a:lnTo>
                  <a:lnTo>
                    <a:pt x="1348" y="2834"/>
                  </a:lnTo>
                  <a:lnTo>
                    <a:pt x="1625" y="3007"/>
                  </a:lnTo>
                  <a:lnTo>
                    <a:pt x="1625" y="3007"/>
                  </a:lnTo>
                  <a:lnTo>
                    <a:pt x="1694" y="2488"/>
                  </a:lnTo>
                  <a:lnTo>
                    <a:pt x="1763" y="1935"/>
                  </a:lnTo>
                  <a:lnTo>
                    <a:pt x="1832" y="1313"/>
                  </a:lnTo>
                  <a:lnTo>
                    <a:pt x="1970" y="657"/>
                  </a:lnTo>
                  <a:lnTo>
                    <a:pt x="1970" y="657"/>
                  </a:lnTo>
                  <a:lnTo>
                    <a:pt x="1970" y="657"/>
                  </a:lnTo>
                  <a:lnTo>
                    <a:pt x="1970" y="657"/>
                  </a:lnTo>
                  <a:lnTo>
                    <a:pt x="1728" y="450"/>
                  </a:lnTo>
                  <a:lnTo>
                    <a:pt x="1590" y="346"/>
                  </a:lnTo>
                  <a:lnTo>
                    <a:pt x="1452" y="311"/>
                  </a:lnTo>
                  <a:lnTo>
                    <a:pt x="1452" y="311"/>
                  </a:lnTo>
                  <a:lnTo>
                    <a:pt x="1072" y="277"/>
                  </a:lnTo>
                  <a:lnTo>
                    <a:pt x="865" y="208"/>
                  </a:lnTo>
                  <a:lnTo>
                    <a:pt x="761" y="173"/>
                  </a:lnTo>
                  <a:lnTo>
                    <a:pt x="692" y="104"/>
                  </a:lnTo>
                  <a:lnTo>
                    <a:pt x="692" y="104"/>
                  </a:lnTo>
                  <a:lnTo>
                    <a:pt x="623" y="35"/>
                  </a:lnTo>
                  <a:lnTo>
                    <a:pt x="553"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17" name="Google Shape;14263;p81">
              <a:extLst>
                <a:ext uri="{FF2B5EF4-FFF2-40B4-BE49-F238E27FC236}">
                  <a16:creationId xmlns:a16="http://schemas.microsoft.com/office/drawing/2014/main" id="{105CA2DB-697A-A17A-CF53-BF9FBC731FEB}"/>
                </a:ext>
              </a:extLst>
            </p:cNvPr>
            <p:cNvSpPr/>
            <p:nvPr/>
          </p:nvSpPr>
          <p:spPr>
            <a:xfrm>
              <a:off x="1243300" y="2803925"/>
              <a:ext cx="171950" cy="188350"/>
            </a:xfrm>
            <a:custGeom>
              <a:avLst/>
              <a:gdLst/>
              <a:ahLst/>
              <a:cxnLst/>
              <a:rect l="l" t="t" r="r" b="b"/>
              <a:pathLst>
                <a:path w="6878" h="7534" extrusionOk="0">
                  <a:moveTo>
                    <a:pt x="312" y="1"/>
                  </a:moveTo>
                  <a:lnTo>
                    <a:pt x="105" y="968"/>
                  </a:lnTo>
                  <a:lnTo>
                    <a:pt x="1" y="1763"/>
                  </a:lnTo>
                  <a:lnTo>
                    <a:pt x="1" y="2385"/>
                  </a:lnTo>
                  <a:lnTo>
                    <a:pt x="36" y="2903"/>
                  </a:lnTo>
                  <a:lnTo>
                    <a:pt x="139" y="3283"/>
                  </a:lnTo>
                  <a:lnTo>
                    <a:pt x="243" y="3629"/>
                  </a:lnTo>
                  <a:lnTo>
                    <a:pt x="381" y="3871"/>
                  </a:lnTo>
                  <a:lnTo>
                    <a:pt x="485" y="4078"/>
                  </a:lnTo>
                  <a:lnTo>
                    <a:pt x="588" y="4182"/>
                  </a:lnTo>
                  <a:lnTo>
                    <a:pt x="761" y="4320"/>
                  </a:lnTo>
                  <a:lnTo>
                    <a:pt x="1314" y="4700"/>
                  </a:lnTo>
                  <a:lnTo>
                    <a:pt x="2109" y="5149"/>
                  </a:lnTo>
                  <a:lnTo>
                    <a:pt x="3007" y="5668"/>
                  </a:lnTo>
                  <a:lnTo>
                    <a:pt x="5046" y="6670"/>
                  </a:lnTo>
                  <a:lnTo>
                    <a:pt x="6878" y="7534"/>
                  </a:lnTo>
                  <a:lnTo>
                    <a:pt x="6878" y="7534"/>
                  </a:lnTo>
                  <a:lnTo>
                    <a:pt x="5012" y="6359"/>
                  </a:lnTo>
                  <a:lnTo>
                    <a:pt x="3526" y="5357"/>
                  </a:lnTo>
                  <a:lnTo>
                    <a:pt x="2938" y="4942"/>
                  </a:lnTo>
                  <a:lnTo>
                    <a:pt x="2420" y="4527"/>
                  </a:lnTo>
                  <a:lnTo>
                    <a:pt x="1971" y="4113"/>
                  </a:lnTo>
                  <a:lnTo>
                    <a:pt x="1591" y="3733"/>
                  </a:lnTo>
                  <a:lnTo>
                    <a:pt x="1280" y="3352"/>
                  </a:lnTo>
                  <a:lnTo>
                    <a:pt x="1038" y="2972"/>
                  </a:lnTo>
                  <a:lnTo>
                    <a:pt x="830" y="2558"/>
                  </a:lnTo>
                  <a:lnTo>
                    <a:pt x="658" y="2108"/>
                  </a:lnTo>
                  <a:lnTo>
                    <a:pt x="519" y="1659"/>
                  </a:lnTo>
                  <a:lnTo>
                    <a:pt x="416" y="1175"/>
                  </a:lnTo>
                  <a:lnTo>
                    <a:pt x="347" y="623"/>
                  </a:lnTo>
                  <a:lnTo>
                    <a:pt x="312" y="1"/>
                  </a:lnTo>
                  <a:close/>
                </a:path>
              </a:pathLst>
            </a:custGeom>
            <a:solidFill>
              <a:srgbClr val="C18C1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18" name="Google Shape;14264;p81">
              <a:extLst>
                <a:ext uri="{FF2B5EF4-FFF2-40B4-BE49-F238E27FC236}">
                  <a16:creationId xmlns:a16="http://schemas.microsoft.com/office/drawing/2014/main" id="{5BE50D55-C6FA-8E58-5238-FCFC0341FAF6}"/>
                </a:ext>
              </a:extLst>
            </p:cNvPr>
            <p:cNvSpPr/>
            <p:nvPr/>
          </p:nvSpPr>
          <p:spPr>
            <a:xfrm>
              <a:off x="1243300" y="2803925"/>
              <a:ext cx="171950" cy="188350"/>
            </a:xfrm>
            <a:custGeom>
              <a:avLst/>
              <a:gdLst/>
              <a:ahLst/>
              <a:cxnLst/>
              <a:rect l="l" t="t" r="r" b="b"/>
              <a:pathLst>
                <a:path w="6878" h="7534" fill="none" extrusionOk="0">
                  <a:moveTo>
                    <a:pt x="312" y="1"/>
                  </a:moveTo>
                  <a:lnTo>
                    <a:pt x="312" y="1"/>
                  </a:lnTo>
                  <a:lnTo>
                    <a:pt x="105" y="968"/>
                  </a:lnTo>
                  <a:lnTo>
                    <a:pt x="1" y="1763"/>
                  </a:lnTo>
                  <a:lnTo>
                    <a:pt x="1" y="2385"/>
                  </a:lnTo>
                  <a:lnTo>
                    <a:pt x="36" y="2903"/>
                  </a:lnTo>
                  <a:lnTo>
                    <a:pt x="139" y="3283"/>
                  </a:lnTo>
                  <a:lnTo>
                    <a:pt x="243" y="3629"/>
                  </a:lnTo>
                  <a:lnTo>
                    <a:pt x="381" y="3871"/>
                  </a:lnTo>
                  <a:lnTo>
                    <a:pt x="485" y="4078"/>
                  </a:lnTo>
                  <a:lnTo>
                    <a:pt x="485" y="4078"/>
                  </a:lnTo>
                  <a:lnTo>
                    <a:pt x="588" y="4182"/>
                  </a:lnTo>
                  <a:lnTo>
                    <a:pt x="761" y="4320"/>
                  </a:lnTo>
                  <a:lnTo>
                    <a:pt x="1314" y="4700"/>
                  </a:lnTo>
                  <a:lnTo>
                    <a:pt x="2109" y="5149"/>
                  </a:lnTo>
                  <a:lnTo>
                    <a:pt x="3007" y="5668"/>
                  </a:lnTo>
                  <a:lnTo>
                    <a:pt x="5046" y="6670"/>
                  </a:lnTo>
                  <a:lnTo>
                    <a:pt x="6878" y="7534"/>
                  </a:lnTo>
                  <a:lnTo>
                    <a:pt x="6878" y="7534"/>
                  </a:lnTo>
                  <a:lnTo>
                    <a:pt x="5012" y="6359"/>
                  </a:lnTo>
                  <a:lnTo>
                    <a:pt x="3526" y="5357"/>
                  </a:lnTo>
                  <a:lnTo>
                    <a:pt x="2938" y="4942"/>
                  </a:lnTo>
                  <a:lnTo>
                    <a:pt x="2420" y="4527"/>
                  </a:lnTo>
                  <a:lnTo>
                    <a:pt x="1971" y="4113"/>
                  </a:lnTo>
                  <a:lnTo>
                    <a:pt x="1591" y="3733"/>
                  </a:lnTo>
                  <a:lnTo>
                    <a:pt x="1280" y="3352"/>
                  </a:lnTo>
                  <a:lnTo>
                    <a:pt x="1038" y="2972"/>
                  </a:lnTo>
                  <a:lnTo>
                    <a:pt x="830" y="2558"/>
                  </a:lnTo>
                  <a:lnTo>
                    <a:pt x="658" y="2108"/>
                  </a:lnTo>
                  <a:lnTo>
                    <a:pt x="519" y="1659"/>
                  </a:lnTo>
                  <a:lnTo>
                    <a:pt x="416" y="1175"/>
                  </a:lnTo>
                  <a:lnTo>
                    <a:pt x="347" y="623"/>
                  </a:lnTo>
                  <a:lnTo>
                    <a:pt x="312"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19" name="Google Shape;14265;p81">
              <a:extLst>
                <a:ext uri="{FF2B5EF4-FFF2-40B4-BE49-F238E27FC236}">
                  <a16:creationId xmlns:a16="http://schemas.microsoft.com/office/drawing/2014/main" id="{D7ECAF66-883F-F550-5B4D-BB8FBA94A39A}"/>
                </a:ext>
              </a:extLst>
            </p:cNvPr>
            <p:cNvSpPr/>
            <p:nvPr/>
          </p:nvSpPr>
          <p:spPr>
            <a:xfrm>
              <a:off x="1174200" y="3004350"/>
              <a:ext cx="25" cy="21625"/>
            </a:xfrm>
            <a:custGeom>
              <a:avLst/>
              <a:gdLst/>
              <a:ahLst/>
              <a:cxnLst/>
              <a:rect l="l" t="t" r="r" b="b"/>
              <a:pathLst>
                <a:path w="1" h="865" extrusionOk="0">
                  <a:moveTo>
                    <a:pt x="0" y="1"/>
                  </a:moveTo>
                  <a:lnTo>
                    <a:pt x="0" y="1"/>
                  </a:lnTo>
                  <a:lnTo>
                    <a:pt x="0" y="865"/>
                  </a:lnTo>
                  <a:lnTo>
                    <a:pt x="0" y="865"/>
                  </a:lnTo>
                  <a:lnTo>
                    <a:pt x="0" y="1"/>
                  </a:lnTo>
                  <a:lnTo>
                    <a:pt x="0" y="1"/>
                  </a:lnTo>
                  <a:lnTo>
                    <a:pt x="0" y="1"/>
                  </a:lnTo>
                  <a:close/>
                </a:path>
              </a:pathLst>
            </a:custGeom>
            <a:solidFill>
              <a:srgbClr val="C1C1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20" name="Google Shape;14266;p81">
              <a:extLst>
                <a:ext uri="{FF2B5EF4-FFF2-40B4-BE49-F238E27FC236}">
                  <a16:creationId xmlns:a16="http://schemas.microsoft.com/office/drawing/2014/main" id="{757D1592-2A26-393D-1F1C-198F594192AF}"/>
                </a:ext>
              </a:extLst>
            </p:cNvPr>
            <p:cNvSpPr/>
            <p:nvPr/>
          </p:nvSpPr>
          <p:spPr>
            <a:xfrm>
              <a:off x="1174200" y="3004350"/>
              <a:ext cx="25" cy="21625"/>
            </a:xfrm>
            <a:custGeom>
              <a:avLst/>
              <a:gdLst/>
              <a:ahLst/>
              <a:cxnLst/>
              <a:rect l="l" t="t" r="r" b="b"/>
              <a:pathLst>
                <a:path w="1" h="865" fill="none" extrusionOk="0">
                  <a:moveTo>
                    <a:pt x="0" y="1"/>
                  </a:moveTo>
                  <a:lnTo>
                    <a:pt x="0" y="1"/>
                  </a:lnTo>
                  <a:lnTo>
                    <a:pt x="0" y="865"/>
                  </a:lnTo>
                  <a:lnTo>
                    <a:pt x="0" y="865"/>
                  </a:lnTo>
                  <a:lnTo>
                    <a:pt x="0" y="1"/>
                  </a:lnTo>
                  <a:lnTo>
                    <a:pt x="0" y="1"/>
                  </a:lnTo>
                  <a:lnTo>
                    <a:pt x="0"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21" name="Google Shape;14267;p81">
              <a:extLst>
                <a:ext uri="{FF2B5EF4-FFF2-40B4-BE49-F238E27FC236}">
                  <a16:creationId xmlns:a16="http://schemas.microsoft.com/office/drawing/2014/main" id="{0DAA5574-63AA-92E7-F5D3-7F9965CFC0EF}"/>
                </a:ext>
              </a:extLst>
            </p:cNvPr>
            <p:cNvSpPr/>
            <p:nvPr/>
          </p:nvSpPr>
          <p:spPr>
            <a:xfrm>
              <a:off x="1173325" y="3004350"/>
              <a:ext cx="310175" cy="120975"/>
            </a:xfrm>
            <a:custGeom>
              <a:avLst/>
              <a:gdLst/>
              <a:ahLst/>
              <a:cxnLst/>
              <a:rect l="l" t="t" r="r" b="b"/>
              <a:pathLst>
                <a:path w="12407" h="4839" extrusionOk="0">
                  <a:moveTo>
                    <a:pt x="35" y="1"/>
                  </a:moveTo>
                  <a:lnTo>
                    <a:pt x="35" y="865"/>
                  </a:lnTo>
                  <a:lnTo>
                    <a:pt x="1" y="1279"/>
                  </a:lnTo>
                  <a:lnTo>
                    <a:pt x="35" y="1279"/>
                  </a:lnTo>
                  <a:lnTo>
                    <a:pt x="243" y="1314"/>
                  </a:lnTo>
                  <a:lnTo>
                    <a:pt x="727" y="1417"/>
                  </a:lnTo>
                  <a:lnTo>
                    <a:pt x="2143" y="1832"/>
                  </a:lnTo>
                  <a:lnTo>
                    <a:pt x="6256" y="3042"/>
                  </a:lnTo>
                  <a:lnTo>
                    <a:pt x="10333" y="4286"/>
                  </a:lnTo>
                  <a:lnTo>
                    <a:pt x="11750" y="4666"/>
                  </a:lnTo>
                  <a:lnTo>
                    <a:pt x="12165" y="4804"/>
                  </a:lnTo>
                  <a:lnTo>
                    <a:pt x="12407" y="4838"/>
                  </a:lnTo>
                  <a:lnTo>
                    <a:pt x="10506" y="4078"/>
                  </a:lnTo>
                  <a:lnTo>
                    <a:pt x="6256" y="2489"/>
                  </a:lnTo>
                  <a:lnTo>
                    <a:pt x="1971" y="830"/>
                  </a:lnTo>
                  <a:lnTo>
                    <a:pt x="588" y="277"/>
                  </a:lnTo>
                  <a:lnTo>
                    <a:pt x="174" y="70"/>
                  </a:lnTo>
                  <a:lnTo>
                    <a:pt x="35" y="1"/>
                  </a:lnTo>
                  <a:close/>
                </a:path>
              </a:pathLst>
            </a:custGeom>
            <a:solidFill>
              <a:srgbClr val="C18C1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22" name="Google Shape;14268;p81">
              <a:extLst>
                <a:ext uri="{FF2B5EF4-FFF2-40B4-BE49-F238E27FC236}">
                  <a16:creationId xmlns:a16="http://schemas.microsoft.com/office/drawing/2014/main" id="{58310BF4-E14B-A48A-B0AF-E56E775746F8}"/>
                </a:ext>
              </a:extLst>
            </p:cNvPr>
            <p:cNvSpPr/>
            <p:nvPr/>
          </p:nvSpPr>
          <p:spPr>
            <a:xfrm>
              <a:off x="1173325" y="3004350"/>
              <a:ext cx="310175" cy="120975"/>
            </a:xfrm>
            <a:custGeom>
              <a:avLst/>
              <a:gdLst/>
              <a:ahLst/>
              <a:cxnLst/>
              <a:rect l="l" t="t" r="r" b="b"/>
              <a:pathLst>
                <a:path w="12407" h="4839" fill="none" extrusionOk="0">
                  <a:moveTo>
                    <a:pt x="35" y="1"/>
                  </a:moveTo>
                  <a:lnTo>
                    <a:pt x="35" y="1"/>
                  </a:lnTo>
                  <a:lnTo>
                    <a:pt x="35" y="865"/>
                  </a:lnTo>
                  <a:lnTo>
                    <a:pt x="35" y="865"/>
                  </a:lnTo>
                  <a:lnTo>
                    <a:pt x="1" y="1279"/>
                  </a:lnTo>
                  <a:lnTo>
                    <a:pt x="1" y="1279"/>
                  </a:lnTo>
                  <a:lnTo>
                    <a:pt x="35" y="1279"/>
                  </a:lnTo>
                  <a:lnTo>
                    <a:pt x="35" y="1279"/>
                  </a:lnTo>
                  <a:lnTo>
                    <a:pt x="243" y="1314"/>
                  </a:lnTo>
                  <a:lnTo>
                    <a:pt x="727" y="1417"/>
                  </a:lnTo>
                  <a:lnTo>
                    <a:pt x="2143" y="1832"/>
                  </a:lnTo>
                  <a:lnTo>
                    <a:pt x="6256" y="3042"/>
                  </a:lnTo>
                  <a:lnTo>
                    <a:pt x="6256" y="3042"/>
                  </a:lnTo>
                  <a:lnTo>
                    <a:pt x="10333" y="4286"/>
                  </a:lnTo>
                  <a:lnTo>
                    <a:pt x="11750" y="4666"/>
                  </a:lnTo>
                  <a:lnTo>
                    <a:pt x="12165" y="4804"/>
                  </a:lnTo>
                  <a:lnTo>
                    <a:pt x="12407" y="4838"/>
                  </a:lnTo>
                  <a:lnTo>
                    <a:pt x="12407" y="4838"/>
                  </a:lnTo>
                  <a:lnTo>
                    <a:pt x="12407" y="4838"/>
                  </a:lnTo>
                  <a:lnTo>
                    <a:pt x="12407" y="4838"/>
                  </a:lnTo>
                  <a:lnTo>
                    <a:pt x="10506" y="4078"/>
                  </a:lnTo>
                  <a:lnTo>
                    <a:pt x="6256" y="2489"/>
                  </a:lnTo>
                  <a:lnTo>
                    <a:pt x="1971" y="830"/>
                  </a:lnTo>
                  <a:lnTo>
                    <a:pt x="588" y="277"/>
                  </a:lnTo>
                  <a:lnTo>
                    <a:pt x="174" y="70"/>
                  </a:lnTo>
                  <a:lnTo>
                    <a:pt x="35"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23" name="Google Shape;14269;p81">
              <a:extLst>
                <a:ext uri="{FF2B5EF4-FFF2-40B4-BE49-F238E27FC236}">
                  <a16:creationId xmlns:a16="http://schemas.microsoft.com/office/drawing/2014/main" id="{95D9C0F5-2840-2973-FABC-74C0E13C81E6}"/>
                </a:ext>
              </a:extLst>
            </p:cNvPr>
            <p:cNvSpPr/>
            <p:nvPr/>
          </p:nvSpPr>
          <p:spPr>
            <a:xfrm>
              <a:off x="1481750" y="2769375"/>
              <a:ext cx="1750" cy="3475"/>
            </a:xfrm>
            <a:custGeom>
              <a:avLst/>
              <a:gdLst/>
              <a:ahLst/>
              <a:cxnLst/>
              <a:rect l="l" t="t" r="r" b="b"/>
              <a:pathLst>
                <a:path w="70" h="139" extrusionOk="0">
                  <a:moveTo>
                    <a:pt x="1" y="0"/>
                  </a:moveTo>
                  <a:lnTo>
                    <a:pt x="70" y="138"/>
                  </a:lnTo>
                  <a:lnTo>
                    <a:pt x="35" y="0"/>
                  </a:lnTo>
                  <a:close/>
                </a:path>
              </a:pathLst>
            </a:custGeom>
            <a:solidFill>
              <a:srgbClr val="C1C1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24" name="Google Shape;14270;p81">
              <a:extLst>
                <a:ext uri="{FF2B5EF4-FFF2-40B4-BE49-F238E27FC236}">
                  <a16:creationId xmlns:a16="http://schemas.microsoft.com/office/drawing/2014/main" id="{3C30CFC6-14A2-F2BD-CEB3-916CF1B013A0}"/>
                </a:ext>
              </a:extLst>
            </p:cNvPr>
            <p:cNvSpPr/>
            <p:nvPr/>
          </p:nvSpPr>
          <p:spPr>
            <a:xfrm>
              <a:off x="1481750" y="2769375"/>
              <a:ext cx="1750" cy="3475"/>
            </a:xfrm>
            <a:custGeom>
              <a:avLst/>
              <a:gdLst/>
              <a:ahLst/>
              <a:cxnLst/>
              <a:rect l="l" t="t" r="r" b="b"/>
              <a:pathLst>
                <a:path w="70" h="139" fill="none" extrusionOk="0">
                  <a:moveTo>
                    <a:pt x="35" y="0"/>
                  </a:moveTo>
                  <a:lnTo>
                    <a:pt x="35" y="0"/>
                  </a:lnTo>
                  <a:lnTo>
                    <a:pt x="1" y="0"/>
                  </a:lnTo>
                  <a:lnTo>
                    <a:pt x="1" y="0"/>
                  </a:lnTo>
                  <a:lnTo>
                    <a:pt x="70" y="138"/>
                  </a:lnTo>
                  <a:lnTo>
                    <a:pt x="70" y="138"/>
                  </a:lnTo>
                  <a:lnTo>
                    <a:pt x="35" y="0"/>
                  </a:lnTo>
                  <a:lnTo>
                    <a:pt x="35" y="0"/>
                  </a:lnTo>
                  <a:lnTo>
                    <a:pt x="35"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25" name="Google Shape;14271;p81">
              <a:extLst>
                <a:ext uri="{FF2B5EF4-FFF2-40B4-BE49-F238E27FC236}">
                  <a16:creationId xmlns:a16="http://schemas.microsoft.com/office/drawing/2014/main" id="{42867CDC-A3C9-9C54-1585-069AEC2CAFCD}"/>
                </a:ext>
              </a:extLst>
            </p:cNvPr>
            <p:cNvSpPr/>
            <p:nvPr/>
          </p:nvSpPr>
          <p:spPr>
            <a:xfrm>
              <a:off x="1410050" y="2691625"/>
              <a:ext cx="72600" cy="77775"/>
            </a:xfrm>
            <a:custGeom>
              <a:avLst/>
              <a:gdLst/>
              <a:ahLst/>
              <a:cxnLst/>
              <a:rect l="l" t="t" r="r" b="b"/>
              <a:pathLst>
                <a:path w="2904" h="3111" extrusionOk="0">
                  <a:moveTo>
                    <a:pt x="0" y="0"/>
                  </a:moveTo>
                  <a:lnTo>
                    <a:pt x="830" y="760"/>
                  </a:lnTo>
                  <a:lnTo>
                    <a:pt x="1521" y="1382"/>
                  </a:lnTo>
                  <a:lnTo>
                    <a:pt x="1866" y="1728"/>
                  </a:lnTo>
                  <a:lnTo>
                    <a:pt x="2177" y="2108"/>
                  </a:lnTo>
                  <a:lnTo>
                    <a:pt x="2523" y="2557"/>
                  </a:lnTo>
                  <a:lnTo>
                    <a:pt x="2869" y="3110"/>
                  </a:lnTo>
                  <a:lnTo>
                    <a:pt x="2903" y="3110"/>
                  </a:lnTo>
                  <a:lnTo>
                    <a:pt x="2454" y="1970"/>
                  </a:lnTo>
                  <a:lnTo>
                    <a:pt x="2177" y="1313"/>
                  </a:lnTo>
                  <a:lnTo>
                    <a:pt x="2074" y="933"/>
                  </a:lnTo>
                  <a:lnTo>
                    <a:pt x="1832" y="795"/>
                  </a:lnTo>
                  <a:lnTo>
                    <a:pt x="1244" y="484"/>
                  </a:lnTo>
                  <a:lnTo>
                    <a:pt x="553" y="173"/>
                  </a:lnTo>
                  <a:lnTo>
                    <a:pt x="242" y="69"/>
                  </a:lnTo>
                  <a:lnTo>
                    <a:pt x="0" y="0"/>
                  </a:lnTo>
                  <a:close/>
                </a:path>
              </a:pathLst>
            </a:custGeom>
            <a:solidFill>
              <a:srgbClr val="C18C1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26" name="Google Shape;14272;p81">
              <a:extLst>
                <a:ext uri="{FF2B5EF4-FFF2-40B4-BE49-F238E27FC236}">
                  <a16:creationId xmlns:a16="http://schemas.microsoft.com/office/drawing/2014/main" id="{AEA18E96-F31C-6A29-7195-15DA02B0CA1E}"/>
                </a:ext>
              </a:extLst>
            </p:cNvPr>
            <p:cNvSpPr/>
            <p:nvPr/>
          </p:nvSpPr>
          <p:spPr>
            <a:xfrm>
              <a:off x="1410050" y="2691625"/>
              <a:ext cx="72600" cy="77775"/>
            </a:xfrm>
            <a:custGeom>
              <a:avLst/>
              <a:gdLst/>
              <a:ahLst/>
              <a:cxnLst/>
              <a:rect l="l" t="t" r="r" b="b"/>
              <a:pathLst>
                <a:path w="2904" h="3111" fill="none" extrusionOk="0">
                  <a:moveTo>
                    <a:pt x="0" y="0"/>
                  </a:moveTo>
                  <a:lnTo>
                    <a:pt x="0" y="0"/>
                  </a:lnTo>
                  <a:lnTo>
                    <a:pt x="830" y="760"/>
                  </a:lnTo>
                  <a:lnTo>
                    <a:pt x="1521" y="1382"/>
                  </a:lnTo>
                  <a:lnTo>
                    <a:pt x="1866" y="1728"/>
                  </a:lnTo>
                  <a:lnTo>
                    <a:pt x="2177" y="2108"/>
                  </a:lnTo>
                  <a:lnTo>
                    <a:pt x="2523" y="2557"/>
                  </a:lnTo>
                  <a:lnTo>
                    <a:pt x="2869" y="3110"/>
                  </a:lnTo>
                  <a:lnTo>
                    <a:pt x="2869" y="3110"/>
                  </a:lnTo>
                  <a:lnTo>
                    <a:pt x="2903" y="3110"/>
                  </a:lnTo>
                  <a:lnTo>
                    <a:pt x="2903" y="3110"/>
                  </a:lnTo>
                  <a:lnTo>
                    <a:pt x="2903" y="3110"/>
                  </a:lnTo>
                  <a:lnTo>
                    <a:pt x="2903" y="3110"/>
                  </a:lnTo>
                  <a:lnTo>
                    <a:pt x="2454" y="1970"/>
                  </a:lnTo>
                  <a:lnTo>
                    <a:pt x="2177" y="1313"/>
                  </a:lnTo>
                  <a:lnTo>
                    <a:pt x="2074" y="933"/>
                  </a:lnTo>
                  <a:lnTo>
                    <a:pt x="2074" y="933"/>
                  </a:lnTo>
                  <a:lnTo>
                    <a:pt x="1832" y="795"/>
                  </a:lnTo>
                  <a:lnTo>
                    <a:pt x="1244" y="484"/>
                  </a:lnTo>
                  <a:lnTo>
                    <a:pt x="553" y="173"/>
                  </a:lnTo>
                  <a:lnTo>
                    <a:pt x="242" y="69"/>
                  </a:lnTo>
                  <a:lnTo>
                    <a:pt x="0"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27" name="Google Shape;14273;p81">
              <a:extLst>
                <a:ext uri="{FF2B5EF4-FFF2-40B4-BE49-F238E27FC236}">
                  <a16:creationId xmlns:a16="http://schemas.microsoft.com/office/drawing/2014/main" id="{337D3F8E-F915-53E7-0FD9-E3B694960D24}"/>
                </a:ext>
              </a:extLst>
            </p:cNvPr>
            <p:cNvSpPr/>
            <p:nvPr/>
          </p:nvSpPr>
          <p:spPr>
            <a:xfrm>
              <a:off x="1150875" y="3134800"/>
              <a:ext cx="12125" cy="48400"/>
            </a:xfrm>
            <a:custGeom>
              <a:avLst/>
              <a:gdLst/>
              <a:ahLst/>
              <a:cxnLst/>
              <a:rect l="l" t="t" r="r" b="b"/>
              <a:pathLst>
                <a:path w="485" h="1936" extrusionOk="0">
                  <a:moveTo>
                    <a:pt x="484" y="1"/>
                  </a:moveTo>
                  <a:lnTo>
                    <a:pt x="484" y="1"/>
                  </a:lnTo>
                  <a:lnTo>
                    <a:pt x="277" y="968"/>
                  </a:lnTo>
                  <a:lnTo>
                    <a:pt x="0" y="1936"/>
                  </a:lnTo>
                  <a:lnTo>
                    <a:pt x="0" y="1936"/>
                  </a:lnTo>
                  <a:lnTo>
                    <a:pt x="277" y="968"/>
                  </a:lnTo>
                  <a:lnTo>
                    <a:pt x="484" y="1"/>
                  </a:lnTo>
                  <a:close/>
                </a:path>
              </a:pathLst>
            </a:custGeom>
            <a:solidFill>
              <a:srgbClr val="E6E6E9"/>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28" name="Google Shape;14274;p81">
              <a:extLst>
                <a:ext uri="{FF2B5EF4-FFF2-40B4-BE49-F238E27FC236}">
                  <a16:creationId xmlns:a16="http://schemas.microsoft.com/office/drawing/2014/main" id="{7A96A96A-217C-9622-07C9-3AFA7A94EC3C}"/>
                </a:ext>
              </a:extLst>
            </p:cNvPr>
            <p:cNvSpPr/>
            <p:nvPr/>
          </p:nvSpPr>
          <p:spPr>
            <a:xfrm>
              <a:off x="1150875" y="3134800"/>
              <a:ext cx="12125" cy="48400"/>
            </a:xfrm>
            <a:custGeom>
              <a:avLst/>
              <a:gdLst/>
              <a:ahLst/>
              <a:cxnLst/>
              <a:rect l="l" t="t" r="r" b="b"/>
              <a:pathLst>
                <a:path w="485" h="1936" fill="none" extrusionOk="0">
                  <a:moveTo>
                    <a:pt x="484" y="1"/>
                  </a:moveTo>
                  <a:lnTo>
                    <a:pt x="484" y="1"/>
                  </a:lnTo>
                  <a:lnTo>
                    <a:pt x="277" y="968"/>
                  </a:lnTo>
                  <a:lnTo>
                    <a:pt x="0" y="1936"/>
                  </a:lnTo>
                  <a:lnTo>
                    <a:pt x="0" y="1936"/>
                  </a:lnTo>
                  <a:lnTo>
                    <a:pt x="277" y="968"/>
                  </a:lnTo>
                  <a:lnTo>
                    <a:pt x="484"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29" name="Google Shape;14275;p81">
              <a:extLst>
                <a:ext uri="{FF2B5EF4-FFF2-40B4-BE49-F238E27FC236}">
                  <a16:creationId xmlns:a16="http://schemas.microsoft.com/office/drawing/2014/main" id="{43CDE6DF-2F4B-5F55-0046-BE32951F7652}"/>
                </a:ext>
              </a:extLst>
            </p:cNvPr>
            <p:cNvSpPr/>
            <p:nvPr/>
          </p:nvSpPr>
          <p:spPr>
            <a:xfrm>
              <a:off x="785450" y="3273025"/>
              <a:ext cx="428525" cy="951200"/>
            </a:xfrm>
            <a:custGeom>
              <a:avLst/>
              <a:gdLst/>
              <a:ahLst/>
              <a:cxnLst/>
              <a:rect l="l" t="t" r="r" b="b"/>
              <a:pathLst>
                <a:path w="17141" h="38048" extrusionOk="0">
                  <a:moveTo>
                    <a:pt x="12890" y="1"/>
                  </a:moveTo>
                  <a:lnTo>
                    <a:pt x="12302" y="968"/>
                  </a:lnTo>
                  <a:lnTo>
                    <a:pt x="11784" y="1970"/>
                  </a:lnTo>
                  <a:lnTo>
                    <a:pt x="11335" y="2972"/>
                  </a:lnTo>
                  <a:lnTo>
                    <a:pt x="10920" y="3940"/>
                  </a:lnTo>
                  <a:lnTo>
                    <a:pt x="10574" y="4942"/>
                  </a:lnTo>
                  <a:lnTo>
                    <a:pt x="10263" y="5979"/>
                  </a:lnTo>
                  <a:lnTo>
                    <a:pt x="9987" y="6981"/>
                  </a:lnTo>
                  <a:lnTo>
                    <a:pt x="9710" y="7983"/>
                  </a:lnTo>
                  <a:lnTo>
                    <a:pt x="9503" y="9020"/>
                  </a:lnTo>
                  <a:lnTo>
                    <a:pt x="9296" y="10057"/>
                  </a:lnTo>
                  <a:lnTo>
                    <a:pt x="8950" y="12130"/>
                  </a:lnTo>
                  <a:lnTo>
                    <a:pt x="8639" y="14272"/>
                  </a:lnTo>
                  <a:lnTo>
                    <a:pt x="8294" y="16415"/>
                  </a:lnTo>
                  <a:lnTo>
                    <a:pt x="7914" y="18592"/>
                  </a:lnTo>
                  <a:lnTo>
                    <a:pt x="7672" y="19732"/>
                  </a:lnTo>
                  <a:lnTo>
                    <a:pt x="7430" y="20838"/>
                  </a:lnTo>
                  <a:lnTo>
                    <a:pt x="7119" y="21979"/>
                  </a:lnTo>
                  <a:lnTo>
                    <a:pt x="6773" y="23119"/>
                  </a:lnTo>
                  <a:lnTo>
                    <a:pt x="6393" y="24294"/>
                  </a:lnTo>
                  <a:lnTo>
                    <a:pt x="5944" y="25469"/>
                  </a:lnTo>
                  <a:lnTo>
                    <a:pt x="5460" y="26644"/>
                  </a:lnTo>
                  <a:lnTo>
                    <a:pt x="4907" y="27853"/>
                  </a:lnTo>
                  <a:lnTo>
                    <a:pt x="4285" y="29063"/>
                  </a:lnTo>
                  <a:lnTo>
                    <a:pt x="3594" y="30307"/>
                  </a:lnTo>
                  <a:lnTo>
                    <a:pt x="2834" y="31551"/>
                  </a:lnTo>
                  <a:lnTo>
                    <a:pt x="1970" y="32795"/>
                  </a:lnTo>
                  <a:lnTo>
                    <a:pt x="1037" y="34073"/>
                  </a:lnTo>
                  <a:lnTo>
                    <a:pt x="0" y="35386"/>
                  </a:lnTo>
                  <a:lnTo>
                    <a:pt x="207" y="35628"/>
                  </a:lnTo>
                  <a:lnTo>
                    <a:pt x="449" y="35836"/>
                  </a:lnTo>
                  <a:lnTo>
                    <a:pt x="726" y="36008"/>
                  </a:lnTo>
                  <a:lnTo>
                    <a:pt x="1002" y="36181"/>
                  </a:lnTo>
                  <a:lnTo>
                    <a:pt x="1313" y="36319"/>
                  </a:lnTo>
                  <a:lnTo>
                    <a:pt x="1659" y="36423"/>
                  </a:lnTo>
                  <a:lnTo>
                    <a:pt x="2004" y="36527"/>
                  </a:lnTo>
                  <a:lnTo>
                    <a:pt x="2350" y="36596"/>
                  </a:lnTo>
                  <a:lnTo>
                    <a:pt x="3110" y="36734"/>
                  </a:lnTo>
                  <a:lnTo>
                    <a:pt x="3905" y="36803"/>
                  </a:lnTo>
                  <a:lnTo>
                    <a:pt x="4769" y="36838"/>
                  </a:lnTo>
                  <a:lnTo>
                    <a:pt x="8674" y="36838"/>
                  </a:lnTo>
                  <a:lnTo>
                    <a:pt x="9192" y="36872"/>
                  </a:lnTo>
                  <a:lnTo>
                    <a:pt x="9676" y="36941"/>
                  </a:lnTo>
                  <a:lnTo>
                    <a:pt x="10125" y="37011"/>
                  </a:lnTo>
                  <a:lnTo>
                    <a:pt x="10540" y="37080"/>
                  </a:lnTo>
                  <a:lnTo>
                    <a:pt x="10954" y="37218"/>
                  </a:lnTo>
                  <a:lnTo>
                    <a:pt x="11300" y="37356"/>
                  </a:lnTo>
                  <a:lnTo>
                    <a:pt x="11646" y="37529"/>
                  </a:lnTo>
                  <a:lnTo>
                    <a:pt x="12095" y="37702"/>
                  </a:lnTo>
                  <a:lnTo>
                    <a:pt x="12613" y="37874"/>
                  </a:lnTo>
                  <a:lnTo>
                    <a:pt x="13235" y="38047"/>
                  </a:lnTo>
                  <a:lnTo>
                    <a:pt x="13650" y="37080"/>
                  </a:lnTo>
                  <a:lnTo>
                    <a:pt x="14030" y="36078"/>
                  </a:lnTo>
                  <a:lnTo>
                    <a:pt x="14410" y="35075"/>
                  </a:lnTo>
                  <a:lnTo>
                    <a:pt x="14756" y="34004"/>
                  </a:lnTo>
                  <a:lnTo>
                    <a:pt x="15032" y="32933"/>
                  </a:lnTo>
                  <a:lnTo>
                    <a:pt x="15343" y="31827"/>
                  </a:lnTo>
                  <a:lnTo>
                    <a:pt x="15585" y="30721"/>
                  </a:lnTo>
                  <a:lnTo>
                    <a:pt x="15827" y="29581"/>
                  </a:lnTo>
                  <a:lnTo>
                    <a:pt x="16034" y="28406"/>
                  </a:lnTo>
                  <a:lnTo>
                    <a:pt x="16242" y="27231"/>
                  </a:lnTo>
                  <a:lnTo>
                    <a:pt x="16414" y="26056"/>
                  </a:lnTo>
                  <a:lnTo>
                    <a:pt x="16553" y="24847"/>
                  </a:lnTo>
                  <a:lnTo>
                    <a:pt x="16795" y="22428"/>
                  </a:lnTo>
                  <a:lnTo>
                    <a:pt x="16967" y="19974"/>
                  </a:lnTo>
                  <a:lnTo>
                    <a:pt x="17071" y="17521"/>
                  </a:lnTo>
                  <a:lnTo>
                    <a:pt x="17140" y="15033"/>
                  </a:lnTo>
                  <a:lnTo>
                    <a:pt x="17106" y="12614"/>
                  </a:lnTo>
                  <a:lnTo>
                    <a:pt x="17036" y="10195"/>
                  </a:lnTo>
                  <a:lnTo>
                    <a:pt x="16933" y="7810"/>
                  </a:lnTo>
                  <a:lnTo>
                    <a:pt x="16795" y="5495"/>
                  </a:lnTo>
                  <a:lnTo>
                    <a:pt x="16622" y="3283"/>
                  </a:lnTo>
                  <a:lnTo>
                    <a:pt x="16414" y="1141"/>
                  </a:lnTo>
                  <a:lnTo>
                    <a:pt x="15585" y="1072"/>
                  </a:lnTo>
                  <a:lnTo>
                    <a:pt x="14859" y="968"/>
                  </a:lnTo>
                  <a:lnTo>
                    <a:pt x="14203" y="865"/>
                  </a:lnTo>
                  <a:lnTo>
                    <a:pt x="13650" y="761"/>
                  </a:lnTo>
                  <a:lnTo>
                    <a:pt x="13235" y="588"/>
                  </a:lnTo>
                  <a:lnTo>
                    <a:pt x="13097" y="519"/>
                  </a:lnTo>
                  <a:lnTo>
                    <a:pt x="12959" y="415"/>
                  </a:lnTo>
                  <a:lnTo>
                    <a:pt x="12890" y="312"/>
                  </a:lnTo>
                  <a:lnTo>
                    <a:pt x="12855" y="208"/>
                  </a:lnTo>
                  <a:lnTo>
                    <a:pt x="12855" y="104"/>
                  </a:lnTo>
                  <a:lnTo>
                    <a:pt x="12890" y="1"/>
                  </a:lnTo>
                  <a:close/>
                </a:path>
              </a:pathLst>
            </a:custGeom>
            <a:solidFill>
              <a:srgbClr val="BD450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30" name="Google Shape;14276;p81">
              <a:extLst>
                <a:ext uri="{FF2B5EF4-FFF2-40B4-BE49-F238E27FC236}">
                  <a16:creationId xmlns:a16="http://schemas.microsoft.com/office/drawing/2014/main" id="{2B615A9D-282C-E4B4-5AC1-C1DF8D23C7E8}"/>
                </a:ext>
              </a:extLst>
            </p:cNvPr>
            <p:cNvSpPr/>
            <p:nvPr/>
          </p:nvSpPr>
          <p:spPr>
            <a:xfrm>
              <a:off x="785450" y="3273025"/>
              <a:ext cx="428525" cy="951200"/>
            </a:xfrm>
            <a:custGeom>
              <a:avLst/>
              <a:gdLst/>
              <a:ahLst/>
              <a:cxnLst/>
              <a:rect l="l" t="t" r="r" b="b"/>
              <a:pathLst>
                <a:path w="17141" h="38048" fill="none" extrusionOk="0">
                  <a:moveTo>
                    <a:pt x="12890" y="1"/>
                  </a:moveTo>
                  <a:lnTo>
                    <a:pt x="12890" y="1"/>
                  </a:lnTo>
                  <a:lnTo>
                    <a:pt x="12302" y="968"/>
                  </a:lnTo>
                  <a:lnTo>
                    <a:pt x="11784" y="1970"/>
                  </a:lnTo>
                  <a:lnTo>
                    <a:pt x="11335" y="2972"/>
                  </a:lnTo>
                  <a:lnTo>
                    <a:pt x="10920" y="3940"/>
                  </a:lnTo>
                  <a:lnTo>
                    <a:pt x="10574" y="4942"/>
                  </a:lnTo>
                  <a:lnTo>
                    <a:pt x="10263" y="5979"/>
                  </a:lnTo>
                  <a:lnTo>
                    <a:pt x="9987" y="6981"/>
                  </a:lnTo>
                  <a:lnTo>
                    <a:pt x="9710" y="7983"/>
                  </a:lnTo>
                  <a:lnTo>
                    <a:pt x="9503" y="9020"/>
                  </a:lnTo>
                  <a:lnTo>
                    <a:pt x="9296" y="10057"/>
                  </a:lnTo>
                  <a:lnTo>
                    <a:pt x="8950" y="12130"/>
                  </a:lnTo>
                  <a:lnTo>
                    <a:pt x="8639" y="14272"/>
                  </a:lnTo>
                  <a:lnTo>
                    <a:pt x="8294" y="16415"/>
                  </a:lnTo>
                  <a:lnTo>
                    <a:pt x="7914" y="18592"/>
                  </a:lnTo>
                  <a:lnTo>
                    <a:pt x="7672" y="19732"/>
                  </a:lnTo>
                  <a:lnTo>
                    <a:pt x="7430" y="20838"/>
                  </a:lnTo>
                  <a:lnTo>
                    <a:pt x="7119" y="21979"/>
                  </a:lnTo>
                  <a:lnTo>
                    <a:pt x="6773" y="23119"/>
                  </a:lnTo>
                  <a:lnTo>
                    <a:pt x="6393" y="24294"/>
                  </a:lnTo>
                  <a:lnTo>
                    <a:pt x="5944" y="25469"/>
                  </a:lnTo>
                  <a:lnTo>
                    <a:pt x="5460" y="26644"/>
                  </a:lnTo>
                  <a:lnTo>
                    <a:pt x="4907" y="27853"/>
                  </a:lnTo>
                  <a:lnTo>
                    <a:pt x="4285" y="29063"/>
                  </a:lnTo>
                  <a:lnTo>
                    <a:pt x="3594" y="30307"/>
                  </a:lnTo>
                  <a:lnTo>
                    <a:pt x="2834" y="31551"/>
                  </a:lnTo>
                  <a:lnTo>
                    <a:pt x="1970" y="32795"/>
                  </a:lnTo>
                  <a:lnTo>
                    <a:pt x="1037" y="34073"/>
                  </a:lnTo>
                  <a:lnTo>
                    <a:pt x="0" y="35386"/>
                  </a:lnTo>
                  <a:lnTo>
                    <a:pt x="0" y="35386"/>
                  </a:lnTo>
                  <a:lnTo>
                    <a:pt x="207" y="35628"/>
                  </a:lnTo>
                  <a:lnTo>
                    <a:pt x="449" y="35836"/>
                  </a:lnTo>
                  <a:lnTo>
                    <a:pt x="726" y="36008"/>
                  </a:lnTo>
                  <a:lnTo>
                    <a:pt x="1002" y="36181"/>
                  </a:lnTo>
                  <a:lnTo>
                    <a:pt x="1313" y="36319"/>
                  </a:lnTo>
                  <a:lnTo>
                    <a:pt x="1659" y="36423"/>
                  </a:lnTo>
                  <a:lnTo>
                    <a:pt x="2004" y="36527"/>
                  </a:lnTo>
                  <a:lnTo>
                    <a:pt x="2350" y="36596"/>
                  </a:lnTo>
                  <a:lnTo>
                    <a:pt x="3110" y="36734"/>
                  </a:lnTo>
                  <a:lnTo>
                    <a:pt x="3905" y="36803"/>
                  </a:lnTo>
                  <a:lnTo>
                    <a:pt x="4769" y="36838"/>
                  </a:lnTo>
                  <a:lnTo>
                    <a:pt x="5598" y="36838"/>
                  </a:lnTo>
                  <a:lnTo>
                    <a:pt x="5598" y="36838"/>
                  </a:lnTo>
                  <a:lnTo>
                    <a:pt x="6600" y="36838"/>
                  </a:lnTo>
                  <a:lnTo>
                    <a:pt x="6600" y="36838"/>
                  </a:lnTo>
                  <a:lnTo>
                    <a:pt x="7568" y="36838"/>
                  </a:lnTo>
                  <a:lnTo>
                    <a:pt x="7568" y="36838"/>
                  </a:lnTo>
                  <a:lnTo>
                    <a:pt x="8674" y="36838"/>
                  </a:lnTo>
                  <a:lnTo>
                    <a:pt x="9192" y="36872"/>
                  </a:lnTo>
                  <a:lnTo>
                    <a:pt x="9676" y="36941"/>
                  </a:lnTo>
                  <a:lnTo>
                    <a:pt x="10125" y="37011"/>
                  </a:lnTo>
                  <a:lnTo>
                    <a:pt x="10540" y="37080"/>
                  </a:lnTo>
                  <a:lnTo>
                    <a:pt x="10954" y="37218"/>
                  </a:lnTo>
                  <a:lnTo>
                    <a:pt x="11300" y="37356"/>
                  </a:lnTo>
                  <a:lnTo>
                    <a:pt x="11300" y="37356"/>
                  </a:lnTo>
                  <a:lnTo>
                    <a:pt x="11646" y="37529"/>
                  </a:lnTo>
                  <a:lnTo>
                    <a:pt x="12095" y="37702"/>
                  </a:lnTo>
                  <a:lnTo>
                    <a:pt x="12613" y="37874"/>
                  </a:lnTo>
                  <a:lnTo>
                    <a:pt x="13235" y="38047"/>
                  </a:lnTo>
                  <a:lnTo>
                    <a:pt x="13235" y="38047"/>
                  </a:lnTo>
                  <a:lnTo>
                    <a:pt x="13650" y="37080"/>
                  </a:lnTo>
                  <a:lnTo>
                    <a:pt x="14030" y="36078"/>
                  </a:lnTo>
                  <a:lnTo>
                    <a:pt x="14410" y="35075"/>
                  </a:lnTo>
                  <a:lnTo>
                    <a:pt x="14756" y="34004"/>
                  </a:lnTo>
                  <a:lnTo>
                    <a:pt x="15032" y="32933"/>
                  </a:lnTo>
                  <a:lnTo>
                    <a:pt x="15343" y="31827"/>
                  </a:lnTo>
                  <a:lnTo>
                    <a:pt x="15585" y="30721"/>
                  </a:lnTo>
                  <a:lnTo>
                    <a:pt x="15827" y="29581"/>
                  </a:lnTo>
                  <a:lnTo>
                    <a:pt x="16034" y="28406"/>
                  </a:lnTo>
                  <a:lnTo>
                    <a:pt x="16242" y="27231"/>
                  </a:lnTo>
                  <a:lnTo>
                    <a:pt x="16414" y="26056"/>
                  </a:lnTo>
                  <a:lnTo>
                    <a:pt x="16553" y="24847"/>
                  </a:lnTo>
                  <a:lnTo>
                    <a:pt x="16795" y="22428"/>
                  </a:lnTo>
                  <a:lnTo>
                    <a:pt x="16967" y="19974"/>
                  </a:lnTo>
                  <a:lnTo>
                    <a:pt x="17071" y="17521"/>
                  </a:lnTo>
                  <a:lnTo>
                    <a:pt x="17140" y="15033"/>
                  </a:lnTo>
                  <a:lnTo>
                    <a:pt x="17106" y="12614"/>
                  </a:lnTo>
                  <a:lnTo>
                    <a:pt x="17036" y="10195"/>
                  </a:lnTo>
                  <a:lnTo>
                    <a:pt x="16933" y="7810"/>
                  </a:lnTo>
                  <a:lnTo>
                    <a:pt x="16795" y="5495"/>
                  </a:lnTo>
                  <a:lnTo>
                    <a:pt x="16622" y="3283"/>
                  </a:lnTo>
                  <a:lnTo>
                    <a:pt x="16414" y="1141"/>
                  </a:lnTo>
                  <a:lnTo>
                    <a:pt x="16414" y="1141"/>
                  </a:lnTo>
                  <a:lnTo>
                    <a:pt x="16414" y="1141"/>
                  </a:lnTo>
                  <a:lnTo>
                    <a:pt x="15585" y="1072"/>
                  </a:lnTo>
                  <a:lnTo>
                    <a:pt x="14859" y="968"/>
                  </a:lnTo>
                  <a:lnTo>
                    <a:pt x="14203" y="865"/>
                  </a:lnTo>
                  <a:lnTo>
                    <a:pt x="13650" y="761"/>
                  </a:lnTo>
                  <a:lnTo>
                    <a:pt x="13235" y="588"/>
                  </a:lnTo>
                  <a:lnTo>
                    <a:pt x="13097" y="519"/>
                  </a:lnTo>
                  <a:lnTo>
                    <a:pt x="12959" y="415"/>
                  </a:lnTo>
                  <a:lnTo>
                    <a:pt x="12890" y="312"/>
                  </a:lnTo>
                  <a:lnTo>
                    <a:pt x="12855" y="208"/>
                  </a:lnTo>
                  <a:lnTo>
                    <a:pt x="12855" y="104"/>
                  </a:lnTo>
                  <a:lnTo>
                    <a:pt x="12890"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31" name="Google Shape;14277;p81">
              <a:extLst>
                <a:ext uri="{FF2B5EF4-FFF2-40B4-BE49-F238E27FC236}">
                  <a16:creationId xmlns:a16="http://schemas.microsoft.com/office/drawing/2014/main" id="{5CA11CDC-DEAB-8DEF-721C-AEF7AC1A7150}"/>
                </a:ext>
              </a:extLst>
            </p:cNvPr>
            <p:cNvSpPr/>
            <p:nvPr/>
          </p:nvSpPr>
          <p:spPr>
            <a:xfrm>
              <a:off x="1106825" y="3095075"/>
              <a:ext cx="89000" cy="206475"/>
            </a:xfrm>
            <a:custGeom>
              <a:avLst/>
              <a:gdLst/>
              <a:ahLst/>
              <a:cxnLst/>
              <a:rect l="l" t="t" r="r" b="b"/>
              <a:pathLst>
                <a:path w="3560" h="8259" extrusionOk="0">
                  <a:moveTo>
                    <a:pt x="2488" y="0"/>
                  </a:moveTo>
                  <a:lnTo>
                    <a:pt x="2384" y="795"/>
                  </a:lnTo>
                  <a:lnTo>
                    <a:pt x="2246" y="1590"/>
                  </a:lnTo>
                  <a:lnTo>
                    <a:pt x="2039" y="2557"/>
                  </a:lnTo>
                  <a:lnTo>
                    <a:pt x="1762" y="3525"/>
                  </a:lnTo>
                  <a:lnTo>
                    <a:pt x="1417" y="4492"/>
                  </a:lnTo>
                  <a:lnTo>
                    <a:pt x="1037" y="5425"/>
                  </a:lnTo>
                  <a:lnTo>
                    <a:pt x="588" y="6255"/>
                  </a:lnTo>
                  <a:lnTo>
                    <a:pt x="346" y="6669"/>
                  </a:lnTo>
                  <a:lnTo>
                    <a:pt x="69" y="7050"/>
                  </a:lnTo>
                  <a:lnTo>
                    <a:pt x="35" y="7119"/>
                  </a:lnTo>
                  <a:lnTo>
                    <a:pt x="0" y="7222"/>
                  </a:lnTo>
                  <a:lnTo>
                    <a:pt x="0" y="7326"/>
                  </a:lnTo>
                  <a:lnTo>
                    <a:pt x="35" y="7430"/>
                  </a:lnTo>
                  <a:lnTo>
                    <a:pt x="104" y="7533"/>
                  </a:lnTo>
                  <a:lnTo>
                    <a:pt x="242" y="7637"/>
                  </a:lnTo>
                  <a:lnTo>
                    <a:pt x="380" y="7706"/>
                  </a:lnTo>
                  <a:lnTo>
                    <a:pt x="795" y="7879"/>
                  </a:lnTo>
                  <a:lnTo>
                    <a:pt x="1348" y="7983"/>
                  </a:lnTo>
                  <a:lnTo>
                    <a:pt x="2004" y="8086"/>
                  </a:lnTo>
                  <a:lnTo>
                    <a:pt x="2730" y="8190"/>
                  </a:lnTo>
                  <a:lnTo>
                    <a:pt x="3559" y="8259"/>
                  </a:lnTo>
                  <a:lnTo>
                    <a:pt x="3387" y="6428"/>
                  </a:lnTo>
                  <a:lnTo>
                    <a:pt x="3179" y="4700"/>
                  </a:lnTo>
                  <a:lnTo>
                    <a:pt x="2834" y="2212"/>
                  </a:lnTo>
                  <a:lnTo>
                    <a:pt x="2488" y="0"/>
                  </a:lnTo>
                  <a:close/>
                </a:path>
              </a:pathLst>
            </a:custGeom>
            <a:solidFill>
              <a:srgbClr val="E6A50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32" name="Google Shape;14278;p81">
              <a:extLst>
                <a:ext uri="{FF2B5EF4-FFF2-40B4-BE49-F238E27FC236}">
                  <a16:creationId xmlns:a16="http://schemas.microsoft.com/office/drawing/2014/main" id="{388FB0CC-E803-1954-1C7A-8BA80B5DBC99}"/>
                </a:ext>
              </a:extLst>
            </p:cNvPr>
            <p:cNvSpPr/>
            <p:nvPr/>
          </p:nvSpPr>
          <p:spPr>
            <a:xfrm>
              <a:off x="1106825" y="3095075"/>
              <a:ext cx="89000" cy="206475"/>
            </a:xfrm>
            <a:custGeom>
              <a:avLst/>
              <a:gdLst/>
              <a:ahLst/>
              <a:cxnLst/>
              <a:rect l="l" t="t" r="r" b="b"/>
              <a:pathLst>
                <a:path w="3560" h="8259" fill="none" extrusionOk="0">
                  <a:moveTo>
                    <a:pt x="2488" y="0"/>
                  </a:moveTo>
                  <a:lnTo>
                    <a:pt x="2488" y="0"/>
                  </a:lnTo>
                  <a:lnTo>
                    <a:pt x="2384" y="795"/>
                  </a:lnTo>
                  <a:lnTo>
                    <a:pt x="2246" y="1590"/>
                  </a:lnTo>
                  <a:lnTo>
                    <a:pt x="2246" y="1590"/>
                  </a:lnTo>
                  <a:lnTo>
                    <a:pt x="2039" y="2557"/>
                  </a:lnTo>
                  <a:lnTo>
                    <a:pt x="1762" y="3525"/>
                  </a:lnTo>
                  <a:lnTo>
                    <a:pt x="1762" y="3525"/>
                  </a:lnTo>
                  <a:lnTo>
                    <a:pt x="1417" y="4492"/>
                  </a:lnTo>
                  <a:lnTo>
                    <a:pt x="1037" y="5425"/>
                  </a:lnTo>
                  <a:lnTo>
                    <a:pt x="588" y="6255"/>
                  </a:lnTo>
                  <a:lnTo>
                    <a:pt x="346" y="6669"/>
                  </a:lnTo>
                  <a:lnTo>
                    <a:pt x="69" y="7050"/>
                  </a:lnTo>
                  <a:lnTo>
                    <a:pt x="69" y="7050"/>
                  </a:lnTo>
                  <a:lnTo>
                    <a:pt x="35" y="7119"/>
                  </a:lnTo>
                  <a:lnTo>
                    <a:pt x="35" y="7119"/>
                  </a:lnTo>
                  <a:lnTo>
                    <a:pt x="35" y="7119"/>
                  </a:lnTo>
                  <a:lnTo>
                    <a:pt x="35" y="7119"/>
                  </a:lnTo>
                  <a:lnTo>
                    <a:pt x="35" y="7119"/>
                  </a:lnTo>
                  <a:lnTo>
                    <a:pt x="0" y="7222"/>
                  </a:lnTo>
                  <a:lnTo>
                    <a:pt x="0" y="7326"/>
                  </a:lnTo>
                  <a:lnTo>
                    <a:pt x="35" y="7430"/>
                  </a:lnTo>
                  <a:lnTo>
                    <a:pt x="104" y="7533"/>
                  </a:lnTo>
                  <a:lnTo>
                    <a:pt x="242" y="7637"/>
                  </a:lnTo>
                  <a:lnTo>
                    <a:pt x="380" y="7706"/>
                  </a:lnTo>
                  <a:lnTo>
                    <a:pt x="795" y="7879"/>
                  </a:lnTo>
                  <a:lnTo>
                    <a:pt x="1348" y="7983"/>
                  </a:lnTo>
                  <a:lnTo>
                    <a:pt x="2004" y="8086"/>
                  </a:lnTo>
                  <a:lnTo>
                    <a:pt x="2730" y="8190"/>
                  </a:lnTo>
                  <a:lnTo>
                    <a:pt x="3559" y="8259"/>
                  </a:lnTo>
                  <a:lnTo>
                    <a:pt x="3559" y="8259"/>
                  </a:lnTo>
                  <a:lnTo>
                    <a:pt x="3387" y="6428"/>
                  </a:lnTo>
                  <a:lnTo>
                    <a:pt x="3179" y="4700"/>
                  </a:lnTo>
                  <a:lnTo>
                    <a:pt x="3179" y="4700"/>
                  </a:lnTo>
                  <a:lnTo>
                    <a:pt x="2834" y="2212"/>
                  </a:lnTo>
                  <a:lnTo>
                    <a:pt x="2488"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33" name="Google Shape;14279;p81">
              <a:extLst>
                <a:ext uri="{FF2B5EF4-FFF2-40B4-BE49-F238E27FC236}">
                  <a16:creationId xmlns:a16="http://schemas.microsoft.com/office/drawing/2014/main" id="{543CECE9-251B-EB9C-1CE2-215793AF1454}"/>
                </a:ext>
              </a:extLst>
            </p:cNvPr>
            <p:cNvSpPr/>
            <p:nvPr/>
          </p:nvSpPr>
          <p:spPr>
            <a:xfrm>
              <a:off x="1180250" y="2334825"/>
              <a:ext cx="218600" cy="170200"/>
            </a:xfrm>
            <a:custGeom>
              <a:avLst/>
              <a:gdLst/>
              <a:ahLst/>
              <a:cxnLst/>
              <a:rect l="l" t="t" r="r" b="b"/>
              <a:pathLst>
                <a:path w="8744" h="6808" extrusionOk="0">
                  <a:moveTo>
                    <a:pt x="4389" y="0"/>
                  </a:moveTo>
                  <a:lnTo>
                    <a:pt x="0" y="2316"/>
                  </a:lnTo>
                  <a:lnTo>
                    <a:pt x="622" y="3076"/>
                  </a:lnTo>
                  <a:lnTo>
                    <a:pt x="2316" y="5253"/>
                  </a:lnTo>
                  <a:lnTo>
                    <a:pt x="2592" y="5599"/>
                  </a:lnTo>
                  <a:lnTo>
                    <a:pt x="2869" y="5875"/>
                  </a:lnTo>
                  <a:lnTo>
                    <a:pt x="3180" y="6117"/>
                  </a:lnTo>
                  <a:lnTo>
                    <a:pt x="3491" y="6324"/>
                  </a:lnTo>
                  <a:lnTo>
                    <a:pt x="3836" y="6497"/>
                  </a:lnTo>
                  <a:lnTo>
                    <a:pt x="4182" y="6635"/>
                  </a:lnTo>
                  <a:lnTo>
                    <a:pt x="4527" y="6739"/>
                  </a:lnTo>
                  <a:lnTo>
                    <a:pt x="4907" y="6773"/>
                  </a:lnTo>
                  <a:lnTo>
                    <a:pt x="5288" y="6808"/>
                  </a:lnTo>
                  <a:lnTo>
                    <a:pt x="6048" y="6808"/>
                  </a:lnTo>
                  <a:lnTo>
                    <a:pt x="6428" y="6739"/>
                  </a:lnTo>
                  <a:lnTo>
                    <a:pt x="6843" y="6670"/>
                  </a:lnTo>
                  <a:lnTo>
                    <a:pt x="7223" y="6601"/>
                  </a:lnTo>
                  <a:lnTo>
                    <a:pt x="8017" y="6359"/>
                  </a:lnTo>
                  <a:lnTo>
                    <a:pt x="8225" y="6290"/>
                  </a:lnTo>
                  <a:lnTo>
                    <a:pt x="8363" y="6186"/>
                  </a:lnTo>
                  <a:lnTo>
                    <a:pt x="8501" y="6082"/>
                  </a:lnTo>
                  <a:lnTo>
                    <a:pt x="8605" y="5979"/>
                  </a:lnTo>
                  <a:lnTo>
                    <a:pt x="8674" y="5875"/>
                  </a:lnTo>
                  <a:lnTo>
                    <a:pt x="8709" y="5737"/>
                  </a:lnTo>
                  <a:lnTo>
                    <a:pt x="8743" y="5599"/>
                  </a:lnTo>
                  <a:lnTo>
                    <a:pt x="8743" y="5460"/>
                  </a:lnTo>
                  <a:lnTo>
                    <a:pt x="8674" y="5149"/>
                  </a:lnTo>
                  <a:lnTo>
                    <a:pt x="8570" y="4838"/>
                  </a:lnTo>
                  <a:lnTo>
                    <a:pt x="8398" y="4493"/>
                  </a:lnTo>
                  <a:lnTo>
                    <a:pt x="8190" y="4182"/>
                  </a:lnTo>
                  <a:lnTo>
                    <a:pt x="7776" y="3525"/>
                  </a:lnTo>
                  <a:lnTo>
                    <a:pt x="7361" y="2938"/>
                  </a:lnTo>
                  <a:lnTo>
                    <a:pt x="7188" y="2696"/>
                  </a:lnTo>
                  <a:lnTo>
                    <a:pt x="7084" y="2488"/>
                  </a:lnTo>
                  <a:lnTo>
                    <a:pt x="7050" y="2316"/>
                  </a:lnTo>
                  <a:lnTo>
                    <a:pt x="7050" y="2247"/>
                  </a:lnTo>
                  <a:lnTo>
                    <a:pt x="7084" y="2212"/>
                  </a:lnTo>
                  <a:lnTo>
                    <a:pt x="7154" y="2108"/>
                  </a:lnTo>
                  <a:lnTo>
                    <a:pt x="7188" y="2005"/>
                  </a:lnTo>
                  <a:lnTo>
                    <a:pt x="7154" y="1901"/>
                  </a:lnTo>
                  <a:lnTo>
                    <a:pt x="7119" y="1797"/>
                  </a:lnTo>
                  <a:lnTo>
                    <a:pt x="7050" y="1728"/>
                  </a:lnTo>
                  <a:lnTo>
                    <a:pt x="6912" y="1625"/>
                  </a:lnTo>
                  <a:lnTo>
                    <a:pt x="6566" y="1417"/>
                  </a:lnTo>
                  <a:lnTo>
                    <a:pt x="5633" y="864"/>
                  </a:lnTo>
                  <a:lnTo>
                    <a:pt x="5011" y="484"/>
                  </a:lnTo>
                  <a:lnTo>
                    <a:pt x="4389" y="0"/>
                  </a:lnTo>
                  <a:close/>
                </a:path>
              </a:pathLst>
            </a:custGeom>
            <a:solidFill>
              <a:srgbClr val="8A3A1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34" name="Google Shape;14280;p81">
              <a:extLst>
                <a:ext uri="{FF2B5EF4-FFF2-40B4-BE49-F238E27FC236}">
                  <a16:creationId xmlns:a16="http://schemas.microsoft.com/office/drawing/2014/main" id="{8A7FF8B3-65CC-CB7C-B7AF-998F8BC106A4}"/>
                </a:ext>
              </a:extLst>
            </p:cNvPr>
            <p:cNvSpPr/>
            <p:nvPr/>
          </p:nvSpPr>
          <p:spPr>
            <a:xfrm>
              <a:off x="836400" y="2294225"/>
              <a:ext cx="466550" cy="533925"/>
            </a:xfrm>
            <a:custGeom>
              <a:avLst/>
              <a:gdLst/>
              <a:ahLst/>
              <a:cxnLst/>
              <a:rect l="l" t="t" r="r" b="b"/>
              <a:pathLst>
                <a:path w="18662" h="21357" extrusionOk="0">
                  <a:moveTo>
                    <a:pt x="15206" y="0"/>
                  </a:moveTo>
                  <a:lnTo>
                    <a:pt x="14826" y="35"/>
                  </a:lnTo>
                  <a:lnTo>
                    <a:pt x="14446" y="104"/>
                  </a:lnTo>
                  <a:lnTo>
                    <a:pt x="14031" y="208"/>
                  </a:lnTo>
                  <a:lnTo>
                    <a:pt x="13616" y="311"/>
                  </a:lnTo>
                  <a:lnTo>
                    <a:pt x="13167" y="484"/>
                  </a:lnTo>
                  <a:lnTo>
                    <a:pt x="12683" y="691"/>
                  </a:lnTo>
                  <a:lnTo>
                    <a:pt x="12338" y="864"/>
                  </a:lnTo>
                  <a:lnTo>
                    <a:pt x="12027" y="1037"/>
                  </a:lnTo>
                  <a:lnTo>
                    <a:pt x="11750" y="1244"/>
                  </a:lnTo>
                  <a:lnTo>
                    <a:pt x="11508" y="1486"/>
                  </a:lnTo>
                  <a:lnTo>
                    <a:pt x="11266" y="1763"/>
                  </a:lnTo>
                  <a:lnTo>
                    <a:pt x="11059" y="2005"/>
                  </a:lnTo>
                  <a:lnTo>
                    <a:pt x="10886" y="2316"/>
                  </a:lnTo>
                  <a:lnTo>
                    <a:pt x="10713" y="2592"/>
                  </a:lnTo>
                  <a:lnTo>
                    <a:pt x="10575" y="2903"/>
                  </a:lnTo>
                  <a:lnTo>
                    <a:pt x="10472" y="3249"/>
                  </a:lnTo>
                  <a:lnTo>
                    <a:pt x="10264" y="3905"/>
                  </a:lnTo>
                  <a:lnTo>
                    <a:pt x="10126" y="4596"/>
                  </a:lnTo>
                  <a:lnTo>
                    <a:pt x="10022" y="5287"/>
                  </a:lnTo>
                  <a:lnTo>
                    <a:pt x="9953" y="5978"/>
                  </a:lnTo>
                  <a:lnTo>
                    <a:pt x="9919" y="6635"/>
                  </a:lnTo>
                  <a:lnTo>
                    <a:pt x="9850" y="7810"/>
                  </a:lnTo>
                  <a:lnTo>
                    <a:pt x="9815" y="8328"/>
                  </a:lnTo>
                  <a:lnTo>
                    <a:pt x="9780" y="8778"/>
                  </a:lnTo>
                  <a:lnTo>
                    <a:pt x="9711" y="9123"/>
                  </a:lnTo>
                  <a:lnTo>
                    <a:pt x="9677" y="9227"/>
                  </a:lnTo>
                  <a:lnTo>
                    <a:pt x="9608" y="9330"/>
                  </a:lnTo>
                  <a:lnTo>
                    <a:pt x="9469" y="9503"/>
                  </a:lnTo>
                  <a:lnTo>
                    <a:pt x="9331" y="9641"/>
                  </a:lnTo>
                  <a:lnTo>
                    <a:pt x="9193" y="9745"/>
                  </a:lnTo>
                  <a:lnTo>
                    <a:pt x="9055" y="9849"/>
                  </a:lnTo>
                  <a:lnTo>
                    <a:pt x="8709" y="9987"/>
                  </a:lnTo>
                  <a:lnTo>
                    <a:pt x="8329" y="10091"/>
                  </a:lnTo>
                  <a:lnTo>
                    <a:pt x="7811" y="10263"/>
                  </a:lnTo>
                  <a:lnTo>
                    <a:pt x="7154" y="10505"/>
                  </a:lnTo>
                  <a:lnTo>
                    <a:pt x="6359" y="10885"/>
                  </a:lnTo>
                  <a:lnTo>
                    <a:pt x="5357" y="11438"/>
                  </a:lnTo>
                  <a:lnTo>
                    <a:pt x="4873" y="11749"/>
                  </a:lnTo>
                  <a:lnTo>
                    <a:pt x="4493" y="12095"/>
                  </a:lnTo>
                  <a:lnTo>
                    <a:pt x="4217" y="12406"/>
                  </a:lnTo>
                  <a:lnTo>
                    <a:pt x="4044" y="12717"/>
                  </a:lnTo>
                  <a:lnTo>
                    <a:pt x="3940" y="13028"/>
                  </a:lnTo>
                  <a:lnTo>
                    <a:pt x="3906" y="13339"/>
                  </a:lnTo>
                  <a:lnTo>
                    <a:pt x="3906" y="13650"/>
                  </a:lnTo>
                  <a:lnTo>
                    <a:pt x="3975" y="13926"/>
                  </a:lnTo>
                  <a:lnTo>
                    <a:pt x="4148" y="14479"/>
                  </a:lnTo>
                  <a:lnTo>
                    <a:pt x="4286" y="14998"/>
                  </a:lnTo>
                  <a:lnTo>
                    <a:pt x="4355" y="15205"/>
                  </a:lnTo>
                  <a:lnTo>
                    <a:pt x="4355" y="15447"/>
                  </a:lnTo>
                  <a:lnTo>
                    <a:pt x="4286" y="15620"/>
                  </a:lnTo>
                  <a:lnTo>
                    <a:pt x="4182" y="15793"/>
                  </a:lnTo>
                  <a:lnTo>
                    <a:pt x="4044" y="15931"/>
                  </a:lnTo>
                  <a:lnTo>
                    <a:pt x="3906" y="16034"/>
                  </a:lnTo>
                  <a:lnTo>
                    <a:pt x="3595" y="16207"/>
                  </a:lnTo>
                  <a:lnTo>
                    <a:pt x="3318" y="16276"/>
                  </a:lnTo>
                  <a:lnTo>
                    <a:pt x="3007" y="16345"/>
                  </a:lnTo>
                  <a:lnTo>
                    <a:pt x="2662" y="16415"/>
                  </a:lnTo>
                  <a:lnTo>
                    <a:pt x="2351" y="16553"/>
                  </a:lnTo>
                  <a:lnTo>
                    <a:pt x="2005" y="16726"/>
                  </a:lnTo>
                  <a:lnTo>
                    <a:pt x="1832" y="16864"/>
                  </a:lnTo>
                  <a:lnTo>
                    <a:pt x="1625" y="17037"/>
                  </a:lnTo>
                  <a:lnTo>
                    <a:pt x="1280" y="17451"/>
                  </a:lnTo>
                  <a:lnTo>
                    <a:pt x="934" y="17935"/>
                  </a:lnTo>
                  <a:lnTo>
                    <a:pt x="588" y="18453"/>
                  </a:lnTo>
                  <a:lnTo>
                    <a:pt x="347" y="19006"/>
                  </a:lnTo>
                  <a:lnTo>
                    <a:pt x="139" y="19525"/>
                  </a:lnTo>
                  <a:lnTo>
                    <a:pt x="70" y="19766"/>
                  </a:lnTo>
                  <a:lnTo>
                    <a:pt x="36" y="20008"/>
                  </a:lnTo>
                  <a:lnTo>
                    <a:pt x="1" y="20250"/>
                  </a:lnTo>
                  <a:lnTo>
                    <a:pt x="1" y="20423"/>
                  </a:lnTo>
                  <a:lnTo>
                    <a:pt x="70" y="20596"/>
                  </a:lnTo>
                  <a:lnTo>
                    <a:pt x="139" y="20769"/>
                  </a:lnTo>
                  <a:lnTo>
                    <a:pt x="277" y="20941"/>
                  </a:lnTo>
                  <a:lnTo>
                    <a:pt x="519" y="21080"/>
                  </a:lnTo>
                  <a:lnTo>
                    <a:pt x="796" y="21183"/>
                  </a:lnTo>
                  <a:lnTo>
                    <a:pt x="1107" y="21252"/>
                  </a:lnTo>
                  <a:lnTo>
                    <a:pt x="1521" y="21322"/>
                  </a:lnTo>
                  <a:lnTo>
                    <a:pt x="1936" y="21356"/>
                  </a:lnTo>
                  <a:lnTo>
                    <a:pt x="2420" y="21356"/>
                  </a:lnTo>
                  <a:lnTo>
                    <a:pt x="2938" y="21322"/>
                  </a:lnTo>
                  <a:lnTo>
                    <a:pt x="3491" y="21252"/>
                  </a:lnTo>
                  <a:lnTo>
                    <a:pt x="4079" y="21149"/>
                  </a:lnTo>
                  <a:lnTo>
                    <a:pt x="4701" y="21045"/>
                  </a:lnTo>
                  <a:lnTo>
                    <a:pt x="5323" y="20872"/>
                  </a:lnTo>
                  <a:lnTo>
                    <a:pt x="6014" y="20700"/>
                  </a:lnTo>
                  <a:lnTo>
                    <a:pt x="6670" y="20492"/>
                  </a:lnTo>
                  <a:lnTo>
                    <a:pt x="7361" y="20285"/>
                  </a:lnTo>
                  <a:lnTo>
                    <a:pt x="8087" y="20008"/>
                  </a:lnTo>
                  <a:lnTo>
                    <a:pt x="8778" y="19732"/>
                  </a:lnTo>
                  <a:lnTo>
                    <a:pt x="9469" y="19386"/>
                  </a:lnTo>
                  <a:lnTo>
                    <a:pt x="10195" y="19041"/>
                  </a:lnTo>
                  <a:lnTo>
                    <a:pt x="10886" y="18695"/>
                  </a:lnTo>
                  <a:lnTo>
                    <a:pt x="11577" y="18281"/>
                  </a:lnTo>
                  <a:lnTo>
                    <a:pt x="12268" y="17866"/>
                  </a:lnTo>
                  <a:lnTo>
                    <a:pt x="12925" y="17382"/>
                  </a:lnTo>
                  <a:lnTo>
                    <a:pt x="13547" y="16898"/>
                  </a:lnTo>
                  <a:lnTo>
                    <a:pt x="14135" y="16415"/>
                  </a:lnTo>
                  <a:lnTo>
                    <a:pt x="14687" y="15965"/>
                  </a:lnTo>
                  <a:lnTo>
                    <a:pt x="15171" y="15481"/>
                  </a:lnTo>
                  <a:lnTo>
                    <a:pt x="15620" y="15067"/>
                  </a:lnTo>
                  <a:lnTo>
                    <a:pt x="16001" y="14652"/>
                  </a:lnTo>
                  <a:lnTo>
                    <a:pt x="16346" y="14237"/>
                  </a:lnTo>
                  <a:lnTo>
                    <a:pt x="16657" y="13857"/>
                  </a:lnTo>
                  <a:lnTo>
                    <a:pt x="16899" y="13477"/>
                  </a:lnTo>
                  <a:lnTo>
                    <a:pt x="17141" y="13132"/>
                  </a:lnTo>
                  <a:lnTo>
                    <a:pt x="17314" y="12786"/>
                  </a:lnTo>
                  <a:lnTo>
                    <a:pt x="17486" y="12441"/>
                  </a:lnTo>
                  <a:lnTo>
                    <a:pt x="17590" y="12130"/>
                  </a:lnTo>
                  <a:lnTo>
                    <a:pt x="17694" y="11819"/>
                  </a:lnTo>
                  <a:lnTo>
                    <a:pt x="17763" y="11542"/>
                  </a:lnTo>
                  <a:lnTo>
                    <a:pt x="17797" y="11266"/>
                  </a:lnTo>
                  <a:lnTo>
                    <a:pt x="17797" y="10989"/>
                  </a:lnTo>
                  <a:lnTo>
                    <a:pt x="17797" y="10471"/>
                  </a:lnTo>
                  <a:lnTo>
                    <a:pt x="17728" y="10022"/>
                  </a:lnTo>
                  <a:lnTo>
                    <a:pt x="17625" y="9607"/>
                  </a:lnTo>
                  <a:lnTo>
                    <a:pt x="17486" y="9192"/>
                  </a:lnTo>
                  <a:lnTo>
                    <a:pt x="17279" y="8501"/>
                  </a:lnTo>
                  <a:lnTo>
                    <a:pt x="17210" y="8156"/>
                  </a:lnTo>
                  <a:lnTo>
                    <a:pt x="17210" y="7879"/>
                  </a:lnTo>
                  <a:lnTo>
                    <a:pt x="17210" y="7706"/>
                  </a:lnTo>
                  <a:lnTo>
                    <a:pt x="17175" y="7534"/>
                  </a:lnTo>
                  <a:lnTo>
                    <a:pt x="17106" y="7223"/>
                  </a:lnTo>
                  <a:lnTo>
                    <a:pt x="17037" y="7050"/>
                  </a:lnTo>
                  <a:lnTo>
                    <a:pt x="16934" y="6912"/>
                  </a:lnTo>
                  <a:lnTo>
                    <a:pt x="16830" y="6808"/>
                  </a:lnTo>
                  <a:lnTo>
                    <a:pt x="16692" y="6704"/>
                  </a:lnTo>
                  <a:lnTo>
                    <a:pt x="16277" y="6497"/>
                  </a:lnTo>
                  <a:lnTo>
                    <a:pt x="16070" y="6359"/>
                  </a:lnTo>
                  <a:lnTo>
                    <a:pt x="15897" y="6220"/>
                  </a:lnTo>
                  <a:lnTo>
                    <a:pt x="15724" y="6082"/>
                  </a:lnTo>
                  <a:lnTo>
                    <a:pt x="15655" y="5909"/>
                  </a:lnTo>
                  <a:lnTo>
                    <a:pt x="15620" y="5806"/>
                  </a:lnTo>
                  <a:lnTo>
                    <a:pt x="15620" y="5702"/>
                  </a:lnTo>
                  <a:lnTo>
                    <a:pt x="15655" y="5598"/>
                  </a:lnTo>
                  <a:lnTo>
                    <a:pt x="15724" y="5495"/>
                  </a:lnTo>
                  <a:lnTo>
                    <a:pt x="15828" y="5322"/>
                  </a:lnTo>
                  <a:lnTo>
                    <a:pt x="15966" y="5184"/>
                  </a:lnTo>
                  <a:lnTo>
                    <a:pt x="16104" y="5080"/>
                  </a:lnTo>
                  <a:lnTo>
                    <a:pt x="16242" y="5011"/>
                  </a:lnTo>
                  <a:lnTo>
                    <a:pt x="16415" y="4942"/>
                  </a:lnTo>
                  <a:lnTo>
                    <a:pt x="16553" y="4942"/>
                  </a:lnTo>
                  <a:lnTo>
                    <a:pt x="16692" y="4976"/>
                  </a:lnTo>
                  <a:lnTo>
                    <a:pt x="16830" y="5011"/>
                  </a:lnTo>
                  <a:lnTo>
                    <a:pt x="16934" y="5080"/>
                  </a:lnTo>
                  <a:lnTo>
                    <a:pt x="17072" y="5080"/>
                  </a:lnTo>
                  <a:lnTo>
                    <a:pt x="17210" y="5045"/>
                  </a:lnTo>
                  <a:lnTo>
                    <a:pt x="17383" y="5011"/>
                  </a:lnTo>
                  <a:lnTo>
                    <a:pt x="17521" y="4942"/>
                  </a:lnTo>
                  <a:lnTo>
                    <a:pt x="17625" y="4873"/>
                  </a:lnTo>
                  <a:lnTo>
                    <a:pt x="17728" y="4769"/>
                  </a:lnTo>
                  <a:lnTo>
                    <a:pt x="17763" y="4631"/>
                  </a:lnTo>
                  <a:lnTo>
                    <a:pt x="17867" y="4389"/>
                  </a:lnTo>
                  <a:lnTo>
                    <a:pt x="17970" y="4147"/>
                  </a:lnTo>
                  <a:lnTo>
                    <a:pt x="18247" y="3490"/>
                  </a:lnTo>
                  <a:lnTo>
                    <a:pt x="18419" y="3110"/>
                  </a:lnTo>
                  <a:lnTo>
                    <a:pt x="18523" y="2730"/>
                  </a:lnTo>
                  <a:lnTo>
                    <a:pt x="18627" y="2281"/>
                  </a:lnTo>
                  <a:lnTo>
                    <a:pt x="18661" y="1797"/>
                  </a:lnTo>
                  <a:lnTo>
                    <a:pt x="18661" y="1659"/>
                  </a:lnTo>
                  <a:lnTo>
                    <a:pt x="18592" y="1486"/>
                  </a:lnTo>
                  <a:lnTo>
                    <a:pt x="18489" y="1279"/>
                  </a:lnTo>
                  <a:lnTo>
                    <a:pt x="18350" y="1106"/>
                  </a:lnTo>
                  <a:lnTo>
                    <a:pt x="18039" y="795"/>
                  </a:lnTo>
                  <a:lnTo>
                    <a:pt x="17728" y="588"/>
                  </a:lnTo>
                  <a:lnTo>
                    <a:pt x="17383" y="380"/>
                  </a:lnTo>
                  <a:lnTo>
                    <a:pt x="16968" y="242"/>
                  </a:lnTo>
                  <a:lnTo>
                    <a:pt x="16484" y="104"/>
                  </a:lnTo>
                  <a:lnTo>
                    <a:pt x="15862" y="0"/>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35" name="Google Shape;14281;p81">
              <a:extLst>
                <a:ext uri="{FF2B5EF4-FFF2-40B4-BE49-F238E27FC236}">
                  <a16:creationId xmlns:a16="http://schemas.microsoft.com/office/drawing/2014/main" id="{42005124-BDEF-B8DB-6589-10691B594CD7}"/>
                </a:ext>
              </a:extLst>
            </p:cNvPr>
            <p:cNvSpPr/>
            <p:nvPr/>
          </p:nvSpPr>
          <p:spPr>
            <a:xfrm>
              <a:off x="5011675" y="5126125"/>
              <a:ext cx="203925" cy="344725"/>
            </a:xfrm>
            <a:custGeom>
              <a:avLst/>
              <a:gdLst/>
              <a:ahLst/>
              <a:cxnLst/>
              <a:rect l="l" t="t" r="r" b="b"/>
              <a:pathLst>
                <a:path w="8157" h="13789" extrusionOk="0">
                  <a:moveTo>
                    <a:pt x="1003" y="0"/>
                  </a:moveTo>
                  <a:lnTo>
                    <a:pt x="1" y="9849"/>
                  </a:lnTo>
                  <a:lnTo>
                    <a:pt x="1" y="10229"/>
                  </a:lnTo>
                  <a:lnTo>
                    <a:pt x="1" y="10574"/>
                  </a:lnTo>
                  <a:lnTo>
                    <a:pt x="70" y="10920"/>
                  </a:lnTo>
                  <a:lnTo>
                    <a:pt x="139" y="11265"/>
                  </a:lnTo>
                  <a:lnTo>
                    <a:pt x="277" y="11611"/>
                  </a:lnTo>
                  <a:lnTo>
                    <a:pt x="416" y="11922"/>
                  </a:lnTo>
                  <a:lnTo>
                    <a:pt x="588" y="12199"/>
                  </a:lnTo>
                  <a:lnTo>
                    <a:pt x="796" y="12475"/>
                  </a:lnTo>
                  <a:lnTo>
                    <a:pt x="1038" y="12751"/>
                  </a:lnTo>
                  <a:lnTo>
                    <a:pt x="1280" y="12959"/>
                  </a:lnTo>
                  <a:lnTo>
                    <a:pt x="1556" y="13166"/>
                  </a:lnTo>
                  <a:lnTo>
                    <a:pt x="1867" y="13373"/>
                  </a:lnTo>
                  <a:lnTo>
                    <a:pt x="2178" y="13512"/>
                  </a:lnTo>
                  <a:lnTo>
                    <a:pt x="2524" y="13650"/>
                  </a:lnTo>
                  <a:lnTo>
                    <a:pt x="2869" y="13719"/>
                  </a:lnTo>
                  <a:lnTo>
                    <a:pt x="3215" y="13788"/>
                  </a:lnTo>
                  <a:lnTo>
                    <a:pt x="3975" y="13788"/>
                  </a:lnTo>
                  <a:lnTo>
                    <a:pt x="4320" y="13719"/>
                  </a:lnTo>
                  <a:lnTo>
                    <a:pt x="4666" y="13650"/>
                  </a:lnTo>
                  <a:lnTo>
                    <a:pt x="4977" y="13512"/>
                  </a:lnTo>
                  <a:lnTo>
                    <a:pt x="5288" y="13373"/>
                  </a:lnTo>
                  <a:lnTo>
                    <a:pt x="5599" y="13201"/>
                  </a:lnTo>
                  <a:lnTo>
                    <a:pt x="5876" y="12993"/>
                  </a:lnTo>
                  <a:lnTo>
                    <a:pt x="6117" y="12751"/>
                  </a:lnTo>
                  <a:lnTo>
                    <a:pt x="6359" y="12510"/>
                  </a:lnTo>
                  <a:lnTo>
                    <a:pt x="6567" y="12233"/>
                  </a:lnTo>
                  <a:lnTo>
                    <a:pt x="6739" y="11922"/>
                  </a:lnTo>
                  <a:lnTo>
                    <a:pt x="6878" y="11611"/>
                  </a:lnTo>
                  <a:lnTo>
                    <a:pt x="7016" y="11300"/>
                  </a:lnTo>
                  <a:lnTo>
                    <a:pt x="7120" y="10954"/>
                  </a:lnTo>
                  <a:lnTo>
                    <a:pt x="7154" y="10574"/>
                  </a:lnTo>
                  <a:lnTo>
                    <a:pt x="8156" y="726"/>
                  </a:lnTo>
                  <a:lnTo>
                    <a:pt x="1003" y="0"/>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36" name="Google Shape;14282;p81">
              <a:extLst>
                <a:ext uri="{FF2B5EF4-FFF2-40B4-BE49-F238E27FC236}">
                  <a16:creationId xmlns:a16="http://schemas.microsoft.com/office/drawing/2014/main" id="{DCC639BC-6746-E353-1452-6790F59AFB1E}"/>
                </a:ext>
              </a:extLst>
            </p:cNvPr>
            <p:cNvSpPr/>
            <p:nvPr/>
          </p:nvSpPr>
          <p:spPr>
            <a:xfrm>
              <a:off x="5011675" y="5126125"/>
              <a:ext cx="203925" cy="344725"/>
            </a:xfrm>
            <a:custGeom>
              <a:avLst/>
              <a:gdLst/>
              <a:ahLst/>
              <a:cxnLst/>
              <a:rect l="l" t="t" r="r" b="b"/>
              <a:pathLst>
                <a:path w="8157" h="13789" fill="none" extrusionOk="0">
                  <a:moveTo>
                    <a:pt x="1003" y="0"/>
                  </a:moveTo>
                  <a:lnTo>
                    <a:pt x="8156" y="726"/>
                  </a:lnTo>
                  <a:lnTo>
                    <a:pt x="7154" y="10574"/>
                  </a:lnTo>
                  <a:lnTo>
                    <a:pt x="7154" y="10574"/>
                  </a:lnTo>
                  <a:lnTo>
                    <a:pt x="7120" y="10954"/>
                  </a:lnTo>
                  <a:lnTo>
                    <a:pt x="7016" y="11300"/>
                  </a:lnTo>
                  <a:lnTo>
                    <a:pt x="6878" y="11611"/>
                  </a:lnTo>
                  <a:lnTo>
                    <a:pt x="6739" y="11922"/>
                  </a:lnTo>
                  <a:lnTo>
                    <a:pt x="6567" y="12233"/>
                  </a:lnTo>
                  <a:lnTo>
                    <a:pt x="6359" y="12510"/>
                  </a:lnTo>
                  <a:lnTo>
                    <a:pt x="6117" y="12751"/>
                  </a:lnTo>
                  <a:lnTo>
                    <a:pt x="5876" y="12993"/>
                  </a:lnTo>
                  <a:lnTo>
                    <a:pt x="5599" y="13201"/>
                  </a:lnTo>
                  <a:lnTo>
                    <a:pt x="5288" y="13373"/>
                  </a:lnTo>
                  <a:lnTo>
                    <a:pt x="4977" y="13512"/>
                  </a:lnTo>
                  <a:lnTo>
                    <a:pt x="4666" y="13650"/>
                  </a:lnTo>
                  <a:lnTo>
                    <a:pt x="4320" y="13719"/>
                  </a:lnTo>
                  <a:lnTo>
                    <a:pt x="3975" y="13788"/>
                  </a:lnTo>
                  <a:lnTo>
                    <a:pt x="3595" y="13788"/>
                  </a:lnTo>
                  <a:lnTo>
                    <a:pt x="3249" y="13788"/>
                  </a:lnTo>
                  <a:lnTo>
                    <a:pt x="3215" y="13788"/>
                  </a:lnTo>
                  <a:lnTo>
                    <a:pt x="3215" y="13788"/>
                  </a:lnTo>
                  <a:lnTo>
                    <a:pt x="2869" y="13719"/>
                  </a:lnTo>
                  <a:lnTo>
                    <a:pt x="2524" y="13650"/>
                  </a:lnTo>
                  <a:lnTo>
                    <a:pt x="2178" y="13512"/>
                  </a:lnTo>
                  <a:lnTo>
                    <a:pt x="1867" y="13373"/>
                  </a:lnTo>
                  <a:lnTo>
                    <a:pt x="1556" y="13166"/>
                  </a:lnTo>
                  <a:lnTo>
                    <a:pt x="1280" y="12959"/>
                  </a:lnTo>
                  <a:lnTo>
                    <a:pt x="1038" y="12751"/>
                  </a:lnTo>
                  <a:lnTo>
                    <a:pt x="796" y="12475"/>
                  </a:lnTo>
                  <a:lnTo>
                    <a:pt x="588" y="12199"/>
                  </a:lnTo>
                  <a:lnTo>
                    <a:pt x="416" y="11922"/>
                  </a:lnTo>
                  <a:lnTo>
                    <a:pt x="277" y="11611"/>
                  </a:lnTo>
                  <a:lnTo>
                    <a:pt x="139" y="11265"/>
                  </a:lnTo>
                  <a:lnTo>
                    <a:pt x="70" y="10920"/>
                  </a:lnTo>
                  <a:lnTo>
                    <a:pt x="1" y="10574"/>
                  </a:lnTo>
                  <a:lnTo>
                    <a:pt x="1" y="10229"/>
                  </a:lnTo>
                  <a:lnTo>
                    <a:pt x="1" y="9849"/>
                  </a:lnTo>
                  <a:lnTo>
                    <a:pt x="1003"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37" name="Google Shape;14283;p81">
              <a:extLst>
                <a:ext uri="{FF2B5EF4-FFF2-40B4-BE49-F238E27FC236}">
                  <a16:creationId xmlns:a16="http://schemas.microsoft.com/office/drawing/2014/main" id="{8862ABC5-4917-90BE-161D-ED9E1CD4164D}"/>
                </a:ext>
              </a:extLst>
            </p:cNvPr>
            <p:cNvSpPr/>
            <p:nvPr/>
          </p:nvSpPr>
          <p:spPr>
            <a:xfrm>
              <a:off x="5024650" y="2352975"/>
              <a:ext cx="450975" cy="2914850"/>
            </a:xfrm>
            <a:custGeom>
              <a:avLst/>
              <a:gdLst/>
              <a:ahLst/>
              <a:cxnLst/>
              <a:rect l="l" t="t" r="r" b="b"/>
              <a:pathLst>
                <a:path w="18039" h="116594" extrusionOk="0">
                  <a:moveTo>
                    <a:pt x="15101" y="0"/>
                  </a:moveTo>
                  <a:lnTo>
                    <a:pt x="14894" y="35"/>
                  </a:lnTo>
                  <a:lnTo>
                    <a:pt x="14687" y="104"/>
                  </a:lnTo>
                  <a:lnTo>
                    <a:pt x="14514" y="173"/>
                  </a:lnTo>
                  <a:lnTo>
                    <a:pt x="14341" y="277"/>
                  </a:lnTo>
                  <a:lnTo>
                    <a:pt x="14168" y="449"/>
                  </a:lnTo>
                  <a:lnTo>
                    <a:pt x="14065" y="622"/>
                  </a:lnTo>
                  <a:lnTo>
                    <a:pt x="13926" y="829"/>
                  </a:lnTo>
                  <a:lnTo>
                    <a:pt x="10955" y="7844"/>
                  </a:lnTo>
                  <a:lnTo>
                    <a:pt x="10886" y="8017"/>
                  </a:lnTo>
                  <a:lnTo>
                    <a:pt x="0" y="115868"/>
                  </a:lnTo>
                  <a:lnTo>
                    <a:pt x="1452" y="116006"/>
                  </a:lnTo>
                  <a:lnTo>
                    <a:pt x="1590" y="116040"/>
                  </a:lnTo>
                  <a:lnTo>
                    <a:pt x="4665" y="116351"/>
                  </a:lnTo>
                  <a:lnTo>
                    <a:pt x="6428" y="116524"/>
                  </a:lnTo>
                  <a:lnTo>
                    <a:pt x="7119" y="116593"/>
                  </a:lnTo>
                  <a:lnTo>
                    <a:pt x="18004" y="9088"/>
                  </a:lnTo>
                  <a:lnTo>
                    <a:pt x="18039" y="8743"/>
                  </a:lnTo>
                  <a:lnTo>
                    <a:pt x="16484" y="1071"/>
                  </a:lnTo>
                  <a:lnTo>
                    <a:pt x="16415" y="864"/>
                  </a:lnTo>
                  <a:lnTo>
                    <a:pt x="16311" y="657"/>
                  </a:lnTo>
                  <a:lnTo>
                    <a:pt x="16173" y="484"/>
                  </a:lnTo>
                  <a:lnTo>
                    <a:pt x="16034" y="346"/>
                  </a:lnTo>
                  <a:lnTo>
                    <a:pt x="15862" y="207"/>
                  </a:lnTo>
                  <a:lnTo>
                    <a:pt x="15689" y="104"/>
                  </a:lnTo>
                  <a:lnTo>
                    <a:pt x="15516" y="69"/>
                  </a:lnTo>
                  <a:lnTo>
                    <a:pt x="15309" y="35"/>
                  </a:lnTo>
                  <a:lnTo>
                    <a:pt x="15101" y="0"/>
                  </a:lnTo>
                  <a:close/>
                </a:path>
              </a:pathLst>
            </a:custGeom>
            <a:solidFill>
              <a:srgbClr val="EB8C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38" name="Google Shape;14284;p81">
              <a:extLst>
                <a:ext uri="{FF2B5EF4-FFF2-40B4-BE49-F238E27FC236}">
                  <a16:creationId xmlns:a16="http://schemas.microsoft.com/office/drawing/2014/main" id="{1D8291BA-13C0-E882-96A3-FAEA2B249517}"/>
                </a:ext>
              </a:extLst>
            </p:cNvPr>
            <p:cNvSpPr/>
            <p:nvPr/>
          </p:nvSpPr>
          <p:spPr>
            <a:xfrm>
              <a:off x="5024650" y="2352975"/>
              <a:ext cx="450975" cy="2914850"/>
            </a:xfrm>
            <a:custGeom>
              <a:avLst/>
              <a:gdLst/>
              <a:ahLst/>
              <a:cxnLst/>
              <a:rect l="l" t="t" r="r" b="b"/>
              <a:pathLst>
                <a:path w="18039" h="116594" fill="none" extrusionOk="0">
                  <a:moveTo>
                    <a:pt x="7119" y="116593"/>
                  </a:moveTo>
                  <a:lnTo>
                    <a:pt x="6428" y="116524"/>
                  </a:lnTo>
                  <a:lnTo>
                    <a:pt x="4665" y="116351"/>
                  </a:lnTo>
                  <a:lnTo>
                    <a:pt x="1590" y="116040"/>
                  </a:lnTo>
                  <a:lnTo>
                    <a:pt x="1452" y="116006"/>
                  </a:lnTo>
                  <a:lnTo>
                    <a:pt x="0" y="115868"/>
                  </a:lnTo>
                  <a:lnTo>
                    <a:pt x="10886" y="8017"/>
                  </a:lnTo>
                  <a:lnTo>
                    <a:pt x="10955" y="7844"/>
                  </a:lnTo>
                  <a:lnTo>
                    <a:pt x="13926" y="829"/>
                  </a:lnTo>
                  <a:lnTo>
                    <a:pt x="13926" y="829"/>
                  </a:lnTo>
                  <a:lnTo>
                    <a:pt x="14065" y="622"/>
                  </a:lnTo>
                  <a:lnTo>
                    <a:pt x="14168" y="449"/>
                  </a:lnTo>
                  <a:lnTo>
                    <a:pt x="14341" y="277"/>
                  </a:lnTo>
                  <a:lnTo>
                    <a:pt x="14514" y="173"/>
                  </a:lnTo>
                  <a:lnTo>
                    <a:pt x="14687" y="104"/>
                  </a:lnTo>
                  <a:lnTo>
                    <a:pt x="14894" y="35"/>
                  </a:lnTo>
                  <a:lnTo>
                    <a:pt x="15101" y="0"/>
                  </a:lnTo>
                  <a:lnTo>
                    <a:pt x="15309" y="35"/>
                  </a:lnTo>
                  <a:lnTo>
                    <a:pt x="15516" y="69"/>
                  </a:lnTo>
                  <a:lnTo>
                    <a:pt x="15689" y="104"/>
                  </a:lnTo>
                  <a:lnTo>
                    <a:pt x="15862" y="207"/>
                  </a:lnTo>
                  <a:lnTo>
                    <a:pt x="16034" y="346"/>
                  </a:lnTo>
                  <a:lnTo>
                    <a:pt x="16173" y="484"/>
                  </a:lnTo>
                  <a:lnTo>
                    <a:pt x="16311" y="657"/>
                  </a:lnTo>
                  <a:lnTo>
                    <a:pt x="16415" y="864"/>
                  </a:lnTo>
                  <a:lnTo>
                    <a:pt x="16484" y="1071"/>
                  </a:lnTo>
                  <a:lnTo>
                    <a:pt x="18039" y="8743"/>
                  </a:lnTo>
                  <a:lnTo>
                    <a:pt x="18004" y="9088"/>
                  </a:lnTo>
                  <a:lnTo>
                    <a:pt x="7119" y="116593"/>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39" name="Google Shape;14285;p81">
              <a:extLst>
                <a:ext uri="{FF2B5EF4-FFF2-40B4-BE49-F238E27FC236}">
                  <a16:creationId xmlns:a16="http://schemas.microsoft.com/office/drawing/2014/main" id="{79682BAB-8723-67BB-7226-3BDCFE74D95F}"/>
                </a:ext>
              </a:extLst>
            </p:cNvPr>
            <p:cNvSpPr/>
            <p:nvPr/>
          </p:nvSpPr>
          <p:spPr>
            <a:xfrm>
              <a:off x="5296775" y="2296800"/>
              <a:ext cx="178850" cy="298950"/>
            </a:xfrm>
            <a:custGeom>
              <a:avLst/>
              <a:gdLst/>
              <a:ahLst/>
              <a:cxnLst/>
              <a:rect l="l" t="t" r="r" b="b"/>
              <a:pathLst>
                <a:path w="7154" h="11958" extrusionOk="0">
                  <a:moveTo>
                    <a:pt x="4493" y="1"/>
                  </a:moveTo>
                  <a:lnTo>
                    <a:pt x="4355" y="35"/>
                  </a:lnTo>
                  <a:lnTo>
                    <a:pt x="4216" y="70"/>
                  </a:lnTo>
                  <a:lnTo>
                    <a:pt x="4078" y="139"/>
                  </a:lnTo>
                  <a:lnTo>
                    <a:pt x="3975" y="208"/>
                  </a:lnTo>
                  <a:lnTo>
                    <a:pt x="3871" y="312"/>
                  </a:lnTo>
                  <a:lnTo>
                    <a:pt x="3767" y="450"/>
                  </a:lnTo>
                  <a:lnTo>
                    <a:pt x="3698" y="588"/>
                  </a:lnTo>
                  <a:lnTo>
                    <a:pt x="1" y="10264"/>
                  </a:lnTo>
                  <a:lnTo>
                    <a:pt x="381" y="10299"/>
                  </a:lnTo>
                  <a:lnTo>
                    <a:pt x="588" y="10299"/>
                  </a:lnTo>
                  <a:lnTo>
                    <a:pt x="726" y="10264"/>
                  </a:lnTo>
                  <a:lnTo>
                    <a:pt x="795" y="10230"/>
                  </a:lnTo>
                  <a:lnTo>
                    <a:pt x="864" y="10160"/>
                  </a:lnTo>
                  <a:lnTo>
                    <a:pt x="1072" y="10160"/>
                  </a:lnTo>
                  <a:lnTo>
                    <a:pt x="1210" y="10195"/>
                  </a:lnTo>
                  <a:lnTo>
                    <a:pt x="1348" y="10264"/>
                  </a:lnTo>
                  <a:lnTo>
                    <a:pt x="1556" y="10471"/>
                  </a:lnTo>
                  <a:lnTo>
                    <a:pt x="1694" y="10575"/>
                  </a:lnTo>
                  <a:lnTo>
                    <a:pt x="1832" y="10679"/>
                  </a:lnTo>
                  <a:lnTo>
                    <a:pt x="2039" y="10748"/>
                  </a:lnTo>
                  <a:lnTo>
                    <a:pt x="2316" y="10782"/>
                  </a:lnTo>
                  <a:lnTo>
                    <a:pt x="2558" y="10782"/>
                  </a:lnTo>
                  <a:lnTo>
                    <a:pt x="2730" y="10713"/>
                  </a:lnTo>
                  <a:lnTo>
                    <a:pt x="2869" y="10575"/>
                  </a:lnTo>
                  <a:lnTo>
                    <a:pt x="2972" y="10437"/>
                  </a:lnTo>
                  <a:lnTo>
                    <a:pt x="3076" y="10264"/>
                  </a:lnTo>
                  <a:lnTo>
                    <a:pt x="3180" y="10160"/>
                  </a:lnTo>
                  <a:lnTo>
                    <a:pt x="3283" y="10091"/>
                  </a:lnTo>
                  <a:lnTo>
                    <a:pt x="3387" y="10091"/>
                  </a:lnTo>
                  <a:lnTo>
                    <a:pt x="3491" y="10057"/>
                  </a:lnTo>
                  <a:lnTo>
                    <a:pt x="3629" y="10057"/>
                  </a:lnTo>
                  <a:lnTo>
                    <a:pt x="3767" y="10091"/>
                  </a:lnTo>
                  <a:lnTo>
                    <a:pt x="3905" y="10160"/>
                  </a:lnTo>
                  <a:lnTo>
                    <a:pt x="4009" y="10264"/>
                  </a:lnTo>
                  <a:lnTo>
                    <a:pt x="4113" y="10368"/>
                  </a:lnTo>
                  <a:lnTo>
                    <a:pt x="4320" y="10644"/>
                  </a:lnTo>
                  <a:lnTo>
                    <a:pt x="4493" y="10990"/>
                  </a:lnTo>
                  <a:lnTo>
                    <a:pt x="4666" y="11301"/>
                  </a:lnTo>
                  <a:lnTo>
                    <a:pt x="4838" y="11612"/>
                  </a:lnTo>
                  <a:lnTo>
                    <a:pt x="4942" y="11716"/>
                  </a:lnTo>
                  <a:lnTo>
                    <a:pt x="5046" y="11819"/>
                  </a:lnTo>
                  <a:lnTo>
                    <a:pt x="5184" y="11888"/>
                  </a:lnTo>
                  <a:lnTo>
                    <a:pt x="5288" y="11957"/>
                  </a:lnTo>
                  <a:lnTo>
                    <a:pt x="5495" y="11957"/>
                  </a:lnTo>
                  <a:lnTo>
                    <a:pt x="5668" y="11888"/>
                  </a:lnTo>
                  <a:lnTo>
                    <a:pt x="5806" y="11819"/>
                  </a:lnTo>
                  <a:lnTo>
                    <a:pt x="5979" y="11681"/>
                  </a:lnTo>
                  <a:lnTo>
                    <a:pt x="6186" y="11508"/>
                  </a:lnTo>
                  <a:lnTo>
                    <a:pt x="6428" y="11370"/>
                  </a:lnTo>
                  <a:lnTo>
                    <a:pt x="6739" y="11232"/>
                  </a:lnTo>
                  <a:lnTo>
                    <a:pt x="7119" y="11128"/>
                  </a:lnTo>
                  <a:lnTo>
                    <a:pt x="7154" y="10990"/>
                  </a:lnTo>
                  <a:lnTo>
                    <a:pt x="5460" y="796"/>
                  </a:lnTo>
                  <a:lnTo>
                    <a:pt x="5426" y="623"/>
                  </a:lnTo>
                  <a:lnTo>
                    <a:pt x="5357" y="485"/>
                  </a:lnTo>
                  <a:lnTo>
                    <a:pt x="5253" y="346"/>
                  </a:lnTo>
                  <a:lnTo>
                    <a:pt x="5184" y="243"/>
                  </a:lnTo>
                  <a:lnTo>
                    <a:pt x="5046" y="139"/>
                  </a:lnTo>
                  <a:lnTo>
                    <a:pt x="4908" y="70"/>
                  </a:lnTo>
                  <a:lnTo>
                    <a:pt x="4769" y="35"/>
                  </a:lnTo>
                  <a:lnTo>
                    <a:pt x="4631" y="1"/>
                  </a:lnTo>
                  <a:close/>
                </a:path>
              </a:pathLst>
            </a:custGeom>
            <a:solidFill>
              <a:srgbClr val="F1BAC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40" name="Google Shape;14286;p81">
              <a:extLst>
                <a:ext uri="{FF2B5EF4-FFF2-40B4-BE49-F238E27FC236}">
                  <a16:creationId xmlns:a16="http://schemas.microsoft.com/office/drawing/2014/main" id="{85A10635-07C3-D6C0-0D46-A7EA951D10C8}"/>
                </a:ext>
              </a:extLst>
            </p:cNvPr>
            <p:cNvSpPr/>
            <p:nvPr/>
          </p:nvSpPr>
          <p:spPr>
            <a:xfrm>
              <a:off x="5296775" y="2296800"/>
              <a:ext cx="178850" cy="298950"/>
            </a:xfrm>
            <a:custGeom>
              <a:avLst/>
              <a:gdLst/>
              <a:ahLst/>
              <a:cxnLst/>
              <a:rect l="l" t="t" r="r" b="b"/>
              <a:pathLst>
                <a:path w="7154" h="11958" fill="none" extrusionOk="0">
                  <a:moveTo>
                    <a:pt x="1" y="10264"/>
                  </a:moveTo>
                  <a:lnTo>
                    <a:pt x="3698" y="588"/>
                  </a:lnTo>
                  <a:lnTo>
                    <a:pt x="3698" y="588"/>
                  </a:lnTo>
                  <a:lnTo>
                    <a:pt x="3767" y="450"/>
                  </a:lnTo>
                  <a:lnTo>
                    <a:pt x="3871" y="312"/>
                  </a:lnTo>
                  <a:lnTo>
                    <a:pt x="3975" y="208"/>
                  </a:lnTo>
                  <a:lnTo>
                    <a:pt x="4078" y="139"/>
                  </a:lnTo>
                  <a:lnTo>
                    <a:pt x="4216" y="70"/>
                  </a:lnTo>
                  <a:lnTo>
                    <a:pt x="4355" y="35"/>
                  </a:lnTo>
                  <a:lnTo>
                    <a:pt x="4493" y="1"/>
                  </a:lnTo>
                  <a:lnTo>
                    <a:pt x="4631" y="1"/>
                  </a:lnTo>
                  <a:lnTo>
                    <a:pt x="4769" y="35"/>
                  </a:lnTo>
                  <a:lnTo>
                    <a:pt x="4908" y="70"/>
                  </a:lnTo>
                  <a:lnTo>
                    <a:pt x="5046" y="139"/>
                  </a:lnTo>
                  <a:lnTo>
                    <a:pt x="5184" y="243"/>
                  </a:lnTo>
                  <a:lnTo>
                    <a:pt x="5253" y="346"/>
                  </a:lnTo>
                  <a:lnTo>
                    <a:pt x="5357" y="485"/>
                  </a:lnTo>
                  <a:lnTo>
                    <a:pt x="5426" y="623"/>
                  </a:lnTo>
                  <a:lnTo>
                    <a:pt x="5460" y="796"/>
                  </a:lnTo>
                  <a:lnTo>
                    <a:pt x="7154" y="10990"/>
                  </a:lnTo>
                  <a:lnTo>
                    <a:pt x="7119" y="11128"/>
                  </a:lnTo>
                  <a:lnTo>
                    <a:pt x="7119" y="11128"/>
                  </a:lnTo>
                  <a:lnTo>
                    <a:pt x="6739" y="11232"/>
                  </a:lnTo>
                  <a:lnTo>
                    <a:pt x="6428" y="11370"/>
                  </a:lnTo>
                  <a:lnTo>
                    <a:pt x="6186" y="11508"/>
                  </a:lnTo>
                  <a:lnTo>
                    <a:pt x="5979" y="11681"/>
                  </a:lnTo>
                  <a:lnTo>
                    <a:pt x="5806" y="11819"/>
                  </a:lnTo>
                  <a:lnTo>
                    <a:pt x="5668" y="11888"/>
                  </a:lnTo>
                  <a:lnTo>
                    <a:pt x="5495" y="11957"/>
                  </a:lnTo>
                  <a:lnTo>
                    <a:pt x="5288" y="11957"/>
                  </a:lnTo>
                  <a:lnTo>
                    <a:pt x="5288" y="11957"/>
                  </a:lnTo>
                  <a:lnTo>
                    <a:pt x="5184" y="11888"/>
                  </a:lnTo>
                  <a:lnTo>
                    <a:pt x="5046" y="11819"/>
                  </a:lnTo>
                  <a:lnTo>
                    <a:pt x="4942" y="11716"/>
                  </a:lnTo>
                  <a:lnTo>
                    <a:pt x="4838" y="11612"/>
                  </a:lnTo>
                  <a:lnTo>
                    <a:pt x="4666" y="11301"/>
                  </a:lnTo>
                  <a:lnTo>
                    <a:pt x="4493" y="10990"/>
                  </a:lnTo>
                  <a:lnTo>
                    <a:pt x="4320" y="10644"/>
                  </a:lnTo>
                  <a:lnTo>
                    <a:pt x="4113" y="10368"/>
                  </a:lnTo>
                  <a:lnTo>
                    <a:pt x="4009" y="10264"/>
                  </a:lnTo>
                  <a:lnTo>
                    <a:pt x="3905" y="10160"/>
                  </a:lnTo>
                  <a:lnTo>
                    <a:pt x="3767" y="10091"/>
                  </a:lnTo>
                  <a:lnTo>
                    <a:pt x="3629" y="10057"/>
                  </a:lnTo>
                  <a:lnTo>
                    <a:pt x="3629" y="10057"/>
                  </a:lnTo>
                  <a:lnTo>
                    <a:pt x="3491" y="10057"/>
                  </a:lnTo>
                  <a:lnTo>
                    <a:pt x="3387" y="10091"/>
                  </a:lnTo>
                  <a:lnTo>
                    <a:pt x="3283" y="10091"/>
                  </a:lnTo>
                  <a:lnTo>
                    <a:pt x="3180" y="10160"/>
                  </a:lnTo>
                  <a:lnTo>
                    <a:pt x="3076" y="10264"/>
                  </a:lnTo>
                  <a:lnTo>
                    <a:pt x="2972" y="10437"/>
                  </a:lnTo>
                  <a:lnTo>
                    <a:pt x="2972" y="10437"/>
                  </a:lnTo>
                  <a:lnTo>
                    <a:pt x="2869" y="10575"/>
                  </a:lnTo>
                  <a:lnTo>
                    <a:pt x="2730" y="10713"/>
                  </a:lnTo>
                  <a:lnTo>
                    <a:pt x="2558" y="10782"/>
                  </a:lnTo>
                  <a:lnTo>
                    <a:pt x="2454" y="10782"/>
                  </a:lnTo>
                  <a:lnTo>
                    <a:pt x="2316" y="10782"/>
                  </a:lnTo>
                  <a:lnTo>
                    <a:pt x="2316" y="10782"/>
                  </a:lnTo>
                  <a:lnTo>
                    <a:pt x="2039" y="10748"/>
                  </a:lnTo>
                  <a:lnTo>
                    <a:pt x="1832" y="10679"/>
                  </a:lnTo>
                  <a:lnTo>
                    <a:pt x="1694" y="10575"/>
                  </a:lnTo>
                  <a:lnTo>
                    <a:pt x="1556" y="10471"/>
                  </a:lnTo>
                  <a:lnTo>
                    <a:pt x="1348" y="10264"/>
                  </a:lnTo>
                  <a:lnTo>
                    <a:pt x="1210" y="10195"/>
                  </a:lnTo>
                  <a:lnTo>
                    <a:pt x="1072" y="10160"/>
                  </a:lnTo>
                  <a:lnTo>
                    <a:pt x="1072" y="10160"/>
                  </a:lnTo>
                  <a:lnTo>
                    <a:pt x="934" y="10160"/>
                  </a:lnTo>
                  <a:lnTo>
                    <a:pt x="864" y="10160"/>
                  </a:lnTo>
                  <a:lnTo>
                    <a:pt x="795" y="10230"/>
                  </a:lnTo>
                  <a:lnTo>
                    <a:pt x="795" y="10230"/>
                  </a:lnTo>
                  <a:lnTo>
                    <a:pt x="726" y="10264"/>
                  </a:lnTo>
                  <a:lnTo>
                    <a:pt x="588" y="10299"/>
                  </a:lnTo>
                  <a:lnTo>
                    <a:pt x="381" y="10299"/>
                  </a:lnTo>
                  <a:lnTo>
                    <a:pt x="1" y="10264"/>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41" name="Google Shape;14287;p81">
              <a:extLst>
                <a:ext uri="{FF2B5EF4-FFF2-40B4-BE49-F238E27FC236}">
                  <a16:creationId xmlns:a16="http://schemas.microsoft.com/office/drawing/2014/main" id="{74333467-78B5-2B87-BE4F-E0FF466E06CE}"/>
                </a:ext>
              </a:extLst>
            </p:cNvPr>
            <p:cNvSpPr/>
            <p:nvPr/>
          </p:nvSpPr>
          <p:spPr>
            <a:xfrm>
              <a:off x="5368475" y="2269175"/>
              <a:ext cx="74325" cy="107150"/>
            </a:xfrm>
            <a:custGeom>
              <a:avLst/>
              <a:gdLst/>
              <a:ahLst/>
              <a:cxnLst/>
              <a:rect l="l" t="t" r="r" b="b"/>
              <a:pathLst>
                <a:path w="2973" h="4286" extrusionOk="0">
                  <a:moveTo>
                    <a:pt x="1901" y="0"/>
                  </a:moveTo>
                  <a:lnTo>
                    <a:pt x="1729" y="35"/>
                  </a:lnTo>
                  <a:lnTo>
                    <a:pt x="1556" y="69"/>
                  </a:lnTo>
                  <a:lnTo>
                    <a:pt x="1452" y="173"/>
                  </a:lnTo>
                  <a:lnTo>
                    <a:pt x="1348" y="346"/>
                  </a:lnTo>
                  <a:lnTo>
                    <a:pt x="35" y="3801"/>
                  </a:lnTo>
                  <a:lnTo>
                    <a:pt x="1" y="3870"/>
                  </a:lnTo>
                  <a:lnTo>
                    <a:pt x="35" y="3905"/>
                  </a:lnTo>
                  <a:lnTo>
                    <a:pt x="70" y="3940"/>
                  </a:lnTo>
                  <a:lnTo>
                    <a:pt x="139" y="3940"/>
                  </a:lnTo>
                  <a:lnTo>
                    <a:pt x="796" y="3801"/>
                  </a:lnTo>
                  <a:lnTo>
                    <a:pt x="1348" y="3767"/>
                  </a:lnTo>
                  <a:lnTo>
                    <a:pt x="1521" y="3801"/>
                  </a:lnTo>
                  <a:lnTo>
                    <a:pt x="1694" y="3870"/>
                  </a:lnTo>
                  <a:lnTo>
                    <a:pt x="2005" y="4078"/>
                  </a:lnTo>
                  <a:lnTo>
                    <a:pt x="2178" y="4181"/>
                  </a:lnTo>
                  <a:lnTo>
                    <a:pt x="2351" y="4251"/>
                  </a:lnTo>
                  <a:lnTo>
                    <a:pt x="2592" y="4285"/>
                  </a:lnTo>
                  <a:lnTo>
                    <a:pt x="2903" y="4216"/>
                  </a:lnTo>
                  <a:lnTo>
                    <a:pt x="2938" y="4181"/>
                  </a:lnTo>
                  <a:lnTo>
                    <a:pt x="2973" y="4112"/>
                  </a:lnTo>
                  <a:lnTo>
                    <a:pt x="2351" y="449"/>
                  </a:lnTo>
                  <a:lnTo>
                    <a:pt x="2281" y="277"/>
                  </a:lnTo>
                  <a:lnTo>
                    <a:pt x="2178" y="138"/>
                  </a:lnTo>
                  <a:lnTo>
                    <a:pt x="2040" y="69"/>
                  </a:lnTo>
                  <a:lnTo>
                    <a:pt x="1901" y="0"/>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42" name="Google Shape;14288;p81">
              <a:extLst>
                <a:ext uri="{FF2B5EF4-FFF2-40B4-BE49-F238E27FC236}">
                  <a16:creationId xmlns:a16="http://schemas.microsoft.com/office/drawing/2014/main" id="{E4928C54-E7E3-E871-78F9-74FFC816EA70}"/>
                </a:ext>
              </a:extLst>
            </p:cNvPr>
            <p:cNvSpPr/>
            <p:nvPr/>
          </p:nvSpPr>
          <p:spPr>
            <a:xfrm>
              <a:off x="5024650" y="2550800"/>
              <a:ext cx="298925" cy="2703200"/>
            </a:xfrm>
            <a:custGeom>
              <a:avLst/>
              <a:gdLst/>
              <a:ahLst/>
              <a:cxnLst/>
              <a:rect l="l" t="t" r="r" b="b"/>
              <a:pathLst>
                <a:path w="11957" h="108128" extrusionOk="0">
                  <a:moveTo>
                    <a:pt x="11957" y="0"/>
                  </a:moveTo>
                  <a:lnTo>
                    <a:pt x="11715" y="35"/>
                  </a:lnTo>
                  <a:lnTo>
                    <a:pt x="11680" y="70"/>
                  </a:lnTo>
                  <a:lnTo>
                    <a:pt x="11577" y="139"/>
                  </a:lnTo>
                  <a:lnTo>
                    <a:pt x="11335" y="139"/>
                  </a:lnTo>
                  <a:lnTo>
                    <a:pt x="10886" y="104"/>
                  </a:lnTo>
                  <a:lnTo>
                    <a:pt x="2661" y="81554"/>
                  </a:lnTo>
                  <a:lnTo>
                    <a:pt x="2454" y="83558"/>
                  </a:lnTo>
                  <a:lnTo>
                    <a:pt x="0" y="107955"/>
                  </a:lnTo>
                  <a:lnTo>
                    <a:pt x="1452" y="108093"/>
                  </a:lnTo>
                  <a:lnTo>
                    <a:pt x="1590" y="108127"/>
                  </a:lnTo>
                  <a:lnTo>
                    <a:pt x="2143" y="103428"/>
                  </a:lnTo>
                  <a:lnTo>
                    <a:pt x="2661" y="98486"/>
                  </a:lnTo>
                  <a:lnTo>
                    <a:pt x="3145" y="93406"/>
                  </a:lnTo>
                  <a:lnTo>
                    <a:pt x="3629" y="88258"/>
                  </a:lnTo>
                  <a:lnTo>
                    <a:pt x="4527" y="78236"/>
                  </a:lnTo>
                  <a:lnTo>
                    <a:pt x="4976" y="73571"/>
                  </a:lnTo>
                  <a:lnTo>
                    <a:pt x="5391" y="69286"/>
                  </a:lnTo>
                  <a:lnTo>
                    <a:pt x="6082" y="62824"/>
                  </a:lnTo>
                  <a:lnTo>
                    <a:pt x="6981" y="54323"/>
                  </a:lnTo>
                  <a:lnTo>
                    <a:pt x="8052" y="44440"/>
                  </a:lnTo>
                  <a:lnTo>
                    <a:pt x="9158" y="33935"/>
                  </a:lnTo>
                  <a:lnTo>
                    <a:pt x="10194" y="23499"/>
                  </a:lnTo>
                  <a:lnTo>
                    <a:pt x="10678" y="18557"/>
                  </a:lnTo>
                  <a:lnTo>
                    <a:pt x="11058" y="13892"/>
                  </a:lnTo>
                  <a:lnTo>
                    <a:pt x="11438" y="9642"/>
                  </a:lnTo>
                  <a:lnTo>
                    <a:pt x="11680" y="5841"/>
                  </a:lnTo>
                  <a:lnTo>
                    <a:pt x="11888" y="2592"/>
                  </a:lnTo>
                  <a:lnTo>
                    <a:pt x="11922" y="1210"/>
                  </a:lnTo>
                  <a:lnTo>
                    <a:pt x="11957" y="0"/>
                  </a:lnTo>
                  <a:close/>
                </a:path>
              </a:pathLst>
            </a:custGeom>
            <a:solidFill>
              <a:srgbClr val="D9820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43" name="Google Shape;14289;p81">
              <a:extLst>
                <a:ext uri="{FF2B5EF4-FFF2-40B4-BE49-F238E27FC236}">
                  <a16:creationId xmlns:a16="http://schemas.microsoft.com/office/drawing/2014/main" id="{2F14423C-A95D-CD44-3ACB-F49CE2DD4B13}"/>
                </a:ext>
              </a:extLst>
            </p:cNvPr>
            <p:cNvSpPr/>
            <p:nvPr/>
          </p:nvSpPr>
          <p:spPr>
            <a:xfrm>
              <a:off x="5024650" y="2550800"/>
              <a:ext cx="298925" cy="2703200"/>
            </a:xfrm>
            <a:custGeom>
              <a:avLst/>
              <a:gdLst/>
              <a:ahLst/>
              <a:cxnLst/>
              <a:rect l="l" t="t" r="r" b="b"/>
              <a:pathLst>
                <a:path w="11957" h="108128" fill="none" extrusionOk="0">
                  <a:moveTo>
                    <a:pt x="11957" y="0"/>
                  </a:moveTo>
                  <a:lnTo>
                    <a:pt x="11715" y="35"/>
                  </a:lnTo>
                  <a:lnTo>
                    <a:pt x="11715" y="35"/>
                  </a:lnTo>
                  <a:lnTo>
                    <a:pt x="11680" y="70"/>
                  </a:lnTo>
                  <a:lnTo>
                    <a:pt x="11680" y="70"/>
                  </a:lnTo>
                  <a:lnTo>
                    <a:pt x="11577" y="139"/>
                  </a:lnTo>
                  <a:lnTo>
                    <a:pt x="11335" y="139"/>
                  </a:lnTo>
                  <a:lnTo>
                    <a:pt x="11335" y="139"/>
                  </a:lnTo>
                  <a:lnTo>
                    <a:pt x="10886" y="104"/>
                  </a:lnTo>
                  <a:lnTo>
                    <a:pt x="2661" y="81554"/>
                  </a:lnTo>
                  <a:lnTo>
                    <a:pt x="2454" y="83558"/>
                  </a:lnTo>
                  <a:lnTo>
                    <a:pt x="0" y="107955"/>
                  </a:lnTo>
                  <a:lnTo>
                    <a:pt x="1452" y="108093"/>
                  </a:lnTo>
                  <a:lnTo>
                    <a:pt x="1590" y="108127"/>
                  </a:lnTo>
                  <a:lnTo>
                    <a:pt x="1590" y="108127"/>
                  </a:lnTo>
                  <a:lnTo>
                    <a:pt x="2143" y="103428"/>
                  </a:lnTo>
                  <a:lnTo>
                    <a:pt x="2661" y="98486"/>
                  </a:lnTo>
                  <a:lnTo>
                    <a:pt x="3145" y="93406"/>
                  </a:lnTo>
                  <a:lnTo>
                    <a:pt x="3629" y="88258"/>
                  </a:lnTo>
                  <a:lnTo>
                    <a:pt x="4527" y="78236"/>
                  </a:lnTo>
                  <a:lnTo>
                    <a:pt x="4976" y="73571"/>
                  </a:lnTo>
                  <a:lnTo>
                    <a:pt x="5391" y="69286"/>
                  </a:lnTo>
                  <a:lnTo>
                    <a:pt x="5391" y="69286"/>
                  </a:lnTo>
                  <a:lnTo>
                    <a:pt x="6082" y="62824"/>
                  </a:lnTo>
                  <a:lnTo>
                    <a:pt x="6981" y="54323"/>
                  </a:lnTo>
                  <a:lnTo>
                    <a:pt x="8052" y="44440"/>
                  </a:lnTo>
                  <a:lnTo>
                    <a:pt x="9158" y="33935"/>
                  </a:lnTo>
                  <a:lnTo>
                    <a:pt x="10194" y="23499"/>
                  </a:lnTo>
                  <a:lnTo>
                    <a:pt x="10678" y="18557"/>
                  </a:lnTo>
                  <a:lnTo>
                    <a:pt x="11058" y="13892"/>
                  </a:lnTo>
                  <a:lnTo>
                    <a:pt x="11438" y="9642"/>
                  </a:lnTo>
                  <a:lnTo>
                    <a:pt x="11680" y="5841"/>
                  </a:lnTo>
                  <a:lnTo>
                    <a:pt x="11888" y="2592"/>
                  </a:lnTo>
                  <a:lnTo>
                    <a:pt x="11922" y="1210"/>
                  </a:lnTo>
                  <a:lnTo>
                    <a:pt x="11957" y="0"/>
                  </a:lnTo>
                  <a:lnTo>
                    <a:pt x="11957"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44" name="Google Shape;14290;p81">
              <a:extLst>
                <a:ext uri="{FF2B5EF4-FFF2-40B4-BE49-F238E27FC236}">
                  <a16:creationId xmlns:a16="http://schemas.microsoft.com/office/drawing/2014/main" id="{F8200BDB-EBB3-8401-4B78-06C42C67D9ED}"/>
                </a:ext>
              </a:extLst>
            </p:cNvPr>
            <p:cNvSpPr/>
            <p:nvPr/>
          </p:nvSpPr>
          <p:spPr>
            <a:xfrm>
              <a:off x="5296775" y="2551675"/>
              <a:ext cx="20750" cy="2600"/>
            </a:xfrm>
            <a:custGeom>
              <a:avLst/>
              <a:gdLst/>
              <a:ahLst/>
              <a:cxnLst/>
              <a:rect l="l" t="t" r="r" b="b"/>
              <a:pathLst>
                <a:path w="830" h="104" extrusionOk="0">
                  <a:moveTo>
                    <a:pt x="830" y="0"/>
                  </a:moveTo>
                  <a:lnTo>
                    <a:pt x="1" y="69"/>
                  </a:lnTo>
                  <a:lnTo>
                    <a:pt x="450" y="104"/>
                  </a:lnTo>
                  <a:lnTo>
                    <a:pt x="692" y="104"/>
                  </a:lnTo>
                  <a:lnTo>
                    <a:pt x="795" y="35"/>
                  </a:lnTo>
                  <a:lnTo>
                    <a:pt x="830" y="0"/>
                  </a:lnTo>
                  <a:close/>
                </a:path>
              </a:pathLst>
            </a:custGeom>
            <a:solidFill>
              <a:srgbClr val="DEACB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45" name="Google Shape;14291;p81">
              <a:extLst>
                <a:ext uri="{FF2B5EF4-FFF2-40B4-BE49-F238E27FC236}">
                  <a16:creationId xmlns:a16="http://schemas.microsoft.com/office/drawing/2014/main" id="{6A0B9E43-81DF-C509-E4EF-9D64109EF2FC}"/>
                </a:ext>
              </a:extLst>
            </p:cNvPr>
            <p:cNvSpPr/>
            <p:nvPr/>
          </p:nvSpPr>
          <p:spPr>
            <a:xfrm>
              <a:off x="5296775" y="2551675"/>
              <a:ext cx="20750" cy="2600"/>
            </a:xfrm>
            <a:custGeom>
              <a:avLst/>
              <a:gdLst/>
              <a:ahLst/>
              <a:cxnLst/>
              <a:rect l="l" t="t" r="r" b="b"/>
              <a:pathLst>
                <a:path w="830" h="104" fill="none" extrusionOk="0">
                  <a:moveTo>
                    <a:pt x="830" y="0"/>
                  </a:moveTo>
                  <a:lnTo>
                    <a:pt x="1" y="69"/>
                  </a:lnTo>
                  <a:lnTo>
                    <a:pt x="1" y="69"/>
                  </a:lnTo>
                  <a:lnTo>
                    <a:pt x="1" y="69"/>
                  </a:lnTo>
                  <a:lnTo>
                    <a:pt x="1" y="69"/>
                  </a:lnTo>
                  <a:lnTo>
                    <a:pt x="450" y="104"/>
                  </a:lnTo>
                  <a:lnTo>
                    <a:pt x="450" y="104"/>
                  </a:lnTo>
                  <a:lnTo>
                    <a:pt x="692" y="104"/>
                  </a:lnTo>
                  <a:lnTo>
                    <a:pt x="795" y="35"/>
                  </a:lnTo>
                  <a:lnTo>
                    <a:pt x="795" y="35"/>
                  </a:lnTo>
                  <a:lnTo>
                    <a:pt x="830"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46" name="Google Shape;14292;p81">
              <a:extLst>
                <a:ext uri="{FF2B5EF4-FFF2-40B4-BE49-F238E27FC236}">
                  <a16:creationId xmlns:a16="http://schemas.microsoft.com/office/drawing/2014/main" id="{33E9663E-1B03-4516-5283-DE7DD9B6810C}"/>
                </a:ext>
              </a:extLst>
            </p:cNvPr>
            <p:cNvSpPr/>
            <p:nvPr/>
          </p:nvSpPr>
          <p:spPr>
            <a:xfrm>
              <a:off x="5323550" y="2550800"/>
              <a:ext cx="25" cy="25"/>
            </a:xfrm>
            <a:custGeom>
              <a:avLst/>
              <a:gdLst/>
              <a:ahLst/>
              <a:cxnLst/>
              <a:rect l="l" t="t" r="r" b="b"/>
              <a:pathLst>
                <a:path w="1" h="1" fill="none" extrusionOk="0">
                  <a:moveTo>
                    <a:pt x="1" y="0"/>
                  </a:moveTo>
                  <a:lnTo>
                    <a:pt x="1" y="0"/>
                  </a:lnTo>
                  <a:lnTo>
                    <a:pt x="1" y="0"/>
                  </a:lnTo>
                  <a:lnTo>
                    <a:pt x="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47" name="Google Shape;14293;p81">
              <a:extLst>
                <a:ext uri="{FF2B5EF4-FFF2-40B4-BE49-F238E27FC236}">
                  <a16:creationId xmlns:a16="http://schemas.microsoft.com/office/drawing/2014/main" id="{7D031492-F830-7F34-581B-473DB22E68CF}"/>
                </a:ext>
              </a:extLst>
            </p:cNvPr>
            <p:cNvSpPr/>
            <p:nvPr/>
          </p:nvSpPr>
          <p:spPr>
            <a:xfrm>
              <a:off x="5263950" y="3018175"/>
              <a:ext cx="203050" cy="190075"/>
            </a:xfrm>
            <a:custGeom>
              <a:avLst/>
              <a:gdLst/>
              <a:ahLst/>
              <a:cxnLst/>
              <a:rect l="l" t="t" r="r" b="b"/>
              <a:pathLst>
                <a:path w="8122" h="7603" extrusionOk="0">
                  <a:moveTo>
                    <a:pt x="7119" y="0"/>
                  </a:moveTo>
                  <a:lnTo>
                    <a:pt x="7050" y="35"/>
                  </a:lnTo>
                  <a:lnTo>
                    <a:pt x="6635" y="312"/>
                  </a:lnTo>
                  <a:lnTo>
                    <a:pt x="6255" y="588"/>
                  </a:lnTo>
                  <a:lnTo>
                    <a:pt x="5529" y="1175"/>
                  </a:lnTo>
                  <a:lnTo>
                    <a:pt x="4942" y="1659"/>
                  </a:lnTo>
                  <a:lnTo>
                    <a:pt x="4700" y="1832"/>
                  </a:lnTo>
                  <a:lnTo>
                    <a:pt x="4493" y="1936"/>
                  </a:lnTo>
                  <a:lnTo>
                    <a:pt x="4424" y="1936"/>
                  </a:lnTo>
                  <a:lnTo>
                    <a:pt x="4389" y="1901"/>
                  </a:lnTo>
                  <a:lnTo>
                    <a:pt x="4354" y="1867"/>
                  </a:lnTo>
                  <a:lnTo>
                    <a:pt x="4389" y="1763"/>
                  </a:lnTo>
                  <a:lnTo>
                    <a:pt x="4527" y="1245"/>
                  </a:lnTo>
                  <a:lnTo>
                    <a:pt x="4562" y="934"/>
                  </a:lnTo>
                  <a:lnTo>
                    <a:pt x="4562" y="795"/>
                  </a:lnTo>
                  <a:lnTo>
                    <a:pt x="4562" y="657"/>
                  </a:lnTo>
                  <a:lnTo>
                    <a:pt x="4493" y="553"/>
                  </a:lnTo>
                  <a:lnTo>
                    <a:pt x="4424" y="484"/>
                  </a:lnTo>
                  <a:lnTo>
                    <a:pt x="4285" y="450"/>
                  </a:lnTo>
                  <a:lnTo>
                    <a:pt x="4078" y="415"/>
                  </a:lnTo>
                  <a:lnTo>
                    <a:pt x="3905" y="484"/>
                  </a:lnTo>
                  <a:lnTo>
                    <a:pt x="3698" y="588"/>
                  </a:lnTo>
                  <a:lnTo>
                    <a:pt x="3525" y="726"/>
                  </a:lnTo>
                  <a:lnTo>
                    <a:pt x="3352" y="934"/>
                  </a:lnTo>
                  <a:lnTo>
                    <a:pt x="3007" y="1452"/>
                  </a:lnTo>
                  <a:lnTo>
                    <a:pt x="2592" y="2108"/>
                  </a:lnTo>
                  <a:lnTo>
                    <a:pt x="2143" y="2800"/>
                  </a:lnTo>
                  <a:lnTo>
                    <a:pt x="1866" y="3180"/>
                  </a:lnTo>
                  <a:lnTo>
                    <a:pt x="1555" y="3525"/>
                  </a:lnTo>
                  <a:lnTo>
                    <a:pt x="1244" y="3871"/>
                  </a:lnTo>
                  <a:lnTo>
                    <a:pt x="864" y="4216"/>
                  </a:lnTo>
                  <a:lnTo>
                    <a:pt x="450" y="4527"/>
                  </a:lnTo>
                  <a:lnTo>
                    <a:pt x="0" y="4804"/>
                  </a:lnTo>
                  <a:lnTo>
                    <a:pt x="70" y="5288"/>
                  </a:lnTo>
                  <a:lnTo>
                    <a:pt x="139" y="5806"/>
                  </a:lnTo>
                  <a:lnTo>
                    <a:pt x="242" y="6359"/>
                  </a:lnTo>
                  <a:lnTo>
                    <a:pt x="415" y="6877"/>
                  </a:lnTo>
                  <a:lnTo>
                    <a:pt x="519" y="7119"/>
                  </a:lnTo>
                  <a:lnTo>
                    <a:pt x="622" y="7292"/>
                  </a:lnTo>
                  <a:lnTo>
                    <a:pt x="761" y="7465"/>
                  </a:lnTo>
                  <a:lnTo>
                    <a:pt x="899" y="7568"/>
                  </a:lnTo>
                  <a:lnTo>
                    <a:pt x="1072" y="7603"/>
                  </a:lnTo>
                  <a:lnTo>
                    <a:pt x="1244" y="7568"/>
                  </a:lnTo>
                  <a:lnTo>
                    <a:pt x="2419" y="7050"/>
                  </a:lnTo>
                  <a:lnTo>
                    <a:pt x="4009" y="6324"/>
                  </a:lnTo>
                  <a:lnTo>
                    <a:pt x="5599" y="5564"/>
                  </a:lnTo>
                  <a:lnTo>
                    <a:pt x="6221" y="5253"/>
                  </a:lnTo>
                  <a:lnTo>
                    <a:pt x="6670" y="5011"/>
                  </a:lnTo>
                  <a:lnTo>
                    <a:pt x="6877" y="4873"/>
                  </a:lnTo>
                  <a:lnTo>
                    <a:pt x="7084" y="4700"/>
                  </a:lnTo>
                  <a:lnTo>
                    <a:pt x="7292" y="4527"/>
                  </a:lnTo>
                  <a:lnTo>
                    <a:pt x="7430" y="4355"/>
                  </a:lnTo>
                  <a:lnTo>
                    <a:pt x="7568" y="4147"/>
                  </a:lnTo>
                  <a:lnTo>
                    <a:pt x="7706" y="3940"/>
                  </a:lnTo>
                  <a:lnTo>
                    <a:pt x="7914" y="3525"/>
                  </a:lnTo>
                  <a:lnTo>
                    <a:pt x="8017" y="3076"/>
                  </a:lnTo>
                  <a:lnTo>
                    <a:pt x="8087" y="2627"/>
                  </a:lnTo>
                  <a:lnTo>
                    <a:pt x="8121" y="2212"/>
                  </a:lnTo>
                  <a:lnTo>
                    <a:pt x="8087" y="1763"/>
                  </a:lnTo>
                  <a:lnTo>
                    <a:pt x="8017" y="1383"/>
                  </a:lnTo>
                  <a:lnTo>
                    <a:pt x="7914" y="1003"/>
                  </a:lnTo>
                  <a:lnTo>
                    <a:pt x="7776" y="657"/>
                  </a:lnTo>
                  <a:lnTo>
                    <a:pt x="7637" y="381"/>
                  </a:lnTo>
                  <a:lnTo>
                    <a:pt x="7499" y="173"/>
                  </a:lnTo>
                  <a:lnTo>
                    <a:pt x="7326" y="35"/>
                  </a:lnTo>
                  <a:lnTo>
                    <a:pt x="7188" y="0"/>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48" name="Google Shape;14294;p81">
              <a:extLst>
                <a:ext uri="{FF2B5EF4-FFF2-40B4-BE49-F238E27FC236}">
                  <a16:creationId xmlns:a16="http://schemas.microsoft.com/office/drawing/2014/main" id="{A72F766B-C9DA-6D4D-F6AD-C34DC1D985D7}"/>
                </a:ext>
              </a:extLst>
            </p:cNvPr>
            <p:cNvSpPr/>
            <p:nvPr/>
          </p:nvSpPr>
          <p:spPr>
            <a:xfrm>
              <a:off x="4577150" y="3092475"/>
              <a:ext cx="749025" cy="341275"/>
            </a:xfrm>
            <a:custGeom>
              <a:avLst/>
              <a:gdLst/>
              <a:ahLst/>
              <a:cxnLst/>
              <a:rect l="l" t="t" r="r" b="b"/>
              <a:pathLst>
                <a:path w="29961" h="13651" extrusionOk="0">
                  <a:moveTo>
                    <a:pt x="27403" y="0"/>
                  </a:moveTo>
                  <a:lnTo>
                    <a:pt x="27300" y="35"/>
                  </a:lnTo>
                  <a:lnTo>
                    <a:pt x="27230" y="69"/>
                  </a:lnTo>
                  <a:lnTo>
                    <a:pt x="26194" y="899"/>
                  </a:lnTo>
                  <a:lnTo>
                    <a:pt x="24881" y="1901"/>
                  </a:lnTo>
                  <a:lnTo>
                    <a:pt x="23326" y="3041"/>
                  </a:lnTo>
                  <a:lnTo>
                    <a:pt x="21701" y="4147"/>
                  </a:lnTo>
                  <a:lnTo>
                    <a:pt x="20872" y="4700"/>
                  </a:lnTo>
                  <a:lnTo>
                    <a:pt x="20043" y="5184"/>
                  </a:lnTo>
                  <a:lnTo>
                    <a:pt x="19248" y="5633"/>
                  </a:lnTo>
                  <a:lnTo>
                    <a:pt x="18522" y="6048"/>
                  </a:lnTo>
                  <a:lnTo>
                    <a:pt x="17831" y="6359"/>
                  </a:lnTo>
                  <a:lnTo>
                    <a:pt x="17175" y="6635"/>
                  </a:lnTo>
                  <a:lnTo>
                    <a:pt x="16622" y="6773"/>
                  </a:lnTo>
                  <a:lnTo>
                    <a:pt x="16380" y="6808"/>
                  </a:lnTo>
                  <a:lnTo>
                    <a:pt x="16172" y="6843"/>
                  </a:lnTo>
                  <a:lnTo>
                    <a:pt x="15896" y="6808"/>
                  </a:lnTo>
                  <a:lnTo>
                    <a:pt x="15516" y="6704"/>
                  </a:lnTo>
                  <a:lnTo>
                    <a:pt x="15032" y="6601"/>
                  </a:lnTo>
                  <a:lnTo>
                    <a:pt x="14479" y="6393"/>
                  </a:lnTo>
                  <a:lnTo>
                    <a:pt x="13857" y="6186"/>
                  </a:lnTo>
                  <a:lnTo>
                    <a:pt x="13201" y="5909"/>
                  </a:lnTo>
                  <a:lnTo>
                    <a:pt x="12440" y="5564"/>
                  </a:lnTo>
                  <a:lnTo>
                    <a:pt x="11680" y="5184"/>
                  </a:lnTo>
                  <a:lnTo>
                    <a:pt x="10851" y="4769"/>
                  </a:lnTo>
                  <a:lnTo>
                    <a:pt x="10021" y="4320"/>
                  </a:lnTo>
                  <a:lnTo>
                    <a:pt x="9192" y="3802"/>
                  </a:lnTo>
                  <a:lnTo>
                    <a:pt x="8328" y="3214"/>
                  </a:lnTo>
                  <a:lnTo>
                    <a:pt x="7464" y="2592"/>
                  </a:lnTo>
                  <a:lnTo>
                    <a:pt x="6635" y="1936"/>
                  </a:lnTo>
                  <a:lnTo>
                    <a:pt x="5840" y="1244"/>
                  </a:lnTo>
                  <a:lnTo>
                    <a:pt x="5080" y="484"/>
                  </a:lnTo>
                  <a:lnTo>
                    <a:pt x="4251" y="588"/>
                  </a:lnTo>
                  <a:lnTo>
                    <a:pt x="3387" y="691"/>
                  </a:lnTo>
                  <a:lnTo>
                    <a:pt x="2419" y="864"/>
                  </a:lnTo>
                  <a:lnTo>
                    <a:pt x="1935" y="1002"/>
                  </a:lnTo>
                  <a:lnTo>
                    <a:pt x="1451" y="1141"/>
                  </a:lnTo>
                  <a:lnTo>
                    <a:pt x="1037" y="1313"/>
                  </a:lnTo>
                  <a:lnTo>
                    <a:pt x="657" y="1521"/>
                  </a:lnTo>
                  <a:lnTo>
                    <a:pt x="346" y="1728"/>
                  </a:lnTo>
                  <a:lnTo>
                    <a:pt x="242" y="1866"/>
                  </a:lnTo>
                  <a:lnTo>
                    <a:pt x="138" y="2005"/>
                  </a:lnTo>
                  <a:lnTo>
                    <a:pt x="69" y="2143"/>
                  </a:lnTo>
                  <a:lnTo>
                    <a:pt x="35" y="2281"/>
                  </a:lnTo>
                  <a:lnTo>
                    <a:pt x="0" y="2419"/>
                  </a:lnTo>
                  <a:lnTo>
                    <a:pt x="35" y="2592"/>
                  </a:lnTo>
                  <a:lnTo>
                    <a:pt x="69" y="2799"/>
                  </a:lnTo>
                  <a:lnTo>
                    <a:pt x="173" y="3007"/>
                  </a:lnTo>
                  <a:lnTo>
                    <a:pt x="518" y="3594"/>
                  </a:lnTo>
                  <a:lnTo>
                    <a:pt x="1002" y="4285"/>
                  </a:lnTo>
                  <a:lnTo>
                    <a:pt x="1624" y="5080"/>
                  </a:lnTo>
                  <a:lnTo>
                    <a:pt x="2384" y="5944"/>
                  </a:lnTo>
                  <a:lnTo>
                    <a:pt x="3248" y="6877"/>
                  </a:lnTo>
                  <a:lnTo>
                    <a:pt x="4216" y="7845"/>
                  </a:lnTo>
                  <a:lnTo>
                    <a:pt x="5287" y="8778"/>
                  </a:lnTo>
                  <a:lnTo>
                    <a:pt x="6428" y="9745"/>
                  </a:lnTo>
                  <a:lnTo>
                    <a:pt x="7602" y="10609"/>
                  </a:lnTo>
                  <a:lnTo>
                    <a:pt x="8224" y="11058"/>
                  </a:lnTo>
                  <a:lnTo>
                    <a:pt x="8847" y="11439"/>
                  </a:lnTo>
                  <a:lnTo>
                    <a:pt x="9503" y="11819"/>
                  </a:lnTo>
                  <a:lnTo>
                    <a:pt x="10125" y="12164"/>
                  </a:lnTo>
                  <a:lnTo>
                    <a:pt x="10782" y="12510"/>
                  </a:lnTo>
                  <a:lnTo>
                    <a:pt x="11438" y="12786"/>
                  </a:lnTo>
                  <a:lnTo>
                    <a:pt x="12060" y="13028"/>
                  </a:lnTo>
                  <a:lnTo>
                    <a:pt x="12717" y="13235"/>
                  </a:lnTo>
                  <a:lnTo>
                    <a:pt x="13373" y="13408"/>
                  </a:lnTo>
                  <a:lnTo>
                    <a:pt x="14030" y="13546"/>
                  </a:lnTo>
                  <a:lnTo>
                    <a:pt x="14652" y="13616"/>
                  </a:lnTo>
                  <a:lnTo>
                    <a:pt x="15274" y="13650"/>
                  </a:lnTo>
                  <a:lnTo>
                    <a:pt x="15585" y="13616"/>
                  </a:lnTo>
                  <a:lnTo>
                    <a:pt x="15931" y="13581"/>
                  </a:lnTo>
                  <a:lnTo>
                    <a:pt x="16311" y="13477"/>
                  </a:lnTo>
                  <a:lnTo>
                    <a:pt x="16691" y="13339"/>
                  </a:lnTo>
                  <a:lnTo>
                    <a:pt x="17624" y="12959"/>
                  </a:lnTo>
                  <a:lnTo>
                    <a:pt x="18626" y="12475"/>
                  </a:lnTo>
                  <a:lnTo>
                    <a:pt x="19732" y="11922"/>
                  </a:lnTo>
                  <a:lnTo>
                    <a:pt x="20872" y="11300"/>
                  </a:lnTo>
                  <a:lnTo>
                    <a:pt x="22047" y="10609"/>
                  </a:lnTo>
                  <a:lnTo>
                    <a:pt x="23222" y="9883"/>
                  </a:lnTo>
                  <a:lnTo>
                    <a:pt x="25468" y="8432"/>
                  </a:lnTo>
                  <a:lnTo>
                    <a:pt x="27438" y="7084"/>
                  </a:lnTo>
                  <a:lnTo>
                    <a:pt x="28924" y="6048"/>
                  </a:lnTo>
                  <a:lnTo>
                    <a:pt x="29719" y="5426"/>
                  </a:lnTo>
                  <a:lnTo>
                    <a:pt x="29788" y="5357"/>
                  </a:lnTo>
                  <a:lnTo>
                    <a:pt x="29857" y="5218"/>
                  </a:lnTo>
                  <a:lnTo>
                    <a:pt x="29926" y="5080"/>
                  </a:lnTo>
                  <a:lnTo>
                    <a:pt x="29960" y="4907"/>
                  </a:lnTo>
                  <a:lnTo>
                    <a:pt x="29960" y="4562"/>
                  </a:lnTo>
                  <a:lnTo>
                    <a:pt x="29891" y="4113"/>
                  </a:lnTo>
                  <a:lnTo>
                    <a:pt x="29788" y="3629"/>
                  </a:lnTo>
                  <a:lnTo>
                    <a:pt x="29649" y="3145"/>
                  </a:lnTo>
                  <a:lnTo>
                    <a:pt x="29442" y="2627"/>
                  </a:lnTo>
                  <a:lnTo>
                    <a:pt x="29235" y="2143"/>
                  </a:lnTo>
                  <a:lnTo>
                    <a:pt x="28958" y="1659"/>
                  </a:lnTo>
                  <a:lnTo>
                    <a:pt x="28716" y="1210"/>
                  </a:lnTo>
                  <a:lnTo>
                    <a:pt x="28440" y="795"/>
                  </a:lnTo>
                  <a:lnTo>
                    <a:pt x="28164" y="450"/>
                  </a:lnTo>
                  <a:lnTo>
                    <a:pt x="27887" y="208"/>
                  </a:lnTo>
                  <a:lnTo>
                    <a:pt x="27645" y="35"/>
                  </a:lnTo>
                  <a:lnTo>
                    <a:pt x="27542" y="0"/>
                  </a:lnTo>
                  <a:close/>
                </a:path>
              </a:pathLst>
            </a:custGeom>
            <a:solidFill>
              <a:srgbClr val="E0301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49" name="Google Shape;14295;p81">
              <a:extLst>
                <a:ext uri="{FF2B5EF4-FFF2-40B4-BE49-F238E27FC236}">
                  <a16:creationId xmlns:a16="http://schemas.microsoft.com/office/drawing/2014/main" id="{739270DD-B4AA-1D8F-BC91-86ED3310C686}"/>
                </a:ext>
              </a:extLst>
            </p:cNvPr>
            <p:cNvSpPr/>
            <p:nvPr/>
          </p:nvSpPr>
          <p:spPr>
            <a:xfrm>
              <a:off x="3670900" y="2765050"/>
              <a:ext cx="137375" cy="338675"/>
            </a:xfrm>
            <a:custGeom>
              <a:avLst/>
              <a:gdLst/>
              <a:ahLst/>
              <a:cxnLst/>
              <a:rect l="l" t="t" r="r" b="b"/>
              <a:pathLst>
                <a:path w="5495" h="13547" extrusionOk="0">
                  <a:moveTo>
                    <a:pt x="2765" y="0"/>
                  </a:moveTo>
                  <a:lnTo>
                    <a:pt x="2696" y="35"/>
                  </a:lnTo>
                  <a:lnTo>
                    <a:pt x="2592" y="208"/>
                  </a:lnTo>
                  <a:lnTo>
                    <a:pt x="2523" y="415"/>
                  </a:lnTo>
                  <a:lnTo>
                    <a:pt x="2488" y="657"/>
                  </a:lnTo>
                  <a:lnTo>
                    <a:pt x="2454" y="968"/>
                  </a:lnTo>
                  <a:lnTo>
                    <a:pt x="2488" y="1694"/>
                  </a:lnTo>
                  <a:lnTo>
                    <a:pt x="2592" y="3145"/>
                  </a:lnTo>
                  <a:lnTo>
                    <a:pt x="2592" y="3767"/>
                  </a:lnTo>
                  <a:lnTo>
                    <a:pt x="2558" y="3974"/>
                  </a:lnTo>
                  <a:lnTo>
                    <a:pt x="2488" y="4113"/>
                  </a:lnTo>
                  <a:lnTo>
                    <a:pt x="2385" y="4251"/>
                  </a:lnTo>
                  <a:lnTo>
                    <a:pt x="2247" y="4355"/>
                  </a:lnTo>
                  <a:lnTo>
                    <a:pt x="2074" y="4424"/>
                  </a:lnTo>
                  <a:lnTo>
                    <a:pt x="1866" y="4458"/>
                  </a:lnTo>
                  <a:lnTo>
                    <a:pt x="1452" y="4527"/>
                  </a:lnTo>
                  <a:lnTo>
                    <a:pt x="1037" y="4562"/>
                  </a:lnTo>
                  <a:lnTo>
                    <a:pt x="830" y="4596"/>
                  </a:lnTo>
                  <a:lnTo>
                    <a:pt x="622" y="4666"/>
                  </a:lnTo>
                  <a:lnTo>
                    <a:pt x="450" y="4735"/>
                  </a:lnTo>
                  <a:lnTo>
                    <a:pt x="277" y="4873"/>
                  </a:lnTo>
                  <a:lnTo>
                    <a:pt x="173" y="5011"/>
                  </a:lnTo>
                  <a:lnTo>
                    <a:pt x="70" y="5218"/>
                  </a:lnTo>
                  <a:lnTo>
                    <a:pt x="0" y="5495"/>
                  </a:lnTo>
                  <a:lnTo>
                    <a:pt x="0" y="5806"/>
                  </a:lnTo>
                  <a:lnTo>
                    <a:pt x="35" y="5944"/>
                  </a:lnTo>
                  <a:lnTo>
                    <a:pt x="70" y="6082"/>
                  </a:lnTo>
                  <a:lnTo>
                    <a:pt x="173" y="6359"/>
                  </a:lnTo>
                  <a:lnTo>
                    <a:pt x="346" y="6635"/>
                  </a:lnTo>
                  <a:lnTo>
                    <a:pt x="553" y="6946"/>
                  </a:lnTo>
                  <a:lnTo>
                    <a:pt x="761" y="7326"/>
                  </a:lnTo>
                  <a:lnTo>
                    <a:pt x="1003" y="7776"/>
                  </a:lnTo>
                  <a:lnTo>
                    <a:pt x="1210" y="8329"/>
                  </a:lnTo>
                  <a:lnTo>
                    <a:pt x="1383" y="8985"/>
                  </a:lnTo>
                  <a:lnTo>
                    <a:pt x="1486" y="9503"/>
                  </a:lnTo>
                  <a:lnTo>
                    <a:pt x="1555" y="10125"/>
                  </a:lnTo>
                  <a:lnTo>
                    <a:pt x="1694" y="11508"/>
                  </a:lnTo>
                  <a:lnTo>
                    <a:pt x="1866" y="12752"/>
                  </a:lnTo>
                  <a:lnTo>
                    <a:pt x="1936" y="13201"/>
                  </a:lnTo>
                  <a:lnTo>
                    <a:pt x="2005" y="13339"/>
                  </a:lnTo>
                  <a:lnTo>
                    <a:pt x="2039" y="13443"/>
                  </a:lnTo>
                  <a:lnTo>
                    <a:pt x="2143" y="13512"/>
                  </a:lnTo>
                  <a:lnTo>
                    <a:pt x="2281" y="13547"/>
                  </a:lnTo>
                  <a:lnTo>
                    <a:pt x="2488" y="13547"/>
                  </a:lnTo>
                  <a:lnTo>
                    <a:pt x="2696" y="13512"/>
                  </a:lnTo>
                  <a:lnTo>
                    <a:pt x="3283" y="13374"/>
                  </a:lnTo>
                  <a:lnTo>
                    <a:pt x="3871" y="13166"/>
                  </a:lnTo>
                  <a:lnTo>
                    <a:pt x="4977" y="12752"/>
                  </a:lnTo>
                  <a:lnTo>
                    <a:pt x="5495" y="12579"/>
                  </a:lnTo>
                  <a:lnTo>
                    <a:pt x="5322" y="11784"/>
                  </a:lnTo>
                  <a:lnTo>
                    <a:pt x="5115" y="10851"/>
                  </a:lnTo>
                  <a:lnTo>
                    <a:pt x="4838" y="9918"/>
                  </a:lnTo>
                  <a:lnTo>
                    <a:pt x="4527" y="8985"/>
                  </a:lnTo>
                  <a:lnTo>
                    <a:pt x="4251" y="8156"/>
                  </a:lnTo>
                  <a:lnTo>
                    <a:pt x="4044" y="7326"/>
                  </a:lnTo>
                  <a:lnTo>
                    <a:pt x="3940" y="6877"/>
                  </a:lnTo>
                  <a:lnTo>
                    <a:pt x="3905" y="6463"/>
                  </a:lnTo>
                  <a:lnTo>
                    <a:pt x="3871" y="6048"/>
                  </a:lnTo>
                  <a:lnTo>
                    <a:pt x="3905" y="5633"/>
                  </a:lnTo>
                  <a:lnTo>
                    <a:pt x="3940" y="4977"/>
                  </a:lnTo>
                  <a:lnTo>
                    <a:pt x="3871" y="4147"/>
                  </a:lnTo>
                  <a:lnTo>
                    <a:pt x="3802" y="3249"/>
                  </a:lnTo>
                  <a:lnTo>
                    <a:pt x="3663" y="2316"/>
                  </a:lnTo>
                  <a:lnTo>
                    <a:pt x="3491" y="1452"/>
                  </a:lnTo>
                  <a:lnTo>
                    <a:pt x="3352" y="726"/>
                  </a:lnTo>
                  <a:lnTo>
                    <a:pt x="3180" y="242"/>
                  </a:lnTo>
                  <a:lnTo>
                    <a:pt x="3111" y="70"/>
                  </a:lnTo>
                  <a:lnTo>
                    <a:pt x="3041" y="0"/>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50" name="Google Shape;14296;p81">
              <a:extLst>
                <a:ext uri="{FF2B5EF4-FFF2-40B4-BE49-F238E27FC236}">
                  <a16:creationId xmlns:a16="http://schemas.microsoft.com/office/drawing/2014/main" id="{29A7E44A-585C-3011-9DAD-AA5FE43A0E42}"/>
                </a:ext>
              </a:extLst>
            </p:cNvPr>
            <p:cNvSpPr/>
            <p:nvPr/>
          </p:nvSpPr>
          <p:spPr>
            <a:xfrm>
              <a:off x="3986225" y="5196100"/>
              <a:ext cx="131350" cy="218575"/>
            </a:xfrm>
            <a:custGeom>
              <a:avLst/>
              <a:gdLst/>
              <a:ahLst/>
              <a:cxnLst/>
              <a:rect l="l" t="t" r="r" b="b"/>
              <a:pathLst>
                <a:path w="5254" h="8743" extrusionOk="0">
                  <a:moveTo>
                    <a:pt x="312" y="0"/>
                  </a:moveTo>
                  <a:lnTo>
                    <a:pt x="139" y="2454"/>
                  </a:lnTo>
                  <a:lnTo>
                    <a:pt x="1" y="4527"/>
                  </a:lnTo>
                  <a:lnTo>
                    <a:pt x="1" y="5460"/>
                  </a:lnTo>
                  <a:lnTo>
                    <a:pt x="1" y="6220"/>
                  </a:lnTo>
                  <a:lnTo>
                    <a:pt x="1210" y="8743"/>
                  </a:lnTo>
                  <a:lnTo>
                    <a:pt x="4597" y="6773"/>
                  </a:lnTo>
                  <a:lnTo>
                    <a:pt x="5253" y="104"/>
                  </a:lnTo>
                  <a:lnTo>
                    <a:pt x="312" y="0"/>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51" name="Google Shape;14297;p81">
              <a:extLst>
                <a:ext uri="{FF2B5EF4-FFF2-40B4-BE49-F238E27FC236}">
                  <a16:creationId xmlns:a16="http://schemas.microsoft.com/office/drawing/2014/main" id="{60B1FF4F-3290-6D03-F6EE-CA740CF3A373}"/>
                </a:ext>
              </a:extLst>
            </p:cNvPr>
            <p:cNvSpPr/>
            <p:nvPr/>
          </p:nvSpPr>
          <p:spPr>
            <a:xfrm>
              <a:off x="3751250" y="5332600"/>
              <a:ext cx="366325" cy="139975"/>
            </a:xfrm>
            <a:custGeom>
              <a:avLst/>
              <a:gdLst/>
              <a:ahLst/>
              <a:cxnLst/>
              <a:rect l="l" t="t" r="r" b="b"/>
              <a:pathLst>
                <a:path w="14653" h="5599" extrusionOk="0">
                  <a:moveTo>
                    <a:pt x="8881" y="0"/>
                  </a:moveTo>
                  <a:lnTo>
                    <a:pt x="8777" y="35"/>
                  </a:lnTo>
                  <a:lnTo>
                    <a:pt x="8708" y="104"/>
                  </a:lnTo>
                  <a:lnTo>
                    <a:pt x="8674" y="242"/>
                  </a:lnTo>
                  <a:lnTo>
                    <a:pt x="8639" y="588"/>
                  </a:lnTo>
                  <a:lnTo>
                    <a:pt x="8605" y="829"/>
                  </a:lnTo>
                  <a:lnTo>
                    <a:pt x="8536" y="1106"/>
                  </a:lnTo>
                  <a:lnTo>
                    <a:pt x="8466" y="1244"/>
                  </a:lnTo>
                  <a:lnTo>
                    <a:pt x="8397" y="1382"/>
                  </a:lnTo>
                  <a:lnTo>
                    <a:pt x="8259" y="1521"/>
                  </a:lnTo>
                  <a:lnTo>
                    <a:pt x="8086" y="1659"/>
                  </a:lnTo>
                  <a:lnTo>
                    <a:pt x="7706" y="1866"/>
                  </a:lnTo>
                  <a:lnTo>
                    <a:pt x="7222" y="2073"/>
                  </a:lnTo>
                  <a:lnTo>
                    <a:pt x="6670" y="2246"/>
                  </a:lnTo>
                  <a:lnTo>
                    <a:pt x="6082" y="2384"/>
                  </a:lnTo>
                  <a:lnTo>
                    <a:pt x="5426" y="2488"/>
                  </a:lnTo>
                  <a:lnTo>
                    <a:pt x="4734" y="2557"/>
                  </a:lnTo>
                  <a:lnTo>
                    <a:pt x="3387" y="2695"/>
                  </a:lnTo>
                  <a:lnTo>
                    <a:pt x="2177" y="2799"/>
                  </a:lnTo>
                  <a:lnTo>
                    <a:pt x="1175" y="2834"/>
                  </a:lnTo>
                  <a:lnTo>
                    <a:pt x="588" y="2868"/>
                  </a:lnTo>
                  <a:lnTo>
                    <a:pt x="484" y="2937"/>
                  </a:lnTo>
                  <a:lnTo>
                    <a:pt x="380" y="3006"/>
                  </a:lnTo>
                  <a:lnTo>
                    <a:pt x="277" y="3145"/>
                  </a:lnTo>
                  <a:lnTo>
                    <a:pt x="173" y="3318"/>
                  </a:lnTo>
                  <a:lnTo>
                    <a:pt x="104" y="3490"/>
                  </a:lnTo>
                  <a:lnTo>
                    <a:pt x="35" y="3732"/>
                  </a:lnTo>
                  <a:lnTo>
                    <a:pt x="35" y="3940"/>
                  </a:lnTo>
                  <a:lnTo>
                    <a:pt x="0" y="4181"/>
                  </a:lnTo>
                  <a:lnTo>
                    <a:pt x="35" y="4423"/>
                  </a:lnTo>
                  <a:lnTo>
                    <a:pt x="138" y="4665"/>
                  </a:lnTo>
                  <a:lnTo>
                    <a:pt x="242" y="4873"/>
                  </a:lnTo>
                  <a:lnTo>
                    <a:pt x="415" y="5045"/>
                  </a:lnTo>
                  <a:lnTo>
                    <a:pt x="657" y="5218"/>
                  </a:lnTo>
                  <a:lnTo>
                    <a:pt x="933" y="5356"/>
                  </a:lnTo>
                  <a:lnTo>
                    <a:pt x="1313" y="5425"/>
                  </a:lnTo>
                  <a:lnTo>
                    <a:pt x="1728" y="5460"/>
                  </a:lnTo>
                  <a:lnTo>
                    <a:pt x="7430" y="5529"/>
                  </a:lnTo>
                  <a:lnTo>
                    <a:pt x="13304" y="5598"/>
                  </a:lnTo>
                  <a:lnTo>
                    <a:pt x="13477" y="5564"/>
                  </a:lnTo>
                  <a:lnTo>
                    <a:pt x="13650" y="5529"/>
                  </a:lnTo>
                  <a:lnTo>
                    <a:pt x="13823" y="5460"/>
                  </a:lnTo>
                  <a:lnTo>
                    <a:pt x="13961" y="5391"/>
                  </a:lnTo>
                  <a:lnTo>
                    <a:pt x="14099" y="5253"/>
                  </a:lnTo>
                  <a:lnTo>
                    <a:pt x="14203" y="5114"/>
                  </a:lnTo>
                  <a:lnTo>
                    <a:pt x="14307" y="4976"/>
                  </a:lnTo>
                  <a:lnTo>
                    <a:pt x="14341" y="4803"/>
                  </a:lnTo>
                  <a:lnTo>
                    <a:pt x="14514" y="4181"/>
                  </a:lnTo>
                  <a:lnTo>
                    <a:pt x="14583" y="3490"/>
                  </a:lnTo>
                  <a:lnTo>
                    <a:pt x="14652" y="2765"/>
                  </a:lnTo>
                  <a:lnTo>
                    <a:pt x="14618" y="2108"/>
                  </a:lnTo>
                  <a:lnTo>
                    <a:pt x="14583" y="1521"/>
                  </a:lnTo>
                  <a:lnTo>
                    <a:pt x="14514" y="1244"/>
                  </a:lnTo>
                  <a:lnTo>
                    <a:pt x="14445" y="1037"/>
                  </a:lnTo>
                  <a:lnTo>
                    <a:pt x="14376" y="864"/>
                  </a:lnTo>
                  <a:lnTo>
                    <a:pt x="14307" y="726"/>
                  </a:lnTo>
                  <a:lnTo>
                    <a:pt x="14203" y="622"/>
                  </a:lnTo>
                  <a:lnTo>
                    <a:pt x="14065" y="588"/>
                  </a:lnTo>
                  <a:lnTo>
                    <a:pt x="13650" y="484"/>
                  </a:lnTo>
                  <a:lnTo>
                    <a:pt x="13166" y="415"/>
                  </a:lnTo>
                  <a:lnTo>
                    <a:pt x="11991" y="380"/>
                  </a:lnTo>
                  <a:lnTo>
                    <a:pt x="11335" y="346"/>
                  </a:lnTo>
                  <a:lnTo>
                    <a:pt x="10609" y="277"/>
                  </a:lnTo>
                  <a:lnTo>
                    <a:pt x="9849" y="173"/>
                  </a:lnTo>
                  <a:lnTo>
                    <a:pt x="9054" y="0"/>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52" name="Google Shape;14298;p81">
              <a:extLst>
                <a:ext uri="{FF2B5EF4-FFF2-40B4-BE49-F238E27FC236}">
                  <a16:creationId xmlns:a16="http://schemas.microsoft.com/office/drawing/2014/main" id="{B6302F3E-D212-A3DF-634F-394785C19C17}"/>
                </a:ext>
              </a:extLst>
            </p:cNvPr>
            <p:cNvSpPr/>
            <p:nvPr/>
          </p:nvSpPr>
          <p:spPr>
            <a:xfrm>
              <a:off x="4654025" y="5114025"/>
              <a:ext cx="162450" cy="235875"/>
            </a:xfrm>
            <a:custGeom>
              <a:avLst/>
              <a:gdLst/>
              <a:ahLst/>
              <a:cxnLst/>
              <a:rect l="l" t="t" r="r" b="b"/>
              <a:pathLst>
                <a:path w="6498" h="9435" extrusionOk="0">
                  <a:moveTo>
                    <a:pt x="4700" y="0"/>
                  </a:moveTo>
                  <a:lnTo>
                    <a:pt x="1" y="1521"/>
                  </a:lnTo>
                  <a:lnTo>
                    <a:pt x="726" y="3871"/>
                  </a:lnTo>
                  <a:lnTo>
                    <a:pt x="1348" y="5840"/>
                  </a:lnTo>
                  <a:lnTo>
                    <a:pt x="1694" y="6739"/>
                  </a:lnTo>
                  <a:lnTo>
                    <a:pt x="1970" y="7465"/>
                  </a:lnTo>
                  <a:lnTo>
                    <a:pt x="4009" y="9434"/>
                  </a:lnTo>
                  <a:lnTo>
                    <a:pt x="6497" y="6497"/>
                  </a:lnTo>
                  <a:lnTo>
                    <a:pt x="4700" y="0"/>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53" name="Google Shape;14299;p81">
              <a:extLst>
                <a:ext uri="{FF2B5EF4-FFF2-40B4-BE49-F238E27FC236}">
                  <a16:creationId xmlns:a16="http://schemas.microsoft.com/office/drawing/2014/main" id="{8563BFC2-0055-EBD2-2F1E-1EFA0C450F28}"/>
                </a:ext>
              </a:extLst>
            </p:cNvPr>
            <p:cNvSpPr/>
            <p:nvPr/>
          </p:nvSpPr>
          <p:spPr>
            <a:xfrm>
              <a:off x="4509750" y="5258300"/>
              <a:ext cx="346450" cy="218575"/>
            </a:xfrm>
            <a:custGeom>
              <a:avLst/>
              <a:gdLst/>
              <a:ahLst/>
              <a:cxnLst/>
              <a:rect l="l" t="t" r="r" b="b"/>
              <a:pathLst>
                <a:path w="13858" h="8743" extrusionOk="0">
                  <a:moveTo>
                    <a:pt x="12061" y="0"/>
                  </a:moveTo>
                  <a:lnTo>
                    <a:pt x="11646" y="35"/>
                  </a:lnTo>
                  <a:lnTo>
                    <a:pt x="11162" y="138"/>
                  </a:lnTo>
                  <a:lnTo>
                    <a:pt x="10022" y="484"/>
                  </a:lnTo>
                  <a:lnTo>
                    <a:pt x="9400" y="657"/>
                  </a:lnTo>
                  <a:lnTo>
                    <a:pt x="8709" y="830"/>
                  </a:lnTo>
                  <a:lnTo>
                    <a:pt x="7949" y="1002"/>
                  </a:lnTo>
                  <a:lnTo>
                    <a:pt x="7154" y="1106"/>
                  </a:lnTo>
                  <a:lnTo>
                    <a:pt x="6981" y="1141"/>
                  </a:lnTo>
                  <a:lnTo>
                    <a:pt x="6877" y="1210"/>
                  </a:lnTo>
                  <a:lnTo>
                    <a:pt x="6877" y="1279"/>
                  </a:lnTo>
                  <a:lnTo>
                    <a:pt x="6877" y="1417"/>
                  </a:lnTo>
                  <a:lnTo>
                    <a:pt x="6947" y="1797"/>
                  </a:lnTo>
                  <a:lnTo>
                    <a:pt x="7016" y="2005"/>
                  </a:lnTo>
                  <a:lnTo>
                    <a:pt x="7050" y="2281"/>
                  </a:lnTo>
                  <a:lnTo>
                    <a:pt x="7050" y="2454"/>
                  </a:lnTo>
                  <a:lnTo>
                    <a:pt x="7016" y="2627"/>
                  </a:lnTo>
                  <a:lnTo>
                    <a:pt x="6947" y="2765"/>
                  </a:lnTo>
                  <a:lnTo>
                    <a:pt x="6843" y="2938"/>
                  </a:lnTo>
                  <a:lnTo>
                    <a:pt x="6566" y="3283"/>
                  </a:lnTo>
                  <a:lnTo>
                    <a:pt x="6186" y="3629"/>
                  </a:lnTo>
                  <a:lnTo>
                    <a:pt x="5737" y="3940"/>
                  </a:lnTo>
                  <a:lnTo>
                    <a:pt x="5219" y="4285"/>
                  </a:lnTo>
                  <a:lnTo>
                    <a:pt x="4631" y="4596"/>
                  </a:lnTo>
                  <a:lnTo>
                    <a:pt x="4044" y="4907"/>
                  </a:lnTo>
                  <a:lnTo>
                    <a:pt x="2800" y="5460"/>
                  </a:lnTo>
                  <a:lnTo>
                    <a:pt x="1694" y="5944"/>
                  </a:lnTo>
                  <a:lnTo>
                    <a:pt x="761" y="6324"/>
                  </a:lnTo>
                  <a:lnTo>
                    <a:pt x="208" y="6566"/>
                  </a:lnTo>
                  <a:lnTo>
                    <a:pt x="139" y="6635"/>
                  </a:lnTo>
                  <a:lnTo>
                    <a:pt x="70" y="6739"/>
                  </a:lnTo>
                  <a:lnTo>
                    <a:pt x="35" y="6912"/>
                  </a:lnTo>
                  <a:lnTo>
                    <a:pt x="1" y="7084"/>
                  </a:lnTo>
                  <a:lnTo>
                    <a:pt x="1" y="7292"/>
                  </a:lnTo>
                  <a:lnTo>
                    <a:pt x="35" y="7499"/>
                  </a:lnTo>
                  <a:lnTo>
                    <a:pt x="104" y="7741"/>
                  </a:lnTo>
                  <a:lnTo>
                    <a:pt x="173" y="7948"/>
                  </a:lnTo>
                  <a:lnTo>
                    <a:pt x="277" y="8156"/>
                  </a:lnTo>
                  <a:lnTo>
                    <a:pt x="450" y="8363"/>
                  </a:lnTo>
                  <a:lnTo>
                    <a:pt x="623" y="8536"/>
                  </a:lnTo>
                  <a:lnTo>
                    <a:pt x="865" y="8639"/>
                  </a:lnTo>
                  <a:lnTo>
                    <a:pt x="1141" y="8708"/>
                  </a:lnTo>
                  <a:lnTo>
                    <a:pt x="1452" y="8743"/>
                  </a:lnTo>
                  <a:lnTo>
                    <a:pt x="1832" y="8708"/>
                  </a:lnTo>
                  <a:lnTo>
                    <a:pt x="2247" y="8605"/>
                  </a:lnTo>
                  <a:lnTo>
                    <a:pt x="7638" y="6808"/>
                  </a:lnTo>
                  <a:lnTo>
                    <a:pt x="13132" y="4942"/>
                  </a:lnTo>
                  <a:lnTo>
                    <a:pt x="13305" y="4873"/>
                  </a:lnTo>
                  <a:lnTo>
                    <a:pt x="13478" y="4769"/>
                  </a:lnTo>
                  <a:lnTo>
                    <a:pt x="13581" y="4665"/>
                  </a:lnTo>
                  <a:lnTo>
                    <a:pt x="13720" y="4527"/>
                  </a:lnTo>
                  <a:lnTo>
                    <a:pt x="13789" y="4389"/>
                  </a:lnTo>
                  <a:lnTo>
                    <a:pt x="13858" y="4216"/>
                  </a:lnTo>
                  <a:lnTo>
                    <a:pt x="13858" y="4043"/>
                  </a:lnTo>
                  <a:lnTo>
                    <a:pt x="13858" y="3871"/>
                  </a:lnTo>
                  <a:lnTo>
                    <a:pt x="13789" y="3214"/>
                  </a:lnTo>
                  <a:lnTo>
                    <a:pt x="13616" y="2523"/>
                  </a:lnTo>
                  <a:lnTo>
                    <a:pt x="13409" y="1866"/>
                  </a:lnTo>
                  <a:lnTo>
                    <a:pt x="13132" y="1244"/>
                  </a:lnTo>
                  <a:lnTo>
                    <a:pt x="12890" y="691"/>
                  </a:lnTo>
                  <a:lnTo>
                    <a:pt x="12752" y="484"/>
                  </a:lnTo>
                  <a:lnTo>
                    <a:pt x="12579" y="277"/>
                  </a:lnTo>
                  <a:lnTo>
                    <a:pt x="12441" y="138"/>
                  </a:lnTo>
                  <a:lnTo>
                    <a:pt x="12303" y="35"/>
                  </a:lnTo>
                  <a:lnTo>
                    <a:pt x="12199" y="0"/>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54" name="Google Shape;14300;p81">
              <a:extLst>
                <a:ext uri="{FF2B5EF4-FFF2-40B4-BE49-F238E27FC236}">
                  <a16:creationId xmlns:a16="http://schemas.microsoft.com/office/drawing/2014/main" id="{C63AD26C-1C04-9480-881C-C378A6A34D3D}"/>
                </a:ext>
              </a:extLst>
            </p:cNvPr>
            <p:cNvSpPr/>
            <p:nvPr/>
          </p:nvSpPr>
          <p:spPr>
            <a:xfrm>
              <a:off x="3969800" y="3703250"/>
              <a:ext cx="854450" cy="1612075"/>
            </a:xfrm>
            <a:custGeom>
              <a:avLst/>
              <a:gdLst/>
              <a:ahLst/>
              <a:cxnLst/>
              <a:rect l="l" t="t" r="r" b="b"/>
              <a:pathLst>
                <a:path w="34178" h="64483" extrusionOk="0">
                  <a:moveTo>
                    <a:pt x="16657" y="1"/>
                  </a:moveTo>
                  <a:lnTo>
                    <a:pt x="12579" y="2247"/>
                  </a:lnTo>
                  <a:lnTo>
                    <a:pt x="12027" y="3767"/>
                  </a:lnTo>
                  <a:lnTo>
                    <a:pt x="11439" y="5599"/>
                  </a:lnTo>
                  <a:lnTo>
                    <a:pt x="10817" y="7672"/>
                  </a:lnTo>
                  <a:lnTo>
                    <a:pt x="10161" y="9953"/>
                  </a:lnTo>
                  <a:lnTo>
                    <a:pt x="9538" y="12337"/>
                  </a:lnTo>
                  <a:lnTo>
                    <a:pt x="8882" y="14825"/>
                  </a:lnTo>
                  <a:lnTo>
                    <a:pt x="7638" y="19940"/>
                  </a:lnTo>
                  <a:lnTo>
                    <a:pt x="6463" y="24881"/>
                  </a:lnTo>
                  <a:lnTo>
                    <a:pt x="5495" y="29305"/>
                  </a:lnTo>
                  <a:lnTo>
                    <a:pt x="4770" y="32795"/>
                  </a:lnTo>
                  <a:lnTo>
                    <a:pt x="4355" y="35006"/>
                  </a:lnTo>
                  <a:lnTo>
                    <a:pt x="1971" y="50142"/>
                  </a:lnTo>
                  <a:lnTo>
                    <a:pt x="588" y="58781"/>
                  </a:lnTo>
                  <a:lnTo>
                    <a:pt x="174" y="61649"/>
                  </a:lnTo>
                  <a:lnTo>
                    <a:pt x="1" y="62893"/>
                  </a:lnTo>
                  <a:lnTo>
                    <a:pt x="1" y="62962"/>
                  </a:lnTo>
                  <a:lnTo>
                    <a:pt x="70" y="63032"/>
                  </a:lnTo>
                  <a:lnTo>
                    <a:pt x="277" y="63170"/>
                  </a:lnTo>
                  <a:lnTo>
                    <a:pt x="623" y="63343"/>
                  </a:lnTo>
                  <a:lnTo>
                    <a:pt x="1038" y="63515"/>
                  </a:lnTo>
                  <a:lnTo>
                    <a:pt x="1556" y="63723"/>
                  </a:lnTo>
                  <a:lnTo>
                    <a:pt x="2109" y="63861"/>
                  </a:lnTo>
                  <a:lnTo>
                    <a:pt x="2731" y="64034"/>
                  </a:lnTo>
                  <a:lnTo>
                    <a:pt x="3387" y="64172"/>
                  </a:lnTo>
                  <a:lnTo>
                    <a:pt x="4044" y="64310"/>
                  </a:lnTo>
                  <a:lnTo>
                    <a:pt x="4701" y="64379"/>
                  </a:lnTo>
                  <a:lnTo>
                    <a:pt x="5323" y="64448"/>
                  </a:lnTo>
                  <a:lnTo>
                    <a:pt x="5910" y="64483"/>
                  </a:lnTo>
                  <a:lnTo>
                    <a:pt x="6394" y="64448"/>
                  </a:lnTo>
                  <a:lnTo>
                    <a:pt x="6843" y="64379"/>
                  </a:lnTo>
                  <a:lnTo>
                    <a:pt x="7016" y="64345"/>
                  </a:lnTo>
                  <a:lnTo>
                    <a:pt x="7189" y="64276"/>
                  </a:lnTo>
                  <a:lnTo>
                    <a:pt x="7292" y="64172"/>
                  </a:lnTo>
                  <a:lnTo>
                    <a:pt x="7396" y="64103"/>
                  </a:lnTo>
                  <a:lnTo>
                    <a:pt x="7465" y="63930"/>
                  </a:lnTo>
                  <a:lnTo>
                    <a:pt x="7569" y="63654"/>
                  </a:lnTo>
                  <a:lnTo>
                    <a:pt x="7742" y="62859"/>
                  </a:lnTo>
                  <a:lnTo>
                    <a:pt x="7949" y="61753"/>
                  </a:lnTo>
                  <a:lnTo>
                    <a:pt x="8156" y="60336"/>
                  </a:lnTo>
                  <a:lnTo>
                    <a:pt x="8605" y="56846"/>
                  </a:lnTo>
                  <a:lnTo>
                    <a:pt x="9158" y="52768"/>
                  </a:lnTo>
                  <a:lnTo>
                    <a:pt x="9469" y="50660"/>
                  </a:lnTo>
                  <a:lnTo>
                    <a:pt x="9780" y="48518"/>
                  </a:lnTo>
                  <a:lnTo>
                    <a:pt x="10126" y="46410"/>
                  </a:lnTo>
                  <a:lnTo>
                    <a:pt x="10472" y="44406"/>
                  </a:lnTo>
                  <a:lnTo>
                    <a:pt x="10852" y="42540"/>
                  </a:lnTo>
                  <a:lnTo>
                    <a:pt x="11266" y="40846"/>
                  </a:lnTo>
                  <a:lnTo>
                    <a:pt x="11474" y="40086"/>
                  </a:lnTo>
                  <a:lnTo>
                    <a:pt x="11681" y="39395"/>
                  </a:lnTo>
                  <a:lnTo>
                    <a:pt x="11888" y="38773"/>
                  </a:lnTo>
                  <a:lnTo>
                    <a:pt x="12130" y="38220"/>
                  </a:lnTo>
                  <a:lnTo>
                    <a:pt x="14618" y="32415"/>
                  </a:lnTo>
                  <a:lnTo>
                    <a:pt x="17797" y="25020"/>
                  </a:lnTo>
                  <a:lnTo>
                    <a:pt x="21633" y="15931"/>
                  </a:lnTo>
                  <a:lnTo>
                    <a:pt x="21219" y="19283"/>
                  </a:lnTo>
                  <a:lnTo>
                    <a:pt x="20769" y="22946"/>
                  </a:lnTo>
                  <a:lnTo>
                    <a:pt x="20320" y="26713"/>
                  </a:lnTo>
                  <a:lnTo>
                    <a:pt x="19905" y="30410"/>
                  </a:lnTo>
                  <a:lnTo>
                    <a:pt x="19733" y="32138"/>
                  </a:lnTo>
                  <a:lnTo>
                    <a:pt x="19594" y="33797"/>
                  </a:lnTo>
                  <a:lnTo>
                    <a:pt x="19491" y="35352"/>
                  </a:lnTo>
                  <a:lnTo>
                    <a:pt x="19456" y="36769"/>
                  </a:lnTo>
                  <a:lnTo>
                    <a:pt x="19456" y="38047"/>
                  </a:lnTo>
                  <a:lnTo>
                    <a:pt x="19525" y="39119"/>
                  </a:lnTo>
                  <a:lnTo>
                    <a:pt x="19560" y="39568"/>
                  </a:lnTo>
                  <a:lnTo>
                    <a:pt x="19629" y="39982"/>
                  </a:lnTo>
                  <a:lnTo>
                    <a:pt x="19733" y="40328"/>
                  </a:lnTo>
                  <a:lnTo>
                    <a:pt x="19836" y="40604"/>
                  </a:lnTo>
                  <a:lnTo>
                    <a:pt x="20838" y="43300"/>
                  </a:lnTo>
                  <a:lnTo>
                    <a:pt x="22013" y="46548"/>
                  </a:lnTo>
                  <a:lnTo>
                    <a:pt x="24501" y="53563"/>
                  </a:lnTo>
                  <a:lnTo>
                    <a:pt x="27370" y="61891"/>
                  </a:lnTo>
                  <a:lnTo>
                    <a:pt x="27577" y="61960"/>
                  </a:lnTo>
                  <a:lnTo>
                    <a:pt x="27784" y="62029"/>
                  </a:lnTo>
                  <a:lnTo>
                    <a:pt x="28268" y="62133"/>
                  </a:lnTo>
                  <a:lnTo>
                    <a:pt x="28786" y="62133"/>
                  </a:lnTo>
                  <a:lnTo>
                    <a:pt x="29339" y="62099"/>
                  </a:lnTo>
                  <a:lnTo>
                    <a:pt x="29927" y="62029"/>
                  </a:lnTo>
                  <a:lnTo>
                    <a:pt x="30549" y="61891"/>
                  </a:lnTo>
                  <a:lnTo>
                    <a:pt x="31136" y="61753"/>
                  </a:lnTo>
                  <a:lnTo>
                    <a:pt x="31724" y="61546"/>
                  </a:lnTo>
                  <a:lnTo>
                    <a:pt x="32277" y="61373"/>
                  </a:lnTo>
                  <a:lnTo>
                    <a:pt x="32795" y="61166"/>
                  </a:lnTo>
                  <a:lnTo>
                    <a:pt x="33624" y="60785"/>
                  </a:lnTo>
                  <a:lnTo>
                    <a:pt x="33901" y="60613"/>
                  </a:lnTo>
                  <a:lnTo>
                    <a:pt x="34108" y="60509"/>
                  </a:lnTo>
                  <a:lnTo>
                    <a:pt x="34177" y="60405"/>
                  </a:lnTo>
                  <a:lnTo>
                    <a:pt x="34177" y="60371"/>
                  </a:lnTo>
                  <a:lnTo>
                    <a:pt x="34143" y="60336"/>
                  </a:lnTo>
                  <a:lnTo>
                    <a:pt x="33452" y="58332"/>
                  </a:lnTo>
                  <a:lnTo>
                    <a:pt x="32622" y="55775"/>
                  </a:lnTo>
                  <a:lnTo>
                    <a:pt x="31724" y="52837"/>
                  </a:lnTo>
                  <a:lnTo>
                    <a:pt x="30791" y="49693"/>
                  </a:lnTo>
                  <a:lnTo>
                    <a:pt x="29892" y="46583"/>
                  </a:lnTo>
                  <a:lnTo>
                    <a:pt x="29132" y="43645"/>
                  </a:lnTo>
                  <a:lnTo>
                    <a:pt x="28821" y="42332"/>
                  </a:lnTo>
                  <a:lnTo>
                    <a:pt x="28545" y="41123"/>
                  </a:lnTo>
                  <a:lnTo>
                    <a:pt x="28337" y="40086"/>
                  </a:lnTo>
                  <a:lnTo>
                    <a:pt x="28199" y="39188"/>
                  </a:lnTo>
                  <a:lnTo>
                    <a:pt x="28199" y="38704"/>
                  </a:lnTo>
                  <a:lnTo>
                    <a:pt x="28199" y="38082"/>
                  </a:lnTo>
                  <a:lnTo>
                    <a:pt x="28233" y="37287"/>
                  </a:lnTo>
                  <a:lnTo>
                    <a:pt x="28303" y="36354"/>
                  </a:lnTo>
                  <a:lnTo>
                    <a:pt x="28510" y="34108"/>
                  </a:lnTo>
                  <a:lnTo>
                    <a:pt x="28821" y="31447"/>
                  </a:lnTo>
                  <a:lnTo>
                    <a:pt x="29201" y="28475"/>
                  </a:lnTo>
                  <a:lnTo>
                    <a:pt x="29650" y="25261"/>
                  </a:lnTo>
                  <a:lnTo>
                    <a:pt x="30687" y="18558"/>
                  </a:lnTo>
                  <a:lnTo>
                    <a:pt x="31689" y="12026"/>
                  </a:lnTo>
                  <a:lnTo>
                    <a:pt x="32622" y="6428"/>
                  </a:lnTo>
                  <a:lnTo>
                    <a:pt x="33521" y="1037"/>
                  </a:lnTo>
                  <a:lnTo>
                    <a:pt x="16657" y="1"/>
                  </a:lnTo>
                  <a:close/>
                </a:path>
              </a:pathLst>
            </a:custGeom>
            <a:solidFill>
              <a:srgbClr val="2D2D2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55" name="Google Shape;14301;p81">
              <a:extLst>
                <a:ext uri="{FF2B5EF4-FFF2-40B4-BE49-F238E27FC236}">
                  <a16:creationId xmlns:a16="http://schemas.microsoft.com/office/drawing/2014/main" id="{797E4BFC-6846-22E3-61C8-2656CB7C0384}"/>
                </a:ext>
              </a:extLst>
            </p:cNvPr>
            <p:cNvSpPr/>
            <p:nvPr/>
          </p:nvSpPr>
          <p:spPr>
            <a:xfrm>
              <a:off x="3969800" y="3703250"/>
              <a:ext cx="854450" cy="1612075"/>
            </a:xfrm>
            <a:custGeom>
              <a:avLst/>
              <a:gdLst/>
              <a:ahLst/>
              <a:cxnLst/>
              <a:rect l="l" t="t" r="r" b="b"/>
              <a:pathLst>
                <a:path w="34178" h="64483" fill="none" extrusionOk="0">
                  <a:moveTo>
                    <a:pt x="12579" y="2247"/>
                  </a:moveTo>
                  <a:lnTo>
                    <a:pt x="12579" y="2247"/>
                  </a:lnTo>
                  <a:lnTo>
                    <a:pt x="12027" y="3767"/>
                  </a:lnTo>
                  <a:lnTo>
                    <a:pt x="11439" y="5599"/>
                  </a:lnTo>
                  <a:lnTo>
                    <a:pt x="10817" y="7672"/>
                  </a:lnTo>
                  <a:lnTo>
                    <a:pt x="10161" y="9953"/>
                  </a:lnTo>
                  <a:lnTo>
                    <a:pt x="9538" y="12337"/>
                  </a:lnTo>
                  <a:lnTo>
                    <a:pt x="8882" y="14825"/>
                  </a:lnTo>
                  <a:lnTo>
                    <a:pt x="7638" y="19940"/>
                  </a:lnTo>
                  <a:lnTo>
                    <a:pt x="6463" y="24881"/>
                  </a:lnTo>
                  <a:lnTo>
                    <a:pt x="5495" y="29305"/>
                  </a:lnTo>
                  <a:lnTo>
                    <a:pt x="4770" y="32795"/>
                  </a:lnTo>
                  <a:lnTo>
                    <a:pt x="4355" y="35006"/>
                  </a:lnTo>
                  <a:lnTo>
                    <a:pt x="4355" y="35006"/>
                  </a:lnTo>
                  <a:lnTo>
                    <a:pt x="1971" y="50142"/>
                  </a:lnTo>
                  <a:lnTo>
                    <a:pt x="588" y="58781"/>
                  </a:lnTo>
                  <a:lnTo>
                    <a:pt x="174" y="61649"/>
                  </a:lnTo>
                  <a:lnTo>
                    <a:pt x="1" y="62893"/>
                  </a:lnTo>
                  <a:lnTo>
                    <a:pt x="1" y="62893"/>
                  </a:lnTo>
                  <a:lnTo>
                    <a:pt x="1" y="62962"/>
                  </a:lnTo>
                  <a:lnTo>
                    <a:pt x="70" y="63032"/>
                  </a:lnTo>
                  <a:lnTo>
                    <a:pt x="277" y="63170"/>
                  </a:lnTo>
                  <a:lnTo>
                    <a:pt x="623" y="63343"/>
                  </a:lnTo>
                  <a:lnTo>
                    <a:pt x="1038" y="63515"/>
                  </a:lnTo>
                  <a:lnTo>
                    <a:pt x="1556" y="63723"/>
                  </a:lnTo>
                  <a:lnTo>
                    <a:pt x="2109" y="63861"/>
                  </a:lnTo>
                  <a:lnTo>
                    <a:pt x="2731" y="64034"/>
                  </a:lnTo>
                  <a:lnTo>
                    <a:pt x="3387" y="64172"/>
                  </a:lnTo>
                  <a:lnTo>
                    <a:pt x="4044" y="64310"/>
                  </a:lnTo>
                  <a:lnTo>
                    <a:pt x="4701" y="64379"/>
                  </a:lnTo>
                  <a:lnTo>
                    <a:pt x="5323" y="64448"/>
                  </a:lnTo>
                  <a:lnTo>
                    <a:pt x="5910" y="64483"/>
                  </a:lnTo>
                  <a:lnTo>
                    <a:pt x="6394" y="64448"/>
                  </a:lnTo>
                  <a:lnTo>
                    <a:pt x="6843" y="64379"/>
                  </a:lnTo>
                  <a:lnTo>
                    <a:pt x="7016" y="64345"/>
                  </a:lnTo>
                  <a:lnTo>
                    <a:pt x="7189" y="64276"/>
                  </a:lnTo>
                  <a:lnTo>
                    <a:pt x="7292" y="64172"/>
                  </a:lnTo>
                  <a:lnTo>
                    <a:pt x="7396" y="64103"/>
                  </a:lnTo>
                  <a:lnTo>
                    <a:pt x="7396" y="64103"/>
                  </a:lnTo>
                  <a:lnTo>
                    <a:pt x="7465" y="63930"/>
                  </a:lnTo>
                  <a:lnTo>
                    <a:pt x="7569" y="63654"/>
                  </a:lnTo>
                  <a:lnTo>
                    <a:pt x="7742" y="62859"/>
                  </a:lnTo>
                  <a:lnTo>
                    <a:pt x="7949" y="61753"/>
                  </a:lnTo>
                  <a:lnTo>
                    <a:pt x="8156" y="60336"/>
                  </a:lnTo>
                  <a:lnTo>
                    <a:pt x="8605" y="56846"/>
                  </a:lnTo>
                  <a:lnTo>
                    <a:pt x="9158" y="52768"/>
                  </a:lnTo>
                  <a:lnTo>
                    <a:pt x="9469" y="50660"/>
                  </a:lnTo>
                  <a:lnTo>
                    <a:pt x="9780" y="48518"/>
                  </a:lnTo>
                  <a:lnTo>
                    <a:pt x="10126" y="46410"/>
                  </a:lnTo>
                  <a:lnTo>
                    <a:pt x="10472" y="44406"/>
                  </a:lnTo>
                  <a:lnTo>
                    <a:pt x="10852" y="42540"/>
                  </a:lnTo>
                  <a:lnTo>
                    <a:pt x="11266" y="40846"/>
                  </a:lnTo>
                  <a:lnTo>
                    <a:pt x="11474" y="40086"/>
                  </a:lnTo>
                  <a:lnTo>
                    <a:pt x="11681" y="39395"/>
                  </a:lnTo>
                  <a:lnTo>
                    <a:pt x="11888" y="38773"/>
                  </a:lnTo>
                  <a:lnTo>
                    <a:pt x="12130" y="38220"/>
                  </a:lnTo>
                  <a:lnTo>
                    <a:pt x="12130" y="38220"/>
                  </a:lnTo>
                  <a:lnTo>
                    <a:pt x="14618" y="32415"/>
                  </a:lnTo>
                  <a:lnTo>
                    <a:pt x="17797" y="25020"/>
                  </a:lnTo>
                  <a:lnTo>
                    <a:pt x="21633" y="15931"/>
                  </a:lnTo>
                  <a:lnTo>
                    <a:pt x="21633" y="15931"/>
                  </a:lnTo>
                  <a:lnTo>
                    <a:pt x="21219" y="19283"/>
                  </a:lnTo>
                  <a:lnTo>
                    <a:pt x="20769" y="22946"/>
                  </a:lnTo>
                  <a:lnTo>
                    <a:pt x="20320" y="26713"/>
                  </a:lnTo>
                  <a:lnTo>
                    <a:pt x="19905" y="30410"/>
                  </a:lnTo>
                  <a:lnTo>
                    <a:pt x="19733" y="32138"/>
                  </a:lnTo>
                  <a:lnTo>
                    <a:pt x="19594" y="33797"/>
                  </a:lnTo>
                  <a:lnTo>
                    <a:pt x="19491" y="35352"/>
                  </a:lnTo>
                  <a:lnTo>
                    <a:pt x="19456" y="36769"/>
                  </a:lnTo>
                  <a:lnTo>
                    <a:pt x="19456" y="38047"/>
                  </a:lnTo>
                  <a:lnTo>
                    <a:pt x="19525" y="39119"/>
                  </a:lnTo>
                  <a:lnTo>
                    <a:pt x="19560" y="39568"/>
                  </a:lnTo>
                  <a:lnTo>
                    <a:pt x="19629" y="39982"/>
                  </a:lnTo>
                  <a:lnTo>
                    <a:pt x="19733" y="40328"/>
                  </a:lnTo>
                  <a:lnTo>
                    <a:pt x="19836" y="40604"/>
                  </a:lnTo>
                  <a:lnTo>
                    <a:pt x="19836" y="40604"/>
                  </a:lnTo>
                  <a:lnTo>
                    <a:pt x="20838" y="43300"/>
                  </a:lnTo>
                  <a:lnTo>
                    <a:pt x="22013" y="46548"/>
                  </a:lnTo>
                  <a:lnTo>
                    <a:pt x="24501" y="53563"/>
                  </a:lnTo>
                  <a:lnTo>
                    <a:pt x="27370" y="61891"/>
                  </a:lnTo>
                  <a:lnTo>
                    <a:pt x="27370" y="61891"/>
                  </a:lnTo>
                  <a:lnTo>
                    <a:pt x="27577" y="61960"/>
                  </a:lnTo>
                  <a:lnTo>
                    <a:pt x="27784" y="62029"/>
                  </a:lnTo>
                  <a:lnTo>
                    <a:pt x="28268" y="62133"/>
                  </a:lnTo>
                  <a:lnTo>
                    <a:pt x="28786" y="62133"/>
                  </a:lnTo>
                  <a:lnTo>
                    <a:pt x="29339" y="62099"/>
                  </a:lnTo>
                  <a:lnTo>
                    <a:pt x="29927" y="62029"/>
                  </a:lnTo>
                  <a:lnTo>
                    <a:pt x="30549" y="61891"/>
                  </a:lnTo>
                  <a:lnTo>
                    <a:pt x="31136" y="61753"/>
                  </a:lnTo>
                  <a:lnTo>
                    <a:pt x="31724" y="61546"/>
                  </a:lnTo>
                  <a:lnTo>
                    <a:pt x="32277" y="61373"/>
                  </a:lnTo>
                  <a:lnTo>
                    <a:pt x="32795" y="61166"/>
                  </a:lnTo>
                  <a:lnTo>
                    <a:pt x="33624" y="60785"/>
                  </a:lnTo>
                  <a:lnTo>
                    <a:pt x="33901" y="60613"/>
                  </a:lnTo>
                  <a:lnTo>
                    <a:pt x="34108" y="60509"/>
                  </a:lnTo>
                  <a:lnTo>
                    <a:pt x="34177" y="60405"/>
                  </a:lnTo>
                  <a:lnTo>
                    <a:pt x="34177" y="60371"/>
                  </a:lnTo>
                  <a:lnTo>
                    <a:pt x="34143" y="60336"/>
                  </a:lnTo>
                  <a:lnTo>
                    <a:pt x="34143" y="60336"/>
                  </a:lnTo>
                  <a:lnTo>
                    <a:pt x="33452" y="58332"/>
                  </a:lnTo>
                  <a:lnTo>
                    <a:pt x="32622" y="55775"/>
                  </a:lnTo>
                  <a:lnTo>
                    <a:pt x="31724" y="52837"/>
                  </a:lnTo>
                  <a:lnTo>
                    <a:pt x="30791" y="49693"/>
                  </a:lnTo>
                  <a:lnTo>
                    <a:pt x="29892" y="46583"/>
                  </a:lnTo>
                  <a:lnTo>
                    <a:pt x="29132" y="43645"/>
                  </a:lnTo>
                  <a:lnTo>
                    <a:pt x="28821" y="42332"/>
                  </a:lnTo>
                  <a:lnTo>
                    <a:pt x="28545" y="41123"/>
                  </a:lnTo>
                  <a:lnTo>
                    <a:pt x="28337" y="40086"/>
                  </a:lnTo>
                  <a:lnTo>
                    <a:pt x="28199" y="39188"/>
                  </a:lnTo>
                  <a:lnTo>
                    <a:pt x="28199" y="39188"/>
                  </a:lnTo>
                  <a:lnTo>
                    <a:pt x="28199" y="38704"/>
                  </a:lnTo>
                  <a:lnTo>
                    <a:pt x="28199" y="38082"/>
                  </a:lnTo>
                  <a:lnTo>
                    <a:pt x="28233" y="37287"/>
                  </a:lnTo>
                  <a:lnTo>
                    <a:pt x="28303" y="36354"/>
                  </a:lnTo>
                  <a:lnTo>
                    <a:pt x="28510" y="34108"/>
                  </a:lnTo>
                  <a:lnTo>
                    <a:pt x="28821" y="31447"/>
                  </a:lnTo>
                  <a:lnTo>
                    <a:pt x="29201" y="28475"/>
                  </a:lnTo>
                  <a:lnTo>
                    <a:pt x="29650" y="25261"/>
                  </a:lnTo>
                  <a:lnTo>
                    <a:pt x="30687" y="18558"/>
                  </a:lnTo>
                  <a:lnTo>
                    <a:pt x="31689" y="12026"/>
                  </a:lnTo>
                  <a:lnTo>
                    <a:pt x="32622" y="6428"/>
                  </a:lnTo>
                  <a:lnTo>
                    <a:pt x="33521" y="1037"/>
                  </a:lnTo>
                  <a:lnTo>
                    <a:pt x="16657" y="1"/>
                  </a:lnTo>
                  <a:lnTo>
                    <a:pt x="12579" y="2247"/>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56" name="Google Shape;14302;p81">
              <a:extLst>
                <a:ext uri="{FF2B5EF4-FFF2-40B4-BE49-F238E27FC236}">
                  <a16:creationId xmlns:a16="http://schemas.microsoft.com/office/drawing/2014/main" id="{A15B1F10-B4FC-B106-73AB-2203F4C04050}"/>
                </a:ext>
              </a:extLst>
            </p:cNvPr>
            <p:cNvSpPr/>
            <p:nvPr/>
          </p:nvSpPr>
          <p:spPr>
            <a:xfrm>
              <a:off x="4486425" y="4220750"/>
              <a:ext cx="9525" cy="75175"/>
            </a:xfrm>
            <a:custGeom>
              <a:avLst/>
              <a:gdLst/>
              <a:ahLst/>
              <a:cxnLst/>
              <a:rect l="l" t="t" r="r" b="b"/>
              <a:pathLst>
                <a:path w="381" h="3007" extrusionOk="0">
                  <a:moveTo>
                    <a:pt x="381" y="0"/>
                  </a:moveTo>
                  <a:lnTo>
                    <a:pt x="1" y="3006"/>
                  </a:lnTo>
                  <a:lnTo>
                    <a:pt x="208" y="1486"/>
                  </a:lnTo>
                  <a:lnTo>
                    <a:pt x="381" y="0"/>
                  </a:lnTo>
                  <a:close/>
                </a:path>
              </a:pathLst>
            </a:custGeom>
            <a:solidFill>
              <a:srgbClr val="71718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57" name="Google Shape;14303;p81">
              <a:extLst>
                <a:ext uri="{FF2B5EF4-FFF2-40B4-BE49-F238E27FC236}">
                  <a16:creationId xmlns:a16="http://schemas.microsoft.com/office/drawing/2014/main" id="{D9C4018E-35B5-72BE-429A-44BC83603F32}"/>
                </a:ext>
              </a:extLst>
            </p:cNvPr>
            <p:cNvSpPr/>
            <p:nvPr/>
          </p:nvSpPr>
          <p:spPr>
            <a:xfrm>
              <a:off x="4486425" y="4220750"/>
              <a:ext cx="9525" cy="75175"/>
            </a:xfrm>
            <a:custGeom>
              <a:avLst/>
              <a:gdLst/>
              <a:ahLst/>
              <a:cxnLst/>
              <a:rect l="l" t="t" r="r" b="b"/>
              <a:pathLst>
                <a:path w="381" h="3007" fill="none" extrusionOk="0">
                  <a:moveTo>
                    <a:pt x="381" y="0"/>
                  </a:moveTo>
                  <a:lnTo>
                    <a:pt x="381" y="0"/>
                  </a:lnTo>
                  <a:lnTo>
                    <a:pt x="208" y="1486"/>
                  </a:lnTo>
                  <a:lnTo>
                    <a:pt x="1" y="3006"/>
                  </a:lnTo>
                  <a:lnTo>
                    <a:pt x="1" y="3006"/>
                  </a:lnTo>
                  <a:lnTo>
                    <a:pt x="38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58" name="Google Shape;14304;p81">
              <a:extLst>
                <a:ext uri="{FF2B5EF4-FFF2-40B4-BE49-F238E27FC236}">
                  <a16:creationId xmlns:a16="http://schemas.microsoft.com/office/drawing/2014/main" id="{5CC9CB7F-E150-2974-E26F-1562FCC59B6E}"/>
                </a:ext>
              </a:extLst>
            </p:cNvPr>
            <p:cNvSpPr/>
            <p:nvPr/>
          </p:nvSpPr>
          <p:spPr>
            <a:xfrm>
              <a:off x="4486425" y="3977125"/>
              <a:ext cx="79500" cy="318800"/>
            </a:xfrm>
            <a:custGeom>
              <a:avLst/>
              <a:gdLst/>
              <a:ahLst/>
              <a:cxnLst/>
              <a:rect l="l" t="t" r="r" b="b"/>
              <a:pathLst>
                <a:path w="3180" h="12752" extrusionOk="0">
                  <a:moveTo>
                    <a:pt x="3180" y="0"/>
                  </a:moveTo>
                  <a:lnTo>
                    <a:pt x="3076" y="380"/>
                  </a:lnTo>
                  <a:lnTo>
                    <a:pt x="2661" y="1451"/>
                  </a:lnTo>
                  <a:lnTo>
                    <a:pt x="2385" y="2177"/>
                  </a:lnTo>
                  <a:lnTo>
                    <a:pt x="2005" y="3041"/>
                  </a:lnTo>
                  <a:lnTo>
                    <a:pt x="1521" y="3974"/>
                  </a:lnTo>
                  <a:lnTo>
                    <a:pt x="968" y="4976"/>
                  </a:lnTo>
                  <a:lnTo>
                    <a:pt x="865" y="6117"/>
                  </a:lnTo>
                  <a:lnTo>
                    <a:pt x="726" y="7292"/>
                  </a:lnTo>
                  <a:lnTo>
                    <a:pt x="381" y="9745"/>
                  </a:lnTo>
                  <a:lnTo>
                    <a:pt x="1" y="12751"/>
                  </a:lnTo>
                  <a:lnTo>
                    <a:pt x="3180" y="0"/>
                  </a:lnTo>
                  <a:close/>
                </a:path>
              </a:pathLst>
            </a:custGeom>
            <a:solidFill>
              <a:srgbClr val="24243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59" name="Google Shape;14305;p81">
              <a:extLst>
                <a:ext uri="{FF2B5EF4-FFF2-40B4-BE49-F238E27FC236}">
                  <a16:creationId xmlns:a16="http://schemas.microsoft.com/office/drawing/2014/main" id="{60EEF13F-BCE2-6BA2-0B29-D3F5E16D7014}"/>
                </a:ext>
              </a:extLst>
            </p:cNvPr>
            <p:cNvSpPr/>
            <p:nvPr/>
          </p:nvSpPr>
          <p:spPr>
            <a:xfrm>
              <a:off x="4486425" y="3977125"/>
              <a:ext cx="79500" cy="318800"/>
            </a:xfrm>
            <a:custGeom>
              <a:avLst/>
              <a:gdLst/>
              <a:ahLst/>
              <a:cxnLst/>
              <a:rect l="l" t="t" r="r" b="b"/>
              <a:pathLst>
                <a:path w="3180" h="12752" fill="none" extrusionOk="0">
                  <a:moveTo>
                    <a:pt x="3180" y="0"/>
                  </a:moveTo>
                  <a:lnTo>
                    <a:pt x="3180" y="0"/>
                  </a:lnTo>
                  <a:lnTo>
                    <a:pt x="3076" y="380"/>
                  </a:lnTo>
                  <a:lnTo>
                    <a:pt x="2661" y="1451"/>
                  </a:lnTo>
                  <a:lnTo>
                    <a:pt x="2385" y="2177"/>
                  </a:lnTo>
                  <a:lnTo>
                    <a:pt x="2005" y="3041"/>
                  </a:lnTo>
                  <a:lnTo>
                    <a:pt x="1521" y="3974"/>
                  </a:lnTo>
                  <a:lnTo>
                    <a:pt x="968" y="4976"/>
                  </a:lnTo>
                  <a:lnTo>
                    <a:pt x="968" y="4976"/>
                  </a:lnTo>
                  <a:lnTo>
                    <a:pt x="865" y="6117"/>
                  </a:lnTo>
                  <a:lnTo>
                    <a:pt x="726" y="7292"/>
                  </a:lnTo>
                  <a:lnTo>
                    <a:pt x="381" y="9745"/>
                  </a:lnTo>
                  <a:lnTo>
                    <a:pt x="381" y="9745"/>
                  </a:lnTo>
                  <a:lnTo>
                    <a:pt x="1" y="12751"/>
                  </a:lnTo>
                  <a:lnTo>
                    <a:pt x="1" y="12751"/>
                  </a:lnTo>
                  <a:lnTo>
                    <a:pt x="1" y="12751"/>
                  </a:lnTo>
                  <a:lnTo>
                    <a:pt x="3180"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60" name="Google Shape;14306;p81">
              <a:extLst>
                <a:ext uri="{FF2B5EF4-FFF2-40B4-BE49-F238E27FC236}">
                  <a16:creationId xmlns:a16="http://schemas.microsoft.com/office/drawing/2014/main" id="{79150246-1482-41FE-2A73-160C8B64B8B0}"/>
                </a:ext>
              </a:extLst>
            </p:cNvPr>
            <p:cNvSpPr/>
            <p:nvPr/>
          </p:nvSpPr>
          <p:spPr>
            <a:xfrm>
              <a:off x="4413000" y="2757275"/>
              <a:ext cx="188350" cy="340400"/>
            </a:xfrm>
            <a:custGeom>
              <a:avLst/>
              <a:gdLst/>
              <a:ahLst/>
              <a:cxnLst/>
              <a:rect l="l" t="t" r="r" b="b"/>
              <a:pathLst>
                <a:path w="7534" h="13616" extrusionOk="0">
                  <a:moveTo>
                    <a:pt x="4562" y="0"/>
                  </a:moveTo>
                  <a:lnTo>
                    <a:pt x="4078" y="35"/>
                  </a:lnTo>
                  <a:lnTo>
                    <a:pt x="3629" y="104"/>
                  </a:lnTo>
                  <a:lnTo>
                    <a:pt x="3214" y="208"/>
                  </a:lnTo>
                  <a:lnTo>
                    <a:pt x="2765" y="311"/>
                  </a:lnTo>
                  <a:lnTo>
                    <a:pt x="2385" y="450"/>
                  </a:lnTo>
                  <a:lnTo>
                    <a:pt x="2074" y="622"/>
                  </a:lnTo>
                  <a:lnTo>
                    <a:pt x="1763" y="761"/>
                  </a:lnTo>
                  <a:lnTo>
                    <a:pt x="1555" y="933"/>
                  </a:lnTo>
                  <a:lnTo>
                    <a:pt x="1383" y="1106"/>
                  </a:lnTo>
                  <a:lnTo>
                    <a:pt x="1314" y="1279"/>
                  </a:lnTo>
                  <a:lnTo>
                    <a:pt x="1037" y="2247"/>
                  </a:lnTo>
                  <a:lnTo>
                    <a:pt x="830" y="3007"/>
                  </a:lnTo>
                  <a:lnTo>
                    <a:pt x="588" y="3629"/>
                  </a:lnTo>
                  <a:lnTo>
                    <a:pt x="415" y="4113"/>
                  </a:lnTo>
                  <a:lnTo>
                    <a:pt x="139" y="4735"/>
                  </a:lnTo>
                  <a:lnTo>
                    <a:pt x="35" y="4907"/>
                  </a:lnTo>
                  <a:lnTo>
                    <a:pt x="0" y="5046"/>
                  </a:lnTo>
                  <a:lnTo>
                    <a:pt x="173" y="5149"/>
                  </a:lnTo>
                  <a:lnTo>
                    <a:pt x="311" y="5184"/>
                  </a:lnTo>
                  <a:lnTo>
                    <a:pt x="450" y="5184"/>
                  </a:lnTo>
                  <a:lnTo>
                    <a:pt x="450" y="5253"/>
                  </a:lnTo>
                  <a:lnTo>
                    <a:pt x="450" y="5426"/>
                  </a:lnTo>
                  <a:lnTo>
                    <a:pt x="346" y="6186"/>
                  </a:lnTo>
                  <a:lnTo>
                    <a:pt x="242" y="6946"/>
                  </a:lnTo>
                  <a:lnTo>
                    <a:pt x="242" y="7672"/>
                  </a:lnTo>
                  <a:lnTo>
                    <a:pt x="242" y="7983"/>
                  </a:lnTo>
                  <a:lnTo>
                    <a:pt x="277" y="8259"/>
                  </a:lnTo>
                  <a:lnTo>
                    <a:pt x="346" y="8501"/>
                  </a:lnTo>
                  <a:lnTo>
                    <a:pt x="450" y="8709"/>
                  </a:lnTo>
                  <a:lnTo>
                    <a:pt x="553" y="8881"/>
                  </a:lnTo>
                  <a:lnTo>
                    <a:pt x="726" y="8985"/>
                  </a:lnTo>
                  <a:lnTo>
                    <a:pt x="933" y="9054"/>
                  </a:lnTo>
                  <a:lnTo>
                    <a:pt x="1175" y="9054"/>
                  </a:lnTo>
                  <a:lnTo>
                    <a:pt x="1486" y="9020"/>
                  </a:lnTo>
                  <a:lnTo>
                    <a:pt x="1832" y="8881"/>
                  </a:lnTo>
                  <a:lnTo>
                    <a:pt x="2212" y="8709"/>
                  </a:lnTo>
                  <a:lnTo>
                    <a:pt x="2696" y="8432"/>
                  </a:lnTo>
                  <a:lnTo>
                    <a:pt x="2419" y="10575"/>
                  </a:lnTo>
                  <a:lnTo>
                    <a:pt x="3007" y="13616"/>
                  </a:lnTo>
                  <a:lnTo>
                    <a:pt x="7154" y="13270"/>
                  </a:lnTo>
                  <a:lnTo>
                    <a:pt x="7084" y="12994"/>
                  </a:lnTo>
                  <a:lnTo>
                    <a:pt x="7015" y="12683"/>
                  </a:lnTo>
                  <a:lnTo>
                    <a:pt x="6946" y="12026"/>
                  </a:lnTo>
                  <a:lnTo>
                    <a:pt x="6946" y="11266"/>
                  </a:lnTo>
                  <a:lnTo>
                    <a:pt x="6981" y="10436"/>
                  </a:lnTo>
                  <a:lnTo>
                    <a:pt x="7015" y="9538"/>
                  </a:lnTo>
                  <a:lnTo>
                    <a:pt x="7119" y="8605"/>
                  </a:lnTo>
                  <a:lnTo>
                    <a:pt x="7326" y="6670"/>
                  </a:lnTo>
                  <a:lnTo>
                    <a:pt x="7465" y="4804"/>
                  </a:lnTo>
                  <a:lnTo>
                    <a:pt x="7534" y="3905"/>
                  </a:lnTo>
                  <a:lnTo>
                    <a:pt x="7534" y="3111"/>
                  </a:lnTo>
                  <a:lnTo>
                    <a:pt x="7499" y="2350"/>
                  </a:lnTo>
                  <a:lnTo>
                    <a:pt x="7395" y="1728"/>
                  </a:lnTo>
                  <a:lnTo>
                    <a:pt x="7326" y="1452"/>
                  </a:lnTo>
                  <a:lnTo>
                    <a:pt x="7223" y="1210"/>
                  </a:lnTo>
                  <a:lnTo>
                    <a:pt x="7119" y="1003"/>
                  </a:lnTo>
                  <a:lnTo>
                    <a:pt x="6981" y="830"/>
                  </a:lnTo>
                  <a:lnTo>
                    <a:pt x="6808" y="657"/>
                  </a:lnTo>
                  <a:lnTo>
                    <a:pt x="6670" y="519"/>
                  </a:lnTo>
                  <a:lnTo>
                    <a:pt x="6290" y="311"/>
                  </a:lnTo>
                  <a:lnTo>
                    <a:pt x="5910" y="173"/>
                  </a:lnTo>
                  <a:lnTo>
                    <a:pt x="5460" y="70"/>
                  </a:lnTo>
                  <a:lnTo>
                    <a:pt x="5011" y="0"/>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61" name="Google Shape;14307;p81">
              <a:extLst>
                <a:ext uri="{FF2B5EF4-FFF2-40B4-BE49-F238E27FC236}">
                  <a16:creationId xmlns:a16="http://schemas.microsoft.com/office/drawing/2014/main" id="{155AA8C2-F353-C752-E3FB-DCAC16580E71}"/>
                </a:ext>
              </a:extLst>
            </p:cNvPr>
            <p:cNvSpPr/>
            <p:nvPr/>
          </p:nvSpPr>
          <p:spPr>
            <a:xfrm>
              <a:off x="4413000" y="2757275"/>
              <a:ext cx="188350" cy="340400"/>
            </a:xfrm>
            <a:custGeom>
              <a:avLst/>
              <a:gdLst/>
              <a:ahLst/>
              <a:cxnLst/>
              <a:rect l="l" t="t" r="r" b="b"/>
              <a:pathLst>
                <a:path w="7534" h="13616" fill="none" extrusionOk="0">
                  <a:moveTo>
                    <a:pt x="1314" y="1279"/>
                  </a:moveTo>
                  <a:lnTo>
                    <a:pt x="1314" y="1279"/>
                  </a:lnTo>
                  <a:lnTo>
                    <a:pt x="1037" y="2247"/>
                  </a:lnTo>
                  <a:lnTo>
                    <a:pt x="830" y="3007"/>
                  </a:lnTo>
                  <a:lnTo>
                    <a:pt x="588" y="3629"/>
                  </a:lnTo>
                  <a:lnTo>
                    <a:pt x="415" y="4113"/>
                  </a:lnTo>
                  <a:lnTo>
                    <a:pt x="139" y="4735"/>
                  </a:lnTo>
                  <a:lnTo>
                    <a:pt x="35" y="4907"/>
                  </a:lnTo>
                  <a:lnTo>
                    <a:pt x="0" y="5046"/>
                  </a:lnTo>
                  <a:lnTo>
                    <a:pt x="0" y="5046"/>
                  </a:lnTo>
                  <a:lnTo>
                    <a:pt x="173" y="5149"/>
                  </a:lnTo>
                  <a:lnTo>
                    <a:pt x="311" y="5184"/>
                  </a:lnTo>
                  <a:lnTo>
                    <a:pt x="380" y="5184"/>
                  </a:lnTo>
                  <a:lnTo>
                    <a:pt x="450" y="5184"/>
                  </a:lnTo>
                  <a:lnTo>
                    <a:pt x="450" y="5253"/>
                  </a:lnTo>
                  <a:lnTo>
                    <a:pt x="450" y="5426"/>
                  </a:lnTo>
                  <a:lnTo>
                    <a:pt x="346" y="6186"/>
                  </a:lnTo>
                  <a:lnTo>
                    <a:pt x="346" y="6186"/>
                  </a:lnTo>
                  <a:lnTo>
                    <a:pt x="242" y="6946"/>
                  </a:lnTo>
                  <a:lnTo>
                    <a:pt x="242" y="7672"/>
                  </a:lnTo>
                  <a:lnTo>
                    <a:pt x="242" y="7983"/>
                  </a:lnTo>
                  <a:lnTo>
                    <a:pt x="277" y="8259"/>
                  </a:lnTo>
                  <a:lnTo>
                    <a:pt x="346" y="8501"/>
                  </a:lnTo>
                  <a:lnTo>
                    <a:pt x="450" y="8709"/>
                  </a:lnTo>
                  <a:lnTo>
                    <a:pt x="553" y="8881"/>
                  </a:lnTo>
                  <a:lnTo>
                    <a:pt x="726" y="8985"/>
                  </a:lnTo>
                  <a:lnTo>
                    <a:pt x="933" y="9054"/>
                  </a:lnTo>
                  <a:lnTo>
                    <a:pt x="1175" y="9054"/>
                  </a:lnTo>
                  <a:lnTo>
                    <a:pt x="1486" y="9020"/>
                  </a:lnTo>
                  <a:lnTo>
                    <a:pt x="1832" y="8881"/>
                  </a:lnTo>
                  <a:lnTo>
                    <a:pt x="2212" y="8709"/>
                  </a:lnTo>
                  <a:lnTo>
                    <a:pt x="2696" y="8432"/>
                  </a:lnTo>
                  <a:lnTo>
                    <a:pt x="2696" y="8432"/>
                  </a:lnTo>
                  <a:lnTo>
                    <a:pt x="2419" y="10575"/>
                  </a:lnTo>
                  <a:lnTo>
                    <a:pt x="3007" y="13616"/>
                  </a:lnTo>
                  <a:lnTo>
                    <a:pt x="7154" y="13270"/>
                  </a:lnTo>
                  <a:lnTo>
                    <a:pt x="7154" y="13270"/>
                  </a:lnTo>
                  <a:lnTo>
                    <a:pt x="7084" y="12994"/>
                  </a:lnTo>
                  <a:lnTo>
                    <a:pt x="7015" y="12683"/>
                  </a:lnTo>
                  <a:lnTo>
                    <a:pt x="6946" y="12026"/>
                  </a:lnTo>
                  <a:lnTo>
                    <a:pt x="6946" y="11266"/>
                  </a:lnTo>
                  <a:lnTo>
                    <a:pt x="6981" y="10436"/>
                  </a:lnTo>
                  <a:lnTo>
                    <a:pt x="7015" y="9538"/>
                  </a:lnTo>
                  <a:lnTo>
                    <a:pt x="7119" y="8605"/>
                  </a:lnTo>
                  <a:lnTo>
                    <a:pt x="7326" y="6670"/>
                  </a:lnTo>
                  <a:lnTo>
                    <a:pt x="7465" y="4804"/>
                  </a:lnTo>
                  <a:lnTo>
                    <a:pt x="7534" y="3905"/>
                  </a:lnTo>
                  <a:lnTo>
                    <a:pt x="7534" y="3111"/>
                  </a:lnTo>
                  <a:lnTo>
                    <a:pt x="7499" y="2350"/>
                  </a:lnTo>
                  <a:lnTo>
                    <a:pt x="7395" y="1728"/>
                  </a:lnTo>
                  <a:lnTo>
                    <a:pt x="7326" y="1452"/>
                  </a:lnTo>
                  <a:lnTo>
                    <a:pt x="7223" y="1210"/>
                  </a:lnTo>
                  <a:lnTo>
                    <a:pt x="7119" y="1003"/>
                  </a:lnTo>
                  <a:lnTo>
                    <a:pt x="6981" y="830"/>
                  </a:lnTo>
                  <a:lnTo>
                    <a:pt x="6981" y="830"/>
                  </a:lnTo>
                  <a:lnTo>
                    <a:pt x="6808" y="657"/>
                  </a:lnTo>
                  <a:lnTo>
                    <a:pt x="6670" y="519"/>
                  </a:lnTo>
                  <a:lnTo>
                    <a:pt x="6290" y="311"/>
                  </a:lnTo>
                  <a:lnTo>
                    <a:pt x="5910" y="173"/>
                  </a:lnTo>
                  <a:lnTo>
                    <a:pt x="5460" y="70"/>
                  </a:lnTo>
                  <a:lnTo>
                    <a:pt x="5011" y="0"/>
                  </a:lnTo>
                  <a:lnTo>
                    <a:pt x="4562" y="0"/>
                  </a:lnTo>
                  <a:lnTo>
                    <a:pt x="4078" y="35"/>
                  </a:lnTo>
                  <a:lnTo>
                    <a:pt x="3629" y="104"/>
                  </a:lnTo>
                  <a:lnTo>
                    <a:pt x="3214" y="208"/>
                  </a:lnTo>
                  <a:lnTo>
                    <a:pt x="2765" y="311"/>
                  </a:lnTo>
                  <a:lnTo>
                    <a:pt x="2385" y="450"/>
                  </a:lnTo>
                  <a:lnTo>
                    <a:pt x="2074" y="622"/>
                  </a:lnTo>
                  <a:lnTo>
                    <a:pt x="1763" y="761"/>
                  </a:lnTo>
                  <a:lnTo>
                    <a:pt x="1555" y="933"/>
                  </a:lnTo>
                  <a:lnTo>
                    <a:pt x="1383" y="1106"/>
                  </a:lnTo>
                  <a:lnTo>
                    <a:pt x="1314" y="1279"/>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62" name="Google Shape;14308;p81">
              <a:extLst>
                <a:ext uri="{FF2B5EF4-FFF2-40B4-BE49-F238E27FC236}">
                  <a16:creationId xmlns:a16="http://schemas.microsoft.com/office/drawing/2014/main" id="{C8BB5E43-53CB-1DC8-80F6-54958F9BF6A2}"/>
                </a:ext>
              </a:extLst>
            </p:cNvPr>
            <p:cNvSpPr/>
            <p:nvPr/>
          </p:nvSpPr>
          <p:spPr>
            <a:xfrm>
              <a:off x="4423375" y="2708025"/>
              <a:ext cx="216000" cy="269575"/>
            </a:xfrm>
            <a:custGeom>
              <a:avLst/>
              <a:gdLst/>
              <a:ahLst/>
              <a:cxnLst/>
              <a:rect l="l" t="t" r="r" b="b"/>
              <a:pathLst>
                <a:path w="8640" h="10783" extrusionOk="0">
                  <a:moveTo>
                    <a:pt x="1624" y="1"/>
                  </a:moveTo>
                  <a:lnTo>
                    <a:pt x="1451" y="35"/>
                  </a:lnTo>
                  <a:lnTo>
                    <a:pt x="1140" y="139"/>
                  </a:lnTo>
                  <a:lnTo>
                    <a:pt x="864" y="277"/>
                  </a:lnTo>
                  <a:lnTo>
                    <a:pt x="587" y="485"/>
                  </a:lnTo>
                  <a:lnTo>
                    <a:pt x="380" y="692"/>
                  </a:lnTo>
                  <a:lnTo>
                    <a:pt x="242" y="865"/>
                  </a:lnTo>
                  <a:lnTo>
                    <a:pt x="173" y="1072"/>
                  </a:lnTo>
                  <a:lnTo>
                    <a:pt x="104" y="1245"/>
                  </a:lnTo>
                  <a:lnTo>
                    <a:pt x="138" y="1418"/>
                  </a:lnTo>
                  <a:lnTo>
                    <a:pt x="138" y="1590"/>
                  </a:lnTo>
                  <a:lnTo>
                    <a:pt x="242" y="1867"/>
                  </a:lnTo>
                  <a:lnTo>
                    <a:pt x="276" y="1970"/>
                  </a:lnTo>
                  <a:lnTo>
                    <a:pt x="173" y="2143"/>
                  </a:lnTo>
                  <a:lnTo>
                    <a:pt x="69" y="2316"/>
                  </a:lnTo>
                  <a:lnTo>
                    <a:pt x="35" y="2454"/>
                  </a:lnTo>
                  <a:lnTo>
                    <a:pt x="0" y="2592"/>
                  </a:lnTo>
                  <a:lnTo>
                    <a:pt x="0" y="2731"/>
                  </a:lnTo>
                  <a:lnTo>
                    <a:pt x="0" y="2869"/>
                  </a:lnTo>
                  <a:lnTo>
                    <a:pt x="138" y="3111"/>
                  </a:lnTo>
                  <a:lnTo>
                    <a:pt x="311" y="3318"/>
                  </a:lnTo>
                  <a:lnTo>
                    <a:pt x="518" y="3560"/>
                  </a:lnTo>
                  <a:lnTo>
                    <a:pt x="1002" y="4009"/>
                  </a:lnTo>
                  <a:lnTo>
                    <a:pt x="1279" y="4251"/>
                  </a:lnTo>
                  <a:lnTo>
                    <a:pt x="1521" y="4389"/>
                  </a:lnTo>
                  <a:lnTo>
                    <a:pt x="1935" y="4597"/>
                  </a:lnTo>
                  <a:lnTo>
                    <a:pt x="2108" y="4700"/>
                  </a:lnTo>
                  <a:lnTo>
                    <a:pt x="2246" y="4839"/>
                  </a:lnTo>
                  <a:lnTo>
                    <a:pt x="2281" y="4908"/>
                  </a:lnTo>
                  <a:lnTo>
                    <a:pt x="2281" y="5011"/>
                  </a:lnTo>
                  <a:lnTo>
                    <a:pt x="2281" y="5288"/>
                  </a:lnTo>
                  <a:lnTo>
                    <a:pt x="2212" y="5806"/>
                  </a:lnTo>
                  <a:lnTo>
                    <a:pt x="2212" y="5979"/>
                  </a:lnTo>
                  <a:lnTo>
                    <a:pt x="2246" y="6117"/>
                  </a:lnTo>
                  <a:lnTo>
                    <a:pt x="2350" y="6221"/>
                  </a:lnTo>
                  <a:lnTo>
                    <a:pt x="2523" y="6290"/>
                  </a:lnTo>
                  <a:lnTo>
                    <a:pt x="2730" y="6359"/>
                  </a:lnTo>
                  <a:lnTo>
                    <a:pt x="3076" y="6394"/>
                  </a:lnTo>
                  <a:lnTo>
                    <a:pt x="3283" y="6255"/>
                  </a:lnTo>
                  <a:lnTo>
                    <a:pt x="3456" y="6152"/>
                  </a:lnTo>
                  <a:lnTo>
                    <a:pt x="3628" y="6117"/>
                  </a:lnTo>
                  <a:lnTo>
                    <a:pt x="3801" y="6117"/>
                  </a:lnTo>
                  <a:lnTo>
                    <a:pt x="3939" y="6152"/>
                  </a:lnTo>
                  <a:lnTo>
                    <a:pt x="4078" y="6255"/>
                  </a:lnTo>
                  <a:lnTo>
                    <a:pt x="4181" y="6359"/>
                  </a:lnTo>
                  <a:lnTo>
                    <a:pt x="4250" y="6497"/>
                  </a:lnTo>
                  <a:lnTo>
                    <a:pt x="4320" y="6670"/>
                  </a:lnTo>
                  <a:lnTo>
                    <a:pt x="4354" y="6843"/>
                  </a:lnTo>
                  <a:lnTo>
                    <a:pt x="4354" y="7016"/>
                  </a:lnTo>
                  <a:lnTo>
                    <a:pt x="4320" y="7223"/>
                  </a:lnTo>
                  <a:lnTo>
                    <a:pt x="4216" y="7396"/>
                  </a:lnTo>
                  <a:lnTo>
                    <a:pt x="4112" y="7569"/>
                  </a:lnTo>
                  <a:lnTo>
                    <a:pt x="3974" y="7741"/>
                  </a:lnTo>
                  <a:lnTo>
                    <a:pt x="3801" y="7880"/>
                  </a:lnTo>
                  <a:lnTo>
                    <a:pt x="3801" y="8225"/>
                  </a:lnTo>
                  <a:lnTo>
                    <a:pt x="3836" y="8674"/>
                  </a:lnTo>
                  <a:lnTo>
                    <a:pt x="3974" y="9124"/>
                  </a:lnTo>
                  <a:lnTo>
                    <a:pt x="4181" y="9573"/>
                  </a:lnTo>
                  <a:lnTo>
                    <a:pt x="4423" y="10022"/>
                  </a:lnTo>
                  <a:lnTo>
                    <a:pt x="4561" y="10195"/>
                  </a:lnTo>
                  <a:lnTo>
                    <a:pt x="4734" y="10368"/>
                  </a:lnTo>
                  <a:lnTo>
                    <a:pt x="4907" y="10540"/>
                  </a:lnTo>
                  <a:lnTo>
                    <a:pt x="5114" y="10644"/>
                  </a:lnTo>
                  <a:lnTo>
                    <a:pt x="5322" y="10748"/>
                  </a:lnTo>
                  <a:lnTo>
                    <a:pt x="5564" y="10782"/>
                  </a:lnTo>
                  <a:lnTo>
                    <a:pt x="5978" y="10782"/>
                  </a:lnTo>
                  <a:lnTo>
                    <a:pt x="6186" y="10713"/>
                  </a:lnTo>
                  <a:lnTo>
                    <a:pt x="6393" y="10610"/>
                  </a:lnTo>
                  <a:lnTo>
                    <a:pt x="6566" y="10471"/>
                  </a:lnTo>
                  <a:lnTo>
                    <a:pt x="6704" y="10299"/>
                  </a:lnTo>
                  <a:lnTo>
                    <a:pt x="6877" y="10126"/>
                  </a:lnTo>
                  <a:lnTo>
                    <a:pt x="6980" y="9918"/>
                  </a:lnTo>
                  <a:lnTo>
                    <a:pt x="7119" y="9677"/>
                  </a:lnTo>
                  <a:lnTo>
                    <a:pt x="7222" y="9435"/>
                  </a:lnTo>
                  <a:lnTo>
                    <a:pt x="7361" y="8882"/>
                  </a:lnTo>
                  <a:lnTo>
                    <a:pt x="7464" y="8294"/>
                  </a:lnTo>
                  <a:lnTo>
                    <a:pt x="7499" y="7672"/>
                  </a:lnTo>
                  <a:lnTo>
                    <a:pt x="7499" y="7396"/>
                  </a:lnTo>
                  <a:lnTo>
                    <a:pt x="7568" y="7119"/>
                  </a:lnTo>
                  <a:lnTo>
                    <a:pt x="7637" y="6912"/>
                  </a:lnTo>
                  <a:lnTo>
                    <a:pt x="7741" y="6705"/>
                  </a:lnTo>
                  <a:lnTo>
                    <a:pt x="8017" y="6359"/>
                  </a:lnTo>
                  <a:lnTo>
                    <a:pt x="8259" y="5979"/>
                  </a:lnTo>
                  <a:lnTo>
                    <a:pt x="8397" y="5772"/>
                  </a:lnTo>
                  <a:lnTo>
                    <a:pt x="8501" y="5564"/>
                  </a:lnTo>
                  <a:lnTo>
                    <a:pt x="8605" y="5288"/>
                  </a:lnTo>
                  <a:lnTo>
                    <a:pt x="8639" y="5011"/>
                  </a:lnTo>
                  <a:lnTo>
                    <a:pt x="8639" y="4666"/>
                  </a:lnTo>
                  <a:lnTo>
                    <a:pt x="8605" y="4286"/>
                  </a:lnTo>
                  <a:lnTo>
                    <a:pt x="8535" y="3837"/>
                  </a:lnTo>
                  <a:lnTo>
                    <a:pt x="8397" y="3318"/>
                  </a:lnTo>
                  <a:lnTo>
                    <a:pt x="8294" y="3042"/>
                  </a:lnTo>
                  <a:lnTo>
                    <a:pt x="8190" y="2834"/>
                  </a:lnTo>
                  <a:lnTo>
                    <a:pt x="8086" y="2662"/>
                  </a:lnTo>
                  <a:lnTo>
                    <a:pt x="7983" y="2558"/>
                  </a:lnTo>
                  <a:lnTo>
                    <a:pt x="7879" y="2454"/>
                  </a:lnTo>
                  <a:lnTo>
                    <a:pt x="7741" y="2420"/>
                  </a:lnTo>
                  <a:lnTo>
                    <a:pt x="7533" y="2351"/>
                  </a:lnTo>
                  <a:lnTo>
                    <a:pt x="7326" y="2247"/>
                  </a:lnTo>
                  <a:lnTo>
                    <a:pt x="7222" y="2212"/>
                  </a:lnTo>
                  <a:lnTo>
                    <a:pt x="7153" y="2109"/>
                  </a:lnTo>
                  <a:lnTo>
                    <a:pt x="7050" y="1970"/>
                  </a:lnTo>
                  <a:lnTo>
                    <a:pt x="6946" y="1832"/>
                  </a:lnTo>
                  <a:lnTo>
                    <a:pt x="6877" y="1590"/>
                  </a:lnTo>
                  <a:lnTo>
                    <a:pt x="6808" y="1314"/>
                  </a:lnTo>
                  <a:lnTo>
                    <a:pt x="6739" y="1037"/>
                  </a:lnTo>
                  <a:lnTo>
                    <a:pt x="6635" y="796"/>
                  </a:lnTo>
                  <a:lnTo>
                    <a:pt x="6531" y="623"/>
                  </a:lnTo>
                  <a:lnTo>
                    <a:pt x="6393" y="450"/>
                  </a:lnTo>
                  <a:lnTo>
                    <a:pt x="6255" y="312"/>
                  </a:lnTo>
                  <a:lnTo>
                    <a:pt x="6117" y="208"/>
                  </a:lnTo>
                  <a:lnTo>
                    <a:pt x="5944" y="104"/>
                  </a:lnTo>
                  <a:lnTo>
                    <a:pt x="5771" y="70"/>
                  </a:lnTo>
                  <a:lnTo>
                    <a:pt x="5564" y="35"/>
                  </a:lnTo>
                  <a:lnTo>
                    <a:pt x="5356" y="35"/>
                  </a:lnTo>
                  <a:lnTo>
                    <a:pt x="5149" y="70"/>
                  </a:lnTo>
                  <a:lnTo>
                    <a:pt x="4942" y="139"/>
                  </a:lnTo>
                  <a:lnTo>
                    <a:pt x="4734" y="208"/>
                  </a:lnTo>
                  <a:lnTo>
                    <a:pt x="4527" y="312"/>
                  </a:lnTo>
                  <a:lnTo>
                    <a:pt x="4320" y="450"/>
                  </a:lnTo>
                  <a:lnTo>
                    <a:pt x="4112" y="623"/>
                  </a:lnTo>
                  <a:lnTo>
                    <a:pt x="3732" y="899"/>
                  </a:lnTo>
                  <a:lnTo>
                    <a:pt x="3456" y="1037"/>
                  </a:lnTo>
                  <a:lnTo>
                    <a:pt x="3352" y="1072"/>
                  </a:lnTo>
                  <a:lnTo>
                    <a:pt x="3248" y="1072"/>
                  </a:lnTo>
                  <a:lnTo>
                    <a:pt x="3179" y="1037"/>
                  </a:lnTo>
                  <a:lnTo>
                    <a:pt x="3110" y="1003"/>
                  </a:lnTo>
                  <a:lnTo>
                    <a:pt x="2972" y="899"/>
                  </a:lnTo>
                  <a:lnTo>
                    <a:pt x="2834" y="692"/>
                  </a:lnTo>
                  <a:lnTo>
                    <a:pt x="2661" y="485"/>
                  </a:lnTo>
                  <a:lnTo>
                    <a:pt x="2384" y="243"/>
                  </a:lnTo>
                  <a:lnTo>
                    <a:pt x="2246" y="139"/>
                  </a:lnTo>
                  <a:lnTo>
                    <a:pt x="2108" y="70"/>
                  </a:lnTo>
                  <a:lnTo>
                    <a:pt x="1935" y="1"/>
                  </a:lnTo>
                  <a:close/>
                </a:path>
              </a:pathLst>
            </a:custGeom>
            <a:solidFill>
              <a:srgbClr val="6D352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63" name="Google Shape;14309;p81">
              <a:extLst>
                <a:ext uri="{FF2B5EF4-FFF2-40B4-BE49-F238E27FC236}">
                  <a16:creationId xmlns:a16="http://schemas.microsoft.com/office/drawing/2014/main" id="{6B854EB1-F641-731A-5FB7-1A198911C61E}"/>
                </a:ext>
              </a:extLst>
            </p:cNvPr>
            <p:cNvSpPr/>
            <p:nvPr/>
          </p:nvSpPr>
          <p:spPr>
            <a:xfrm>
              <a:off x="4475200" y="2953375"/>
              <a:ext cx="54450" cy="63950"/>
            </a:xfrm>
            <a:custGeom>
              <a:avLst/>
              <a:gdLst/>
              <a:ahLst/>
              <a:cxnLst/>
              <a:rect l="l" t="t" r="r" b="b"/>
              <a:pathLst>
                <a:path w="2178" h="2558" extrusionOk="0">
                  <a:moveTo>
                    <a:pt x="1175" y="1"/>
                  </a:moveTo>
                  <a:lnTo>
                    <a:pt x="1003" y="35"/>
                  </a:lnTo>
                  <a:lnTo>
                    <a:pt x="761" y="139"/>
                  </a:lnTo>
                  <a:lnTo>
                    <a:pt x="519" y="312"/>
                  </a:lnTo>
                  <a:lnTo>
                    <a:pt x="208" y="588"/>
                  </a:lnTo>
                  <a:lnTo>
                    <a:pt x="35" y="2281"/>
                  </a:lnTo>
                  <a:lnTo>
                    <a:pt x="0" y="2558"/>
                  </a:lnTo>
                  <a:lnTo>
                    <a:pt x="0" y="2558"/>
                  </a:lnTo>
                  <a:lnTo>
                    <a:pt x="761" y="2523"/>
                  </a:lnTo>
                  <a:lnTo>
                    <a:pt x="1348" y="2523"/>
                  </a:lnTo>
                  <a:lnTo>
                    <a:pt x="1625" y="2316"/>
                  </a:lnTo>
                  <a:lnTo>
                    <a:pt x="1866" y="2109"/>
                  </a:lnTo>
                  <a:lnTo>
                    <a:pt x="2039" y="1867"/>
                  </a:lnTo>
                  <a:lnTo>
                    <a:pt x="2108" y="1763"/>
                  </a:lnTo>
                  <a:lnTo>
                    <a:pt x="2177" y="1625"/>
                  </a:lnTo>
                  <a:lnTo>
                    <a:pt x="2177" y="1487"/>
                  </a:lnTo>
                  <a:lnTo>
                    <a:pt x="2177" y="1348"/>
                  </a:lnTo>
                  <a:lnTo>
                    <a:pt x="2177" y="1176"/>
                  </a:lnTo>
                  <a:lnTo>
                    <a:pt x="2108" y="1003"/>
                  </a:lnTo>
                  <a:lnTo>
                    <a:pt x="2005" y="830"/>
                  </a:lnTo>
                  <a:lnTo>
                    <a:pt x="1901" y="623"/>
                  </a:lnTo>
                  <a:lnTo>
                    <a:pt x="1521" y="174"/>
                  </a:lnTo>
                  <a:lnTo>
                    <a:pt x="1383" y="70"/>
                  </a:lnTo>
                  <a:lnTo>
                    <a:pt x="1279" y="35"/>
                  </a:lnTo>
                  <a:lnTo>
                    <a:pt x="1175" y="1"/>
                  </a:lnTo>
                  <a:close/>
                </a:path>
              </a:pathLst>
            </a:custGeom>
            <a:solidFill>
              <a:srgbClr val="CE979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64" name="Google Shape;14310;p81">
              <a:extLst>
                <a:ext uri="{FF2B5EF4-FFF2-40B4-BE49-F238E27FC236}">
                  <a16:creationId xmlns:a16="http://schemas.microsoft.com/office/drawing/2014/main" id="{27487C01-5B04-BE1E-88ED-BE31A146E9F3}"/>
                </a:ext>
              </a:extLst>
            </p:cNvPr>
            <p:cNvSpPr/>
            <p:nvPr/>
          </p:nvSpPr>
          <p:spPr>
            <a:xfrm>
              <a:off x="4475200" y="2953375"/>
              <a:ext cx="54450" cy="63950"/>
            </a:xfrm>
            <a:custGeom>
              <a:avLst/>
              <a:gdLst/>
              <a:ahLst/>
              <a:cxnLst/>
              <a:rect l="l" t="t" r="r" b="b"/>
              <a:pathLst>
                <a:path w="2178" h="2558" fill="none" extrusionOk="0">
                  <a:moveTo>
                    <a:pt x="1175" y="1"/>
                  </a:moveTo>
                  <a:lnTo>
                    <a:pt x="1175" y="1"/>
                  </a:lnTo>
                  <a:lnTo>
                    <a:pt x="1003" y="35"/>
                  </a:lnTo>
                  <a:lnTo>
                    <a:pt x="761" y="139"/>
                  </a:lnTo>
                  <a:lnTo>
                    <a:pt x="519" y="312"/>
                  </a:lnTo>
                  <a:lnTo>
                    <a:pt x="208" y="588"/>
                  </a:lnTo>
                  <a:lnTo>
                    <a:pt x="208" y="588"/>
                  </a:lnTo>
                  <a:lnTo>
                    <a:pt x="208" y="588"/>
                  </a:lnTo>
                  <a:lnTo>
                    <a:pt x="208" y="588"/>
                  </a:lnTo>
                  <a:lnTo>
                    <a:pt x="35" y="2281"/>
                  </a:lnTo>
                  <a:lnTo>
                    <a:pt x="35" y="2281"/>
                  </a:lnTo>
                  <a:lnTo>
                    <a:pt x="0" y="2558"/>
                  </a:lnTo>
                  <a:lnTo>
                    <a:pt x="0" y="2558"/>
                  </a:lnTo>
                  <a:lnTo>
                    <a:pt x="761" y="2523"/>
                  </a:lnTo>
                  <a:lnTo>
                    <a:pt x="761" y="2523"/>
                  </a:lnTo>
                  <a:lnTo>
                    <a:pt x="1348" y="2523"/>
                  </a:lnTo>
                  <a:lnTo>
                    <a:pt x="1348" y="2523"/>
                  </a:lnTo>
                  <a:lnTo>
                    <a:pt x="1625" y="2316"/>
                  </a:lnTo>
                  <a:lnTo>
                    <a:pt x="1866" y="2109"/>
                  </a:lnTo>
                  <a:lnTo>
                    <a:pt x="2039" y="1867"/>
                  </a:lnTo>
                  <a:lnTo>
                    <a:pt x="2108" y="1763"/>
                  </a:lnTo>
                  <a:lnTo>
                    <a:pt x="2177" y="1625"/>
                  </a:lnTo>
                  <a:lnTo>
                    <a:pt x="2177" y="1487"/>
                  </a:lnTo>
                  <a:lnTo>
                    <a:pt x="2177" y="1348"/>
                  </a:lnTo>
                  <a:lnTo>
                    <a:pt x="2177" y="1176"/>
                  </a:lnTo>
                  <a:lnTo>
                    <a:pt x="2108" y="1003"/>
                  </a:lnTo>
                  <a:lnTo>
                    <a:pt x="2005" y="830"/>
                  </a:lnTo>
                  <a:lnTo>
                    <a:pt x="1901" y="623"/>
                  </a:lnTo>
                  <a:lnTo>
                    <a:pt x="1521" y="174"/>
                  </a:lnTo>
                  <a:lnTo>
                    <a:pt x="1521" y="174"/>
                  </a:lnTo>
                  <a:lnTo>
                    <a:pt x="1383" y="70"/>
                  </a:lnTo>
                  <a:lnTo>
                    <a:pt x="1279" y="35"/>
                  </a:lnTo>
                  <a:lnTo>
                    <a:pt x="1175"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65" name="Google Shape;14311;p81">
              <a:extLst>
                <a:ext uri="{FF2B5EF4-FFF2-40B4-BE49-F238E27FC236}">
                  <a16:creationId xmlns:a16="http://schemas.microsoft.com/office/drawing/2014/main" id="{E8A4AFEF-3CA1-A7B0-0FA3-64E98302E7EA}"/>
                </a:ext>
              </a:extLst>
            </p:cNvPr>
            <p:cNvSpPr/>
            <p:nvPr/>
          </p:nvSpPr>
          <p:spPr>
            <a:xfrm>
              <a:off x="3682125" y="2970650"/>
              <a:ext cx="1142125" cy="869125"/>
            </a:xfrm>
            <a:custGeom>
              <a:avLst/>
              <a:gdLst/>
              <a:ahLst/>
              <a:cxnLst/>
              <a:rect l="l" t="t" r="r" b="b"/>
              <a:pathLst>
                <a:path w="45685" h="34765" extrusionOk="0">
                  <a:moveTo>
                    <a:pt x="4839" y="1"/>
                  </a:moveTo>
                  <a:lnTo>
                    <a:pt x="4597" y="70"/>
                  </a:lnTo>
                  <a:lnTo>
                    <a:pt x="3940" y="277"/>
                  </a:lnTo>
                  <a:lnTo>
                    <a:pt x="3145" y="588"/>
                  </a:lnTo>
                  <a:lnTo>
                    <a:pt x="2316" y="968"/>
                  </a:lnTo>
                  <a:lnTo>
                    <a:pt x="1487" y="1418"/>
                  </a:lnTo>
                  <a:lnTo>
                    <a:pt x="795" y="1832"/>
                  </a:lnTo>
                  <a:lnTo>
                    <a:pt x="277" y="2178"/>
                  </a:lnTo>
                  <a:lnTo>
                    <a:pt x="104" y="2351"/>
                  </a:lnTo>
                  <a:lnTo>
                    <a:pt x="1" y="2454"/>
                  </a:lnTo>
                  <a:lnTo>
                    <a:pt x="312" y="3802"/>
                  </a:lnTo>
                  <a:lnTo>
                    <a:pt x="623" y="4908"/>
                  </a:lnTo>
                  <a:lnTo>
                    <a:pt x="968" y="6290"/>
                  </a:lnTo>
                  <a:lnTo>
                    <a:pt x="1417" y="7845"/>
                  </a:lnTo>
                  <a:lnTo>
                    <a:pt x="1970" y="9504"/>
                  </a:lnTo>
                  <a:lnTo>
                    <a:pt x="2592" y="11266"/>
                  </a:lnTo>
                  <a:lnTo>
                    <a:pt x="3284" y="13029"/>
                  </a:lnTo>
                  <a:lnTo>
                    <a:pt x="3664" y="13893"/>
                  </a:lnTo>
                  <a:lnTo>
                    <a:pt x="4044" y="14722"/>
                  </a:lnTo>
                  <a:lnTo>
                    <a:pt x="4458" y="15551"/>
                  </a:lnTo>
                  <a:lnTo>
                    <a:pt x="4908" y="16346"/>
                  </a:lnTo>
                  <a:lnTo>
                    <a:pt x="5357" y="17106"/>
                  </a:lnTo>
                  <a:lnTo>
                    <a:pt x="5841" y="17797"/>
                  </a:lnTo>
                  <a:lnTo>
                    <a:pt x="6324" y="18454"/>
                  </a:lnTo>
                  <a:lnTo>
                    <a:pt x="6843" y="19041"/>
                  </a:lnTo>
                  <a:lnTo>
                    <a:pt x="7361" y="19560"/>
                  </a:lnTo>
                  <a:lnTo>
                    <a:pt x="7914" y="20009"/>
                  </a:lnTo>
                  <a:lnTo>
                    <a:pt x="8467" y="20389"/>
                  </a:lnTo>
                  <a:lnTo>
                    <a:pt x="8778" y="20527"/>
                  </a:lnTo>
                  <a:lnTo>
                    <a:pt x="9054" y="20666"/>
                  </a:lnTo>
                  <a:lnTo>
                    <a:pt x="9365" y="20769"/>
                  </a:lnTo>
                  <a:lnTo>
                    <a:pt x="9676" y="20838"/>
                  </a:lnTo>
                  <a:lnTo>
                    <a:pt x="9987" y="20873"/>
                  </a:lnTo>
                  <a:lnTo>
                    <a:pt x="10298" y="20908"/>
                  </a:lnTo>
                  <a:lnTo>
                    <a:pt x="10609" y="20908"/>
                  </a:lnTo>
                  <a:lnTo>
                    <a:pt x="10920" y="20873"/>
                  </a:lnTo>
                  <a:lnTo>
                    <a:pt x="11231" y="20804"/>
                  </a:lnTo>
                  <a:lnTo>
                    <a:pt x="11577" y="20735"/>
                  </a:lnTo>
                  <a:lnTo>
                    <a:pt x="12026" y="20562"/>
                  </a:lnTo>
                  <a:lnTo>
                    <a:pt x="12510" y="20355"/>
                  </a:lnTo>
                  <a:lnTo>
                    <a:pt x="13512" y="19905"/>
                  </a:lnTo>
                  <a:lnTo>
                    <a:pt x="14583" y="19352"/>
                  </a:lnTo>
                  <a:lnTo>
                    <a:pt x="15655" y="18730"/>
                  </a:lnTo>
                  <a:lnTo>
                    <a:pt x="16726" y="18074"/>
                  </a:lnTo>
                  <a:lnTo>
                    <a:pt x="17797" y="17383"/>
                  </a:lnTo>
                  <a:lnTo>
                    <a:pt x="19905" y="16001"/>
                  </a:lnTo>
                  <a:lnTo>
                    <a:pt x="21806" y="14791"/>
                  </a:lnTo>
                  <a:lnTo>
                    <a:pt x="22635" y="14307"/>
                  </a:lnTo>
                  <a:lnTo>
                    <a:pt x="23361" y="13927"/>
                  </a:lnTo>
                  <a:lnTo>
                    <a:pt x="23672" y="13789"/>
                  </a:lnTo>
                  <a:lnTo>
                    <a:pt x="23948" y="13685"/>
                  </a:lnTo>
                  <a:lnTo>
                    <a:pt x="24225" y="13616"/>
                  </a:lnTo>
                  <a:lnTo>
                    <a:pt x="24432" y="13582"/>
                  </a:lnTo>
                  <a:lnTo>
                    <a:pt x="24639" y="13582"/>
                  </a:lnTo>
                  <a:lnTo>
                    <a:pt x="24778" y="13651"/>
                  </a:lnTo>
                  <a:lnTo>
                    <a:pt x="24881" y="13754"/>
                  </a:lnTo>
                  <a:lnTo>
                    <a:pt x="24950" y="13893"/>
                  </a:lnTo>
                  <a:lnTo>
                    <a:pt x="24950" y="14791"/>
                  </a:lnTo>
                  <a:lnTo>
                    <a:pt x="25019" y="15655"/>
                  </a:lnTo>
                  <a:lnTo>
                    <a:pt x="25123" y="17314"/>
                  </a:lnTo>
                  <a:lnTo>
                    <a:pt x="25296" y="18972"/>
                  </a:lnTo>
                  <a:lnTo>
                    <a:pt x="25330" y="19836"/>
                  </a:lnTo>
                  <a:lnTo>
                    <a:pt x="25365" y="20769"/>
                  </a:lnTo>
                  <a:lnTo>
                    <a:pt x="25365" y="21771"/>
                  </a:lnTo>
                  <a:lnTo>
                    <a:pt x="25365" y="22808"/>
                  </a:lnTo>
                  <a:lnTo>
                    <a:pt x="25296" y="23983"/>
                  </a:lnTo>
                  <a:lnTo>
                    <a:pt x="25158" y="25227"/>
                  </a:lnTo>
                  <a:lnTo>
                    <a:pt x="25019" y="26609"/>
                  </a:lnTo>
                  <a:lnTo>
                    <a:pt x="24778" y="28095"/>
                  </a:lnTo>
                  <a:lnTo>
                    <a:pt x="24467" y="29754"/>
                  </a:lnTo>
                  <a:lnTo>
                    <a:pt x="24086" y="31551"/>
                  </a:lnTo>
                  <a:lnTo>
                    <a:pt x="24674" y="32000"/>
                  </a:lnTo>
                  <a:lnTo>
                    <a:pt x="25261" y="32415"/>
                  </a:lnTo>
                  <a:lnTo>
                    <a:pt x="25953" y="32795"/>
                  </a:lnTo>
                  <a:lnTo>
                    <a:pt x="26644" y="33106"/>
                  </a:lnTo>
                  <a:lnTo>
                    <a:pt x="27404" y="33417"/>
                  </a:lnTo>
                  <a:lnTo>
                    <a:pt x="28164" y="33693"/>
                  </a:lnTo>
                  <a:lnTo>
                    <a:pt x="28993" y="33935"/>
                  </a:lnTo>
                  <a:lnTo>
                    <a:pt x="29823" y="34143"/>
                  </a:lnTo>
                  <a:lnTo>
                    <a:pt x="30687" y="34315"/>
                  </a:lnTo>
                  <a:lnTo>
                    <a:pt x="31551" y="34454"/>
                  </a:lnTo>
                  <a:lnTo>
                    <a:pt x="32449" y="34592"/>
                  </a:lnTo>
                  <a:lnTo>
                    <a:pt x="33313" y="34661"/>
                  </a:lnTo>
                  <a:lnTo>
                    <a:pt x="34211" y="34730"/>
                  </a:lnTo>
                  <a:lnTo>
                    <a:pt x="35110" y="34765"/>
                  </a:lnTo>
                  <a:lnTo>
                    <a:pt x="36872" y="34765"/>
                  </a:lnTo>
                  <a:lnTo>
                    <a:pt x="37736" y="34696"/>
                  </a:lnTo>
                  <a:lnTo>
                    <a:pt x="38566" y="34661"/>
                  </a:lnTo>
                  <a:lnTo>
                    <a:pt x="39360" y="34557"/>
                  </a:lnTo>
                  <a:lnTo>
                    <a:pt x="40155" y="34454"/>
                  </a:lnTo>
                  <a:lnTo>
                    <a:pt x="40915" y="34315"/>
                  </a:lnTo>
                  <a:lnTo>
                    <a:pt x="41607" y="34177"/>
                  </a:lnTo>
                  <a:lnTo>
                    <a:pt x="42298" y="34004"/>
                  </a:lnTo>
                  <a:lnTo>
                    <a:pt x="42920" y="33832"/>
                  </a:lnTo>
                  <a:lnTo>
                    <a:pt x="43473" y="33659"/>
                  </a:lnTo>
                  <a:lnTo>
                    <a:pt x="43991" y="33417"/>
                  </a:lnTo>
                  <a:lnTo>
                    <a:pt x="44440" y="33210"/>
                  </a:lnTo>
                  <a:lnTo>
                    <a:pt x="44820" y="32968"/>
                  </a:lnTo>
                  <a:lnTo>
                    <a:pt x="45166" y="32726"/>
                  </a:lnTo>
                  <a:lnTo>
                    <a:pt x="45408" y="32449"/>
                  </a:lnTo>
                  <a:lnTo>
                    <a:pt x="45546" y="32173"/>
                  </a:lnTo>
                  <a:lnTo>
                    <a:pt x="45615" y="32035"/>
                  </a:lnTo>
                  <a:lnTo>
                    <a:pt x="45650" y="31896"/>
                  </a:lnTo>
                  <a:lnTo>
                    <a:pt x="45684" y="31171"/>
                  </a:lnTo>
                  <a:lnTo>
                    <a:pt x="45684" y="30100"/>
                  </a:lnTo>
                  <a:lnTo>
                    <a:pt x="45650" y="28821"/>
                  </a:lnTo>
                  <a:lnTo>
                    <a:pt x="45546" y="27300"/>
                  </a:lnTo>
                  <a:lnTo>
                    <a:pt x="45270" y="23810"/>
                  </a:lnTo>
                  <a:lnTo>
                    <a:pt x="44889" y="20009"/>
                  </a:lnTo>
                  <a:lnTo>
                    <a:pt x="44440" y="16242"/>
                  </a:lnTo>
                  <a:lnTo>
                    <a:pt x="43991" y="12856"/>
                  </a:lnTo>
                  <a:lnTo>
                    <a:pt x="43784" y="11439"/>
                  </a:lnTo>
                  <a:lnTo>
                    <a:pt x="43576" y="10264"/>
                  </a:lnTo>
                  <a:lnTo>
                    <a:pt x="43403" y="9366"/>
                  </a:lnTo>
                  <a:lnTo>
                    <a:pt x="43231" y="8778"/>
                  </a:lnTo>
                  <a:lnTo>
                    <a:pt x="42989" y="8225"/>
                  </a:lnTo>
                  <a:lnTo>
                    <a:pt x="42712" y="7707"/>
                  </a:lnTo>
                  <a:lnTo>
                    <a:pt x="42367" y="7154"/>
                  </a:lnTo>
                  <a:lnTo>
                    <a:pt x="41987" y="6636"/>
                  </a:lnTo>
                  <a:lnTo>
                    <a:pt x="41537" y="6117"/>
                  </a:lnTo>
                  <a:lnTo>
                    <a:pt x="41088" y="5599"/>
                  </a:lnTo>
                  <a:lnTo>
                    <a:pt x="40639" y="5115"/>
                  </a:lnTo>
                  <a:lnTo>
                    <a:pt x="40155" y="4666"/>
                  </a:lnTo>
                  <a:lnTo>
                    <a:pt x="39222" y="3837"/>
                  </a:lnTo>
                  <a:lnTo>
                    <a:pt x="38324" y="3146"/>
                  </a:lnTo>
                  <a:lnTo>
                    <a:pt x="37598" y="2662"/>
                  </a:lnTo>
                  <a:lnTo>
                    <a:pt x="37287" y="2489"/>
                  </a:lnTo>
                  <a:lnTo>
                    <a:pt x="37080" y="2385"/>
                  </a:lnTo>
                  <a:lnTo>
                    <a:pt x="36838" y="2282"/>
                  </a:lnTo>
                  <a:lnTo>
                    <a:pt x="36492" y="2213"/>
                  </a:lnTo>
                  <a:lnTo>
                    <a:pt x="35559" y="2040"/>
                  </a:lnTo>
                  <a:lnTo>
                    <a:pt x="34384" y="1901"/>
                  </a:lnTo>
                  <a:lnTo>
                    <a:pt x="33071" y="1832"/>
                  </a:lnTo>
                  <a:lnTo>
                    <a:pt x="32345" y="1832"/>
                  </a:lnTo>
                  <a:lnTo>
                    <a:pt x="31654" y="1867"/>
                  </a:lnTo>
                  <a:lnTo>
                    <a:pt x="30963" y="1901"/>
                  </a:lnTo>
                  <a:lnTo>
                    <a:pt x="30272" y="1971"/>
                  </a:lnTo>
                  <a:lnTo>
                    <a:pt x="29615" y="2109"/>
                  </a:lnTo>
                  <a:lnTo>
                    <a:pt x="28993" y="2247"/>
                  </a:lnTo>
                  <a:lnTo>
                    <a:pt x="28406" y="2454"/>
                  </a:lnTo>
                  <a:lnTo>
                    <a:pt x="27888" y="2696"/>
                  </a:lnTo>
                  <a:lnTo>
                    <a:pt x="26955" y="3180"/>
                  </a:lnTo>
                  <a:lnTo>
                    <a:pt x="26091" y="3595"/>
                  </a:lnTo>
                  <a:lnTo>
                    <a:pt x="25261" y="4009"/>
                  </a:lnTo>
                  <a:lnTo>
                    <a:pt x="24432" y="4424"/>
                  </a:lnTo>
                  <a:lnTo>
                    <a:pt x="23603" y="4908"/>
                  </a:lnTo>
                  <a:lnTo>
                    <a:pt x="22739" y="5461"/>
                  </a:lnTo>
                  <a:lnTo>
                    <a:pt x="22290" y="5772"/>
                  </a:lnTo>
                  <a:lnTo>
                    <a:pt x="21840" y="6152"/>
                  </a:lnTo>
                  <a:lnTo>
                    <a:pt x="21391" y="6567"/>
                  </a:lnTo>
                  <a:lnTo>
                    <a:pt x="20907" y="7016"/>
                  </a:lnTo>
                  <a:lnTo>
                    <a:pt x="18972" y="8951"/>
                  </a:lnTo>
                  <a:lnTo>
                    <a:pt x="17866" y="10022"/>
                  </a:lnTo>
                  <a:lnTo>
                    <a:pt x="16691" y="11059"/>
                  </a:lnTo>
                  <a:lnTo>
                    <a:pt x="16069" y="11577"/>
                  </a:lnTo>
                  <a:lnTo>
                    <a:pt x="15447" y="12061"/>
                  </a:lnTo>
                  <a:lnTo>
                    <a:pt x="14825" y="12510"/>
                  </a:lnTo>
                  <a:lnTo>
                    <a:pt x="14203" y="12925"/>
                  </a:lnTo>
                  <a:lnTo>
                    <a:pt x="13581" y="13305"/>
                  </a:lnTo>
                  <a:lnTo>
                    <a:pt x="12959" y="13616"/>
                  </a:lnTo>
                  <a:lnTo>
                    <a:pt x="12337" y="13893"/>
                  </a:lnTo>
                  <a:lnTo>
                    <a:pt x="11750" y="14065"/>
                  </a:lnTo>
                  <a:lnTo>
                    <a:pt x="11473" y="14065"/>
                  </a:lnTo>
                  <a:lnTo>
                    <a:pt x="11197" y="13996"/>
                  </a:lnTo>
                  <a:lnTo>
                    <a:pt x="10920" y="13858"/>
                  </a:lnTo>
                  <a:lnTo>
                    <a:pt x="10644" y="13651"/>
                  </a:lnTo>
                  <a:lnTo>
                    <a:pt x="10368" y="13374"/>
                  </a:lnTo>
                  <a:lnTo>
                    <a:pt x="10091" y="13029"/>
                  </a:lnTo>
                  <a:lnTo>
                    <a:pt x="9780" y="12614"/>
                  </a:lnTo>
                  <a:lnTo>
                    <a:pt x="9504" y="12165"/>
                  </a:lnTo>
                  <a:lnTo>
                    <a:pt x="9227" y="11646"/>
                  </a:lnTo>
                  <a:lnTo>
                    <a:pt x="8951" y="11093"/>
                  </a:lnTo>
                  <a:lnTo>
                    <a:pt x="8398" y="9919"/>
                  </a:lnTo>
                  <a:lnTo>
                    <a:pt x="7845" y="8605"/>
                  </a:lnTo>
                  <a:lnTo>
                    <a:pt x="7327" y="7292"/>
                  </a:lnTo>
                  <a:lnTo>
                    <a:pt x="6877" y="5945"/>
                  </a:lnTo>
                  <a:lnTo>
                    <a:pt x="6428" y="4631"/>
                  </a:lnTo>
                  <a:lnTo>
                    <a:pt x="5702" y="2282"/>
                  </a:lnTo>
                  <a:lnTo>
                    <a:pt x="5219" y="623"/>
                  </a:lnTo>
                  <a:lnTo>
                    <a:pt x="5046" y="1"/>
                  </a:lnTo>
                  <a:close/>
                </a:path>
              </a:pathLst>
            </a:custGeom>
            <a:solidFill>
              <a:srgbClr val="E0301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66" name="Google Shape;14312;p81">
              <a:extLst>
                <a:ext uri="{FF2B5EF4-FFF2-40B4-BE49-F238E27FC236}">
                  <a16:creationId xmlns:a16="http://schemas.microsoft.com/office/drawing/2014/main" id="{D4092250-56EE-58B0-CD7F-8C98F9E56FDA}"/>
                </a:ext>
              </a:extLst>
            </p:cNvPr>
            <p:cNvSpPr/>
            <p:nvPr/>
          </p:nvSpPr>
          <p:spPr>
            <a:xfrm>
              <a:off x="3682125" y="2970650"/>
              <a:ext cx="1142125" cy="869125"/>
            </a:xfrm>
            <a:custGeom>
              <a:avLst/>
              <a:gdLst/>
              <a:ahLst/>
              <a:cxnLst/>
              <a:rect l="l" t="t" r="r" b="b"/>
              <a:pathLst>
                <a:path w="45685" h="34765" fill="none" extrusionOk="0">
                  <a:moveTo>
                    <a:pt x="37080" y="2385"/>
                  </a:moveTo>
                  <a:lnTo>
                    <a:pt x="37080" y="2385"/>
                  </a:lnTo>
                  <a:lnTo>
                    <a:pt x="36838" y="2282"/>
                  </a:lnTo>
                  <a:lnTo>
                    <a:pt x="36492" y="2213"/>
                  </a:lnTo>
                  <a:lnTo>
                    <a:pt x="35559" y="2040"/>
                  </a:lnTo>
                  <a:lnTo>
                    <a:pt x="34384" y="1901"/>
                  </a:lnTo>
                  <a:lnTo>
                    <a:pt x="33071" y="1832"/>
                  </a:lnTo>
                  <a:lnTo>
                    <a:pt x="32345" y="1832"/>
                  </a:lnTo>
                  <a:lnTo>
                    <a:pt x="31654" y="1867"/>
                  </a:lnTo>
                  <a:lnTo>
                    <a:pt x="30963" y="1901"/>
                  </a:lnTo>
                  <a:lnTo>
                    <a:pt x="30272" y="1971"/>
                  </a:lnTo>
                  <a:lnTo>
                    <a:pt x="29615" y="2109"/>
                  </a:lnTo>
                  <a:lnTo>
                    <a:pt x="28993" y="2247"/>
                  </a:lnTo>
                  <a:lnTo>
                    <a:pt x="28406" y="2454"/>
                  </a:lnTo>
                  <a:lnTo>
                    <a:pt x="27888" y="2696"/>
                  </a:lnTo>
                  <a:lnTo>
                    <a:pt x="27888" y="2696"/>
                  </a:lnTo>
                  <a:lnTo>
                    <a:pt x="26955" y="3180"/>
                  </a:lnTo>
                  <a:lnTo>
                    <a:pt x="26091" y="3595"/>
                  </a:lnTo>
                  <a:lnTo>
                    <a:pt x="25261" y="4009"/>
                  </a:lnTo>
                  <a:lnTo>
                    <a:pt x="24432" y="4424"/>
                  </a:lnTo>
                  <a:lnTo>
                    <a:pt x="23603" y="4908"/>
                  </a:lnTo>
                  <a:lnTo>
                    <a:pt x="22739" y="5461"/>
                  </a:lnTo>
                  <a:lnTo>
                    <a:pt x="22290" y="5772"/>
                  </a:lnTo>
                  <a:lnTo>
                    <a:pt x="21840" y="6152"/>
                  </a:lnTo>
                  <a:lnTo>
                    <a:pt x="21391" y="6567"/>
                  </a:lnTo>
                  <a:lnTo>
                    <a:pt x="20907" y="7016"/>
                  </a:lnTo>
                  <a:lnTo>
                    <a:pt x="20907" y="7016"/>
                  </a:lnTo>
                  <a:lnTo>
                    <a:pt x="18972" y="8951"/>
                  </a:lnTo>
                  <a:lnTo>
                    <a:pt x="17866" y="10022"/>
                  </a:lnTo>
                  <a:lnTo>
                    <a:pt x="16691" y="11059"/>
                  </a:lnTo>
                  <a:lnTo>
                    <a:pt x="16069" y="11577"/>
                  </a:lnTo>
                  <a:lnTo>
                    <a:pt x="15447" y="12061"/>
                  </a:lnTo>
                  <a:lnTo>
                    <a:pt x="14825" y="12510"/>
                  </a:lnTo>
                  <a:lnTo>
                    <a:pt x="14203" y="12925"/>
                  </a:lnTo>
                  <a:lnTo>
                    <a:pt x="13581" y="13305"/>
                  </a:lnTo>
                  <a:lnTo>
                    <a:pt x="12959" y="13616"/>
                  </a:lnTo>
                  <a:lnTo>
                    <a:pt x="12337" y="13893"/>
                  </a:lnTo>
                  <a:lnTo>
                    <a:pt x="11750" y="14065"/>
                  </a:lnTo>
                  <a:lnTo>
                    <a:pt x="11750" y="14065"/>
                  </a:lnTo>
                  <a:lnTo>
                    <a:pt x="11612" y="14065"/>
                  </a:lnTo>
                  <a:lnTo>
                    <a:pt x="11473" y="14065"/>
                  </a:lnTo>
                  <a:lnTo>
                    <a:pt x="11197" y="13996"/>
                  </a:lnTo>
                  <a:lnTo>
                    <a:pt x="10920" y="13858"/>
                  </a:lnTo>
                  <a:lnTo>
                    <a:pt x="10644" y="13651"/>
                  </a:lnTo>
                  <a:lnTo>
                    <a:pt x="10368" y="13374"/>
                  </a:lnTo>
                  <a:lnTo>
                    <a:pt x="10091" y="13029"/>
                  </a:lnTo>
                  <a:lnTo>
                    <a:pt x="9780" y="12614"/>
                  </a:lnTo>
                  <a:lnTo>
                    <a:pt x="9504" y="12165"/>
                  </a:lnTo>
                  <a:lnTo>
                    <a:pt x="9227" y="11646"/>
                  </a:lnTo>
                  <a:lnTo>
                    <a:pt x="8951" y="11093"/>
                  </a:lnTo>
                  <a:lnTo>
                    <a:pt x="8398" y="9919"/>
                  </a:lnTo>
                  <a:lnTo>
                    <a:pt x="7845" y="8605"/>
                  </a:lnTo>
                  <a:lnTo>
                    <a:pt x="7327" y="7292"/>
                  </a:lnTo>
                  <a:lnTo>
                    <a:pt x="6877" y="5945"/>
                  </a:lnTo>
                  <a:lnTo>
                    <a:pt x="6428" y="4631"/>
                  </a:lnTo>
                  <a:lnTo>
                    <a:pt x="5702" y="2282"/>
                  </a:lnTo>
                  <a:lnTo>
                    <a:pt x="5219" y="623"/>
                  </a:lnTo>
                  <a:lnTo>
                    <a:pt x="5046" y="1"/>
                  </a:lnTo>
                  <a:lnTo>
                    <a:pt x="5046" y="1"/>
                  </a:lnTo>
                  <a:lnTo>
                    <a:pt x="4839" y="1"/>
                  </a:lnTo>
                  <a:lnTo>
                    <a:pt x="4597" y="70"/>
                  </a:lnTo>
                  <a:lnTo>
                    <a:pt x="3940" y="277"/>
                  </a:lnTo>
                  <a:lnTo>
                    <a:pt x="3145" y="588"/>
                  </a:lnTo>
                  <a:lnTo>
                    <a:pt x="2316" y="968"/>
                  </a:lnTo>
                  <a:lnTo>
                    <a:pt x="1487" y="1418"/>
                  </a:lnTo>
                  <a:lnTo>
                    <a:pt x="795" y="1832"/>
                  </a:lnTo>
                  <a:lnTo>
                    <a:pt x="277" y="2178"/>
                  </a:lnTo>
                  <a:lnTo>
                    <a:pt x="104" y="2351"/>
                  </a:lnTo>
                  <a:lnTo>
                    <a:pt x="1" y="2454"/>
                  </a:lnTo>
                  <a:lnTo>
                    <a:pt x="1" y="2454"/>
                  </a:lnTo>
                  <a:lnTo>
                    <a:pt x="312" y="3802"/>
                  </a:lnTo>
                  <a:lnTo>
                    <a:pt x="623" y="4908"/>
                  </a:lnTo>
                  <a:lnTo>
                    <a:pt x="968" y="6290"/>
                  </a:lnTo>
                  <a:lnTo>
                    <a:pt x="1417" y="7845"/>
                  </a:lnTo>
                  <a:lnTo>
                    <a:pt x="1970" y="9504"/>
                  </a:lnTo>
                  <a:lnTo>
                    <a:pt x="2592" y="11266"/>
                  </a:lnTo>
                  <a:lnTo>
                    <a:pt x="3284" y="13029"/>
                  </a:lnTo>
                  <a:lnTo>
                    <a:pt x="3664" y="13893"/>
                  </a:lnTo>
                  <a:lnTo>
                    <a:pt x="4044" y="14722"/>
                  </a:lnTo>
                  <a:lnTo>
                    <a:pt x="4458" y="15551"/>
                  </a:lnTo>
                  <a:lnTo>
                    <a:pt x="4908" y="16346"/>
                  </a:lnTo>
                  <a:lnTo>
                    <a:pt x="5357" y="17106"/>
                  </a:lnTo>
                  <a:lnTo>
                    <a:pt x="5841" y="17797"/>
                  </a:lnTo>
                  <a:lnTo>
                    <a:pt x="6324" y="18454"/>
                  </a:lnTo>
                  <a:lnTo>
                    <a:pt x="6843" y="19041"/>
                  </a:lnTo>
                  <a:lnTo>
                    <a:pt x="7361" y="19560"/>
                  </a:lnTo>
                  <a:lnTo>
                    <a:pt x="7914" y="20009"/>
                  </a:lnTo>
                  <a:lnTo>
                    <a:pt x="8467" y="20389"/>
                  </a:lnTo>
                  <a:lnTo>
                    <a:pt x="8778" y="20527"/>
                  </a:lnTo>
                  <a:lnTo>
                    <a:pt x="9054" y="20666"/>
                  </a:lnTo>
                  <a:lnTo>
                    <a:pt x="9365" y="20769"/>
                  </a:lnTo>
                  <a:lnTo>
                    <a:pt x="9676" y="20838"/>
                  </a:lnTo>
                  <a:lnTo>
                    <a:pt x="9987" y="20873"/>
                  </a:lnTo>
                  <a:lnTo>
                    <a:pt x="10298" y="20908"/>
                  </a:lnTo>
                  <a:lnTo>
                    <a:pt x="10609" y="20908"/>
                  </a:lnTo>
                  <a:lnTo>
                    <a:pt x="10920" y="20873"/>
                  </a:lnTo>
                  <a:lnTo>
                    <a:pt x="11231" y="20804"/>
                  </a:lnTo>
                  <a:lnTo>
                    <a:pt x="11577" y="20735"/>
                  </a:lnTo>
                  <a:lnTo>
                    <a:pt x="11577" y="20735"/>
                  </a:lnTo>
                  <a:lnTo>
                    <a:pt x="12026" y="20562"/>
                  </a:lnTo>
                  <a:lnTo>
                    <a:pt x="12510" y="20355"/>
                  </a:lnTo>
                  <a:lnTo>
                    <a:pt x="13512" y="19905"/>
                  </a:lnTo>
                  <a:lnTo>
                    <a:pt x="14583" y="19352"/>
                  </a:lnTo>
                  <a:lnTo>
                    <a:pt x="15655" y="18730"/>
                  </a:lnTo>
                  <a:lnTo>
                    <a:pt x="16726" y="18074"/>
                  </a:lnTo>
                  <a:lnTo>
                    <a:pt x="17797" y="17383"/>
                  </a:lnTo>
                  <a:lnTo>
                    <a:pt x="19905" y="16001"/>
                  </a:lnTo>
                  <a:lnTo>
                    <a:pt x="21806" y="14791"/>
                  </a:lnTo>
                  <a:lnTo>
                    <a:pt x="22635" y="14307"/>
                  </a:lnTo>
                  <a:lnTo>
                    <a:pt x="23361" y="13927"/>
                  </a:lnTo>
                  <a:lnTo>
                    <a:pt x="23672" y="13789"/>
                  </a:lnTo>
                  <a:lnTo>
                    <a:pt x="23948" y="13685"/>
                  </a:lnTo>
                  <a:lnTo>
                    <a:pt x="24225" y="13616"/>
                  </a:lnTo>
                  <a:lnTo>
                    <a:pt x="24432" y="13582"/>
                  </a:lnTo>
                  <a:lnTo>
                    <a:pt x="24639" y="13582"/>
                  </a:lnTo>
                  <a:lnTo>
                    <a:pt x="24778" y="13651"/>
                  </a:lnTo>
                  <a:lnTo>
                    <a:pt x="24881" y="13754"/>
                  </a:lnTo>
                  <a:lnTo>
                    <a:pt x="24950" y="13893"/>
                  </a:lnTo>
                  <a:lnTo>
                    <a:pt x="24950" y="13893"/>
                  </a:lnTo>
                  <a:lnTo>
                    <a:pt x="24950" y="14791"/>
                  </a:lnTo>
                  <a:lnTo>
                    <a:pt x="25019" y="15655"/>
                  </a:lnTo>
                  <a:lnTo>
                    <a:pt x="25123" y="17314"/>
                  </a:lnTo>
                  <a:lnTo>
                    <a:pt x="25296" y="18972"/>
                  </a:lnTo>
                  <a:lnTo>
                    <a:pt x="25330" y="19836"/>
                  </a:lnTo>
                  <a:lnTo>
                    <a:pt x="25365" y="20769"/>
                  </a:lnTo>
                  <a:lnTo>
                    <a:pt x="25365" y="21771"/>
                  </a:lnTo>
                  <a:lnTo>
                    <a:pt x="25365" y="22808"/>
                  </a:lnTo>
                  <a:lnTo>
                    <a:pt x="25296" y="23983"/>
                  </a:lnTo>
                  <a:lnTo>
                    <a:pt x="25158" y="25227"/>
                  </a:lnTo>
                  <a:lnTo>
                    <a:pt x="25019" y="26609"/>
                  </a:lnTo>
                  <a:lnTo>
                    <a:pt x="24778" y="28095"/>
                  </a:lnTo>
                  <a:lnTo>
                    <a:pt x="24467" y="29754"/>
                  </a:lnTo>
                  <a:lnTo>
                    <a:pt x="24086" y="31551"/>
                  </a:lnTo>
                  <a:lnTo>
                    <a:pt x="24086" y="31551"/>
                  </a:lnTo>
                  <a:lnTo>
                    <a:pt x="24674" y="32000"/>
                  </a:lnTo>
                  <a:lnTo>
                    <a:pt x="25261" y="32415"/>
                  </a:lnTo>
                  <a:lnTo>
                    <a:pt x="25953" y="32795"/>
                  </a:lnTo>
                  <a:lnTo>
                    <a:pt x="26644" y="33106"/>
                  </a:lnTo>
                  <a:lnTo>
                    <a:pt x="27404" y="33417"/>
                  </a:lnTo>
                  <a:lnTo>
                    <a:pt x="28164" y="33693"/>
                  </a:lnTo>
                  <a:lnTo>
                    <a:pt x="28993" y="33935"/>
                  </a:lnTo>
                  <a:lnTo>
                    <a:pt x="29823" y="34143"/>
                  </a:lnTo>
                  <a:lnTo>
                    <a:pt x="30687" y="34315"/>
                  </a:lnTo>
                  <a:lnTo>
                    <a:pt x="31551" y="34454"/>
                  </a:lnTo>
                  <a:lnTo>
                    <a:pt x="32449" y="34592"/>
                  </a:lnTo>
                  <a:lnTo>
                    <a:pt x="33313" y="34661"/>
                  </a:lnTo>
                  <a:lnTo>
                    <a:pt x="34211" y="34730"/>
                  </a:lnTo>
                  <a:lnTo>
                    <a:pt x="35110" y="34765"/>
                  </a:lnTo>
                  <a:lnTo>
                    <a:pt x="36008" y="34765"/>
                  </a:lnTo>
                  <a:lnTo>
                    <a:pt x="36872" y="34765"/>
                  </a:lnTo>
                  <a:lnTo>
                    <a:pt x="37736" y="34696"/>
                  </a:lnTo>
                  <a:lnTo>
                    <a:pt x="38566" y="34661"/>
                  </a:lnTo>
                  <a:lnTo>
                    <a:pt x="39360" y="34557"/>
                  </a:lnTo>
                  <a:lnTo>
                    <a:pt x="40155" y="34454"/>
                  </a:lnTo>
                  <a:lnTo>
                    <a:pt x="40915" y="34315"/>
                  </a:lnTo>
                  <a:lnTo>
                    <a:pt x="41607" y="34177"/>
                  </a:lnTo>
                  <a:lnTo>
                    <a:pt x="42298" y="34004"/>
                  </a:lnTo>
                  <a:lnTo>
                    <a:pt x="42920" y="33832"/>
                  </a:lnTo>
                  <a:lnTo>
                    <a:pt x="43473" y="33659"/>
                  </a:lnTo>
                  <a:lnTo>
                    <a:pt x="43991" y="33417"/>
                  </a:lnTo>
                  <a:lnTo>
                    <a:pt x="44440" y="33210"/>
                  </a:lnTo>
                  <a:lnTo>
                    <a:pt x="44820" y="32968"/>
                  </a:lnTo>
                  <a:lnTo>
                    <a:pt x="45166" y="32726"/>
                  </a:lnTo>
                  <a:lnTo>
                    <a:pt x="45408" y="32449"/>
                  </a:lnTo>
                  <a:lnTo>
                    <a:pt x="45546" y="32173"/>
                  </a:lnTo>
                  <a:lnTo>
                    <a:pt x="45615" y="32035"/>
                  </a:lnTo>
                  <a:lnTo>
                    <a:pt x="45650" y="31896"/>
                  </a:lnTo>
                  <a:lnTo>
                    <a:pt x="45650" y="31896"/>
                  </a:lnTo>
                  <a:lnTo>
                    <a:pt x="45684" y="31171"/>
                  </a:lnTo>
                  <a:lnTo>
                    <a:pt x="45684" y="30100"/>
                  </a:lnTo>
                  <a:lnTo>
                    <a:pt x="45650" y="28821"/>
                  </a:lnTo>
                  <a:lnTo>
                    <a:pt x="45546" y="27300"/>
                  </a:lnTo>
                  <a:lnTo>
                    <a:pt x="45270" y="23810"/>
                  </a:lnTo>
                  <a:lnTo>
                    <a:pt x="44889" y="20009"/>
                  </a:lnTo>
                  <a:lnTo>
                    <a:pt x="44440" y="16242"/>
                  </a:lnTo>
                  <a:lnTo>
                    <a:pt x="43991" y="12856"/>
                  </a:lnTo>
                  <a:lnTo>
                    <a:pt x="43784" y="11439"/>
                  </a:lnTo>
                  <a:lnTo>
                    <a:pt x="43576" y="10264"/>
                  </a:lnTo>
                  <a:lnTo>
                    <a:pt x="43403" y="9366"/>
                  </a:lnTo>
                  <a:lnTo>
                    <a:pt x="43231" y="8778"/>
                  </a:lnTo>
                  <a:lnTo>
                    <a:pt x="43231" y="8778"/>
                  </a:lnTo>
                  <a:lnTo>
                    <a:pt x="42989" y="8225"/>
                  </a:lnTo>
                  <a:lnTo>
                    <a:pt x="42712" y="7707"/>
                  </a:lnTo>
                  <a:lnTo>
                    <a:pt x="42367" y="7154"/>
                  </a:lnTo>
                  <a:lnTo>
                    <a:pt x="41987" y="6636"/>
                  </a:lnTo>
                  <a:lnTo>
                    <a:pt x="41537" y="6117"/>
                  </a:lnTo>
                  <a:lnTo>
                    <a:pt x="41088" y="5599"/>
                  </a:lnTo>
                  <a:lnTo>
                    <a:pt x="40639" y="5115"/>
                  </a:lnTo>
                  <a:lnTo>
                    <a:pt x="40155" y="4666"/>
                  </a:lnTo>
                  <a:lnTo>
                    <a:pt x="39222" y="3837"/>
                  </a:lnTo>
                  <a:lnTo>
                    <a:pt x="38324" y="3146"/>
                  </a:lnTo>
                  <a:lnTo>
                    <a:pt x="37598" y="2662"/>
                  </a:lnTo>
                  <a:lnTo>
                    <a:pt x="37287" y="2489"/>
                  </a:lnTo>
                  <a:lnTo>
                    <a:pt x="37080" y="2385"/>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67" name="Google Shape;14313;p81">
              <a:extLst>
                <a:ext uri="{FF2B5EF4-FFF2-40B4-BE49-F238E27FC236}">
                  <a16:creationId xmlns:a16="http://schemas.microsoft.com/office/drawing/2014/main" id="{502C685F-D102-F650-83C0-D12164488480}"/>
                </a:ext>
              </a:extLst>
            </p:cNvPr>
            <p:cNvSpPr/>
            <p:nvPr/>
          </p:nvSpPr>
          <p:spPr>
            <a:xfrm>
              <a:off x="4294650" y="3308450"/>
              <a:ext cx="84675" cy="400875"/>
            </a:xfrm>
            <a:custGeom>
              <a:avLst/>
              <a:gdLst/>
              <a:ahLst/>
              <a:cxnLst/>
              <a:rect l="l" t="t" r="r" b="b"/>
              <a:pathLst>
                <a:path w="3387" h="16035" extrusionOk="0">
                  <a:moveTo>
                    <a:pt x="207" y="0"/>
                  </a:moveTo>
                  <a:lnTo>
                    <a:pt x="311" y="70"/>
                  </a:lnTo>
                  <a:lnTo>
                    <a:pt x="380" y="173"/>
                  </a:lnTo>
                  <a:lnTo>
                    <a:pt x="449" y="381"/>
                  </a:lnTo>
                  <a:lnTo>
                    <a:pt x="449" y="1175"/>
                  </a:lnTo>
                  <a:lnTo>
                    <a:pt x="518" y="1970"/>
                  </a:lnTo>
                  <a:lnTo>
                    <a:pt x="622" y="3525"/>
                  </a:lnTo>
                  <a:lnTo>
                    <a:pt x="760" y="5149"/>
                  </a:lnTo>
                  <a:lnTo>
                    <a:pt x="899" y="6912"/>
                  </a:lnTo>
                  <a:lnTo>
                    <a:pt x="899" y="7810"/>
                  </a:lnTo>
                  <a:lnTo>
                    <a:pt x="933" y="8778"/>
                  </a:lnTo>
                  <a:lnTo>
                    <a:pt x="899" y="9814"/>
                  </a:lnTo>
                  <a:lnTo>
                    <a:pt x="829" y="10920"/>
                  </a:lnTo>
                  <a:lnTo>
                    <a:pt x="691" y="12061"/>
                  </a:lnTo>
                  <a:lnTo>
                    <a:pt x="518" y="13305"/>
                  </a:lnTo>
                  <a:lnTo>
                    <a:pt x="311" y="14618"/>
                  </a:lnTo>
                  <a:lnTo>
                    <a:pt x="0" y="16035"/>
                  </a:lnTo>
                  <a:lnTo>
                    <a:pt x="104" y="15966"/>
                  </a:lnTo>
                  <a:lnTo>
                    <a:pt x="207" y="15827"/>
                  </a:lnTo>
                  <a:lnTo>
                    <a:pt x="449" y="15378"/>
                  </a:lnTo>
                  <a:lnTo>
                    <a:pt x="726" y="14825"/>
                  </a:lnTo>
                  <a:lnTo>
                    <a:pt x="968" y="14341"/>
                  </a:lnTo>
                  <a:lnTo>
                    <a:pt x="1210" y="13892"/>
                  </a:lnTo>
                  <a:lnTo>
                    <a:pt x="1452" y="13270"/>
                  </a:lnTo>
                  <a:lnTo>
                    <a:pt x="1693" y="12544"/>
                  </a:lnTo>
                  <a:lnTo>
                    <a:pt x="1935" y="11681"/>
                  </a:lnTo>
                  <a:lnTo>
                    <a:pt x="2177" y="10747"/>
                  </a:lnTo>
                  <a:lnTo>
                    <a:pt x="2385" y="9780"/>
                  </a:lnTo>
                  <a:lnTo>
                    <a:pt x="2799" y="7707"/>
                  </a:lnTo>
                  <a:lnTo>
                    <a:pt x="3110" y="5737"/>
                  </a:lnTo>
                  <a:lnTo>
                    <a:pt x="3318" y="3974"/>
                  </a:lnTo>
                  <a:lnTo>
                    <a:pt x="3387" y="3249"/>
                  </a:lnTo>
                  <a:lnTo>
                    <a:pt x="3387" y="2661"/>
                  </a:lnTo>
                  <a:lnTo>
                    <a:pt x="3387" y="2247"/>
                  </a:lnTo>
                  <a:lnTo>
                    <a:pt x="3352" y="2108"/>
                  </a:lnTo>
                  <a:lnTo>
                    <a:pt x="3318" y="2005"/>
                  </a:lnTo>
                  <a:lnTo>
                    <a:pt x="3179" y="1728"/>
                  </a:lnTo>
                  <a:lnTo>
                    <a:pt x="3007" y="1452"/>
                  </a:lnTo>
                  <a:lnTo>
                    <a:pt x="2765" y="1244"/>
                  </a:lnTo>
                  <a:lnTo>
                    <a:pt x="2454" y="1003"/>
                  </a:lnTo>
                  <a:lnTo>
                    <a:pt x="2074" y="795"/>
                  </a:lnTo>
                  <a:lnTo>
                    <a:pt x="1590" y="553"/>
                  </a:lnTo>
                  <a:lnTo>
                    <a:pt x="968" y="277"/>
                  </a:lnTo>
                  <a:lnTo>
                    <a:pt x="207" y="0"/>
                  </a:lnTo>
                  <a:close/>
                </a:path>
              </a:pathLst>
            </a:custGeom>
            <a:solidFill>
              <a:srgbClr val="AA2B2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68" name="Google Shape;14314;p81">
              <a:extLst>
                <a:ext uri="{FF2B5EF4-FFF2-40B4-BE49-F238E27FC236}">
                  <a16:creationId xmlns:a16="http://schemas.microsoft.com/office/drawing/2014/main" id="{FE8BA25E-4BE9-76F3-032E-022064C1A49F}"/>
                </a:ext>
              </a:extLst>
            </p:cNvPr>
            <p:cNvSpPr/>
            <p:nvPr/>
          </p:nvSpPr>
          <p:spPr>
            <a:xfrm>
              <a:off x="4294650" y="3308450"/>
              <a:ext cx="84675" cy="400875"/>
            </a:xfrm>
            <a:custGeom>
              <a:avLst/>
              <a:gdLst/>
              <a:ahLst/>
              <a:cxnLst/>
              <a:rect l="l" t="t" r="r" b="b"/>
              <a:pathLst>
                <a:path w="3387" h="16035" fill="none" extrusionOk="0">
                  <a:moveTo>
                    <a:pt x="207" y="0"/>
                  </a:moveTo>
                  <a:lnTo>
                    <a:pt x="207" y="0"/>
                  </a:lnTo>
                  <a:lnTo>
                    <a:pt x="311" y="70"/>
                  </a:lnTo>
                  <a:lnTo>
                    <a:pt x="380" y="173"/>
                  </a:lnTo>
                  <a:lnTo>
                    <a:pt x="449" y="381"/>
                  </a:lnTo>
                  <a:lnTo>
                    <a:pt x="449" y="381"/>
                  </a:lnTo>
                  <a:lnTo>
                    <a:pt x="449" y="1175"/>
                  </a:lnTo>
                  <a:lnTo>
                    <a:pt x="518" y="1970"/>
                  </a:lnTo>
                  <a:lnTo>
                    <a:pt x="622" y="3525"/>
                  </a:lnTo>
                  <a:lnTo>
                    <a:pt x="760" y="5149"/>
                  </a:lnTo>
                  <a:lnTo>
                    <a:pt x="899" y="6912"/>
                  </a:lnTo>
                  <a:lnTo>
                    <a:pt x="899" y="7810"/>
                  </a:lnTo>
                  <a:lnTo>
                    <a:pt x="933" y="8778"/>
                  </a:lnTo>
                  <a:lnTo>
                    <a:pt x="899" y="9814"/>
                  </a:lnTo>
                  <a:lnTo>
                    <a:pt x="829" y="10920"/>
                  </a:lnTo>
                  <a:lnTo>
                    <a:pt x="691" y="12061"/>
                  </a:lnTo>
                  <a:lnTo>
                    <a:pt x="518" y="13305"/>
                  </a:lnTo>
                  <a:lnTo>
                    <a:pt x="311" y="14618"/>
                  </a:lnTo>
                  <a:lnTo>
                    <a:pt x="0" y="16035"/>
                  </a:lnTo>
                  <a:lnTo>
                    <a:pt x="0" y="16035"/>
                  </a:lnTo>
                  <a:lnTo>
                    <a:pt x="104" y="15966"/>
                  </a:lnTo>
                  <a:lnTo>
                    <a:pt x="207" y="15827"/>
                  </a:lnTo>
                  <a:lnTo>
                    <a:pt x="449" y="15378"/>
                  </a:lnTo>
                  <a:lnTo>
                    <a:pt x="726" y="14825"/>
                  </a:lnTo>
                  <a:lnTo>
                    <a:pt x="968" y="14341"/>
                  </a:lnTo>
                  <a:lnTo>
                    <a:pt x="968" y="14341"/>
                  </a:lnTo>
                  <a:lnTo>
                    <a:pt x="1210" y="13892"/>
                  </a:lnTo>
                  <a:lnTo>
                    <a:pt x="1452" y="13270"/>
                  </a:lnTo>
                  <a:lnTo>
                    <a:pt x="1693" y="12544"/>
                  </a:lnTo>
                  <a:lnTo>
                    <a:pt x="1935" y="11681"/>
                  </a:lnTo>
                  <a:lnTo>
                    <a:pt x="2177" y="10747"/>
                  </a:lnTo>
                  <a:lnTo>
                    <a:pt x="2385" y="9780"/>
                  </a:lnTo>
                  <a:lnTo>
                    <a:pt x="2799" y="7707"/>
                  </a:lnTo>
                  <a:lnTo>
                    <a:pt x="3110" y="5737"/>
                  </a:lnTo>
                  <a:lnTo>
                    <a:pt x="3318" y="3974"/>
                  </a:lnTo>
                  <a:lnTo>
                    <a:pt x="3387" y="3249"/>
                  </a:lnTo>
                  <a:lnTo>
                    <a:pt x="3387" y="2661"/>
                  </a:lnTo>
                  <a:lnTo>
                    <a:pt x="3387" y="2247"/>
                  </a:lnTo>
                  <a:lnTo>
                    <a:pt x="3352" y="2108"/>
                  </a:lnTo>
                  <a:lnTo>
                    <a:pt x="3318" y="2005"/>
                  </a:lnTo>
                  <a:lnTo>
                    <a:pt x="3318" y="2005"/>
                  </a:lnTo>
                  <a:lnTo>
                    <a:pt x="3179" y="1728"/>
                  </a:lnTo>
                  <a:lnTo>
                    <a:pt x="3007" y="1452"/>
                  </a:lnTo>
                  <a:lnTo>
                    <a:pt x="2765" y="1244"/>
                  </a:lnTo>
                  <a:lnTo>
                    <a:pt x="2454" y="1003"/>
                  </a:lnTo>
                  <a:lnTo>
                    <a:pt x="2074" y="795"/>
                  </a:lnTo>
                  <a:lnTo>
                    <a:pt x="1590" y="553"/>
                  </a:lnTo>
                  <a:lnTo>
                    <a:pt x="968" y="277"/>
                  </a:lnTo>
                  <a:lnTo>
                    <a:pt x="207"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1138007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A25F7980-E49F-1005-3C82-515607F3FFA6}"/>
            </a:ext>
          </a:extLst>
        </p:cNvPr>
        <p:cNvGrpSpPr/>
        <p:nvPr/>
      </p:nvGrpSpPr>
      <p:grpSpPr>
        <a:xfrm>
          <a:off x="0" y="0"/>
          <a:ext cx="0" cy="0"/>
          <a:chOff x="0" y="0"/>
          <a:chExt cx="0" cy="0"/>
        </a:xfrm>
      </p:grpSpPr>
      <p:sp>
        <p:nvSpPr>
          <p:cNvPr id="507" name="Slide Number Placeholder 2">
            <a:extLst>
              <a:ext uri="{FF2B5EF4-FFF2-40B4-BE49-F238E27FC236}">
                <a16:creationId xmlns:a16="http://schemas.microsoft.com/office/drawing/2014/main" id="{F6A86BDC-1FE7-2FBC-FCEC-83AEDDB55D4E}"/>
              </a:ext>
            </a:extLst>
          </p:cNvPr>
          <p:cNvSpPr>
            <a:spLocks noGrp="1"/>
          </p:cNvSpPr>
          <p:nvPr>
            <p:ph type="sldNum" sz="quarter" idx="12"/>
          </p:nvPr>
        </p:nvSpPr>
        <p:spPr>
          <a:xfrm>
            <a:off x="10792460" y="6348715"/>
            <a:ext cx="391477" cy="153889"/>
          </a:xfrm>
        </p:spPr>
        <p:txBody>
          <a:bodyPr/>
          <a:lstStyle/>
          <a:p>
            <a:pPr>
              <a:spcAft>
                <a:spcPts val="600"/>
              </a:spcAft>
            </a:pPr>
            <a:fld id="{BE2ACD00-28B2-4D17-A930-2C9F8441C7CA}" type="slidenum">
              <a:rPr lang="nb-NO" smtClean="0"/>
              <a:pPr>
                <a:spcAft>
                  <a:spcPts val="600"/>
                </a:spcAft>
              </a:pPr>
              <a:t>4</a:t>
            </a:fld>
            <a:endParaRPr lang="nb-NO"/>
          </a:p>
        </p:txBody>
      </p:sp>
      <p:graphicFrame>
        <p:nvGraphicFramePr>
          <p:cNvPr id="503" name="TekstSylinder 1">
            <a:extLst>
              <a:ext uri="{FF2B5EF4-FFF2-40B4-BE49-F238E27FC236}">
                <a16:creationId xmlns:a16="http://schemas.microsoft.com/office/drawing/2014/main" id="{98AB6728-1FF5-AF7B-07A9-A57350ECF767}"/>
              </a:ext>
            </a:extLst>
          </p:cNvPr>
          <p:cNvGraphicFramePr/>
          <p:nvPr>
            <p:extLst>
              <p:ext uri="{D42A27DB-BD31-4B8C-83A1-F6EECF244321}">
                <p14:modId xmlns:p14="http://schemas.microsoft.com/office/powerpoint/2010/main" val="2375946865"/>
              </p:ext>
            </p:extLst>
          </p:nvPr>
        </p:nvGraphicFramePr>
        <p:xfrm>
          <a:off x="1029494" y="1805749"/>
          <a:ext cx="7621588" cy="42810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Google Shape;1007;g2e0683f995c_0_0">
            <a:extLst>
              <a:ext uri="{FF2B5EF4-FFF2-40B4-BE49-F238E27FC236}">
                <a16:creationId xmlns:a16="http://schemas.microsoft.com/office/drawing/2014/main" id="{EDA57770-2DED-FA34-3967-EC77BB129848}"/>
              </a:ext>
            </a:extLst>
          </p:cNvPr>
          <p:cNvSpPr txBox="1">
            <a:spLocks/>
          </p:cNvSpPr>
          <p:nvPr/>
        </p:nvSpPr>
        <p:spPr>
          <a:xfrm>
            <a:off x="335550" y="771239"/>
            <a:ext cx="11520900" cy="538974"/>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lvl="0" indent="0" fontAlgn="auto">
              <a:lnSpc>
                <a:spcPct val="100000"/>
              </a:lnSpc>
              <a:buClr>
                <a:srgbClr val="000000"/>
              </a:buClr>
              <a:buSzPts val="2800"/>
              <a:tabLst/>
              <a:defRPr/>
            </a:pPr>
            <a:r>
              <a:rPr lang="nb-NO" sz="3600" kern="0">
                <a:solidFill>
                  <a:schemeClr val="accent1"/>
                </a:solidFill>
                <a:latin typeface="Brockmann"/>
              </a:rPr>
              <a:t>Kommunikasjon</a:t>
            </a:r>
          </a:p>
        </p:txBody>
      </p:sp>
    </p:spTree>
    <p:extLst>
      <p:ext uri="{BB962C8B-B14F-4D97-AF65-F5344CB8AC3E}">
        <p14:creationId xmlns:p14="http://schemas.microsoft.com/office/powerpoint/2010/main" val="40039206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7" name="think-cell data - do not delete" hidden="1">
            <a:extLst>
              <a:ext uri="{FF2B5EF4-FFF2-40B4-BE49-F238E27FC236}">
                <a16:creationId xmlns:a16="http://schemas.microsoft.com/office/drawing/2014/main" id="{0574C6C2-EF60-DF62-464A-B8C1A7C4C5C0}"/>
              </a:ext>
            </a:extLst>
          </p:cNvPr>
          <p:cNvGraphicFramePr>
            <a:graphicFrameLocks noChangeAspect="1"/>
          </p:cNvGraphicFramePr>
          <p:nvPr>
            <p:custDataLst>
              <p:tags r:id="rId1"/>
            </p:custDataLst>
            <p:extLst>
              <p:ext uri="{D42A27DB-BD31-4B8C-83A1-F6EECF244321}">
                <p14:modId xmlns:p14="http://schemas.microsoft.com/office/powerpoint/2010/main" val="151407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537" name="think-cell data - do not delete" hidden="1">
                        <a:extLst>
                          <a:ext uri="{FF2B5EF4-FFF2-40B4-BE49-F238E27FC236}">
                            <a16:creationId xmlns:a16="http://schemas.microsoft.com/office/drawing/2014/main" id="{0574C6C2-EF60-DF62-464A-B8C1A7C4C5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Google Shape;2231;p11">
            <a:extLst>
              <a:ext uri="{FF2B5EF4-FFF2-40B4-BE49-F238E27FC236}">
                <a16:creationId xmlns:a16="http://schemas.microsoft.com/office/drawing/2014/main" id="{68ADE534-F951-1995-AA5B-66FA83EF6D55}"/>
              </a:ext>
            </a:extLst>
          </p:cNvPr>
          <p:cNvSpPr/>
          <p:nvPr/>
        </p:nvSpPr>
        <p:spPr>
          <a:xfrm>
            <a:off x="4225021" y="2309468"/>
            <a:ext cx="825000" cy="825000"/>
          </a:xfrm>
          <a:prstGeom prst="rect">
            <a:avLst/>
          </a:prstGeom>
          <a:solidFill>
            <a:srgbClr val="DEDEDE"/>
          </a:solidFill>
          <a:ln w="9525" cap="flat" cmpd="sng">
            <a:solidFill>
              <a:srgbClr val="DEDEDE"/>
            </a:solidFill>
            <a:prstDash val="solid"/>
            <a:round/>
            <a:headEnd type="none" w="sm" len="sm"/>
            <a:tailEnd type="none" w="sm" len="sm"/>
          </a:ln>
          <a:effectLst>
            <a:outerShdw blurRad="57150" dist="19050" dir="5400000" algn="bl" rotWithShape="0">
              <a:srgbClr val="000000">
                <a:alpha val="49803"/>
              </a:srgbClr>
            </a:outerShdw>
          </a:effectLst>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 name="Google Shape;2232;p11">
            <a:extLst>
              <a:ext uri="{FF2B5EF4-FFF2-40B4-BE49-F238E27FC236}">
                <a16:creationId xmlns:a16="http://schemas.microsoft.com/office/drawing/2014/main" id="{55B4FB16-96E6-0265-F2D5-474C67E6168F}"/>
              </a:ext>
            </a:extLst>
          </p:cNvPr>
          <p:cNvSpPr txBox="1"/>
          <p:nvPr/>
        </p:nvSpPr>
        <p:spPr>
          <a:xfrm>
            <a:off x="3407375" y="3201581"/>
            <a:ext cx="2514600" cy="2726400"/>
          </a:xfrm>
          <a:prstGeom prst="rect">
            <a:avLst/>
          </a:prstGeom>
          <a:gradFill>
            <a:gsLst>
              <a:gs pos="0">
                <a:srgbClr val="F6F6F6"/>
              </a:gs>
              <a:gs pos="100000">
                <a:srgbClr val="DEDEDE"/>
              </a:gs>
            </a:gsLst>
            <a:lin ang="5400700" scaled="0"/>
          </a:gradFill>
          <a:ln>
            <a:noFill/>
          </a:ln>
        </p:spPr>
        <p:txBody>
          <a:bodyPr spcFirstLastPara="1" wrap="square" lIns="46175" tIns="46175" rIns="46175" bIns="23075" anchor="t" anchorCtr="0">
            <a:noAutofit/>
          </a:bodyPr>
          <a:lstStyle/>
          <a:p>
            <a:pPr marL="0" marR="0" lvl="1" indent="0" defTabSz="914400" eaLnBrk="1" fontAlgn="auto" latinLnBrk="0" hangingPunct="1">
              <a:lnSpc>
                <a:spcPct val="100000"/>
              </a:lnSpc>
              <a:spcBef>
                <a:spcPts val="0"/>
              </a:spcBef>
              <a:spcAft>
                <a:spcPts val="0"/>
              </a:spcAft>
              <a:buClrTx/>
              <a:buSzPts val="1100"/>
              <a:buFontTx/>
              <a:buNone/>
              <a:tabLst/>
              <a:defRPr/>
            </a:pPr>
            <a:endParaRPr kumimoji="0" lang="nb-NO" sz="1100" b="0" i="0" u="none" strike="noStrike" kern="0" cap="none" spc="0" normalizeH="0" baseline="0" noProof="0">
              <a:ln>
                <a:noFill/>
              </a:ln>
              <a:solidFill>
                <a:sysClr val="windowText" lastClr="000000"/>
              </a:solidFill>
              <a:effectLst/>
              <a:uLnTx/>
              <a:uFillTx/>
              <a:latin typeface="+mj-lt"/>
            </a:endParaRPr>
          </a:p>
        </p:txBody>
      </p:sp>
      <p:sp>
        <p:nvSpPr>
          <p:cNvPr id="5" name="Google Shape;2233;p11">
            <a:extLst>
              <a:ext uri="{FF2B5EF4-FFF2-40B4-BE49-F238E27FC236}">
                <a16:creationId xmlns:a16="http://schemas.microsoft.com/office/drawing/2014/main" id="{07F4AED0-27F9-8ACB-B609-D1EDF3F903F0}"/>
              </a:ext>
            </a:extLst>
          </p:cNvPr>
          <p:cNvSpPr txBox="1"/>
          <p:nvPr/>
        </p:nvSpPr>
        <p:spPr>
          <a:xfrm>
            <a:off x="6015575" y="3187618"/>
            <a:ext cx="2514600" cy="2742600"/>
          </a:xfrm>
          <a:prstGeom prst="rect">
            <a:avLst/>
          </a:prstGeom>
          <a:gradFill>
            <a:gsLst>
              <a:gs pos="0">
                <a:srgbClr val="F6F6F6"/>
              </a:gs>
              <a:gs pos="100000">
                <a:srgbClr val="DEDEDE"/>
              </a:gs>
            </a:gsLst>
            <a:lin ang="5400700" scaled="0"/>
          </a:gradFill>
          <a:ln>
            <a:noFill/>
          </a:ln>
        </p:spPr>
        <p:txBody>
          <a:bodyPr spcFirstLastPara="1" wrap="square" lIns="46175" tIns="46175" rIns="46175" bIns="23075" anchor="t" anchorCtr="0">
            <a:noAutofit/>
          </a:bodyPr>
          <a:lstStyle/>
          <a:p>
            <a:pPr marL="0" marR="0" lvl="1" indent="0" defTabSz="914400" eaLnBrk="1" fontAlgn="auto" latinLnBrk="0" hangingPunct="1">
              <a:lnSpc>
                <a:spcPct val="100000"/>
              </a:lnSpc>
              <a:spcBef>
                <a:spcPts val="0"/>
              </a:spcBef>
              <a:spcAft>
                <a:spcPts val="0"/>
              </a:spcAft>
              <a:buClrTx/>
              <a:buSzPts val="1100"/>
              <a:buFontTx/>
              <a:buNone/>
              <a:tabLst/>
              <a:defRPr/>
            </a:pPr>
            <a:endParaRPr kumimoji="0" lang="nb-NO" sz="1100" b="0" i="0" u="none" strike="noStrike" kern="0" cap="none" spc="0" normalizeH="0" baseline="0" noProof="0">
              <a:ln>
                <a:noFill/>
              </a:ln>
              <a:solidFill>
                <a:sysClr val="windowText" lastClr="000000"/>
              </a:solidFill>
              <a:effectLst/>
              <a:uLnTx/>
              <a:uFillTx/>
              <a:latin typeface="+mj-lt"/>
            </a:endParaRPr>
          </a:p>
        </p:txBody>
      </p:sp>
      <p:sp>
        <p:nvSpPr>
          <p:cNvPr id="6" name="Google Shape;2234;p11">
            <a:extLst>
              <a:ext uri="{FF2B5EF4-FFF2-40B4-BE49-F238E27FC236}">
                <a16:creationId xmlns:a16="http://schemas.microsoft.com/office/drawing/2014/main" id="{1AD4955F-1484-C31E-54C6-CC9A51C9A85A}"/>
              </a:ext>
            </a:extLst>
          </p:cNvPr>
          <p:cNvSpPr txBox="1"/>
          <p:nvPr/>
        </p:nvSpPr>
        <p:spPr>
          <a:xfrm>
            <a:off x="8623775" y="3171493"/>
            <a:ext cx="2514600" cy="2758800"/>
          </a:xfrm>
          <a:prstGeom prst="rect">
            <a:avLst/>
          </a:prstGeom>
          <a:gradFill>
            <a:gsLst>
              <a:gs pos="0">
                <a:srgbClr val="F6F6F6"/>
              </a:gs>
              <a:gs pos="100000">
                <a:srgbClr val="DEDEDE"/>
              </a:gs>
            </a:gsLst>
            <a:lin ang="5400700" scaled="0"/>
          </a:gradFill>
          <a:ln>
            <a:noFill/>
          </a:ln>
        </p:spPr>
        <p:txBody>
          <a:bodyPr spcFirstLastPara="1" wrap="square" lIns="46175" tIns="46175" rIns="46175" bIns="23075" anchor="t" anchorCtr="0">
            <a:noAutofit/>
          </a:bodyPr>
          <a:lstStyle/>
          <a:p>
            <a:pPr marL="0" marR="0" lvl="1" indent="0" defTabSz="914400" eaLnBrk="1" fontAlgn="auto" latinLnBrk="0" hangingPunct="1">
              <a:lnSpc>
                <a:spcPct val="100000"/>
              </a:lnSpc>
              <a:spcBef>
                <a:spcPts val="0"/>
              </a:spcBef>
              <a:spcAft>
                <a:spcPts val="0"/>
              </a:spcAft>
              <a:buClrTx/>
              <a:buSzPts val="1100"/>
              <a:buFontTx/>
              <a:buNone/>
              <a:tabLst/>
              <a:defRPr/>
            </a:pPr>
            <a:endParaRPr kumimoji="0" lang="nb-NO" sz="1100" b="0" i="0" u="none" strike="noStrike" kern="0" cap="none" spc="0" normalizeH="0" baseline="0" noProof="0">
              <a:ln>
                <a:noFill/>
              </a:ln>
              <a:solidFill>
                <a:sysClr val="windowText" lastClr="000000"/>
              </a:solidFill>
              <a:effectLst/>
              <a:uLnTx/>
              <a:uFillTx/>
              <a:latin typeface="+mj-lt"/>
            </a:endParaRPr>
          </a:p>
        </p:txBody>
      </p:sp>
      <p:sp>
        <p:nvSpPr>
          <p:cNvPr id="7" name="Google Shape;2235;p11">
            <a:extLst>
              <a:ext uri="{FF2B5EF4-FFF2-40B4-BE49-F238E27FC236}">
                <a16:creationId xmlns:a16="http://schemas.microsoft.com/office/drawing/2014/main" id="{F3EC1101-7722-7BDA-F4DE-5990F54A204E}"/>
              </a:ext>
            </a:extLst>
          </p:cNvPr>
          <p:cNvSpPr txBox="1"/>
          <p:nvPr/>
        </p:nvSpPr>
        <p:spPr>
          <a:xfrm>
            <a:off x="799175" y="3200860"/>
            <a:ext cx="2514600" cy="2726400"/>
          </a:xfrm>
          <a:prstGeom prst="rect">
            <a:avLst/>
          </a:prstGeom>
          <a:gradFill>
            <a:gsLst>
              <a:gs pos="0">
                <a:srgbClr val="F6F6F6"/>
              </a:gs>
              <a:gs pos="100000">
                <a:srgbClr val="DEDEDE"/>
              </a:gs>
            </a:gsLst>
            <a:lin ang="5400700" scaled="0"/>
          </a:gradFill>
          <a:ln>
            <a:noFill/>
          </a:ln>
        </p:spPr>
        <p:txBody>
          <a:bodyPr spcFirstLastPara="1" wrap="square" lIns="46175" tIns="46175" rIns="46175" bIns="23075" anchor="t" anchorCtr="0">
            <a:noAutofit/>
          </a:bodyPr>
          <a:lstStyle/>
          <a:p>
            <a:pPr marL="0" marR="0" lvl="1" indent="0" defTabSz="914400" eaLnBrk="1" fontAlgn="auto" latinLnBrk="0" hangingPunct="1">
              <a:lnSpc>
                <a:spcPct val="100000"/>
              </a:lnSpc>
              <a:spcBef>
                <a:spcPts val="0"/>
              </a:spcBef>
              <a:spcAft>
                <a:spcPts val="0"/>
              </a:spcAft>
              <a:buClrTx/>
              <a:buSzPts val="1100"/>
              <a:buFontTx/>
              <a:buNone/>
              <a:tabLst/>
              <a:defRPr/>
            </a:pPr>
            <a:endParaRPr kumimoji="0" lang="nb-NO" sz="1100" b="0" i="0" u="none" strike="noStrike" kern="0" cap="none" spc="0" normalizeH="0" baseline="0" noProof="0">
              <a:ln>
                <a:noFill/>
              </a:ln>
              <a:solidFill>
                <a:sysClr val="windowText" lastClr="000000"/>
              </a:solidFill>
              <a:effectLst/>
              <a:uLnTx/>
              <a:uFillTx/>
              <a:latin typeface="+mj-lt"/>
            </a:endParaRPr>
          </a:p>
        </p:txBody>
      </p:sp>
      <p:sp>
        <p:nvSpPr>
          <p:cNvPr id="9" name="Google Shape;2237;p11">
            <a:extLst>
              <a:ext uri="{FF2B5EF4-FFF2-40B4-BE49-F238E27FC236}">
                <a16:creationId xmlns:a16="http://schemas.microsoft.com/office/drawing/2014/main" id="{7CB83945-D6D8-D604-A652-6119A091C057}"/>
              </a:ext>
            </a:extLst>
          </p:cNvPr>
          <p:cNvSpPr/>
          <p:nvPr/>
        </p:nvSpPr>
        <p:spPr>
          <a:xfrm>
            <a:off x="6842958" y="2316906"/>
            <a:ext cx="825000" cy="825000"/>
          </a:xfrm>
          <a:prstGeom prst="rect">
            <a:avLst/>
          </a:prstGeom>
          <a:solidFill>
            <a:srgbClr val="DEDEDE"/>
          </a:solidFill>
          <a:ln w="9525" cap="flat" cmpd="sng">
            <a:solidFill>
              <a:srgbClr val="DEDEDE"/>
            </a:solidFill>
            <a:prstDash val="solid"/>
            <a:round/>
            <a:headEnd type="none" w="sm" len="sm"/>
            <a:tailEnd type="none" w="sm" len="sm"/>
          </a:ln>
          <a:effectLst>
            <a:outerShdw blurRad="57150" dist="19050" dir="5400000" algn="bl" rotWithShape="0">
              <a:srgbClr val="000000">
                <a:alpha val="49803"/>
              </a:srgbClr>
            </a:outerShdw>
          </a:effectLst>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0" name="Google Shape;2238;p11">
            <a:extLst>
              <a:ext uri="{FF2B5EF4-FFF2-40B4-BE49-F238E27FC236}">
                <a16:creationId xmlns:a16="http://schemas.microsoft.com/office/drawing/2014/main" id="{49E9817A-C719-7D26-8CA2-C83174BB2425}"/>
              </a:ext>
            </a:extLst>
          </p:cNvPr>
          <p:cNvSpPr/>
          <p:nvPr/>
        </p:nvSpPr>
        <p:spPr>
          <a:xfrm>
            <a:off x="9460900" y="2309081"/>
            <a:ext cx="825000" cy="825000"/>
          </a:xfrm>
          <a:prstGeom prst="rect">
            <a:avLst/>
          </a:prstGeom>
          <a:solidFill>
            <a:srgbClr val="DEDEDE"/>
          </a:solidFill>
          <a:ln w="9525" cap="flat" cmpd="sng">
            <a:solidFill>
              <a:srgbClr val="DEDEDE"/>
            </a:solidFill>
            <a:prstDash val="solid"/>
            <a:round/>
            <a:headEnd type="none" w="sm" len="sm"/>
            <a:tailEnd type="none" w="sm" len="sm"/>
          </a:ln>
          <a:effectLst>
            <a:outerShdw blurRad="57150" dist="19050" dir="5400000" algn="bl" rotWithShape="0">
              <a:srgbClr val="000000">
                <a:alpha val="49803"/>
              </a:srgbClr>
            </a:outerShdw>
          </a:effectLst>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1" name="Google Shape;2239;p11">
            <a:extLst>
              <a:ext uri="{FF2B5EF4-FFF2-40B4-BE49-F238E27FC236}">
                <a16:creationId xmlns:a16="http://schemas.microsoft.com/office/drawing/2014/main" id="{D4AED98D-94D6-36CB-3654-3C12EA87DFEB}"/>
              </a:ext>
            </a:extLst>
          </p:cNvPr>
          <p:cNvSpPr/>
          <p:nvPr/>
        </p:nvSpPr>
        <p:spPr>
          <a:xfrm>
            <a:off x="1607075" y="2323806"/>
            <a:ext cx="825000" cy="825000"/>
          </a:xfrm>
          <a:prstGeom prst="rect">
            <a:avLst/>
          </a:prstGeom>
          <a:solidFill>
            <a:srgbClr val="DEDEDE"/>
          </a:solidFill>
          <a:ln w="9525" cap="flat" cmpd="sng">
            <a:solidFill>
              <a:srgbClr val="DEDEDE"/>
            </a:solidFill>
            <a:prstDash val="solid"/>
            <a:round/>
            <a:headEnd type="none" w="sm" len="sm"/>
            <a:tailEnd type="none" w="sm" len="sm"/>
          </a:ln>
          <a:effectLst>
            <a:outerShdw blurRad="57150" dist="19050" dir="5400000" algn="bl" rotWithShape="0">
              <a:srgbClr val="000000">
                <a:alpha val="49803"/>
              </a:srgbClr>
            </a:outerShdw>
          </a:effectLst>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2" name="Google Shape;2240;p11">
            <a:extLst>
              <a:ext uri="{FF2B5EF4-FFF2-40B4-BE49-F238E27FC236}">
                <a16:creationId xmlns:a16="http://schemas.microsoft.com/office/drawing/2014/main" id="{4D33D808-17B1-D75B-2BCB-02E9B4115601}"/>
              </a:ext>
            </a:extLst>
          </p:cNvPr>
          <p:cNvSpPr/>
          <p:nvPr/>
        </p:nvSpPr>
        <p:spPr>
          <a:xfrm>
            <a:off x="923366" y="3385835"/>
            <a:ext cx="2192400" cy="272100"/>
          </a:xfrm>
          <a:prstGeom prst="roundRect">
            <a:avLst>
              <a:gd name="adj" fmla="val 5561"/>
            </a:avLst>
          </a:prstGeom>
          <a:noFill/>
          <a:ln>
            <a:noFill/>
          </a:ln>
        </p:spPr>
        <p:txBody>
          <a:bodyPr spcFirstLastPara="1" wrap="square" lIns="0" tIns="41450" rIns="0" bIns="41450" anchor="t" anchorCtr="0">
            <a:noAutofit/>
          </a:bodyPr>
          <a:lstStyle/>
          <a:p>
            <a:pPr marL="12700" algn="ctr">
              <a:buSzPts val="1100"/>
            </a:pPr>
            <a:r>
              <a:rPr lang="nb-NO" sz="1100">
                <a:latin typeface="+mj-lt"/>
                <a:ea typeface="Georgia"/>
                <a:cs typeface="Georgia"/>
                <a:sym typeface="Georgia"/>
              </a:rPr>
              <a:t>Behovsanalyse </a:t>
            </a:r>
          </a:p>
          <a:p>
            <a:pPr marL="12700" algn="ctr">
              <a:buSzPts val="1100"/>
            </a:pPr>
            <a:r>
              <a:rPr lang="nb-NO" sz="1100">
                <a:latin typeface="+mj-lt"/>
                <a:ea typeface="Georgia"/>
                <a:cs typeface="Georgia"/>
                <a:sym typeface="Georgia"/>
              </a:rPr>
              <a:t>April-Juni 2024</a:t>
            </a:r>
          </a:p>
          <a:p>
            <a:pPr marL="12700" algn="ctr">
              <a:buSzPts val="1100"/>
            </a:pPr>
            <a:endParaRPr lang="nb-NO" sz="1100">
              <a:latin typeface="+mj-lt"/>
              <a:ea typeface="Georgia"/>
              <a:cs typeface="Georgia"/>
              <a:sym typeface="Georgia"/>
            </a:endParaRPr>
          </a:p>
        </p:txBody>
      </p:sp>
      <p:sp>
        <p:nvSpPr>
          <p:cNvPr id="13" name="Google Shape;2241;p11">
            <a:extLst>
              <a:ext uri="{FF2B5EF4-FFF2-40B4-BE49-F238E27FC236}">
                <a16:creationId xmlns:a16="http://schemas.microsoft.com/office/drawing/2014/main" id="{BA578967-4C75-C98A-FFF6-9B22EFD75A72}"/>
              </a:ext>
            </a:extLst>
          </p:cNvPr>
          <p:cNvSpPr/>
          <p:nvPr/>
        </p:nvSpPr>
        <p:spPr>
          <a:xfrm>
            <a:off x="3598692" y="3385835"/>
            <a:ext cx="2180400" cy="407400"/>
          </a:xfrm>
          <a:prstGeom prst="roundRect">
            <a:avLst>
              <a:gd name="adj" fmla="val 5561"/>
            </a:avLst>
          </a:prstGeom>
          <a:noFill/>
          <a:ln>
            <a:noFill/>
          </a:ln>
        </p:spPr>
        <p:txBody>
          <a:bodyPr spcFirstLastPara="1" wrap="square" lIns="0" tIns="41450" rIns="0" bIns="41450" anchor="t" anchorCtr="0">
            <a:noAutofit/>
          </a:bodyPr>
          <a:lstStyle/>
          <a:p>
            <a:pPr marL="12700" algn="ctr">
              <a:buSzPts val="1100"/>
            </a:pPr>
            <a:r>
              <a:rPr lang="nb-NO" sz="1100">
                <a:latin typeface="+mj-lt"/>
                <a:ea typeface="Georgia"/>
                <a:cs typeface="Georgia"/>
                <a:sym typeface="Georgia"/>
              </a:rPr>
              <a:t>Forprosjekt</a:t>
            </a:r>
          </a:p>
          <a:p>
            <a:pPr marL="12700" algn="ctr">
              <a:buSzPts val="1100"/>
            </a:pPr>
            <a:r>
              <a:rPr lang="nb-NO" sz="1100">
                <a:latin typeface="+mj-lt"/>
                <a:ea typeface="Georgia"/>
                <a:cs typeface="Georgia"/>
                <a:sym typeface="Georgia"/>
              </a:rPr>
              <a:t>August- Desember 2024</a:t>
            </a:r>
          </a:p>
          <a:p>
            <a:pPr marL="12700" algn="ctr">
              <a:buSzPts val="1100"/>
            </a:pPr>
            <a:endParaRPr lang="nb-NO" sz="1100">
              <a:latin typeface="+mj-lt"/>
              <a:ea typeface="Georgia"/>
              <a:cs typeface="Georgia"/>
              <a:sym typeface="Georgia"/>
            </a:endParaRPr>
          </a:p>
          <a:p>
            <a:pPr marL="12700" algn="ctr">
              <a:buSzPts val="1100"/>
            </a:pPr>
            <a:endParaRPr lang="nb-NO" sz="1100">
              <a:latin typeface="+mj-lt"/>
              <a:ea typeface="Georgia"/>
              <a:cs typeface="Georgia"/>
              <a:sym typeface="Georgia"/>
            </a:endParaRPr>
          </a:p>
          <a:p>
            <a:pPr marL="12700" algn="ctr">
              <a:buSzPts val="1100"/>
            </a:pPr>
            <a:endParaRPr lang="nb-NO" sz="1100">
              <a:latin typeface="+mj-lt"/>
              <a:ea typeface="Georgia"/>
              <a:cs typeface="Georgia"/>
              <a:sym typeface="Georgia"/>
            </a:endParaRPr>
          </a:p>
        </p:txBody>
      </p:sp>
      <p:sp>
        <p:nvSpPr>
          <p:cNvPr id="14" name="Google Shape;2242;p11">
            <a:extLst>
              <a:ext uri="{FF2B5EF4-FFF2-40B4-BE49-F238E27FC236}">
                <a16:creationId xmlns:a16="http://schemas.microsoft.com/office/drawing/2014/main" id="{E394EEC1-114B-C5E9-1457-4376BCCBDE2B}"/>
              </a:ext>
            </a:extLst>
          </p:cNvPr>
          <p:cNvSpPr/>
          <p:nvPr/>
        </p:nvSpPr>
        <p:spPr>
          <a:xfrm>
            <a:off x="6189719" y="3385835"/>
            <a:ext cx="2166300" cy="272100"/>
          </a:xfrm>
          <a:prstGeom prst="roundRect">
            <a:avLst>
              <a:gd name="adj" fmla="val 5561"/>
            </a:avLst>
          </a:prstGeom>
          <a:noFill/>
          <a:ln>
            <a:noFill/>
          </a:ln>
        </p:spPr>
        <p:txBody>
          <a:bodyPr spcFirstLastPara="1" wrap="square" lIns="0" tIns="41450" rIns="0" bIns="41450" anchor="t" anchorCtr="0">
            <a:noAutofit/>
          </a:bodyPr>
          <a:lstStyle/>
          <a:p>
            <a:pPr marL="12700" algn="ctr">
              <a:buSzPts val="1100"/>
            </a:pPr>
            <a:r>
              <a:rPr lang="nb-NO" sz="1100">
                <a:latin typeface="+mj-lt"/>
                <a:ea typeface="Georgia"/>
                <a:cs typeface="Georgia"/>
                <a:sym typeface="Georgia"/>
              </a:rPr>
              <a:t>Anskaffelse</a:t>
            </a:r>
          </a:p>
          <a:p>
            <a:pPr marL="12700" algn="ctr">
              <a:buSzPts val="1100"/>
            </a:pPr>
            <a:r>
              <a:rPr lang="nb-NO" sz="1100">
                <a:latin typeface="+mj-lt"/>
                <a:ea typeface="Georgia"/>
                <a:cs typeface="Georgia"/>
                <a:sym typeface="Georgia"/>
              </a:rPr>
              <a:t>Januar 2025- Juni 2026</a:t>
            </a:r>
          </a:p>
          <a:p>
            <a:pPr marL="12700" algn="ctr">
              <a:buSzPts val="1100"/>
            </a:pPr>
            <a:endParaRPr lang="nb-NO" sz="1100">
              <a:latin typeface="+mj-lt"/>
              <a:ea typeface="Georgia"/>
              <a:cs typeface="Georgia"/>
              <a:sym typeface="Georgia"/>
            </a:endParaRPr>
          </a:p>
        </p:txBody>
      </p:sp>
      <p:sp>
        <p:nvSpPr>
          <p:cNvPr id="15" name="Google Shape;2243;p11">
            <a:extLst>
              <a:ext uri="{FF2B5EF4-FFF2-40B4-BE49-F238E27FC236}">
                <a16:creationId xmlns:a16="http://schemas.microsoft.com/office/drawing/2014/main" id="{44DA8EFF-987D-4558-FEF0-2E5EE8F673E0}"/>
              </a:ext>
            </a:extLst>
          </p:cNvPr>
          <p:cNvSpPr/>
          <p:nvPr/>
        </p:nvSpPr>
        <p:spPr>
          <a:xfrm>
            <a:off x="8784870" y="3385835"/>
            <a:ext cx="2192400" cy="272100"/>
          </a:xfrm>
          <a:prstGeom prst="roundRect">
            <a:avLst>
              <a:gd name="adj" fmla="val 5561"/>
            </a:avLst>
          </a:prstGeom>
          <a:noFill/>
          <a:ln>
            <a:noFill/>
          </a:ln>
        </p:spPr>
        <p:txBody>
          <a:bodyPr spcFirstLastPara="1" wrap="square" lIns="0" tIns="41450" rIns="0" bIns="41450" anchor="t" anchorCtr="0">
            <a:noAutofit/>
          </a:bodyPr>
          <a:lstStyle/>
          <a:p>
            <a:pPr marL="12700" algn="ctr">
              <a:buSzPts val="1100"/>
            </a:pPr>
            <a:r>
              <a:rPr lang="nb-NO" sz="1100">
                <a:latin typeface="+mj-lt"/>
                <a:ea typeface="Georgia"/>
                <a:cs typeface="Georgia"/>
                <a:sym typeface="Georgia"/>
              </a:rPr>
              <a:t>Utviklingsprosjekt</a:t>
            </a:r>
          </a:p>
          <a:p>
            <a:pPr marL="12700" algn="ctr">
              <a:buSzPts val="1100"/>
            </a:pPr>
            <a:r>
              <a:rPr lang="nb-NO" sz="1100">
                <a:latin typeface="+mj-lt"/>
                <a:ea typeface="Georgia"/>
                <a:cs typeface="Georgia"/>
                <a:sym typeface="Georgia"/>
              </a:rPr>
              <a:t>August 2026</a:t>
            </a:r>
          </a:p>
        </p:txBody>
      </p:sp>
      <p:cxnSp>
        <p:nvCxnSpPr>
          <p:cNvPr id="16" name="Google Shape;2244;p11">
            <a:extLst>
              <a:ext uri="{FF2B5EF4-FFF2-40B4-BE49-F238E27FC236}">
                <a16:creationId xmlns:a16="http://schemas.microsoft.com/office/drawing/2014/main" id="{B8279286-8582-4223-F69C-EDAFC1014366}"/>
              </a:ext>
            </a:extLst>
          </p:cNvPr>
          <p:cNvCxnSpPr>
            <a:cxnSpLocks/>
          </p:cNvCxnSpPr>
          <p:nvPr/>
        </p:nvCxnSpPr>
        <p:spPr>
          <a:xfrm>
            <a:off x="575500" y="3168656"/>
            <a:ext cx="11019300" cy="0"/>
          </a:xfrm>
          <a:prstGeom prst="straightConnector1">
            <a:avLst/>
          </a:prstGeom>
          <a:noFill/>
          <a:ln w="76200" cap="flat" cmpd="sng">
            <a:solidFill>
              <a:srgbClr val="D8D8D8"/>
            </a:solidFill>
            <a:prstDash val="solid"/>
            <a:round/>
            <a:headEnd type="none" w="sm" len="sm"/>
            <a:tailEnd type="triangle" w="med" len="med"/>
          </a:ln>
        </p:spPr>
      </p:cxnSp>
      <p:sp>
        <p:nvSpPr>
          <p:cNvPr id="17" name="Google Shape;2245;p11">
            <a:extLst>
              <a:ext uri="{FF2B5EF4-FFF2-40B4-BE49-F238E27FC236}">
                <a16:creationId xmlns:a16="http://schemas.microsoft.com/office/drawing/2014/main" id="{6F12F29F-81C1-485D-0DE4-1959E924DCEA}"/>
              </a:ext>
            </a:extLst>
          </p:cNvPr>
          <p:cNvSpPr/>
          <p:nvPr/>
        </p:nvSpPr>
        <p:spPr>
          <a:xfrm>
            <a:off x="1815863" y="2950453"/>
            <a:ext cx="407400" cy="407400"/>
          </a:xfrm>
          <a:prstGeom prst="ellipse">
            <a:avLst/>
          </a:prstGeom>
          <a:solidFill>
            <a:srgbClr val="464646"/>
          </a:solidFill>
          <a:ln>
            <a:noFill/>
          </a:ln>
          <a:effectLst>
            <a:outerShdw blurRad="63500" sx="102000" sy="102000" algn="ctr" rotWithShape="0">
              <a:srgbClr val="D8D8D8">
                <a:alpha val="40000"/>
              </a:srgbClr>
            </a:outerShdw>
          </a:effectLst>
        </p:spPr>
        <p:txBody>
          <a:bodyPr spcFirstLastPara="1" wrap="square" lIns="0" tIns="32650" rIns="0" bIns="0" anchor="ctr" anchorCtr="0">
            <a:noAutofit/>
          </a:bodyPr>
          <a:lstStyle/>
          <a:p>
            <a:pPr marL="0" marR="0" lvl="0" indent="0" algn="ctr" defTabSz="914400" eaLnBrk="1" fontAlgn="auto" latinLnBrk="0" hangingPunct="1">
              <a:lnSpc>
                <a:spcPct val="80000"/>
              </a:lnSpc>
              <a:spcBef>
                <a:spcPts val="0"/>
              </a:spcBef>
              <a:spcAft>
                <a:spcPts val="0"/>
              </a:spcAft>
              <a:buClrTx/>
              <a:buSzPts val="900"/>
              <a:buFontTx/>
              <a:buNone/>
              <a:tabLst/>
              <a:defRPr/>
            </a:pPr>
            <a:r>
              <a:rPr kumimoji="0" lang="nb-NO" sz="1000" b="1" i="0" u="none" strike="noStrike" kern="0" cap="none" spc="0" normalizeH="0" baseline="0" noProof="0">
                <a:ln>
                  <a:noFill/>
                </a:ln>
                <a:solidFill>
                  <a:srgbClr val="FFFFFF"/>
                </a:solidFill>
                <a:effectLst/>
                <a:uLnTx/>
                <a:uFillTx/>
                <a:latin typeface="+mj-lt"/>
              </a:rPr>
              <a:t>1</a:t>
            </a:r>
          </a:p>
        </p:txBody>
      </p:sp>
      <p:sp>
        <p:nvSpPr>
          <p:cNvPr id="18" name="Google Shape;2246;p11">
            <a:extLst>
              <a:ext uri="{FF2B5EF4-FFF2-40B4-BE49-F238E27FC236}">
                <a16:creationId xmlns:a16="http://schemas.microsoft.com/office/drawing/2014/main" id="{91950FE7-6EF9-8E05-9350-A7A21CC2B5E4}"/>
              </a:ext>
            </a:extLst>
          </p:cNvPr>
          <p:cNvSpPr/>
          <p:nvPr/>
        </p:nvSpPr>
        <p:spPr>
          <a:xfrm>
            <a:off x="4460983" y="2933653"/>
            <a:ext cx="407400" cy="407400"/>
          </a:xfrm>
          <a:prstGeom prst="ellipse">
            <a:avLst/>
          </a:prstGeom>
          <a:solidFill>
            <a:srgbClr val="464646"/>
          </a:solidFill>
          <a:ln>
            <a:noFill/>
          </a:ln>
          <a:effectLst>
            <a:outerShdw blurRad="63500" sx="102000" sy="102000" algn="ctr" rotWithShape="0">
              <a:srgbClr val="D8D8D8">
                <a:alpha val="40000"/>
              </a:srgbClr>
            </a:outerShdw>
          </a:effectLst>
        </p:spPr>
        <p:txBody>
          <a:bodyPr spcFirstLastPara="1" wrap="square" lIns="0" tIns="32650" rIns="0" bIns="0" anchor="ctr" anchorCtr="0">
            <a:noAutofit/>
          </a:bodyPr>
          <a:lstStyle/>
          <a:p>
            <a:pPr marL="0" marR="0" lvl="0" indent="0" algn="ctr" defTabSz="914400" eaLnBrk="1" fontAlgn="auto" latinLnBrk="0" hangingPunct="1">
              <a:lnSpc>
                <a:spcPct val="80000"/>
              </a:lnSpc>
              <a:spcBef>
                <a:spcPts val="0"/>
              </a:spcBef>
              <a:spcAft>
                <a:spcPts val="0"/>
              </a:spcAft>
              <a:buClrTx/>
              <a:buSzPts val="900"/>
              <a:buFontTx/>
              <a:buNone/>
              <a:tabLst/>
              <a:defRPr/>
            </a:pPr>
            <a:r>
              <a:rPr kumimoji="0" lang="nb-NO" sz="1000" b="1" i="0" u="none" strike="noStrike" kern="0" cap="none" spc="0" normalizeH="0" baseline="0" noProof="0">
                <a:ln>
                  <a:noFill/>
                </a:ln>
                <a:solidFill>
                  <a:srgbClr val="FFFFFF"/>
                </a:solidFill>
                <a:effectLst/>
                <a:uLnTx/>
                <a:uFillTx/>
                <a:latin typeface="+mj-lt"/>
              </a:rPr>
              <a:t>2</a:t>
            </a:r>
          </a:p>
        </p:txBody>
      </p:sp>
      <p:sp>
        <p:nvSpPr>
          <p:cNvPr id="19" name="Google Shape;2247;p11">
            <a:extLst>
              <a:ext uri="{FF2B5EF4-FFF2-40B4-BE49-F238E27FC236}">
                <a16:creationId xmlns:a16="http://schemas.microsoft.com/office/drawing/2014/main" id="{9DA09A01-8266-EA38-0458-DF24430A8B17}"/>
              </a:ext>
            </a:extLst>
          </p:cNvPr>
          <p:cNvSpPr/>
          <p:nvPr/>
        </p:nvSpPr>
        <p:spPr>
          <a:xfrm>
            <a:off x="7069178" y="2964966"/>
            <a:ext cx="407400" cy="407400"/>
          </a:xfrm>
          <a:prstGeom prst="ellipse">
            <a:avLst/>
          </a:prstGeom>
          <a:solidFill>
            <a:srgbClr val="464646"/>
          </a:solidFill>
          <a:ln>
            <a:noFill/>
          </a:ln>
          <a:effectLst>
            <a:outerShdw blurRad="63500" sx="102000" sy="102000" algn="ctr" rotWithShape="0">
              <a:srgbClr val="D8D8D8">
                <a:alpha val="40000"/>
              </a:srgbClr>
            </a:outerShdw>
          </a:effectLst>
        </p:spPr>
        <p:txBody>
          <a:bodyPr spcFirstLastPara="1" wrap="square" lIns="0" tIns="32650" rIns="0" bIns="0" anchor="ctr" anchorCtr="0">
            <a:noAutofit/>
          </a:bodyPr>
          <a:lstStyle/>
          <a:p>
            <a:pPr marL="0" marR="0" lvl="0" indent="0" algn="ctr" defTabSz="914400" eaLnBrk="1" fontAlgn="auto" latinLnBrk="0" hangingPunct="1">
              <a:lnSpc>
                <a:spcPct val="80000"/>
              </a:lnSpc>
              <a:spcBef>
                <a:spcPts val="0"/>
              </a:spcBef>
              <a:spcAft>
                <a:spcPts val="0"/>
              </a:spcAft>
              <a:buClrTx/>
              <a:buSzPts val="900"/>
              <a:buFontTx/>
              <a:buNone/>
              <a:tabLst/>
              <a:defRPr/>
            </a:pPr>
            <a:r>
              <a:rPr kumimoji="0" lang="nb-NO" sz="1000" b="1" i="0" u="none" strike="noStrike" kern="0" cap="none" spc="0" normalizeH="0" baseline="0" noProof="0">
                <a:ln>
                  <a:noFill/>
                </a:ln>
                <a:solidFill>
                  <a:srgbClr val="FFFFFF"/>
                </a:solidFill>
                <a:effectLst/>
                <a:uLnTx/>
                <a:uFillTx/>
                <a:latin typeface="+mj-lt"/>
              </a:rPr>
              <a:t>3</a:t>
            </a:r>
          </a:p>
        </p:txBody>
      </p:sp>
      <p:sp>
        <p:nvSpPr>
          <p:cNvPr id="20" name="Google Shape;2248;p11">
            <a:extLst>
              <a:ext uri="{FF2B5EF4-FFF2-40B4-BE49-F238E27FC236}">
                <a16:creationId xmlns:a16="http://schemas.microsoft.com/office/drawing/2014/main" id="{F8444829-F31F-0FAD-2F28-29033C886CED}"/>
              </a:ext>
            </a:extLst>
          </p:cNvPr>
          <p:cNvSpPr/>
          <p:nvPr/>
        </p:nvSpPr>
        <p:spPr>
          <a:xfrm>
            <a:off x="9677373" y="2964978"/>
            <a:ext cx="407400" cy="407400"/>
          </a:xfrm>
          <a:prstGeom prst="ellipse">
            <a:avLst/>
          </a:prstGeom>
          <a:solidFill>
            <a:srgbClr val="464646"/>
          </a:solidFill>
          <a:ln>
            <a:noFill/>
          </a:ln>
          <a:effectLst>
            <a:outerShdw blurRad="63500" sx="102000" sy="102000" algn="ctr" rotWithShape="0">
              <a:srgbClr val="D8D8D8">
                <a:alpha val="40000"/>
              </a:srgbClr>
            </a:outerShdw>
          </a:effectLst>
        </p:spPr>
        <p:txBody>
          <a:bodyPr spcFirstLastPara="1" wrap="square" lIns="0" tIns="32650" rIns="0" bIns="0" anchor="ctr" anchorCtr="0">
            <a:noAutofit/>
          </a:bodyPr>
          <a:lstStyle/>
          <a:p>
            <a:pPr marL="0" marR="0" lvl="0" indent="0" algn="ctr" defTabSz="914400" eaLnBrk="1" fontAlgn="auto" latinLnBrk="0" hangingPunct="1">
              <a:lnSpc>
                <a:spcPct val="80000"/>
              </a:lnSpc>
              <a:spcBef>
                <a:spcPts val="0"/>
              </a:spcBef>
              <a:spcAft>
                <a:spcPts val="0"/>
              </a:spcAft>
              <a:buClrTx/>
              <a:buSzPts val="900"/>
              <a:buFontTx/>
              <a:buNone/>
              <a:tabLst/>
              <a:defRPr/>
            </a:pPr>
            <a:r>
              <a:rPr kumimoji="0" lang="nb-NO" sz="1000" b="1" i="0" u="none" strike="noStrike" kern="0" cap="none" spc="0" normalizeH="0" baseline="0" noProof="0">
                <a:ln>
                  <a:noFill/>
                </a:ln>
                <a:solidFill>
                  <a:srgbClr val="FFFFFF"/>
                </a:solidFill>
                <a:effectLst/>
                <a:uLnTx/>
                <a:uFillTx/>
                <a:latin typeface="+mj-lt"/>
              </a:rPr>
              <a:t>4</a:t>
            </a:r>
          </a:p>
        </p:txBody>
      </p:sp>
      <p:sp>
        <p:nvSpPr>
          <p:cNvPr id="21" name="Google Shape;2249;p11">
            <a:extLst>
              <a:ext uri="{FF2B5EF4-FFF2-40B4-BE49-F238E27FC236}">
                <a16:creationId xmlns:a16="http://schemas.microsoft.com/office/drawing/2014/main" id="{B80DCE28-5DFE-53DD-CFF6-9F179C0B022F}"/>
              </a:ext>
            </a:extLst>
          </p:cNvPr>
          <p:cNvSpPr txBox="1"/>
          <p:nvPr/>
        </p:nvSpPr>
        <p:spPr>
          <a:xfrm>
            <a:off x="982600" y="3798906"/>
            <a:ext cx="2214000" cy="406875"/>
          </a:xfrm>
          <a:prstGeom prst="rect">
            <a:avLst/>
          </a:prstGeom>
          <a:noFill/>
          <a:ln>
            <a:noFill/>
          </a:ln>
        </p:spPr>
        <p:txBody>
          <a:bodyPr spcFirstLastPara="1" wrap="square" lIns="0" tIns="41450" rIns="0" bIns="41450" anchor="t" anchorCtr="0">
            <a:spAutoFit/>
          </a:bodyPr>
          <a:lstStyle/>
          <a:p>
            <a:pPr marL="0" marR="0" lvl="0" indent="0" algn="ctr" defTabSz="914400" eaLnBrk="1" fontAlgn="auto" latinLnBrk="0" hangingPunct="1">
              <a:lnSpc>
                <a:spcPct val="105000"/>
              </a:lnSpc>
              <a:spcBef>
                <a:spcPts val="0"/>
              </a:spcBef>
              <a:spcAft>
                <a:spcPts val="0"/>
              </a:spcAft>
              <a:buClrTx/>
              <a:buSzPts val="1100"/>
              <a:buFontTx/>
              <a:buNone/>
              <a:tabLst/>
              <a:defRPr/>
            </a:pPr>
            <a:r>
              <a:rPr lang="nb-NO" sz="1000" kern="0">
                <a:solidFill>
                  <a:srgbClr val="464646"/>
                </a:solidFill>
                <a:latin typeface="+mj-lt"/>
              </a:rPr>
              <a:t>Det ble utført en behovsanalyse av eksisterende system fra et teknisk ståsted</a:t>
            </a:r>
            <a:endParaRPr kumimoji="0" lang="nb-NO" sz="1000" b="0" i="0" u="none" strike="noStrike" kern="0" cap="none" spc="0" normalizeH="0" baseline="0" noProof="0">
              <a:ln>
                <a:noFill/>
              </a:ln>
              <a:solidFill>
                <a:srgbClr val="464646"/>
              </a:solidFill>
              <a:effectLst/>
              <a:uLnTx/>
              <a:uFillTx/>
              <a:latin typeface="+mj-lt"/>
            </a:endParaRPr>
          </a:p>
        </p:txBody>
      </p:sp>
      <p:sp>
        <p:nvSpPr>
          <p:cNvPr id="22" name="Google Shape;2250;p11">
            <a:extLst>
              <a:ext uri="{FF2B5EF4-FFF2-40B4-BE49-F238E27FC236}">
                <a16:creationId xmlns:a16="http://schemas.microsoft.com/office/drawing/2014/main" id="{356469C7-2199-680F-78A0-16776D2C59ED}"/>
              </a:ext>
            </a:extLst>
          </p:cNvPr>
          <p:cNvSpPr txBox="1"/>
          <p:nvPr/>
        </p:nvSpPr>
        <p:spPr>
          <a:xfrm>
            <a:off x="3557664" y="3806006"/>
            <a:ext cx="2214000" cy="568458"/>
          </a:xfrm>
          <a:prstGeom prst="rect">
            <a:avLst/>
          </a:prstGeom>
          <a:noFill/>
          <a:ln>
            <a:noFill/>
          </a:ln>
        </p:spPr>
        <p:txBody>
          <a:bodyPr spcFirstLastPara="1" wrap="square" lIns="0" tIns="41450" rIns="0" bIns="41450" anchor="t" anchorCtr="0">
            <a:spAutoFit/>
          </a:bodyPr>
          <a:lstStyle/>
          <a:p>
            <a:pPr marL="0" marR="0" lvl="0" indent="0" algn="ctr" defTabSz="914400" eaLnBrk="1" fontAlgn="auto" latinLnBrk="0" hangingPunct="1">
              <a:lnSpc>
                <a:spcPct val="105000"/>
              </a:lnSpc>
              <a:spcBef>
                <a:spcPts val="0"/>
              </a:spcBef>
              <a:spcAft>
                <a:spcPts val="0"/>
              </a:spcAft>
              <a:buClrTx/>
              <a:buSzPts val="1100"/>
              <a:buFontTx/>
              <a:buNone/>
              <a:tabLst/>
              <a:defRPr/>
            </a:pPr>
            <a:r>
              <a:rPr kumimoji="0" lang="nb-NO" sz="1000" b="0" i="0" u="none" strike="noStrike" kern="0" cap="none" spc="0" normalizeH="0" baseline="0" noProof="0">
                <a:ln>
                  <a:noFill/>
                </a:ln>
                <a:solidFill>
                  <a:srgbClr val="464646"/>
                </a:solidFill>
                <a:effectLst/>
                <a:uLnTx/>
                <a:uFillTx/>
                <a:latin typeface="+mj-lt"/>
              </a:rPr>
              <a:t>Forprosjektet var en videreføring av behovsanalysen og fokuserte på utredning av de funksjonelle behovene</a:t>
            </a:r>
          </a:p>
        </p:txBody>
      </p:sp>
      <p:sp>
        <p:nvSpPr>
          <p:cNvPr id="23" name="Google Shape;2251;p11">
            <a:extLst>
              <a:ext uri="{FF2B5EF4-FFF2-40B4-BE49-F238E27FC236}">
                <a16:creationId xmlns:a16="http://schemas.microsoft.com/office/drawing/2014/main" id="{0AF52F65-216F-D142-1D0A-D9E190084E31}"/>
              </a:ext>
            </a:extLst>
          </p:cNvPr>
          <p:cNvSpPr txBox="1"/>
          <p:nvPr/>
        </p:nvSpPr>
        <p:spPr>
          <a:xfrm>
            <a:off x="6165878" y="3806006"/>
            <a:ext cx="2214000" cy="568458"/>
          </a:xfrm>
          <a:prstGeom prst="rect">
            <a:avLst/>
          </a:prstGeom>
          <a:noFill/>
          <a:ln>
            <a:noFill/>
          </a:ln>
        </p:spPr>
        <p:txBody>
          <a:bodyPr spcFirstLastPara="1" wrap="square" lIns="0" tIns="41450" rIns="0" bIns="41450" anchor="t" anchorCtr="0">
            <a:spAutoFit/>
          </a:bodyPr>
          <a:lstStyle/>
          <a:p>
            <a:pPr marL="0" marR="0" lvl="0" indent="0" algn="ctr" defTabSz="914400" eaLnBrk="1" fontAlgn="auto" latinLnBrk="0" hangingPunct="1">
              <a:lnSpc>
                <a:spcPct val="105000"/>
              </a:lnSpc>
              <a:spcBef>
                <a:spcPts val="0"/>
              </a:spcBef>
              <a:spcAft>
                <a:spcPts val="0"/>
              </a:spcAft>
              <a:buClrTx/>
              <a:buSzPts val="1100"/>
              <a:buFontTx/>
              <a:buNone/>
              <a:tabLst/>
              <a:defRPr/>
            </a:pPr>
            <a:r>
              <a:rPr lang="nb-NO" sz="1000" kern="0">
                <a:solidFill>
                  <a:srgbClr val="464646"/>
                </a:solidFill>
                <a:latin typeface="+mj-lt"/>
              </a:rPr>
              <a:t>Utarbeide konkurransegrunnlag, gjennomføring av markedsdialog og anskaffelse </a:t>
            </a:r>
            <a:endParaRPr kumimoji="0" lang="nb-NO" sz="1000" b="0" i="0" u="none" strike="noStrike" kern="0" cap="none" spc="0" normalizeH="0" baseline="0" noProof="0">
              <a:ln>
                <a:noFill/>
              </a:ln>
              <a:solidFill>
                <a:srgbClr val="464646"/>
              </a:solidFill>
              <a:effectLst/>
              <a:uLnTx/>
              <a:uFillTx/>
              <a:latin typeface="+mj-lt"/>
            </a:endParaRPr>
          </a:p>
        </p:txBody>
      </p:sp>
      <p:sp>
        <p:nvSpPr>
          <p:cNvPr id="24" name="Google Shape;2252;p11">
            <a:extLst>
              <a:ext uri="{FF2B5EF4-FFF2-40B4-BE49-F238E27FC236}">
                <a16:creationId xmlns:a16="http://schemas.microsoft.com/office/drawing/2014/main" id="{9DDF530B-0390-23F1-A438-5D944C4D26EC}"/>
              </a:ext>
            </a:extLst>
          </p:cNvPr>
          <p:cNvSpPr txBox="1"/>
          <p:nvPr/>
        </p:nvSpPr>
        <p:spPr>
          <a:xfrm>
            <a:off x="8911493" y="3798906"/>
            <a:ext cx="2214000" cy="406875"/>
          </a:xfrm>
          <a:prstGeom prst="rect">
            <a:avLst/>
          </a:prstGeom>
          <a:noFill/>
          <a:ln>
            <a:noFill/>
          </a:ln>
        </p:spPr>
        <p:txBody>
          <a:bodyPr spcFirstLastPara="1" wrap="square" lIns="0" tIns="41450" rIns="0" bIns="41450" anchor="t" anchorCtr="0">
            <a:spAutoFit/>
          </a:bodyPr>
          <a:lstStyle/>
          <a:p>
            <a:pPr marL="0" marR="0" lvl="0" indent="0" algn="ctr" defTabSz="914400" eaLnBrk="1" fontAlgn="auto" latinLnBrk="0" hangingPunct="1">
              <a:lnSpc>
                <a:spcPct val="105000"/>
              </a:lnSpc>
              <a:spcBef>
                <a:spcPts val="0"/>
              </a:spcBef>
              <a:spcAft>
                <a:spcPts val="0"/>
              </a:spcAft>
              <a:buClrTx/>
              <a:buSzPts val="1100"/>
              <a:buFontTx/>
              <a:buNone/>
              <a:tabLst/>
              <a:defRPr/>
            </a:pPr>
            <a:r>
              <a:rPr lang="nb-NO" sz="1000" kern="0">
                <a:solidFill>
                  <a:srgbClr val="464646"/>
                </a:solidFill>
                <a:latin typeface="+mj-lt"/>
              </a:rPr>
              <a:t>Utviklingsprosjektet for moderniseringen av VIGO-systemet </a:t>
            </a:r>
            <a:endParaRPr kumimoji="0" lang="nb-NO" sz="1000" b="0" i="0" u="none" strike="noStrike" kern="0" cap="none" spc="0" normalizeH="0" baseline="0" noProof="0">
              <a:ln>
                <a:noFill/>
              </a:ln>
              <a:solidFill>
                <a:srgbClr val="D04A02"/>
              </a:solidFill>
              <a:effectLst/>
              <a:uLnTx/>
              <a:uFillTx/>
              <a:latin typeface="+mj-lt"/>
            </a:endParaRPr>
          </a:p>
        </p:txBody>
      </p:sp>
      <p:sp>
        <p:nvSpPr>
          <p:cNvPr id="26" name="Google Shape;2254;p11">
            <a:extLst>
              <a:ext uri="{FF2B5EF4-FFF2-40B4-BE49-F238E27FC236}">
                <a16:creationId xmlns:a16="http://schemas.microsoft.com/office/drawing/2014/main" id="{F38D3A4E-9C8D-5D14-8B9E-6F9D1AD4354F}"/>
              </a:ext>
            </a:extLst>
          </p:cNvPr>
          <p:cNvSpPr/>
          <p:nvPr/>
        </p:nvSpPr>
        <p:spPr>
          <a:xfrm>
            <a:off x="380965" y="893478"/>
            <a:ext cx="11019299" cy="1469100"/>
          </a:xfrm>
          <a:prstGeom prst="roundRect">
            <a:avLst>
              <a:gd name="adj" fmla="val 2360"/>
            </a:avLst>
          </a:prstGeom>
          <a:noFill/>
          <a:ln>
            <a:noFill/>
          </a:ln>
        </p:spPr>
        <p:txBody>
          <a:bodyPr spcFirstLastPara="1" wrap="square" lIns="0" tIns="0" rIns="32650" bIns="0" anchor="t" anchorCtr="0">
            <a:noAutofit/>
          </a:bodyPr>
          <a:lstStyle/>
          <a:p>
            <a:pPr marL="0" marR="0" lvl="0" indent="0" defTabSz="914400" eaLnBrk="1" fontAlgn="auto" latinLnBrk="0" hangingPunct="1">
              <a:lnSpc>
                <a:spcPct val="115000"/>
              </a:lnSpc>
              <a:spcBef>
                <a:spcPts val="0"/>
              </a:spcBef>
              <a:spcAft>
                <a:spcPts val="0"/>
              </a:spcAft>
              <a:buClrTx/>
              <a:buSzPts val="1100"/>
              <a:buFontTx/>
              <a:buNone/>
              <a:tabLst/>
              <a:defRPr/>
            </a:pPr>
            <a:r>
              <a:rPr kumimoji="0" lang="nb-NO" sz="1400" b="0" i="0" u="none" strike="noStrike" kern="0" cap="none" spc="0" normalizeH="0" baseline="0" noProof="0">
                <a:ln>
                  <a:noFill/>
                </a:ln>
                <a:solidFill>
                  <a:sysClr val="windowText" lastClr="000000"/>
                </a:solidFill>
                <a:effectLst/>
                <a:uLnTx/>
                <a:uFillTx/>
                <a:latin typeface="+mj-lt"/>
                <a:ea typeface="Calibri"/>
                <a:cs typeface="Arial" panose="020B0604020202020204" pitchFamily="34" charset="0"/>
                <a:sym typeface="Calibri"/>
              </a:rPr>
              <a:t>Moderniseringen av VIGO-systemet er fordelt i ulike faser. Det er gjennomført en behovsanalyse av eksisterende system og et forberedende forprosjekt fo</a:t>
            </a:r>
            <a:r>
              <a:rPr lang="nb-NO" sz="1400" kern="0">
                <a:solidFill>
                  <a:sysClr val="windowText" lastClr="000000"/>
                </a:solidFill>
                <a:latin typeface="+mj-lt"/>
                <a:ea typeface="Calibri"/>
                <a:cs typeface="Arial" panose="020B0604020202020204" pitchFamily="34" charset="0"/>
                <a:sym typeface="Calibri"/>
              </a:rPr>
              <a:t>r videre kartlegging av de funksjonelle behovene. Prosjektet er nå i anskaffelsesfasen og gjennomfører en rekke aktiviteter for å ferdigstille konkurransegrunnlaget og gå til anskaffelse. Etter anskaffelsen kommer utviklingsprosjektet som blir et lengre moderniseringsløp for VIGO-systemet.</a:t>
            </a:r>
            <a:endParaRPr kumimoji="0" lang="nb-NO" sz="1400" b="0" i="0" u="none" strike="noStrike" kern="0" cap="none" spc="0" normalizeH="0" baseline="0" noProof="0">
              <a:ln>
                <a:noFill/>
              </a:ln>
              <a:solidFill>
                <a:sysClr val="windowText" lastClr="000000"/>
              </a:solidFill>
              <a:effectLst/>
              <a:uLnTx/>
              <a:uFillTx/>
              <a:latin typeface="+mj-lt"/>
              <a:ea typeface="Calibri"/>
              <a:cs typeface="Arial" panose="020B0604020202020204" pitchFamily="34" charset="0"/>
              <a:sym typeface="Calibri"/>
            </a:endParaRPr>
          </a:p>
          <a:p>
            <a:pPr marL="0" marR="0" lvl="0" indent="0" algn="just" defTabSz="914400" eaLnBrk="1" fontAlgn="auto" latinLnBrk="0" hangingPunct="1">
              <a:lnSpc>
                <a:spcPct val="100000"/>
              </a:lnSpc>
              <a:spcBef>
                <a:spcPts val="0"/>
              </a:spcBef>
              <a:spcAft>
                <a:spcPts val="0"/>
              </a:spcAft>
              <a:buClrTx/>
              <a:buSzPts val="1000"/>
              <a:buFontTx/>
              <a:buNone/>
              <a:tabLst/>
              <a:defRPr/>
            </a:pPr>
            <a:endParaRPr kumimoji="0" lang="nb-NO" sz="1000" b="0" i="0" u="none" strike="noStrike" kern="0" cap="none" spc="0" normalizeH="0" baseline="0" noProof="0">
              <a:ln>
                <a:noFill/>
              </a:ln>
              <a:solidFill>
                <a:srgbClr val="464646"/>
              </a:solidFill>
              <a:effectLst/>
              <a:uLnTx/>
              <a:uFillTx/>
              <a:latin typeface="+mj-lt"/>
            </a:endParaRPr>
          </a:p>
        </p:txBody>
      </p:sp>
      <p:sp>
        <p:nvSpPr>
          <p:cNvPr id="29" name="Google Shape;2257;p11">
            <a:extLst>
              <a:ext uri="{FF2B5EF4-FFF2-40B4-BE49-F238E27FC236}">
                <a16:creationId xmlns:a16="http://schemas.microsoft.com/office/drawing/2014/main" id="{36E44E36-21F9-46DD-99EF-2B2BAE0E98E2}"/>
              </a:ext>
            </a:extLst>
          </p:cNvPr>
          <p:cNvSpPr/>
          <p:nvPr/>
        </p:nvSpPr>
        <p:spPr>
          <a:xfrm>
            <a:off x="8737175" y="4511581"/>
            <a:ext cx="2287800" cy="306900"/>
          </a:xfrm>
          <a:prstGeom prst="roundRect">
            <a:avLst>
              <a:gd name="adj" fmla="val 16667"/>
            </a:avLst>
          </a:pr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800"/>
              <a:buFontTx/>
              <a:buNone/>
              <a:tabLst/>
              <a:defRPr/>
            </a:pPr>
            <a:r>
              <a:rPr kumimoji="0" lang="nb-NO" sz="800" b="0" i="0" u="none" strike="noStrike" kern="0" cap="none" spc="0" normalizeH="0" baseline="0" noProof="0">
                <a:ln>
                  <a:noFill/>
                </a:ln>
                <a:solidFill>
                  <a:srgbClr val="464646"/>
                </a:solidFill>
                <a:effectLst/>
                <a:uLnTx/>
                <a:uFillTx/>
                <a:latin typeface="+mj-lt"/>
              </a:rPr>
              <a:t>Detaljering av behov og planlegging av prosjektet </a:t>
            </a:r>
          </a:p>
        </p:txBody>
      </p:sp>
      <p:sp>
        <p:nvSpPr>
          <p:cNvPr id="30" name="Google Shape;2258;p11">
            <a:extLst>
              <a:ext uri="{FF2B5EF4-FFF2-40B4-BE49-F238E27FC236}">
                <a16:creationId xmlns:a16="http://schemas.microsoft.com/office/drawing/2014/main" id="{D305B84F-53E5-D875-F05D-79061A02F4E5}"/>
              </a:ext>
            </a:extLst>
          </p:cNvPr>
          <p:cNvSpPr/>
          <p:nvPr/>
        </p:nvSpPr>
        <p:spPr>
          <a:xfrm>
            <a:off x="8737175" y="4862512"/>
            <a:ext cx="2287800" cy="306900"/>
          </a:xfrm>
          <a:prstGeom prst="roundRect">
            <a:avLst>
              <a:gd name="adj" fmla="val 16667"/>
            </a:avLst>
          </a:pr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800"/>
              <a:buFontTx/>
              <a:buNone/>
              <a:tabLst/>
              <a:defRPr/>
            </a:pPr>
            <a:r>
              <a:rPr lang="nb-NO" sz="800" kern="0">
                <a:solidFill>
                  <a:srgbClr val="464646"/>
                </a:solidFill>
                <a:latin typeface="+mj-lt"/>
              </a:rPr>
              <a:t>Utvikling av en og en modul</a:t>
            </a:r>
            <a:endParaRPr kumimoji="0" lang="nb-NO" sz="800" b="0" i="0" u="none" strike="noStrike" kern="0" cap="none" spc="0" normalizeH="0" baseline="0" noProof="0">
              <a:ln>
                <a:noFill/>
              </a:ln>
              <a:solidFill>
                <a:srgbClr val="464646"/>
              </a:solidFill>
              <a:effectLst/>
              <a:uLnTx/>
              <a:uFillTx/>
              <a:latin typeface="+mj-lt"/>
            </a:endParaRPr>
          </a:p>
        </p:txBody>
      </p:sp>
      <p:sp>
        <p:nvSpPr>
          <p:cNvPr id="31" name="Google Shape;2259;p11">
            <a:extLst>
              <a:ext uri="{FF2B5EF4-FFF2-40B4-BE49-F238E27FC236}">
                <a16:creationId xmlns:a16="http://schemas.microsoft.com/office/drawing/2014/main" id="{77AEFE3F-0BE8-8390-FC2C-DD73DBE70840}"/>
              </a:ext>
            </a:extLst>
          </p:cNvPr>
          <p:cNvSpPr/>
          <p:nvPr/>
        </p:nvSpPr>
        <p:spPr>
          <a:xfrm>
            <a:off x="6128975" y="4511581"/>
            <a:ext cx="2287800" cy="306000"/>
          </a:xfrm>
          <a:prstGeom prst="roundRect">
            <a:avLst>
              <a:gd name="adj" fmla="val 16667"/>
            </a:avLst>
          </a:pr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800"/>
              <a:buFontTx/>
              <a:buNone/>
              <a:tabLst/>
              <a:defRPr/>
            </a:pPr>
            <a:r>
              <a:rPr lang="nb-NO" sz="800" kern="0">
                <a:solidFill>
                  <a:srgbClr val="464646"/>
                </a:solidFill>
                <a:latin typeface="+mj-lt"/>
              </a:rPr>
              <a:t>Utarbeide konkurransegrunnlag</a:t>
            </a:r>
            <a:endParaRPr kumimoji="0" lang="nb-NO" sz="800" b="0" i="0" u="none" strike="noStrike" kern="0" cap="none" spc="0" normalizeH="0" baseline="0" noProof="0">
              <a:ln>
                <a:noFill/>
              </a:ln>
              <a:solidFill>
                <a:srgbClr val="464646"/>
              </a:solidFill>
              <a:effectLst/>
              <a:uLnTx/>
              <a:uFillTx/>
              <a:latin typeface="+mj-lt"/>
            </a:endParaRPr>
          </a:p>
        </p:txBody>
      </p:sp>
      <p:sp>
        <p:nvSpPr>
          <p:cNvPr id="32" name="Google Shape;2260;p11">
            <a:extLst>
              <a:ext uri="{FF2B5EF4-FFF2-40B4-BE49-F238E27FC236}">
                <a16:creationId xmlns:a16="http://schemas.microsoft.com/office/drawing/2014/main" id="{83EA3B43-59DF-E2D8-A843-854012DCD2EC}"/>
              </a:ext>
            </a:extLst>
          </p:cNvPr>
          <p:cNvSpPr/>
          <p:nvPr/>
        </p:nvSpPr>
        <p:spPr>
          <a:xfrm>
            <a:off x="6128975" y="4862512"/>
            <a:ext cx="2287800" cy="306000"/>
          </a:xfrm>
          <a:prstGeom prst="roundRect">
            <a:avLst>
              <a:gd name="adj" fmla="val 16667"/>
            </a:avLst>
          </a:pr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800"/>
              <a:buFontTx/>
              <a:buNone/>
              <a:tabLst/>
              <a:defRPr/>
            </a:pPr>
            <a:r>
              <a:rPr lang="nb-NO" sz="800" kern="0">
                <a:solidFill>
                  <a:srgbClr val="464646"/>
                </a:solidFill>
                <a:latin typeface="+mj-lt"/>
              </a:rPr>
              <a:t>Gjennomføre markedsdialog</a:t>
            </a:r>
            <a:endParaRPr kumimoji="0" lang="nb-NO" sz="800" b="0" i="0" u="none" strike="noStrike" kern="0" cap="none" spc="0" normalizeH="0" baseline="0" noProof="0">
              <a:ln>
                <a:noFill/>
              </a:ln>
              <a:solidFill>
                <a:srgbClr val="464646"/>
              </a:solidFill>
              <a:effectLst/>
              <a:uLnTx/>
              <a:uFillTx/>
              <a:latin typeface="+mj-lt"/>
            </a:endParaRPr>
          </a:p>
        </p:txBody>
      </p:sp>
      <p:sp>
        <p:nvSpPr>
          <p:cNvPr id="33" name="Google Shape;2261;p11">
            <a:extLst>
              <a:ext uri="{FF2B5EF4-FFF2-40B4-BE49-F238E27FC236}">
                <a16:creationId xmlns:a16="http://schemas.microsoft.com/office/drawing/2014/main" id="{6E404FE0-3D4F-B4C7-3F77-37CD6AE06E6A}"/>
              </a:ext>
            </a:extLst>
          </p:cNvPr>
          <p:cNvSpPr/>
          <p:nvPr/>
        </p:nvSpPr>
        <p:spPr>
          <a:xfrm>
            <a:off x="3520775" y="4511581"/>
            <a:ext cx="2287800" cy="306000"/>
          </a:xfrm>
          <a:prstGeom prst="roundRect">
            <a:avLst>
              <a:gd name="adj" fmla="val 16667"/>
            </a:avLst>
          </a:pr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800"/>
              <a:buFontTx/>
              <a:buNone/>
              <a:tabLst/>
              <a:defRPr/>
            </a:pPr>
            <a:r>
              <a:rPr lang="nb-NO" sz="800" kern="0">
                <a:solidFill>
                  <a:srgbClr val="464646"/>
                </a:solidFill>
                <a:latin typeface="+mj-lt"/>
              </a:rPr>
              <a:t>Kartlegging av behov i samråd med faggruppene</a:t>
            </a:r>
            <a:endParaRPr kumimoji="0" lang="nb-NO" sz="800" b="0" i="0" u="none" strike="noStrike" kern="0" cap="none" spc="0" normalizeH="0" baseline="0" noProof="0">
              <a:ln>
                <a:noFill/>
              </a:ln>
              <a:solidFill>
                <a:srgbClr val="464646"/>
              </a:solidFill>
              <a:effectLst/>
              <a:uLnTx/>
              <a:uFillTx/>
              <a:latin typeface="+mj-lt"/>
            </a:endParaRPr>
          </a:p>
        </p:txBody>
      </p:sp>
      <p:sp>
        <p:nvSpPr>
          <p:cNvPr id="34" name="Google Shape;2262;p11">
            <a:extLst>
              <a:ext uri="{FF2B5EF4-FFF2-40B4-BE49-F238E27FC236}">
                <a16:creationId xmlns:a16="http://schemas.microsoft.com/office/drawing/2014/main" id="{EEA0F2CA-BDE5-7942-3422-DD2DB63ED7A5}"/>
              </a:ext>
            </a:extLst>
          </p:cNvPr>
          <p:cNvSpPr/>
          <p:nvPr/>
        </p:nvSpPr>
        <p:spPr>
          <a:xfrm>
            <a:off x="933325" y="4511581"/>
            <a:ext cx="2287800" cy="306000"/>
          </a:xfrm>
          <a:prstGeom prst="roundRect">
            <a:avLst>
              <a:gd name="adj" fmla="val 16667"/>
            </a:avLst>
          </a:pr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800"/>
              <a:buFontTx/>
              <a:buNone/>
              <a:tabLst/>
              <a:defRPr/>
            </a:pPr>
            <a:r>
              <a:rPr kumimoji="0" lang="nb-NO" sz="800" b="0" i="0" u="none" strike="noStrike" kern="0" cap="none" spc="0" normalizeH="0" baseline="0" noProof="0">
                <a:ln>
                  <a:noFill/>
                </a:ln>
                <a:solidFill>
                  <a:srgbClr val="464646"/>
                </a:solidFill>
                <a:effectLst/>
                <a:uLnTx/>
                <a:uFillTx/>
                <a:latin typeface="+mj-lt"/>
              </a:rPr>
              <a:t>Oversikt over </a:t>
            </a:r>
            <a:r>
              <a:rPr lang="nb-NO" sz="800" kern="0">
                <a:solidFill>
                  <a:srgbClr val="464646"/>
                </a:solidFill>
                <a:latin typeface="+mj-lt"/>
              </a:rPr>
              <a:t>nåsituasjonen for systemet</a:t>
            </a:r>
            <a:endParaRPr kumimoji="0" lang="nb-NO" sz="800" b="0" i="0" u="none" strike="noStrike" kern="0" cap="none" spc="0" normalizeH="0" baseline="0" noProof="0">
              <a:ln>
                <a:noFill/>
              </a:ln>
              <a:solidFill>
                <a:srgbClr val="464646"/>
              </a:solidFill>
              <a:effectLst/>
              <a:uLnTx/>
              <a:uFillTx/>
              <a:latin typeface="+mj-lt"/>
            </a:endParaRPr>
          </a:p>
        </p:txBody>
      </p:sp>
      <p:sp>
        <p:nvSpPr>
          <p:cNvPr id="35" name="Google Shape;2263;p11">
            <a:extLst>
              <a:ext uri="{FF2B5EF4-FFF2-40B4-BE49-F238E27FC236}">
                <a16:creationId xmlns:a16="http://schemas.microsoft.com/office/drawing/2014/main" id="{9EF1B0FA-44EF-7BC5-2EB6-7064499186C7}"/>
              </a:ext>
            </a:extLst>
          </p:cNvPr>
          <p:cNvSpPr/>
          <p:nvPr/>
        </p:nvSpPr>
        <p:spPr>
          <a:xfrm>
            <a:off x="933325" y="4862512"/>
            <a:ext cx="2287800" cy="306000"/>
          </a:xfrm>
          <a:prstGeom prst="roundRect">
            <a:avLst>
              <a:gd name="adj" fmla="val 16667"/>
            </a:avLst>
          </a:pr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800"/>
              <a:buFontTx/>
              <a:buNone/>
              <a:tabLst/>
              <a:defRPr/>
            </a:pPr>
            <a:r>
              <a:rPr lang="nb-NO" sz="800" kern="0">
                <a:solidFill>
                  <a:srgbClr val="464646"/>
                </a:solidFill>
                <a:latin typeface="+mj-lt"/>
              </a:rPr>
              <a:t>Utarbeidelse av overordnede prinsipper og målbilde</a:t>
            </a:r>
            <a:endParaRPr kumimoji="0" lang="nb-NO" sz="800" b="0" i="0" u="none" strike="noStrike" kern="0" cap="none" spc="0" normalizeH="0" baseline="0" noProof="0">
              <a:ln>
                <a:noFill/>
              </a:ln>
              <a:solidFill>
                <a:srgbClr val="464646"/>
              </a:solidFill>
              <a:effectLst/>
              <a:uLnTx/>
              <a:uFillTx/>
              <a:latin typeface="+mj-lt"/>
            </a:endParaRPr>
          </a:p>
        </p:txBody>
      </p:sp>
      <p:sp>
        <p:nvSpPr>
          <p:cNvPr id="36" name="Google Shape;2265;p11">
            <a:extLst>
              <a:ext uri="{FF2B5EF4-FFF2-40B4-BE49-F238E27FC236}">
                <a16:creationId xmlns:a16="http://schemas.microsoft.com/office/drawing/2014/main" id="{FA1D098F-0F33-404D-5F00-B97EB6CBF425}"/>
              </a:ext>
            </a:extLst>
          </p:cNvPr>
          <p:cNvSpPr txBox="1"/>
          <p:nvPr/>
        </p:nvSpPr>
        <p:spPr>
          <a:xfrm>
            <a:off x="442925" y="306077"/>
            <a:ext cx="10915200" cy="544200"/>
          </a:xfrm>
          <a:prstGeom prst="rect">
            <a:avLst/>
          </a:prstGeom>
          <a:noFill/>
          <a:ln>
            <a:noFill/>
          </a:ln>
        </p:spPr>
        <p:txBody>
          <a:bodyPr spcFirstLastPara="1" wrap="square" lIns="0" tIns="0" rIns="0" bIns="0" anchor="t" anchorCtr="0">
            <a:noAutofit/>
          </a:bodyPr>
          <a:lstStyle/>
          <a:p>
            <a:pPr>
              <a:lnSpc>
                <a:spcPct val="85000"/>
              </a:lnSpc>
              <a:buSzPts val="2200"/>
            </a:pPr>
            <a:r>
              <a:rPr lang="nb-NO" sz="2200">
                <a:solidFill>
                  <a:schemeClr val="accent1"/>
                </a:solidFill>
                <a:latin typeface="+mj-lt"/>
                <a:ea typeface="Georgia"/>
                <a:cs typeface="Georgia"/>
                <a:sym typeface="Georgia"/>
              </a:rPr>
              <a:t>Faseinndeling av VIGO-moderniseringen </a:t>
            </a:r>
          </a:p>
          <a:p>
            <a:pPr>
              <a:buSzPts val="2200"/>
            </a:pPr>
            <a:endParaRPr lang="nb-NO" sz="2200">
              <a:latin typeface="+mj-lt"/>
              <a:ea typeface="Georgia"/>
              <a:cs typeface="Georgia"/>
              <a:sym typeface="Georgia"/>
            </a:endParaRPr>
          </a:p>
        </p:txBody>
      </p:sp>
      <p:grpSp>
        <p:nvGrpSpPr>
          <p:cNvPr id="37" name="Google Shape;2266;p11">
            <a:extLst>
              <a:ext uri="{FF2B5EF4-FFF2-40B4-BE49-F238E27FC236}">
                <a16:creationId xmlns:a16="http://schemas.microsoft.com/office/drawing/2014/main" id="{E4A0EF8D-9966-5F5B-A7FB-4B6B709173FC}"/>
              </a:ext>
            </a:extLst>
          </p:cNvPr>
          <p:cNvGrpSpPr/>
          <p:nvPr/>
        </p:nvGrpSpPr>
        <p:grpSpPr>
          <a:xfrm>
            <a:off x="9491561" y="2467917"/>
            <a:ext cx="779028" cy="585026"/>
            <a:chOff x="8270950" y="981982"/>
            <a:chExt cx="1747876" cy="1312307"/>
          </a:xfrm>
        </p:grpSpPr>
        <p:sp>
          <p:nvSpPr>
            <p:cNvPr id="38" name="Google Shape;2267;p11">
              <a:extLst>
                <a:ext uri="{FF2B5EF4-FFF2-40B4-BE49-F238E27FC236}">
                  <a16:creationId xmlns:a16="http://schemas.microsoft.com/office/drawing/2014/main" id="{0FB66B4F-F3F7-67E1-42CB-245839AB122A}"/>
                </a:ext>
              </a:extLst>
            </p:cNvPr>
            <p:cNvSpPr/>
            <p:nvPr/>
          </p:nvSpPr>
          <p:spPr>
            <a:xfrm>
              <a:off x="9843589" y="1067077"/>
              <a:ext cx="175237" cy="111980"/>
            </a:xfrm>
            <a:custGeom>
              <a:avLst/>
              <a:gdLst/>
              <a:ahLst/>
              <a:cxnLst/>
              <a:rect l="l" t="t" r="r" b="b"/>
              <a:pathLst>
                <a:path w="27982" h="17881" extrusionOk="0">
                  <a:moveTo>
                    <a:pt x="939" y="1"/>
                  </a:moveTo>
                  <a:lnTo>
                    <a:pt x="939" y="45"/>
                  </a:lnTo>
                  <a:lnTo>
                    <a:pt x="537" y="7957"/>
                  </a:lnTo>
                  <a:lnTo>
                    <a:pt x="224" y="13544"/>
                  </a:lnTo>
                  <a:lnTo>
                    <a:pt x="0" y="17031"/>
                  </a:lnTo>
                  <a:lnTo>
                    <a:pt x="0" y="17344"/>
                  </a:lnTo>
                  <a:lnTo>
                    <a:pt x="90" y="17612"/>
                  </a:lnTo>
                  <a:lnTo>
                    <a:pt x="179" y="17746"/>
                  </a:lnTo>
                  <a:lnTo>
                    <a:pt x="358" y="17836"/>
                  </a:lnTo>
                  <a:lnTo>
                    <a:pt x="626" y="17880"/>
                  </a:lnTo>
                  <a:lnTo>
                    <a:pt x="894" y="17836"/>
                  </a:lnTo>
                  <a:lnTo>
                    <a:pt x="1162" y="17791"/>
                  </a:lnTo>
                  <a:lnTo>
                    <a:pt x="1520" y="17657"/>
                  </a:lnTo>
                  <a:lnTo>
                    <a:pt x="2503" y="17254"/>
                  </a:lnTo>
                  <a:lnTo>
                    <a:pt x="3576" y="16763"/>
                  </a:lnTo>
                  <a:lnTo>
                    <a:pt x="4560" y="16360"/>
                  </a:lnTo>
                  <a:lnTo>
                    <a:pt x="5007" y="16226"/>
                  </a:lnTo>
                  <a:lnTo>
                    <a:pt x="5409" y="16182"/>
                  </a:lnTo>
                  <a:lnTo>
                    <a:pt x="6303" y="16092"/>
                  </a:lnTo>
                  <a:lnTo>
                    <a:pt x="7107" y="15958"/>
                  </a:lnTo>
                  <a:lnTo>
                    <a:pt x="7823" y="15824"/>
                  </a:lnTo>
                  <a:lnTo>
                    <a:pt x="8538" y="15601"/>
                  </a:lnTo>
                  <a:lnTo>
                    <a:pt x="9208" y="15377"/>
                  </a:lnTo>
                  <a:lnTo>
                    <a:pt x="9834" y="15109"/>
                  </a:lnTo>
                  <a:lnTo>
                    <a:pt x="11130" y="14528"/>
                  </a:lnTo>
                  <a:lnTo>
                    <a:pt x="12516" y="13947"/>
                  </a:lnTo>
                  <a:lnTo>
                    <a:pt x="13365" y="13634"/>
                  </a:lnTo>
                  <a:lnTo>
                    <a:pt x="14215" y="13321"/>
                  </a:lnTo>
                  <a:lnTo>
                    <a:pt x="15243" y="13008"/>
                  </a:lnTo>
                  <a:lnTo>
                    <a:pt x="16360" y="12740"/>
                  </a:lnTo>
                  <a:lnTo>
                    <a:pt x="17612" y="12472"/>
                  </a:lnTo>
                  <a:lnTo>
                    <a:pt x="18997" y="12203"/>
                  </a:lnTo>
                  <a:lnTo>
                    <a:pt x="19757" y="12069"/>
                  </a:lnTo>
                  <a:lnTo>
                    <a:pt x="20473" y="11891"/>
                  </a:lnTo>
                  <a:lnTo>
                    <a:pt x="21143" y="11667"/>
                  </a:lnTo>
                  <a:lnTo>
                    <a:pt x="21769" y="11444"/>
                  </a:lnTo>
                  <a:lnTo>
                    <a:pt x="22395" y="11131"/>
                  </a:lnTo>
                  <a:lnTo>
                    <a:pt x="22931" y="10818"/>
                  </a:lnTo>
                  <a:lnTo>
                    <a:pt x="23512" y="10505"/>
                  </a:lnTo>
                  <a:lnTo>
                    <a:pt x="24004" y="10147"/>
                  </a:lnTo>
                  <a:lnTo>
                    <a:pt x="24451" y="9745"/>
                  </a:lnTo>
                  <a:lnTo>
                    <a:pt x="24898" y="9343"/>
                  </a:lnTo>
                  <a:lnTo>
                    <a:pt x="25300" y="8940"/>
                  </a:lnTo>
                  <a:lnTo>
                    <a:pt x="25702" y="8538"/>
                  </a:lnTo>
                  <a:lnTo>
                    <a:pt x="26373" y="7689"/>
                  </a:lnTo>
                  <a:lnTo>
                    <a:pt x="26909" y="6840"/>
                  </a:lnTo>
                  <a:lnTo>
                    <a:pt x="27312" y="5990"/>
                  </a:lnTo>
                  <a:lnTo>
                    <a:pt x="27624" y="5230"/>
                  </a:lnTo>
                  <a:lnTo>
                    <a:pt x="27848" y="4515"/>
                  </a:lnTo>
                  <a:lnTo>
                    <a:pt x="27982" y="3889"/>
                  </a:lnTo>
                  <a:lnTo>
                    <a:pt x="27982" y="3398"/>
                  </a:lnTo>
                  <a:lnTo>
                    <a:pt x="27937" y="3219"/>
                  </a:lnTo>
                  <a:lnTo>
                    <a:pt x="27893" y="3085"/>
                  </a:lnTo>
                  <a:lnTo>
                    <a:pt x="27803" y="2995"/>
                  </a:lnTo>
                  <a:lnTo>
                    <a:pt x="27714" y="2906"/>
                  </a:lnTo>
                  <a:lnTo>
                    <a:pt x="27580" y="2906"/>
                  </a:lnTo>
                  <a:lnTo>
                    <a:pt x="27446" y="2951"/>
                  </a:lnTo>
                  <a:lnTo>
                    <a:pt x="26507" y="3398"/>
                  </a:lnTo>
                  <a:lnTo>
                    <a:pt x="25658" y="3755"/>
                  </a:lnTo>
                  <a:lnTo>
                    <a:pt x="24853" y="3979"/>
                  </a:lnTo>
                  <a:lnTo>
                    <a:pt x="24183" y="4158"/>
                  </a:lnTo>
                  <a:lnTo>
                    <a:pt x="23512" y="4292"/>
                  </a:lnTo>
                  <a:lnTo>
                    <a:pt x="22931" y="4336"/>
                  </a:lnTo>
                  <a:lnTo>
                    <a:pt x="22439" y="4292"/>
                  </a:lnTo>
                  <a:lnTo>
                    <a:pt x="21903" y="4247"/>
                  </a:lnTo>
                  <a:lnTo>
                    <a:pt x="21456" y="4202"/>
                  </a:lnTo>
                  <a:lnTo>
                    <a:pt x="21009" y="4068"/>
                  </a:lnTo>
                  <a:lnTo>
                    <a:pt x="20115" y="3845"/>
                  </a:lnTo>
                  <a:lnTo>
                    <a:pt x="19132" y="3666"/>
                  </a:lnTo>
                  <a:lnTo>
                    <a:pt x="18595" y="3577"/>
                  </a:lnTo>
                  <a:lnTo>
                    <a:pt x="18059" y="3532"/>
                  </a:lnTo>
                  <a:lnTo>
                    <a:pt x="17165" y="3532"/>
                  </a:lnTo>
                  <a:lnTo>
                    <a:pt x="16450" y="3577"/>
                  </a:lnTo>
                  <a:lnTo>
                    <a:pt x="15779" y="3666"/>
                  </a:lnTo>
                  <a:lnTo>
                    <a:pt x="15153" y="3800"/>
                  </a:lnTo>
                  <a:lnTo>
                    <a:pt x="13812" y="4023"/>
                  </a:lnTo>
                  <a:lnTo>
                    <a:pt x="13097" y="4113"/>
                  </a:lnTo>
                  <a:lnTo>
                    <a:pt x="12203" y="4158"/>
                  </a:lnTo>
                  <a:lnTo>
                    <a:pt x="11577" y="4202"/>
                  </a:lnTo>
                  <a:lnTo>
                    <a:pt x="10996" y="4158"/>
                  </a:lnTo>
                  <a:lnTo>
                    <a:pt x="10460" y="4068"/>
                  </a:lnTo>
                  <a:lnTo>
                    <a:pt x="9968" y="3979"/>
                  </a:lnTo>
                  <a:lnTo>
                    <a:pt x="9477" y="3889"/>
                  </a:lnTo>
                  <a:lnTo>
                    <a:pt x="8985" y="3711"/>
                  </a:lnTo>
                  <a:lnTo>
                    <a:pt x="7957" y="3308"/>
                  </a:lnTo>
                  <a:lnTo>
                    <a:pt x="6884" y="2772"/>
                  </a:lnTo>
                  <a:lnTo>
                    <a:pt x="5543" y="2101"/>
                  </a:lnTo>
                  <a:lnTo>
                    <a:pt x="3979" y="1342"/>
                  </a:lnTo>
                  <a:lnTo>
                    <a:pt x="2012" y="492"/>
                  </a:lnTo>
                  <a:lnTo>
                    <a:pt x="939" y="1"/>
                  </a:lnTo>
                  <a:close/>
                </a:path>
              </a:pathLst>
            </a:custGeom>
            <a:solidFill>
              <a:srgbClr val="419F8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9" name="Google Shape;2268;p11">
              <a:extLst>
                <a:ext uri="{FF2B5EF4-FFF2-40B4-BE49-F238E27FC236}">
                  <a16:creationId xmlns:a16="http://schemas.microsoft.com/office/drawing/2014/main" id="{9B3CD3CB-103C-ECCE-FDA4-A930A314F35E}"/>
                </a:ext>
              </a:extLst>
            </p:cNvPr>
            <p:cNvSpPr/>
            <p:nvPr/>
          </p:nvSpPr>
          <p:spPr>
            <a:xfrm>
              <a:off x="9843589" y="1067077"/>
              <a:ext cx="12600" cy="111980"/>
            </a:xfrm>
            <a:custGeom>
              <a:avLst/>
              <a:gdLst/>
              <a:ahLst/>
              <a:cxnLst/>
              <a:rect l="l" t="t" r="r" b="b"/>
              <a:pathLst>
                <a:path w="2012" h="17881" extrusionOk="0">
                  <a:moveTo>
                    <a:pt x="939" y="1"/>
                  </a:moveTo>
                  <a:lnTo>
                    <a:pt x="939" y="45"/>
                  </a:lnTo>
                  <a:lnTo>
                    <a:pt x="537" y="7957"/>
                  </a:lnTo>
                  <a:lnTo>
                    <a:pt x="224" y="13544"/>
                  </a:lnTo>
                  <a:lnTo>
                    <a:pt x="0" y="17031"/>
                  </a:lnTo>
                  <a:lnTo>
                    <a:pt x="0" y="17210"/>
                  </a:lnTo>
                  <a:lnTo>
                    <a:pt x="45" y="17523"/>
                  </a:lnTo>
                  <a:lnTo>
                    <a:pt x="90" y="17612"/>
                  </a:lnTo>
                  <a:lnTo>
                    <a:pt x="179" y="17701"/>
                  </a:lnTo>
                  <a:lnTo>
                    <a:pt x="268" y="17791"/>
                  </a:lnTo>
                  <a:lnTo>
                    <a:pt x="358" y="17836"/>
                  </a:lnTo>
                  <a:lnTo>
                    <a:pt x="626" y="17880"/>
                  </a:lnTo>
                  <a:lnTo>
                    <a:pt x="1028" y="17836"/>
                  </a:lnTo>
                  <a:lnTo>
                    <a:pt x="1520" y="17657"/>
                  </a:lnTo>
                  <a:lnTo>
                    <a:pt x="2012" y="492"/>
                  </a:lnTo>
                  <a:lnTo>
                    <a:pt x="939" y="1"/>
                  </a:lnTo>
                  <a:close/>
                </a:path>
              </a:pathLst>
            </a:custGeom>
            <a:solidFill>
              <a:srgbClr val="3C8D7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0" name="Google Shape;2269;p11">
              <a:extLst>
                <a:ext uri="{FF2B5EF4-FFF2-40B4-BE49-F238E27FC236}">
                  <a16:creationId xmlns:a16="http://schemas.microsoft.com/office/drawing/2014/main" id="{9CEA091E-DCDB-7F6C-750B-B1EF66742981}"/>
                </a:ext>
              </a:extLst>
            </p:cNvPr>
            <p:cNvSpPr/>
            <p:nvPr/>
          </p:nvSpPr>
          <p:spPr>
            <a:xfrm>
              <a:off x="9833513" y="1052523"/>
              <a:ext cx="23516" cy="386866"/>
            </a:xfrm>
            <a:custGeom>
              <a:avLst/>
              <a:gdLst/>
              <a:ahLst/>
              <a:cxnLst/>
              <a:rect l="l" t="t" r="r" b="b"/>
              <a:pathLst>
                <a:path w="3755" h="61775" extrusionOk="0">
                  <a:moveTo>
                    <a:pt x="1296" y="0"/>
                  </a:moveTo>
                  <a:lnTo>
                    <a:pt x="1073" y="45"/>
                  </a:lnTo>
                  <a:lnTo>
                    <a:pt x="894" y="134"/>
                  </a:lnTo>
                  <a:lnTo>
                    <a:pt x="715" y="224"/>
                  </a:lnTo>
                  <a:lnTo>
                    <a:pt x="581" y="313"/>
                  </a:lnTo>
                  <a:lnTo>
                    <a:pt x="492" y="447"/>
                  </a:lnTo>
                  <a:lnTo>
                    <a:pt x="402" y="537"/>
                  </a:lnTo>
                  <a:lnTo>
                    <a:pt x="358" y="671"/>
                  </a:lnTo>
                  <a:lnTo>
                    <a:pt x="313" y="1565"/>
                  </a:lnTo>
                  <a:lnTo>
                    <a:pt x="179" y="3889"/>
                  </a:lnTo>
                  <a:lnTo>
                    <a:pt x="45" y="7957"/>
                  </a:lnTo>
                  <a:lnTo>
                    <a:pt x="0" y="10683"/>
                  </a:lnTo>
                  <a:lnTo>
                    <a:pt x="0" y="13902"/>
                  </a:lnTo>
                  <a:lnTo>
                    <a:pt x="0" y="17656"/>
                  </a:lnTo>
                  <a:lnTo>
                    <a:pt x="45" y="21992"/>
                  </a:lnTo>
                  <a:lnTo>
                    <a:pt x="134" y="26909"/>
                  </a:lnTo>
                  <a:lnTo>
                    <a:pt x="268" y="32407"/>
                  </a:lnTo>
                  <a:lnTo>
                    <a:pt x="492" y="38576"/>
                  </a:lnTo>
                  <a:lnTo>
                    <a:pt x="760" y="45415"/>
                  </a:lnTo>
                  <a:lnTo>
                    <a:pt x="1118" y="52924"/>
                  </a:lnTo>
                  <a:lnTo>
                    <a:pt x="1565" y="61193"/>
                  </a:lnTo>
                  <a:lnTo>
                    <a:pt x="1609" y="61328"/>
                  </a:lnTo>
                  <a:lnTo>
                    <a:pt x="1654" y="61417"/>
                  </a:lnTo>
                  <a:lnTo>
                    <a:pt x="1743" y="61551"/>
                  </a:lnTo>
                  <a:lnTo>
                    <a:pt x="1877" y="61640"/>
                  </a:lnTo>
                  <a:lnTo>
                    <a:pt x="2056" y="61685"/>
                  </a:lnTo>
                  <a:lnTo>
                    <a:pt x="2235" y="61730"/>
                  </a:lnTo>
                  <a:lnTo>
                    <a:pt x="2459" y="61775"/>
                  </a:lnTo>
                  <a:lnTo>
                    <a:pt x="2727" y="61775"/>
                  </a:lnTo>
                  <a:lnTo>
                    <a:pt x="3129" y="61685"/>
                  </a:lnTo>
                  <a:lnTo>
                    <a:pt x="3308" y="61596"/>
                  </a:lnTo>
                  <a:lnTo>
                    <a:pt x="3487" y="61506"/>
                  </a:lnTo>
                  <a:lnTo>
                    <a:pt x="3576" y="61372"/>
                  </a:lnTo>
                  <a:lnTo>
                    <a:pt x="3665" y="61283"/>
                  </a:lnTo>
                  <a:lnTo>
                    <a:pt x="3755" y="61149"/>
                  </a:lnTo>
                  <a:lnTo>
                    <a:pt x="3755" y="61015"/>
                  </a:lnTo>
                  <a:lnTo>
                    <a:pt x="3308" y="52790"/>
                  </a:lnTo>
                  <a:lnTo>
                    <a:pt x="2950" y="45236"/>
                  </a:lnTo>
                  <a:lnTo>
                    <a:pt x="2682" y="38442"/>
                  </a:lnTo>
                  <a:lnTo>
                    <a:pt x="2459" y="32273"/>
                  </a:lnTo>
                  <a:lnTo>
                    <a:pt x="2324" y="26775"/>
                  </a:lnTo>
                  <a:lnTo>
                    <a:pt x="2235" y="21858"/>
                  </a:lnTo>
                  <a:lnTo>
                    <a:pt x="2190" y="17567"/>
                  </a:lnTo>
                  <a:lnTo>
                    <a:pt x="2146" y="13812"/>
                  </a:lnTo>
                  <a:lnTo>
                    <a:pt x="2190" y="10549"/>
                  </a:lnTo>
                  <a:lnTo>
                    <a:pt x="2235" y="7867"/>
                  </a:lnTo>
                  <a:lnTo>
                    <a:pt x="2369" y="3800"/>
                  </a:lnTo>
                  <a:lnTo>
                    <a:pt x="2503" y="1475"/>
                  </a:lnTo>
                  <a:lnTo>
                    <a:pt x="2548" y="626"/>
                  </a:lnTo>
                  <a:lnTo>
                    <a:pt x="2548" y="492"/>
                  </a:lnTo>
                  <a:lnTo>
                    <a:pt x="2503" y="358"/>
                  </a:lnTo>
                  <a:lnTo>
                    <a:pt x="2414" y="268"/>
                  </a:lnTo>
                  <a:lnTo>
                    <a:pt x="2280" y="134"/>
                  </a:lnTo>
                  <a:lnTo>
                    <a:pt x="2101" y="90"/>
                  </a:lnTo>
                  <a:lnTo>
                    <a:pt x="1922" y="45"/>
                  </a:lnTo>
                  <a:lnTo>
                    <a:pt x="1743" y="0"/>
                  </a:lnTo>
                  <a:close/>
                </a:path>
              </a:pathLst>
            </a:custGeom>
            <a:solidFill>
              <a:srgbClr val="D9D9D9"/>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1" name="Google Shape;2270;p11">
              <a:extLst>
                <a:ext uri="{FF2B5EF4-FFF2-40B4-BE49-F238E27FC236}">
                  <a16:creationId xmlns:a16="http://schemas.microsoft.com/office/drawing/2014/main" id="{A45606C9-8955-A8DD-9F63-A94741437614}"/>
                </a:ext>
              </a:extLst>
            </p:cNvPr>
            <p:cNvSpPr/>
            <p:nvPr/>
          </p:nvSpPr>
          <p:spPr>
            <a:xfrm>
              <a:off x="8362765" y="1300261"/>
              <a:ext cx="1539892" cy="801162"/>
            </a:xfrm>
            <a:custGeom>
              <a:avLst/>
              <a:gdLst/>
              <a:ahLst/>
              <a:cxnLst/>
              <a:rect l="l" t="t" r="r" b="b"/>
              <a:pathLst>
                <a:path w="245891" h="127930" extrusionOk="0">
                  <a:moveTo>
                    <a:pt x="237130" y="0"/>
                  </a:moveTo>
                  <a:lnTo>
                    <a:pt x="233956" y="89"/>
                  </a:lnTo>
                  <a:lnTo>
                    <a:pt x="230514" y="134"/>
                  </a:lnTo>
                  <a:lnTo>
                    <a:pt x="223452" y="224"/>
                  </a:lnTo>
                  <a:lnTo>
                    <a:pt x="220099" y="268"/>
                  </a:lnTo>
                  <a:lnTo>
                    <a:pt x="217105" y="358"/>
                  </a:lnTo>
                  <a:lnTo>
                    <a:pt x="214601" y="447"/>
                  </a:lnTo>
                  <a:lnTo>
                    <a:pt x="212679" y="581"/>
                  </a:lnTo>
                  <a:lnTo>
                    <a:pt x="211875" y="715"/>
                  </a:lnTo>
                  <a:lnTo>
                    <a:pt x="210981" y="939"/>
                  </a:lnTo>
                  <a:lnTo>
                    <a:pt x="210087" y="1207"/>
                  </a:lnTo>
                  <a:lnTo>
                    <a:pt x="209193" y="1565"/>
                  </a:lnTo>
                  <a:lnTo>
                    <a:pt x="208254" y="1922"/>
                  </a:lnTo>
                  <a:lnTo>
                    <a:pt x="207315" y="2369"/>
                  </a:lnTo>
                  <a:lnTo>
                    <a:pt x="206377" y="2861"/>
                  </a:lnTo>
                  <a:lnTo>
                    <a:pt x="205393" y="3442"/>
                  </a:lnTo>
                  <a:lnTo>
                    <a:pt x="204365" y="4023"/>
                  </a:lnTo>
                  <a:lnTo>
                    <a:pt x="203292" y="4693"/>
                  </a:lnTo>
                  <a:lnTo>
                    <a:pt x="201147" y="6124"/>
                  </a:lnTo>
                  <a:lnTo>
                    <a:pt x="199180" y="7554"/>
                  </a:lnTo>
                  <a:lnTo>
                    <a:pt x="197124" y="9074"/>
                  </a:lnTo>
                  <a:lnTo>
                    <a:pt x="194978" y="10728"/>
                  </a:lnTo>
                  <a:lnTo>
                    <a:pt x="192833" y="12516"/>
                  </a:lnTo>
                  <a:lnTo>
                    <a:pt x="190598" y="14393"/>
                  </a:lnTo>
                  <a:lnTo>
                    <a:pt x="188318" y="16315"/>
                  </a:lnTo>
                  <a:lnTo>
                    <a:pt x="185994" y="18371"/>
                  </a:lnTo>
                  <a:lnTo>
                    <a:pt x="183625" y="20428"/>
                  </a:lnTo>
                  <a:lnTo>
                    <a:pt x="180049" y="23691"/>
                  </a:lnTo>
                  <a:lnTo>
                    <a:pt x="176428" y="27043"/>
                  </a:lnTo>
                  <a:lnTo>
                    <a:pt x="169142" y="33882"/>
                  </a:lnTo>
                  <a:lnTo>
                    <a:pt x="161901" y="40721"/>
                  </a:lnTo>
                  <a:lnTo>
                    <a:pt x="154883" y="47292"/>
                  </a:lnTo>
                  <a:lnTo>
                    <a:pt x="151531" y="50376"/>
                  </a:lnTo>
                  <a:lnTo>
                    <a:pt x="148312" y="53282"/>
                  </a:lnTo>
                  <a:lnTo>
                    <a:pt x="145228" y="56008"/>
                  </a:lnTo>
                  <a:lnTo>
                    <a:pt x="142323" y="58467"/>
                  </a:lnTo>
                  <a:lnTo>
                    <a:pt x="139596" y="60702"/>
                  </a:lnTo>
                  <a:lnTo>
                    <a:pt x="138300" y="61685"/>
                  </a:lnTo>
                  <a:lnTo>
                    <a:pt x="137048" y="62579"/>
                  </a:lnTo>
                  <a:lnTo>
                    <a:pt x="135886" y="63384"/>
                  </a:lnTo>
                  <a:lnTo>
                    <a:pt x="134769" y="64143"/>
                  </a:lnTo>
                  <a:lnTo>
                    <a:pt x="133740" y="64769"/>
                  </a:lnTo>
                  <a:lnTo>
                    <a:pt x="132757" y="65306"/>
                  </a:lnTo>
                  <a:lnTo>
                    <a:pt x="126499" y="68613"/>
                  </a:lnTo>
                  <a:lnTo>
                    <a:pt x="120420" y="71921"/>
                  </a:lnTo>
                  <a:lnTo>
                    <a:pt x="114475" y="75229"/>
                  </a:lnTo>
                  <a:lnTo>
                    <a:pt x="108754" y="78447"/>
                  </a:lnTo>
                  <a:lnTo>
                    <a:pt x="103211" y="81531"/>
                  </a:lnTo>
                  <a:lnTo>
                    <a:pt x="97847" y="84482"/>
                  </a:lnTo>
                  <a:lnTo>
                    <a:pt x="92662" y="87208"/>
                  </a:lnTo>
                  <a:lnTo>
                    <a:pt x="90159" y="88505"/>
                  </a:lnTo>
                  <a:lnTo>
                    <a:pt x="87700" y="89711"/>
                  </a:lnTo>
                  <a:lnTo>
                    <a:pt x="81398" y="92796"/>
                  </a:lnTo>
                  <a:lnTo>
                    <a:pt x="71698" y="97489"/>
                  </a:lnTo>
                  <a:lnTo>
                    <a:pt x="59719" y="103166"/>
                  </a:lnTo>
                  <a:lnTo>
                    <a:pt x="46756" y="109290"/>
                  </a:lnTo>
                  <a:lnTo>
                    <a:pt x="33972" y="115279"/>
                  </a:lnTo>
                  <a:lnTo>
                    <a:pt x="28027" y="118051"/>
                  </a:lnTo>
                  <a:lnTo>
                    <a:pt x="22618" y="120509"/>
                  </a:lnTo>
                  <a:lnTo>
                    <a:pt x="17835" y="122655"/>
                  </a:lnTo>
                  <a:lnTo>
                    <a:pt x="13857" y="124398"/>
                  </a:lnTo>
                  <a:lnTo>
                    <a:pt x="10818" y="125694"/>
                  </a:lnTo>
                  <a:lnTo>
                    <a:pt x="9745" y="126097"/>
                  </a:lnTo>
                  <a:lnTo>
                    <a:pt x="8940" y="126365"/>
                  </a:lnTo>
                  <a:lnTo>
                    <a:pt x="8314" y="126499"/>
                  </a:lnTo>
                  <a:lnTo>
                    <a:pt x="7689" y="126544"/>
                  </a:lnTo>
                  <a:lnTo>
                    <a:pt x="7331" y="126544"/>
                  </a:lnTo>
                  <a:lnTo>
                    <a:pt x="6973" y="126499"/>
                  </a:lnTo>
                  <a:lnTo>
                    <a:pt x="6616" y="126409"/>
                  </a:lnTo>
                  <a:lnTo>
                    <a:pt x="6303" y="126275"/>
                  </a:lnTo>
                  <a:lnTo>
                    <a:pt x="5811" y="126097"/>
                  </a:lnTo>
                  <a:lnTo>
                    <a:pt x="5320" y="125828"/>
                  </a:lnTo>
                  <a:lnTo>
                    <a:pt x="4336" y="125292"/>
                  </a:lnTo>
                  <a:lnTo>
                    <a:pt x="3844" y="125024"/>
                  </a:lnTo>
                  <a:lnTo>
                    <a:pt x="3308" y="124800"/>
                  </a:lnTo>
                  <a:lnTo>
                    <a:pt x="2772" y="124621"/>
                  </a:lnTo>
                  <a:lnTo>
                    <a:pt x="2459" y="124577"/>
                  </a:lnTo>
                  <a:lnTo>
                    <a:pt x="2146" y="124577"/>
                  </a:lnTo>
                  <a:lnTo>
                    <a:pt x="1699" y="124621"/>
                  </a:lnTo>
                  <a:lnTo>
                    <a:pt x="1207" y="124711"/>
                  </a:lnTo>
                  <a:lnTo>
                    <a:pt x="760" y="124934"/>
                  </a:lnTo>
                  <a:lnTo>
                    <a:pt x="269" y="125203"/>
                  </a:lnTo>
                  <a:lnTo>
                    <a:pt x="179" y="125292"/>
                  </a:lnTo>
                  <a:lnTo>
                    <a:pt x="90" y="125381"/>
                  </a:lnTo>
                  <a:lnTo>
                    <a:pt x="0" y="125650"/>
                  </a:lnTo>
                  <a:lnTo>
                    <a:pt x="0" y="125918"/>
                  </a:lnTo>
                  <a:lnTo>
                    <a:pt x="45" y="126007"/>
                  </a:lnTo>
                  <a:lnTo>
                    <a:pt x="90" y="126141"/>
                  </a:lnTo>
                  <a:lnTo>
                    <a:pt x="179" y="126275"/>
                  </a:lnTo>
                  <a:lnTo>
                    <a:pt x="313" y="126365"/>
                  </a:lnTo>
                  <a:lnTo>
                    <a:pt x="537" y="126454"/>
                  </a:lnTo>
                  <a:lnTo>
                    <a:pt x="805" y="126454"/>
                  </a:lnTo>
                  <a:lnTo>
                    <a:pt x="939" y="126409"/>
                  </a:lnTo>
                  <a:lnTo>
                    <a:pt x="1073" y="126320"/>
                  </a:lnTo>
                  <a:lnTo>
                    <a:pt x="1386" y="126141"/>
                  </a:lnTo>
                  <a:lnTo>
                    <a:pt x="1654" y="126052"/>
                  </a:lnTo>
                  <a:lnTo>
                    <a:pt x="1922" y="125962"/>
                  </a:lnTo>
                  <a:lnTo>
                    <a:pt x="2369" y="125962"/>
                  </a:lnTo>
                  <a:lnTo>
                    <a:pt x="2593" y="126007"/>
                  </a:lnTo>
                  <a:lnTo>
                    <a:pt x="3129" y="126186"/>
                  </a:lnTo>
                  <a:lnTo>
                    <a:pt x="3532" y="126409"/>
                  </a:lnTo>
                  <a:lnTo>
                    <a:pt x="3979" y="126678"/>
                  </a:lnTo>
                  <a:lnTo>
                    <a:pt x="4738" y="127080"/>
                  </a:lnTo>
                  <a:lnTo>
                    <a:pt x="5185" y="127303"/>
                  </a:lnTo>
                  <a:lnTo>
                    <a:pt x="5588" y="127527"/>
                  </a:lnTo>
                  <a:lnTo>
                    <a:pt x="6079" y="127661"/>
                  </a:lnTo>
                  <a:lnTo>
                    <a:pt x="6571" y="127840"/>
                  </a:lnTo>
                  <a:lnTo>
                    <a:pt x="7152" y="127929"/>
                  </a:lnTo>
                  <a:lnTo>
                    <a:pt x="8091" y="127929"/>
                  </a:lnTo>
                  <a:lnTo>
                    <a:pt x="8493" y="127885"/>
                  </a:lnTo>
                  <a:lnTo>
                    <a:pt x="8940" y="127795"/>
                  </a:lnTo>
                  <a:lnTo>
                    <a:pt x="9342" y="127706"/>
                  </a:lnTo>
                  <a:lnTo>
                    <a:pt x="10236" y="127393"/>
                  </a:lnTo>
                  <a:lnTo>
                    <a:pt x="11354" y="126946"/>
                  </a:lnTo>
                  <a:lnTo>
                    <a:pt x="14170" y="125784"/>
                  </a:lnTo>
                  <a:lnTo>
                    <a:pt x="17835" y="124175"/>
                  </a:lnTo>
                  <a:lnTo>
                    <a:pt x="22216" y="122208"/>
                  </a:lnTo>
                  <a:lnTo>
                    <a:pt x="27222" y="119928"/>
                  </a:lnTo>
                  <a:lnTo>
                    <a:pt x="35536" y="116084"/>
                  </a:lnTo>
                  <a:lnTo>
                    <a:pt x="44476" y="111882"/>
                  </a:lnTo>
                  <a:lnTo>
                    <a:pt x="53684" y="107591"/>
                  </a:lnTo>
                  <a:lnTo>
                    <a:pt x="62669" y="103300"/>
                  </a:lnTo>
                  <a:lnTo>
                    <a:pt x="78403" y="95790"/>
                  </a:lnTo>
                  <a:lnTo>
                    <a:pt x="88326" y="90963"/>
                  </a:lnTo>
                  <a:lnTo>
                    <a:pt x="90784" y="89711"/>
                  </a:lnTo>
                  <a:lnTo>
                    <a:pt x="93288" y="88415"/>
                  </a:lnTo>
                  <a:lnTo>
                    <a:pt x="98473" y="85688"/>
                  </a:lnTo>
                  <a:lnTo>
                    <a:pt x="103881" y="82738"/>
                  </a:lnTo>
                  <a:lnTo>
                    <a:pt x="109424" y="79654"/>
                  </a:lnTo>
                  <a:lnTo>
                    <a:pt x="115146" y="76436"/>
                  </a:lnTo>
                  <a:lnTo>
                    <a:pt x="121091" y="73128"/>
                  </a:lnTo>
                  <a:lnTo>
                    <a:pt x="127170" y="69820"/>
                  </a:lnTo>
                  <a:lnTo>
                    <a:pt x="133383" y="66557"/>
                  </a:lnTo>
                  <a:lnTo>
                    <a:pt x="134232" y="66065"/>
                  </a:lnTo>
                  <a:lnTo>
                    <a:pt x="135081" y="65574"/>
                  </a:lnTo>
                  <a:lnTo>
                    <a:pt x="136020" y="64993"/>
                  </a:lnTo>
                  <a:lnTo>
                    <a:pt x="136959" y="64322"/>
                  </a:lnTo>
                  <a:lnTo>
                    <a:pt x="138970" y="62892"/>
                  </a:lnTo>
                  <a:lnTo>
                    <a:pt x="141116" y="61238"/>
                  </a:lnTo>
                  <a:lnTo>
                    <a:pt x="143083" y="59629"/>
                  </a:lnTo>
                  <a:lnTo>
                    <a:pt x="145139" y="57886"/>
                  </a:lnTo>
                  <a:lnTo>
                    <a:pt x="147329" y="56008"/>
                  </a:lnTo>
                  <a:lnTo>
                    <a:pt x="149564" y="54041"/>
                  </a:lnTo>
                  <a:lnTo>
                    <a:pt x="154213" y="49795"/>
                  </a:lnTo>
                  <a:lnTo>
                    <a:pt x="159085" y="45280"/>
                  </a:lnTo>
                  <a:lnTo>
                    <a:pt x="166728" y="38084"/>
                  </a:lnTo>
                  <a:lnTo>
                    <a:pt x="174461" y="30753"/>
                  </a:lnTo>
                  <a:lnTo>
                    <a:pt x="178350" y="27132"/>
                  </a:lnTo>
                  <a:lnTo>
                    <a:pt x="182194" y="23601"/>
                  </a:lnTo>
                  <a:lnTo>
                    <a:pt x="185994" y="20204"/>
                  </a:lnTo>
                  <a:lnTo>
                    <a:pt x="189704" y="16941"/>
                  </a:lnTo>
                  <a:lnTo>
                    <a:pt x="193280" y="13901"/>
                  </a:lnTo>
                  <a:lnTo>
                    <a:pt x="195023" y="12516"/>
                  </a:lnTo>
                  <a:lnTo>
                    <a:pt x="196722" y="11130"/>
                  </a:lnTo>
                  <a:lnTo>
                    <a:pt x="198376" y="9834"/>
                  </a:lnTo>
                  <a:lnTo>
                    <a:pt x="199985" y="8627"/>
                  </a:lnTo>
                  <a:lnTo>
                    <a:pt x="201549" y="7510"/>
                  </a:lnTo>
                  <a:lnTo>
                    <a:pt x="203069" y="6481"/>
                  </a:lnTo>
                  <a:lnTo>
                    <a:pt x="204544" y="5543"/>
                  </a:lnTo>
                  <a:lnTo>
                    <a:pt x="205930" y="4693"/>
                  </a:lnTo>
                  <a:lnTo>
                    <a:pt x="207271" y="3934"/>
                  </a:lnTo>
                  <a:lnTo>
                    <a:pt x="208567" y="3308"/>
                  </a:lnTo>
                  <a:lnTo>
                    <a:pt x="209729" y="2816"/>
                  </a:lnTo>
                  <a:lnTo>
                    <a:pt x="210847" y="2414"/>
                  </a:lnTo>
                  <a:lnTo>
                    <a:pt x="211875" y="2146"/>
                  </a:lnTo>
                  <a:lnTo>
                    <a:pt x="212366" y="2011"/>
                  </a:lnTo>
                  <a:lnTo>
                    <a:pt x="212813" y="1967"/>
                  </a:lnTo>
                  <a:lnTo>
                    <a:pt x="214646" y="1833"/>
                  </a:lnTo>
                  <a:lnTo>
                    <a:pt x="217149" y="1743"/>
                  </a:lnTo>
                  <a:lnTo>
                    <a:pt x="221753" y="1654"/>
                  </a:lnTo>
                  <a:lnTo>
                    <a:pt x="226983" y="1565"/>
                  </a:lnTo>
                  <a:lnTo>
                    <a:pt x="232302" y="1475"/>
                  </a:lnTo>
                  <a:lnTo>
                    <a:pt x="237174" y="1386"/>
                  </a:lnTo>
                  <a:lnTo>
                    <a:pt x="237309" y="1386"/>
                  </a:lnTo>
                  <a:lnTo>
                    <a:pt x="237800" y="1430"/>
                  </a:lnTo>
                  <a:lnTo>
                    <a:pt x="238158" y="1520"/>
                  </a:lnTo>
                  <a:lnTo>
                    <a:pt x="238426" y="1654"/>
                  </a:lnTo>
                  <a:lnTo>
                    <a:pt x="238694" y="1788"/>
                  </a:lnTo>
                  <a:lnTo>
                    <a:pt x="239052" y="2146"/>
                  </a:lnTo>
                  <a:lnTo>
                    <a:pt x="239454" y="2593"/>
                  </a:lnTo>
                  <a:lnTo>
                    <a:pt x="240125" y="3397"/>
                  </a:lnTo>
                  <a:lnTo>
                    <a:pt x="240393" y="3710"/>
                  </a:lnTo>
                  <a:lnTo>
                    <a:pt x="240750" y="4068"/>
                  </a:lnTo>
                  <a:lnTo>
                    <a:pt x="241153" y="4336"/>
                  </a:lnTo>
                  <a:lnTo>
                    <a:pt x="241600" y="4604"/>
                  </a:lnTo>
                  <a:lnTo>
                    <a:pt x="242091" y="4828"/>
                  </a:lnTo>
                  <a:lnTo>
                    <a:pt x="242717" y="5006"/>
                  </a:lnTo>
                  <a:lnTo>
                    <a:pt x="243343" y="5096"/>
                  </a:lnTo>
                  <a:lnTo>
                    <a:pt x="244103" y="5140"/>
                  </a:lnTo>
                  <a:lnTo>
                    <a:pt x="244639" y="5096"/>
                  </a:lnTo>
                  <a:lnTo>
                    <a:pt x="245265" y="5051"/>
                  </a:lnTo>
                  <a:lnTo>
                    <a:pt x="245399" y="5006"/>
                  </a:lnTo>
                  <a:lnTo>
                    <a:pt x="245533" y="4962"/>
                  </a:lnTo>
                  <a:lnTo>
                    <a:pt x="245712" y="4783"/>
                  </a:lnTo>
                  <a:lnTo>
                    <a:pt x="245846" y="4559"/>
                  </a:lnTo>
                  <a:lnTo>
                    <a:pt x="245891" y="4425"/>
                  </a:lnTo>
                  <a:lnTo>
                    <a:pt x="245846" y="4291"/>
                  </a:lnTo>
                  <a:lnTo>
                    <a:pt x="245846" y="4157"/>
                  </a:lnTo>
                  <a:lnTo>
                    <a:pt x="245801" y="4023"/>
                  </a:lnTo>
                  <a:lnTo>
                    <a:pt x="245623" y="3844"/>
                  </a:lnTo>
                  <a:lnTo>
                    <a:pt x="245354" y="3710"/>
                  </a:lnTo>
                  <a:lnTo>
                    <a:pt x="245220" y="3665"/>
                  </a:lnTo>
                  <a:lnTo>
                    <a:pt x="245086" y="3665"/>
                  </a:lnTo>
                  <a:lnTo>
                    <a:pt x="244550" y="3755"/>
                  </a:lnTo>
                  <a:lnTo>
                    <a:pt x="244103" y="3755"/>
                  </a:lnTo>
                  <a:lnTo>
                    <a:pt x="243388" y="3710"/>
                  </a:lnTo>
                  <a:lnTo>
                    <a:pt x="242851" y="3621"/>
                  </a:lnTo>
                  <a:lnTo>
                    <a:pt x="242449" y="3487"/>
                  </a:lnTo>
                  <a:lnTo>
                    <a:pt x="242091" y="3308"/>
                  </a:lnTo>
                  <a:lnTo>
                    <a:pt x="241823" y="3129"/>
                  </a:lnTo>
                  <a:lnTo>
                    <a:pt x="241600" y="2950"/>
                  </a:lnTo>
                  <a:lnTo>
                    <a:pt x="241197" y="2548"/>
                  </a:lnTo>
                  <a:lnTo>
                    <a:pt x="240572" y="1743"/>
                  </a:lnTo>
                  <a:lnTo>
                    <a:pt x="240303" y="1430"/>
                  </a:lnTo>
                  <a:lnTo>
                    <a:pt x="240035" y="1118"/>
                  </a:lnTo>
                  <a:lnTo>
                    <a:pt x="239812" y="894"/>
                  </a:lnTo>
                  <a:lnTo>
                    <a:pt x="239544" y="715"/>
                  </a:lnTo>
                  <a:lnTo>
                    <a:pt x="239231" y="492"/>
                  </a:lnTo>
                  <a:lnTo>
                    <a:pt x="238918" y="313"/>
                  </a:lnTo>
                  <a:lnTo>
                    <a:pt x="238560" y="179"/>
                  </a:lnTo>
                  <a:lnTo>
                    <a:pt x="238158" y="89"/>
                  </a:lnTo>
                  <a:lnTo>
                    <a:pt x="237756" y="45"/>
                  </a:lnTo>
                  <a:lnTo>
                    <a:pt x="237309" y="0"/>
                  </a:lnTo>
                  <a:close/>
                </a:path>
              </a:pathLst>
            </a:custGeom>
            <a:solidFill>
              <a:srgbClr val="33334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2" name="Google Shape;2271;p11">
              <a:extLst>
                <a:ext uri="{FF2B5EF4-FFF2-40B4-BE49-F238E27FC236}">
                  <a16:creationId xmlns:a16="http://schemas.microsoft.com/office/drawing/2014/main" id="{6915D8D2-1CB5-5FD9-9F9C-E3E92FF05F55}"/>
                </a:ext>
              </a:extLst>
            </p:cNvPr>
            <p:cNvSpPr/>
            <p:nvPr/>
          </p:nvSpPr>
          <p:spPr>
            <a:xfrm>
              <a:off x="8362765" y="1300261"/>
              <a:ext cx="1539892" cy="801162"/>
            </a:xfrm>
            <a:custGeom>
              <a:avLst/>
              <a:gdLst/>
              <a:ahLst/>
              <a:cxnLst/>
              <a:rect l="l" t="t" r="r" b="b"/>
              <a:pathLst>
                <a:path w="245891" h="127930" fill="none" extrusionOk="0">
                  <a:moveTo>
                    <a:pt x="1073" y="126320"/>
                  </a:moveTo>
                  <a:lnTo>
                    <a:pt x="1073" y="126320"/>
                  </a:lnTo>
                  <a:lnTo>
                    <a:pt x="1386" y="126141"/>
                  </a:lnTo>
                  <a:lnTo>
                    <a:pt x="1654" y="126052"/>
                  </a:lnTo>
                  <a:lnTo>
                    <a:pt x="1654" y="126052"/>
                  </a:lnTo>
                  <a:lnTo>
                    <a:pt x="1922" y="125962"/>
                  </a:lnTo>
                  <a:lnTo>
                    <a:pt x="2146" y="125962"/>
                  </a:lnTo>
                  <a:lnTo>
                    <a:pt x="2146" y="125962"/>
                  </a:lnTo>
                  <a:lnTo>
                    <a:pt x="2369" y="125962"/>
                  </a:lnTo>
                  <a:lnTo>
                    <a:pt x="2593" y="126007"/>
                  </a:lnTo>
                  <a:lnTo>
                    <a:pt x="3129" y="126186"/>
                  </a:lnTo>
                  <a:lnTo>
                    <a:pt x="3129" y="126186"/>
                  </a:lnTo>
                  <a:lnTo>
                    <a:pt x="3532" y="126409"/>
                  </a:lnTo>
                  <a:lnTo>
                    <a:pt x="3979" y="126678"/>
                  </a:lnTo>
                  <a:lnTo>
                    <a:pt x="3979" y="126678"/>
                  </a:lnTo>
                  <a:lnTo>
                    <a:pt x="4738" y="127080"/>
                  </a:lnTo>
                  <a:lnTo>
                    <a:pt x="5185" y="127303"/>
                  </a:lnTo>
                  <a:lnTo>
                    <a:pt x="5588" y="127527"/>
                  </a:lnTo>
                  <a:lnTo>
                    <a:pt x="5588" y="127527"/>
                  </a:lnTo>
                  <a:lnTo>
                    <a:pt x="6079" y="127661"/>
                  </a:lnTo>
                  <a:lnTo>
                    <a:pt x="6571" y="127840"/>
                  </a:lnTo>
                  <a:lnTo>
                    <a:pt x="7152" y="127929"/>
                  </a:lnTo>
                  <a:lnTo>
                    <a:pt x="7689" y="127929"/>
                  </a:lnTo>
                  <a:lnTo>
                    <a:pt x="7689" y="127929"/>
                  </a:lnTo>
                  <a:lnTo>
                    <a:pt x="8091" y="127929"/>
                  </a:lnTo>
                  <a:lnTo>
                    <a:pt x="8493" y="127885"/>
                  </a:lnTo>
                  <a:lnTo>
                    <a:pt x="8940" y="127795"/>
                  </a:lnTo>
                  <a:lnTo>
                    <a:pt x="9342" y="127706"/>
                  </a:lnTo>
                  <a:lnTo>
                    <a:pt x="9342" y="127706"/>
                  </a:lnTo>
                  <a:lnTo>
                    <a:pt x="10236" y="127393"/>
                  </a:lnTo>
                  <a:lnTo>
                    <a:pt x="11354" y="126946"/>
                  </a:lnTo>
                  <a:lnTo>
                    <a:pt x="11354" y="126946"/>
                  </a:lnTo>
                  <a:lnTo>
                    <a:pt x="14170" y="125784"/>
                  </a:lnTo>
                  <a:lnTo>
                    <a:pt x="17835" y="124175"/>
                  </a:lnTo>
                  <a:lnTo>
                    <a:pt x="22216" y="122208"/>
                  </a:lnTo>
                  <a:lnTo>
                    <a:pt x="27222" y="119928"/>
                  </a:lnTo>
                  <a:lnTo>
                    <a:pt x="27222" y="119928"/>
                  </a:lnTo>
                  <a:lnTo>
                    <a:pt x="35536" y="116084"/>
                  </a:lnTo>
                  <a:lnTo>
                    <a:pt x="44476" y="111882"/>
                  </a:lnTo>
                  <a:lnTo>
                    <a:pt x="53684" y="107591"/>
                  </a:lnTo>
                  <a:lnTo>
                    <a:pt x="62669" y="103300"/>
                  </a:lnTo>
                  <a:lnTo>
                    <a:pt x="78403" y="95790"/>
                  </a:lnTo>
                  <a:lnTo>
                    <a:pt x="88326" y="90963"/>
                  </a:lnTo>
                  <a:lnTo>
                    <a:pt x="88326" y="90963"/>
                  </a:lnTo>
                  <a:lnTo>
                    <a:pt x="90784" y="89711"/>
                  </a:lnTo>
                  <a:lnTo>
                    <a:pt x="93288" y="88415"/>
                  </a:lnTo>
                  <a:lnTo>
                    <a:pt x="98473" y="85688"/>
                  </a:lnTo>
                  <a:lnTo>
                    <a:pt x="103881" y="82738"/>
                  </a:lnTo>
                  <a:lnTo>
                    <a:pt x="109424" y="79654"/>
                  </a:lnTo>
                  <a:lnTo>
                    <a:pt x="115146" y="76436"/>
                  </a:lnTo>
                  <a:lnTo>
                    <a:pt x="121091" y="73128"/>
                  </a:lnTo>
                  <a:lnTo>
                    <a:pt x="127170" y="69820"/>
                  </a:lnTo>
                  <a:lnTo>
                    <a:pt x="133383" y="66557"/>
                  </a:lnTo>
                  <a:lnTo>
                    <a:pt x="133383" y="66557"/>
                  </a:lnTo>
                  <a:lnTo>
                    <a:pt x="134232" y="66065"/>
                  </a:lnTo>
                  <a:lnTo>
                    <a:pt x="135081" y="65574"/>
                  </a:lnTo>
                  <a:lnTo>
                    <a:pt x="136020" y="64993"/>
                  </a:lnTo>
                  <a:lnTo>
                    <a:pt x="136959" y="64322"/>
                  </a:lnTo>
                  <a:lnTo>
                    <a:pt x="138970" y="62892"/>
                  </a:lnTo>
                  <a:lnTo>
                    <a:pt x="141116" y="61238"/>
                  </a:lnTo>
                  <a:lnTo>
                    <a:pt x="141116" y="61238"/>
                  </a:lnTo>
                  <a:lnTo>
                    <a:pt x="143083" y="59629"/>
                  </a:lnTo>
                  <a:lnTo>
                    <a:pt x="145139" y="57886"/>
                  </a:lnTo>
                  <a:lnTo>
                    <a:pt x="147329" y="56008"/>
                  </a:lnTo>
                  <a:lnTo>
                    <a:pt x="149564" y="54041"/>
                  </a:lnTo>
                  <a:lnTo>
                    <a:pt x="154213" y="49795"/>
                  </a:lnTo>
                  <a:lnTo>
                    <a:pt x="159085" y="45280"/>
                  </a:lnTo>
                  <a:lnTo>
                    <a:pt x="159085" y="45280"/>
                  </a:lnTo>
                  <a:lnTo>
                    <a:pt x="166728" y="38084"/>
                  </a:lnTo>
                  <a:lnTo>
                    <a:pt x="174461" y="30753"/>
                  </a:lnTo>
                  <a:lnTo>
                    <a:pt x="178350" y="27132"/>
                  </a:lnTo>
                  <a:lnTo>
                    <a:pt x="182194" y="23601"/>
                  </a:lnTo>
                  <a:lnTo>
                    <a:pt x="185994" y="20204"/>
                  </a:lnTo>
                  <a:lnTo>
                    <a:pt x="189704" y="16941"/>
                  </a:lnTo>
                  <a:lnTo>
                    <a:pt x="189704" y="16941"/>
                  </a:lnTo>
                  <a:lnTo>
                    <a:pt x="193280" y="13901"/>
                  </a:lnTo>
                  <a:lnTo>
                    <a:pt x="195023" y="12516"/>
                  </a:lnTo>
                  <a:lnTo>
                    <a:pt x="196722" y="11130"/>
                  </a:lnTo>
                  <a:lnTo>
                    <a:pt x="198376" y="9834"/>
                  </a:lnTo>
                  <a:lnTo>
                    <a:pt x="199985" y="8627"/>
                  </a:lnTo>
                  <a:lnTo>
                    <a:pt x="201549" y="7510"/>
                  </a:lnTo>
                  <a:lnTo>
                    <a:pt x="203069" y="6481"/>
                  </a:lnTo>
                  <a:lnTo>
                    <a:pt x="203069" y="6481"/>
                  </a:lnTo>
                  <a:lnTo>
                    <a:pt x="204544" y="5543"/>
                  </a:lnTo>
                  <a:lnTo>
                    <a:pt x="205930" y="4693"/>
                  </a:lnTo>
                  <a:lnTo>
                    <a:pt x="207271" y="3934"/>
                  </a:lnTo>
                  <a:lnTo>
                    <a:pt x="208567" y="3308"/>
                  </a:lnTo>
                  <a:lnTo>
                    <a:pt x="208567" y="3308"/>
                  </a:lnTo>
                  <a:lnTo>
                    <a:pt x="209729" y="2816"/>
                  </a:lnTo>
                  <a:lnTo>
                    <a:pt x="210847" y="2414"/>
                  </a:lnTo>
                  <a:lnTo>
                    <a:pt x="211875" y="2146"/>
                  </a:lnTo>
                  <a:lnTo>
                    <a:pt x="212366" y="2011"/>
                  </a:lnTo>
                  <a:lnTo>
                    <a:pt x="212813" y="1967"/>
                  </a:lnTo>
                  <a:lnTo>
                    <a:pt x="212813" y="1967"/>
                  </a:lnTo>
                  <a:lnTo>
                    <a:pt x="214646" y="1833"/>
                  </a:lnTo>
                  <a:lnTo>
                    <a:pt x="217149" y="1743"/>
                  </a:lnTo>
                  <a:lnTo>
                    <a:pt x="217149" y="1743"/>
                  </a:lnTo>
                  <a:lnTo>
                    <a:pt x="221753" y="1654"/>
                  </a:lnTo>
                  <a:lnTo>
                    <a:pt x="226983" y="1565"/>
                  </a:lnTo>
                  <a:lnTo>
                    <a:pt x="232302" y="1475"/>
                  </a:lnTo>
                  <a:lnTo>
                    <a:pt x="237174" y="1386"/>
                  </a:lnTo>
                  <a:lnTo>
                    <a:pt x="237174" y="1386"/>
                  </a:lnTo>
                  <a:lnTo>
                    <a:pt x="237309" y="1386"/>
                  </a:lnTo>
                  <a:lnTo>
                    <a:pt x="237309" y="1386"/>
                  </a:lnTo>
                  <a:lnTo>
                    <a:pt x="237800" y="1430"/>
                  </a:lnTo>
                  <a:lnTo>
                    <a:pt x="238158" y="1520"/>
                  </a:lnTo>
                  <a:lnTo>
                    <a:pt x="238158" y="1520"/>
                  </a:lnTo>
                  <a:lnTo>
                    <a:pt x="238426" y="1654"/>
                  </a:lnTo>
                  <a:lnTo>
                    <a:pt x="238694" y="1788"/>
                  </a:lnTo>
                  <a:lnTo>
                    <a:pt x="238694" y="1788"/>
                  </a:lnTo>
                  <a:lnTo>
                    <a:pt x="239052" y="2146"/>
                  </a:lnTo>
                  <a:lnTo>
                    <a:pt x="239454" y="2593"/>
                  </a:lnTo>
                  <a:lnTo>
                    <a:pt x="239454" y="2593"/>
                  </a:lnTo>
                  <a:lnTo>
                    <a:pt x="240125" y="3397"/>
                  </a:lnTo>
                  <a:lnTo>
                    <a:pt x="240125" y="3397"/>
                  </a:lnTo>
                  <a:lnTo>
                    <a:pt x="240393" y="3710"/>
                  </a:lnTo>
                  <a:lnTo>
                    <a:pt x="240750" y="4068"/>
                  </a:lnTo>
                  <a:lnTo>
                    <a:pt x="241153" y="4336"/>
                  </a:lnTo>
                  <a:lnTo>
                    <a:pt x="241600" y="4604"/>
                  </a:lnTo>
                  <a:lnTo>
                    <a:pt x="241600" y="4604"/>
                  </a:lnTo>
                  <a:lnTo>
                    <a:pt x="242091" y="4828"/>
                  </a:lnTo>
                  <a:lnTo>
                    <a:pt x="242717" y="5006"/>
                  </a:lnTo>
                  <a:lnTo>
                    <a:pt x="243343" y="5096"/>
                  </a:lnTo>
                  <a:lnTo>
                    <a:pt x="244103" y="5140"/>
                  </a:lnTo>
                  <a:lnTo>
                    <a:pt x="244103" y="5140"/>
                  </a:lnTo>
                  <a:lnTo>
                    <a:pt x="244639" y="5096"/>
                  </a:lnTo>
                  <a:lnTo>
                    <a:pt x="245265" y="5051"/>
                  </a:lnTo>
                  <a:lnTo>
                    <a:pt x="245265" y="5051"/>
                  </a:lnTo>
                  <a:lnTo>
                    <a:pt x="245399" y="5006"/>
                  </a:lnTo>
                  <a:lnTo>
                    <a:pt x="245533" y="4962"/>
                  </a:lnTo>
                  <a:lnTo>
                    <a:pt x="245712" y="4783"/>
                  </a:lnTo>
                  <a:lnTo>
                    <a:pt x="245846" y="4559"/>
                  </a:lnTo>
                  <a:lnTo>
                    <a:pt x="245891" y="4425"/>
                  </a:lnTo>
                  <a:lnTo>
                    <a:pt x="245846" y="4291"/>
                  </a:lnTo>
                  <a:lnTo>
                    <a:pt x="245846" y="4291"/>
                  </a:lnTo>
                  <a:lnTo>
                    <a:pt x="245846" y="4157"/>
                  </a:lnTo>
                  <a:lnTo>
                    <a:pt x="245801" y="4023"/>
                  </a:lnTo>
                  <a:lnTo>
                    <a:pt x="245623" y="3844"/>
                  </a:lnTo>
                  <a:lnTo>
                    <a:pt x="245354" y="3710"/>
                  </a:lnTo>
                  <a:lnTo>
                    <a:pt x="245220" y="3665"/>
                  </a:lnTo>
                  <a:lnTo>
                    <a:pt x="245086" y="3665"/>
                  </a:lnTo>
                  <a:lnTo>
                    <a:pt x="245086" y="3665"/>
                  </a:lnTo>
                  <a:lnTo>
                    <a:pt x="244550" y="3755"/>
                  </a:lnTo>
                  <a:lnTo>
                    <a:pt x="244103" y="3755"/>
                  </a:lnTo>
                  <a:lnTo>
                    <a:pt x="244103" y="3755"/>
                  </a:lnTo>
                  <a:lnTo>
                    <a:pt x="243388" y="3710"/>
                  </a:lnTo>
                  <a:lnTo>
                    <a:pt x="242851" y="3621"/>
                  </a:lnTo>
                  <a:lnTo>
                    <a:pt x="242851" y="3621"/>
                  </a:lnTo>
                  <a:lnTo>
                    <a:pt x="242449" y="3487"/>
                  </a:lnTo>
                  <a:lnTo>
                    <a:pt x="242091" y="3308"/>
                  </a:lnTo>
                  <a:lnTo>
                    <a:pt x="242091" y="3308"/>
                  </a:lnTo>
                  <a:lnTo>
                    <a:pt x="241823" y="3129"/>
                  </a:lnTo>
                  <a:lnTo>
                    <a:pt x="241600" y="2950"/>
                  </a:lnTo>
                  <a:lnTo>
                    <a:pt x="241197" y="2548"/>
                  </a:lnTo>
                  <a:lnTo>
                    <a:pt x="241197" y="2548"/>
                  </a:lnTo>
                  <a:lnTo>
                    <a:pt x="240572" y="1743"/>
                  </a:lnTo>
                  <a:lnTo>
                    <a:pt x="240572" y="1743"/>
                  </a:lnTo>
                  <a:lnTo>
                    <a:pt x="240303" y="1430"/>
                  </a:lnTo>
                  <a:lnTo>
                    <a:pt x="240035" y="1118"/>
                  </a:lnTo>
                  <a:lnTo>
                    <a:pt x="240035" y="1118"/>
                  </a:lnTo>
                  <a:lnTo>
                    <a:pt x="239812" y="894"/>
                  </a:lnTo>
                  <a:lnTo>
                    <a:pt x="239544" y="715"/>
                  </a:lnTo>
                  <a:lnTo>
                    <a:pt x="239231" y="492"/>
                  </a:lnTo>
                  <a:lnTo>
                    <a:pt x="238918" y="313"/>
                  </a:lnTo>
                  <a:lnTo>
                    <a:pt x="238918" y="313"/>
                  </a:lnTo>
                  <a:lnTo>
                    <a:pt x="238560" y="179"/>
                  </a:lnTo>
                  <a:lnTo>
                    <a:pt x="238158" y="89"/>
                  </a:lnTo>
                  <a:lnTo>
                    <a:pt x="237756" y="45"/>
                  </a:lnTo>
                  <a:lnTo>
                    <a:pt x="237309" y="0"/>
                  </a:lnTo>
                  <a:lnTo>
                    <a:pt x="237309" y="0"/>
                  </a:lnTo>
                  <a:lnTo>
                    <a:pt x="237130" y="0"/>
                  </a:lnTo>
                  <a:lnTo>
                    <a:pt x="237130" y="0"/>
                  </a:lnTo>
                  <a:lnTo>
                    <a:pt x="233956" y="89"/>
                  </a:lnTo>
                  <a:lnTo>
                    <a:pt x="230514" y="134"/>
                  </a:lnTo>
                  <a:lnTo>
                    <a:pt x="223452" y="224"/>
                  </a:lnTo>
                  <a:lnTo>
                    <a:pt x="223452" y="224"/>
                  </a:lnTo>
                  <a:lnTo>
                    <a:pt x="220099" y="268"/>
                  </a:lnTo>
                  <a:lnTo>
                    <a:pt x="217105" y="358"/>
                  </a:lnTo>
                  <a:lnTo>
                    <a:pt x="217105" y="358"/>
                  </a:lnTo>
                  <a:lnTo>
                    <a:pt x="214601" y="447"/>
                  </a:lnTo>
                  <a:lnTo>
                    <a:pt x="212679" y="581"/>
                  </a:lnTo>
                  <a:lnTo>
                    <a:pt x="212679" y="581"/>
                  </a:lnTo>
                  <a:lnTo>
                    <a:pt x="211875" y="715"/>
                  </a:lnTo>
                  <a:lnTo>
                    <a:pt x="210981" y="939"/>
                  </a:lnTo>
                  <a:lnTo>
                    <a:pt x="210087" y="1207"/>
                  </a:lnTo>
                  <a:lnTo>
                    <a:pt x="209193" y="1565"/>
                  </a:lnTo>
                  <a:lnTo>
                    <a:pt x="209193" y="1565"/>
                  </a:lnTo>
                  <a:lnTo>
                    <a:pt x="208254" y="1922"/>
                  </a:lnTo>
                  <a:lnTo>
                    <a:pt x="207315" y="2369"/>
                  </a:lnTo>
                  <a:lnTo>
                    <a:pt x="206377" y="2861"/>
                  </a:lnTo>
                  <a:lnTo>
                    <a:pt x="205393" y="3442"/>
                  </a:lnTo>
                  <a:lnTo>
                    <a:pt x="204365" y="4023"/>
                  </a:lnTo>
                  <a:lnTo>
                    <a:pt x="203292" y="4693"/>
                  </a:lnTo>
                  <a:lnTo>
                    <a:pt x="201147" y="6124"/>
                  </a:lnTo>
                  <a:lnTo>
                    <a:pt x="201147" y="6124"/>
                  </a:lnTo>
                  <a:lnTo>
                    <a:pt x="199180" y="7554"/>
                  </a:lnTo>
                  <a:lnTo>
                    <a:pt x="197124" y="9074"/>
                  </a:lnTo>
                  <a:lnTo>
                    <a:pt x="194978" y="10728"/>
                  </a:lnTo>
                  <a:lnTo>
                    <a:pt x="192833" y="12516"/>
                  </a:lnTo>
                  <a:lnTo>
                    <a:pt x="190598" y="14393"/>
                  </a:lnTo>
                  <a:lnTo>
                    <a:pt x="188318" y="16315"/>
                  </a:lnTo>
                  <a:lnTo>
                    <a:pt x="185994" y="18371"/>
                  </a:lnTo>
                  <a:lnTo>
                    <a:pt x="183625" y="20428"/>
                  </a:lnTo>
                  <a:lnTo>
                    <a:pt x="183625" y="20428"/>
                  </a:lnTo>
                  <a:lnTo>
                    <a:pt x="180049" y="23691"/>
                  </a:lnTo>
                  <a:lnTo>
                    <a:pt x="176428" y="27043"/>
                  </a:lnTo>
                  <a:lnTo>
                    <a:pt x="169142" y="33882"/>
                  </a:lnTo>
                  <a:lnTo>
                    <a:pt x="161901" y="40721"/>
                  </a:lnTo>
                  <a:lnTo>
                    <a:pt x="154883" y="47292"/>
                  </a:lnTo>
                  <a:lnTo>
                    <a:pt x="154883" y="47292"/>
                  </a:lnTo>
                  <a:lnTo>
                    <a:pt x="151531" y="50376"/>
                  </a:lnTo>
                  <a:lnTo>
                    <a:pt x="148312" y="53282"/>
                  </a:lnTo>
                  <a:lnTo>
                    <a:pt x="145228" y="56008"/>
                  </a:lnTo>
                  <a:lnTo>
                    <a:pt x="142323" y="58467"/>
                  </a:lnTo>
                  <a:lnTo>
                    <a:pt x="142323" y="58467"/>
                  </a:lnTo>
                  <a:lnTo>
                    <a:pt x="139596" y="60702"/>
                  </a:lnTo>
                  <a:lnTo>
                    <a:pt x="138300" y="61685"/>
                  </a:lnTo>
                  <a:lnTo>
                    <a:pt x="137048" y="62579"/>
                  </a:lnTo>
                  <a:lnTo>
                    <a:pt x="135886" y="63384"/>
                  </a:lnTo>
                  <a:lnTo>
                    <a:pt x="134769" y="64143"/>
                  </a:lnTo>
                  <a:lnTo>
                    <a:pt x="133740" y="64769"/>
                  </a:lnTo>
                  <a:lnTo>
                    <a:pt x="132757" y="65306"/>
                  </a:lnTo>
                  <a:lnTo>
                    <a:pt x="132757" y="65306"/>
                  </a:lnTo>
                  <a:lnTo>
                    <a:pt x="126499" y="68613"/>
                  </a:lnTo>
                  <a:lnTo>
                    <a:pt x="120420" y="71921"/>
                  </a:lnTo>
                  <a:lnTo>
                    <a:pt x="114475" y="75229"/>
                  </a:lnTo>
                  <a:lnTo>
                    <a:pt x="108754" y="78447"/>
                  </a:lnTo>
                  <a:lnTo>
                    <a:pt x="103211" y="81531"/>
                  </a:lnTo>
                  <a:lnTo>
                    <a:pt x="97847" y="84482"/>
                  </a:lnTo>
                  <a:lnTo>
                    <a:pt x="92662" y="87208"/>
                  </a:lnTo>
                  <a:lnTo>
                    <a:pt x="90159" y="88505"/>
                  </a:lnTo>
                  <a:lnTo>
                    <a:pt x="87700" y="89711"/>
                  </a:lnTo>
                  <a:lnTo>
                    <a:pt x="87700" y="89711"/>
                  </a:lnTo>
                  <a:lnTo>
                    <a:pt x="81398" y="92796"/>
                  </a:lnTo>
                  <a:lnTo>
                    <a:pt x="71698" y="97489"/>
                  </a:lnTo>
                  <a:lnTo>
                    <a:pt x="59719" y="103166"/>
                  </a:lnTo>
                  <a:lnTo>
                    <a:pt x="46756" y="109290"/>
                  </a:lnTo>
                  <a:lnTo>
                    <a:pt x="46756" y="109290"/>
                  </a:lnTo>
                  <a:lnTo>
                    <a:pt x="33972" y="115279"/>
                  </a:lnTo>
                  <a:lnTo>
                    <a:pt x="28027" y="118051"/>
                  </a:lnTo>
                  <a:lnTo>
                    <a:pt x="22618" y="120509"/>
                  </a:lnTo>
                  <a:lnTo>
                    <a:pt x="22618" y="120509"/>
                  </a:lnTo>
                  <a:lnTo>
                    <a:pt x="17835" y="122655"/>
                  </a:lnTo>
                  <a:lnTo>
                    <a:pt x="13857" y="124398"/>
                  </a:lnTo>
                  <a:lnTo>
                    <a:pt x="13857" y="124398"/>
                  </a:lnTo>
                  <a:lnTo>
                    <a:pt x="10818" y="125694"/>
                  </a:lnTo>
                  <a:lnTo>
                    <a:pt x="10818" y="125694"/>
                  </a:lnTo>
                  <a:lnTo>
                    <a:pt x="9745" y="126097"/>
                  </a:lnTo>
                  <a:lnTo>
                    <a:pt x="8940" y="126365"/>
                  </a:lnTo>
                  <a:lnTo>
                    <a:pt x="8940" y="126365"/>
                  </a:lnTo>
                  <a:lnTo>
                    <a:pt x="8314" y="126499"/>
                  </a:lnTo>
                  <a:lnTo>
                    <a:pt x="7689" y="126544"/>
                  </a:lnTo>
                  <a:lnTo>
                    <a:pt x="7689" y="126544"/>
                  </a:lnTo>
                  <a:lnTo>
                    <a:pt x="7331" y="126544"/>
                  </a:lnTo>
                  <a:lnTo>
                    <a:pt x="6973" y="126499"/>
                  </a:lnTo>
                  <a:lnTo>
                    <a:pt x="6616" y="126409"/>
                  </a:lnTo>
                  <a:lnTo>
                    <a:pt x="6303" y="126275"/>
                  </a:lnTo>
                  <a:lnTo>
                    <a:pt x="6303" y="126275"/>
                  </a:lnTo>
                  <a:lnTo>
                    <a:pt x="5811" y="126097"/>
                  </a:lnTo>
                  <a:lnTo>
                    <a:pt x="5320" y="125828"/>
                  </a:lnTo>
                  <a:lnTo>
                    <a:pt x="4336" y="125292"/>
                  </a:lnTo>
                  <a:lnTo>
                    <a:pt x="4336" y="125292"/>
                  </a:lnTo>
                  <a:lnTo>
                    <a:pt x="3844" y="125024"/>
                  </a:lnTo>
                  <a:lnTo>
                    <a:pt x="3308" y="124800"/>
                  </a:lnTo>
                  <a:lnTo>
                    <a:pt x="3308" y="124800"/>
                  </a:lnTo>
                  <a:lnTo>
                    <a:pt x="2772" y="124621"/>
                  </a:lnTo>
                  <a:lnTo>
                    <a:pt x="2459" y="124577"/>
                  </a:lnTo>
                  <a:lnTo>
                    <a:pt x="2146" y="124577"/>
                  </a:lnTo>
                  <a:lnTo>
                    <a:pt x="2146" y="124577"/>
                  </a:lnTo>
                  <a:lnTo>
                    <a:pt x="1699" y="124621"/>
                  </a:lnTo>
                  <a:lnTo>
                    <a:pt x="1207" y="124711"/>
                  </a:lnTo>
                  <a:lnTo>
                    <a:pt x="1207" y="124711"/>
                  </a:lnTo>
                  <a:lnTo>
                    <a:pt x="760" y="124934"/>
                  </a:lnTo>
                  <a:lnTo>
                    <a:pt x="269" y="125203"/>
                  </a:lnTo>
                  <a:lnTo>
                    <a:pt x="269" y="125203"/>
                  </a:lnTo>
                  <a:lnTo>
                    <a:pt x="179" y="125292"/>
                  </a:lnTo>
                  <a:lnTo>
                    <a:pt x="90" y="125381"/>
                  </a:lnTo>
                  <a:lnTo>
                    <a:pt x="0" y="125650"/>
                  </a:lnTo>
                  <a:lnTo>
                    <a:pt x="0" y="125918"/>
                  </a:lnTo>
                  <a:lnTo>
                    <a:pt x="45" y="126007"/>
                  </a:lnTo>
                  <a:lnTo>
                    <a:pt x="90" y="126141"/>
                  </a:lnTo>
                  <a:lnTo>
                    <a:pt x="90" y="126141"/>
                  </a:lnTo>
                  <a:lnTo>
                    <a:pt x="179" y="126275"/>
                  </a:lnTo>
                  <a:lnTo>
                    <a:pt x="313" y="126365"/>
                  </a:lnTo>
                  <a:lnTo>
                    <a:pt x="537" y="126454"/>
                  </a:lnTo>
                  <a:lnTo>
                    <a:pt x="805" y="126454"/>
                  </a:lnTo>
                  <a:lnTo>
                    <a:pt x="939" y="126409"/>
                  </a:lnTo>
                  <a:lnTo>
                    <a:pt x="1073" y="126320"/>
                  </a:lnTo>
                  <a:lnTo>
                    <a:pt x="1073" y="12632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3" name="Google Shape;2272;p11">
              <a:extLst>
                <a:ext uri="{FF2B5EF4-FFF2-40B4-BE49-F238E27FC236}">
                  <a16:creationId xmlns:a16="http://schemas.microsoft.com/office/drawing/2014/main" id="{6FEC772E-248C-5DBC-D682-0849E20F7215}"/>
                </a:ext>
              </a:extLst>
            </p:cNvPr>
            <p:cNvSpPr/>
            <p:nvPr/>
          </p:nvSpPr>
          <p:spPr>
            <a:xfrm>
              <a:off x="9153004" y="1097870"/>
              <a:ext cx="76146" cy="47877"/>
            </a:xfrm>
            <a:custGeom>
              <a:avLst/>
              <a:gdLst/>
              <a:ahLst/>
              <a:cxnLst/>
              <a:rect l="l" t="t" r="r" b="b"/>
              <a:pathLst>
                <a:path w="12159" h="7645" extrusionOk="0">
                  <a:moveTo>
                    <a:pt x="9477" y="0"/>
                  </a:moveTo>
                  <a:lnTo>
                    <a:pt x="9253" y="45"/>
                  </a:lnTo>
                  <a:lnTo>
                    <a:pt x="9030" y="135"/>
                  </a:lnTo>
                  <a:lnTo>
                    <a:pt x="8448" y="358"/>
                  </a:lnTo>
                  <a:lnTo>
                    <a:pt x="7823" y="582"/>
                  </a:lnTo>
                  <a:lnTo>
                    <a:pt x="7107" y="805"/>
                  </a:lnTo>
                  <a:lnTo>
                    <a:pt x="6303" y="1073"/>
                  </a:lnTo>
                  <a:lnTo>
                    <a:pt x="5498" y="1386"/>
                  </a:lnTo>
                  <a:lnTo>
                    <a:pt x="4694" y="1788"/>
                  </a:lnTo>
                  <a:lnTo>
                    <a:pt x="3844" y="2325"/>
                  </a:lnTo>
                  <a:lnTo>
                    <a:pt x="3442" y="2593"/>
                  </a:lnTo>
                  <a:lnTo>
                    <a:pt x="3040" y="2951"/>
                  </a:lnTo>
                  <a:lnTo>
                    <a:pt x="2414" y="3442"/>
                  </a:lnTo>
                  <a:lnTo>
                    <a:pt x="1878" y="3845"/>
                  </a:lnTo>
                  <a:lnTo>
                    <a:pt x="1341" y="4158"/>
                  </a:lnTo>
                  <a:lnTo>
                    <a:pt x="894" y="4381"/>
                  </a:lnTo>
                  <a:lnTo>
                    <a:pt x="268" y="4605"/>
                  </a:lnTo>
                  <a:lnTo>
                    <a:pt x="0" y="4694"/>
                  </a:lnTo>
                  <a:lnTo>
                    <a:pt x="1699" y="7644"/>
                  </a:lnTo>
                  <a:lnTo>
                    <a:pt x="2593" y="6929"/>
                  </a:lnTo>
                  <a:lnTo>
                    <a:pt x="3442" y="6392"/>
                  </a:lnTo>
                  <a:lnTo>
                    <a:pt x="4202" y="5945"/>
                  </a:lnTo>
                  <a:lnTo>
                    <a:pt x="4917" y="5677"/>
                  </a:lnTo>
                  <a:lnTo>
                    <a:pt x="5543" y="5498"/>
                  </a:lnTo>
                  <a:lnTo>
                    <a:pt x="6124" y="5409"/>
                  </a:lnTo>
                  <a:lnTo>
                    <a:pt x="6660" y="5409"/>
                  </a:lnTo>
                  <a:lnTo>
                    <a:pt x="7107" y="5454"/>
                  </a:lnTo>
                  <a:lnTo>
                    <a:pt x="7554" y="5543"/>
                  </a:lnTo>
                  <a:lnTo>
                    <a:pt x="7957" y="5633"/>
                  </a:lnTo>
                  <a:lnTo>
                    <a:pt x="8583" y="5901"/>
                  </a:lnTo>
                  <a:lnTo>
                    <a:pt x="8806" y="5945"/>
                  </a:lnTo>
                  <a:lnTo>
                    <a:pt x="9030" y="5990"/>
                  </a:lnTo>
                  <a:lnTo>
                    <a:pt x="9253" y="5945"/>
                  </a:lnTo>
                  <a:lnTo>
                    <a:pt x="9387" y="5856"/>
                  </a:lnTo>
                  <a:lnTo>
                    <a:pt x="9477" y="5677"/>
                  </a:lnTo>
                  <a:lnTo>
                    <a:pt x="9521" y="5543"/>
                  </a:lnTo>
                  <a:lnTo>
                    <a:pt x="9477" y="5364"/>
                  </a:lnTo>
                  <a:lnTo>
                    <a:pt x="9387" y="5186"/>
                  </a:lnTo>
                  <a:lnTo>
                    <a:pt x="9074" y="4828"/>
                  </a:lnTo>
                  <a:lnTo>
                    <a:pt x="8806" y="4470"/>
                  </a:lnTo>
                  <a:lnTo>
                    <a:pt x="8717" y="4292"/>
                  </a:lnTo>
                  <a:lnTo>
                    <a:pt x="8672" y="4158"/>
                  </a:lnTo>
                  <a:lnTo>
                    <a:pt x="8672" y="4023"/>
                  </a:lnTo>
                  <a:lnTo>
                    <a:pt x="8761" y="3889"/>
                  </a:lnTo>
                  <a:lnTo>
                    <a:pt x="8940" y="3800"/>
                  </a:lnTo>
                  <a:lnTo>
                    <a:pt x="9253" y="3711"/>
                  </a:lnTo>
                  <a:lnTo>
                    <a:pt x="9655" y="3666"/>
                  </a:lnTo>
                  <a:lnTo>
                    <a:pt x="10236" y="3621"/>
                  </a:lnTo>
                  <a:lnTo>
                    <a:pt x="10549" y="3621"/>
                  </a:lnTo>
                  <a:lnTo>
                    <a:pt x="10862" y="3576"/>
                  </a:lnTo>
                  <a:lnTo>
                    <a:pt x="11175" y="3487"/>
                  </a:lnTo>
                  <a:lnTo>
                    <a:pt x="11399" y="3398"/>
                  </a:lnTo>
                  <a:lnTo>
                    <a:pt x="11577" y="3308"/>
                  </a:lnTo>
                  <a:lnTo>
                    <a:pt x="11756" y="3174"/>
                  </a:lnTo>
                  <a:lnTo>
                    <a:pt x="11890" y="3040"/>
                  </a:lnTo>
                  <a:lnTo>
                    <a:pt x="12024" y="2906"/>
                  </a:lnTo>
                  <a:lnTo>
                    <a:pt x="12069" y="2772"/>
                  </a:lnTo>
                  <a:lnTo>
                    <a:pt x="12114" y="2593"/>
                  </a:lnTo>
                  <a:lnTo>
                    <a:pt x="12158" y="2235"/>
                  </a:lnTo>
                  <a:lnTo>
                    <a:pt x="12069" y="1878"/>
                  </a:lnTo>
                  <a:lnTo>
                    <a:pt x="11935" y="1476"/>
                  </a:lnTo>
                  <a:lnTo>
                    <a:pt x="11711" y="1118"/>
                  </a:lnTo>
                  <a:lnTo>
                    <a:pt x="11399" y="805"/>
                  </a:lnTo>
                  <a:lnTo>
                    <a:pt x="11086" y="492"/>
                  </a:lnTo>
                  <a:lnTo>
                    <a:pt x="10683" y="269"/>
                  </a:lnTo>
                  <a:lnTo>
                    <a:pt x="10281" y="90"/>
                  </a:lnTo>
                  <a:lnTo>
                    <a:pt x="9879" y="0"/>
                  </a:lnTo>
                  <a:close/>
                </a:path>
              </a:pathLst>
            </a:custGeom>
            <a:solidFill>
              <a:srgbClr val="F5B1B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4" name="Google Shape;2273;p11">
              <a:extLst>
                <a:ext uri="{FF2B5EF4-FFF2-40B4-BE49-F238E27FC236}">
                  <a16:creationId xmlns:a16="http://schemas.microsoft.com/office/drawing/2014/main" id="{C474EF55-AB2F-732D-4137-BC4D04E7BC25}"/>
                </a:ext>
              </a:extLst>
            </p:cNvPr>
            <p:cNvSpPr/>
            <p:nvPr/>
          </p:nvSpPr>
          <p:spPr>
            <a:xfrm>
              <a:off x="8858798" y="1312573"/>
              <a:ext cx="141927" cy="518717"/>
            </a:xfrm>
            <a:custGeom>
              <a:avLst/>
              <a:gdLst/>
              <a:ahLst/>
              <a:cxnLst/>
              <a:rect l="l" t="t" r="r" b="b"/>
              <a:pathLst>
                <a:path w="22663" h="82829" extrusionOk="0">
                  <a:moveTo>
                    <a:pt x="12382" y="1"/>
                  </a:moveTo>
                  <a:lnTo>
                    <a:pt x="11935" y="45"/>
                  </a:lnTo>
                  <a:lnTo>
                    <a:pt x="11533" y="135"/>
                  </a:lnTo>
                  <a:lnTo>
                    <a:pt x="11175" y="314"/>
                  </a:lnTo>
                  <a:lnTo>
                    <a:pt x="10818" y="537"/>
                  </a:lnTo>
                  <a:lnTo>
                    <a:pt x="10460" y="850"/>
                  </a:lnTo>
                  <a:lnTo>
                    <a:pt x="10147" y="1163"/>
                  </a:lnTo>
                  <a:lnTo>
                    <a:pt x="9879" y="1521"/>
                  </a:lnTo>
                  <a:lnTo>
                    <a:pt x="9566" y="1923"/>
                  </a:lnTo>
                  <a:lnTo>
                    <a:pt x="9298" y="2325"/>
                  </a:lnTo>
                  <a:lnTo>
                    <a:pt x="9074" y="2817"/>
                  </a:lnTo>
                  <a:lnTo>
                    <a:pt x="8851" y="3309"/>
                  </a:lnTo>
                  <a:lnTo>
                    <a:pt x="8449" y="4337"/>
                  </a:lnTo>
                  <a:lnTo>
                    <a:pt x="8091" y="5409"/>
                  </a:lnTo>
                  <a:lnTo>
                    <a:pt x="7867" y="6482"/>
                  </a:lnTo>
                  <a:lnTo>
                    <a:pt x="7644" y="7555"/>
                  </a:lnTo>
                  <a:lnTo>
                    <a:pt x="7510" y="8583"/>
                  </a:lnTo>
                  <a:lnTo>
                    <a:pt x="7465" y="9522"/>
                  </a:lnTo>
                  <a:lnTo>
                    <a:pt x="7465" y="10326"/>
                  </a:lnTo>
                  <a:lnTo>
                    <a:pt x="7510" y="10997"/>
                  </a:lnTo>
                  <a:lnTo>
                    <a:pt x="7644" y="11488"/>
                  </a:lnTo>
                  <a:lnTo>
                    <a:pt x="7733" y="12070"/>
                  </a:lnTo>
                  <a:lnTo>
                    <a:pt x="7867" y="13053"/>
                  </a:lnTo>
                  <a:lnTo>
                    <a:pt x="8091" y="15824"/>
                  </a:lnTo>
                  <a:lnTo>
                    <a:pt x="8225" y="18551"/>
                  </a:lnTo>
                  <a:lnTo>
                    <a:pt x="8225" y="19579"/>
                  </a:lnTo>
                  <a:lnTo>
                    <a:pt x="8225" y="20160"/>
                  </a:lnTo>
                  <a:lnTo>
                    <a:pt x="8180" y="23200"/>
                  </a:lnTo>
                  <a:lnTo>
                    <a:pt x="8046" y="30173"/>
                  </a:lnTo>
                  <a:lnTo>
                    <a:pt x="7957" y="33883"/>
                  </a:lnTo>
                  <a:lnTo>
                    <a:pt x="7867" y="36922"/>
                  </a:lnTo>
                  <a:lnTo>
                    <a:pt x="7733" y="39604"/>
                  </a:lnTo>
                  <a:lnTo>
                    <a:pt x="7555" y="41705"/>
                  </a:lnTo>
                  <a:lnTo>
                    <a:pt x="7420" y="42510"/>
                  </a:lnTo>
                  <a:lnTo>
                    <a:pt x="7331" y="43091"/>
                  </a:lnTo>
                  <a:lnTo>
                    <a:pt x="6795" y="45505"/>
                  </a:lnTo>
                  <a:lnTo>
                    <a:pt x="5856" y="49975"/>
                  </a:lnTo>
                  <a:lnTo>
                    <a:pt x="3398" y="61999"/>
                  </a:lnTo>
                  <a:lnTo>
                    <a:pt x="0" y="78493"/>
                  </a:lnTo>
                  <a:lnTo>
                    <a:pt x="2995" y="82828"/>
                  </a:lnTo>
                  <a:lnTo>
                    <a:pt x="8225" y="82292"/>
                  </a:lnTo>
                  <a:lnTo>
                    <a:pt x="6437" y="78850"/>
                  </a:lnTo>
                  <a:lnTo>
                    <a:pt x="5990" y="78135"/>
                  </a:lnTo>
                  <a:lnTo>
                    <a:pt x="5767" y="77733"/>
                  </a:lnTo>
                  <a:lnTo>
                    <a:pt x="5588" y="77286"/>
                  </a:lnTo>
                  <a:lnTo>
                    <a:pt x="5454" y="76749"/>
                  </a:lnTo>
                  <a:lnTo>
                    <a:pt x="5320" y="76079"/>
                  </a:lnTo>
                  <a:lnTo>
                    <a:pt x="5320" y="75230"/>
                  </a:lnTo>
                  <a:lnTo>
                    <a:pt x="5320" y="74202"/>
                  </a:lnTo>
                  <a:lnTo>
                    <a:pt x="5409" y="73799"/>
                  </a:lnTo>
                  <a:lnTo>
                    <a:pt x="5677" y="73173"/>
                  </a:lnTo>
                  <a:lnTo>
                    <a:pt x="6526" y="71117"/>
                  </a:lnTo>
                  <a:lnTo>
                    <a:pt x="7733" y="68257"/>
                  </a:lnTo>
                  <a:lnTo>
                    <a:pt x="9253" y="64591"/>
                  </a:lnTo>
                  <a:lnTo>
                    <a:pt x="10058" y="62535"/>
                  </a:lnTo>
                  <a:lnTo>
                    <a:pt x="10862" y="60345"/>
                  </a:lnTo>
                  <a:lnTo>
                    <a:pt x="11712" y="57976"/>
                  </a:lnTo>
                  <a:lnTo>
                    <a:pt x="12516" y="55562"/>
                  </a:lnTo>
                  <a:lnTo>
                    <a:pt x="13321" y="52969"/>
                  </a:lnTo>
                  <a:lnTo>
                    <a:pt x="14081" y="50332"/>
                  </a:lnTo>
                  <a:lnTo>
                    <a:pt x="14751" y="47650"/>
                  </a:lnTo>
                  <a:lnTo>
                    <a:pt x="15377" y="44879"/>
                  </a:lnTo>
                  <a:lnTo>
                    <a:pt x="17746" y="33525"/>
                  </a:lnTo>
                  <a:lnTo>
                    <a:pt x="18104" y="31648"/>
                  </a:lnTo>
                  <a:lnTo>
                    <a:pt x="21322" y="16629"/>
                  </a:lnTo>
                  <a:lnTo>
                    <a:pt x="22663" y="10371"/>
                  </a:lnTo>
                  <a:lnTo>
                    <a:pt x="22618" y="10058"/>
                  </a:lnTo>
                  <a:lnTo>
                    <a:pt x="22484" y="9254"/>
                  </a:lnTo>
                  <a:lnTo>
                    <a:pt x="22305" y="8717"/>
                  </a:lnTo>
                  <a:lnTo>
                    <a:pt x="22082" y="8091"/>
                  </a:lnTo>
                  <a:lnTo>
                    <a:pt x="21769" y="7376"/>
                  </a:lnTo>
                  <a:lnTo>
                    <a:pt x="21411" y="6616"/>
                  </a:lnTo>
                  <a:lnTo>
                    <a:pt x="20920" y="5812"/>
                  </a:lnTo>
                  <a:lnTo>
                    <a:pt x="20294" y="4962"/>
                  </a:lnTo>
                  <a:lnTo>
                    <a:pt x="19579" y="4113"/>
                  </a:lnTo>
                  <a:lnTo>
                    <a:pt x="19176" y="3711"/>
                  </a:lnTo>
                  <a:lnTo>
                    <a:pt x="18729" y="3264"/>
                  </a:lnTo>
                  <a:lnTo>
                    <a:pt x="18238" y="2862"/>
                  </a:lnTo>
                  <a:lnTo>
                    <a:pt x="17701" y="2459"/>
                  </a:lnTo>
                  <a:lnTo>
                    <a:pt x="17165" y="2057"/>
                  </a:lnTo>
                  <a:lnTo>
                    <a:pt x="16539" y="1655"/>
                  </a:lnTo>
                  <a:lnTo>
                    <a:pt x="15913" y="1297"/>
                  </a:lnTo>
                  <a:lnTo>
                    <a:pt x="15243" y="939"/>
                  </a:lnTo>
                  <a:lnTo>
                    <a:pt x="14483" y="582"/>
                  </a:lnTo>
                  <a:lnTo>
                    <a:pt x="13723" y="224"/>
                  </a:lnTo>
                  <a:lnTo>
                    <a:pt x="13231" y="90"/>
                  </a:lnTo>
                  <a:lnTo>
                    <a:pt x="12784" y="1"/>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5" name="Google Shape;2274;p11">
              <a:extLst>
                <a:ext uri="{FF2B5EF4-FFF2-40B4-BE49-F238E27FC236}">
                  <a16:creationId xmlns:a16="http://schemas.microsoft.com/office/drawing/2014/main" id="{5633287D-DE73-2327-1922-126074AC4229}"/>
                </a:ext>
              </a:extLst>
            </p:cNvPr>
            <p:cNvSpPr/>
            <p:nvPr/>
          </p:nvSpPr>
          <p:spPr>
            <a:xfrm>
              <a:off x="8858798" y="1312573"/>
              <a:ext cx="141927" cy="518717"/>
            </a:xfrm>
            <a:custGeom>
              <a:avLst/>
              <a:gdLst/>
              <a:ahLst/>
              <a:cxnLst/>
              <a:rect l="l" t="t" r="r" b="b"/>
              <a:pathLst>
                <a:path w="22663" h="82829" fill="none" extrusionOk="0">
                  <a:moveTo>
                    <a:pt x="17746" y="33525"/>
                  </a:moveTo>
                  <a:lnTo>
                    <a:pt x="17746" y="33525"/>
                  </a:lnTo>
                  <a:lnTo>
                    <a:pt x="15377" y="44879"/>
                  </a:lnTo>
                  <a:lnTo>
                    <a:pt x="15377" y="44879"/>
                  </a:lnTo>
                  <a:lnTo>
                    <a:pt x="14751" y="47650"/>
                  </a:lnTo>
                  <a:lnTo>
                    <a:pt x="14081" y="50332"/>
                  </a:lnTo>
                  <a:lnTo>
                    <a:pt x="13321" y="52969"/>
                  </a:lnTo>
                  <a:lnTo>
                    <a:pt x="12516" y="55562"/>
                  </a:lnTo>
                  <a:lnTo>
                    <a:pt x="11712" y="57976"/>
                  </a:lnTo>
                  <a:lnTo>
                    <a:pt x="10862" y="60345"/>
                  </a:lnTo>
                  <a:lnTo>
                    <a:pt x="10058" y="62535"/>
                  </a:lnTo>
                  <a:lnTo>
                    <a:pt x="9253" y="64591"/>
                  </a:lnTo>
                  <a:lnTo>
                    <a:pt x="7733" y="68257"/>
                  </a:lnTo>
                  <a:lnTo>
                    <a:pt x="6526" y="71117"/>
                  </a:lnTo>
                  <a:lnTo>
                    <a:pt x="5677" y="73173"/>
                  </a:lnTo>
                  <a:lnTo>
                    <a:pt x="5409" y="73799"/>
                  </a:lnTo>
                  <a:lnTo>
                    <a:pt x="5320" y="74202"/>
                  </a:lnTo>
                  <a:lnTo>
                    <a:pt x="5320" y="74202"/>
                  </a:lnTo>
                  <a:lnTo>
                    <a:pt x="5320" y="75230"/>
                  </a:lnTo>
                  <a:lnTo>
                    <a:pt x="5320" y="76079"/>
                  </a:lnTo>
                  <a:lnTo>
                    <a:pt x="5454" y="76749"/>
                  </a:lnTo>
                  <a:lnTo>
                    <a:pt x="5588" y="77286"/>
                  </a:lnTo>
                  <a:lnTo>
                    <a:pt x="5767" y="77733"/>
                  </a:lnTo>
                  <a:lnTo>
                    <a:pt x="5990" y="78135"/>
                  </a:lnTo>
                  <a:lnTo>
                    <a:pt x="6437" y="78850"/>
                  </a:lnTo>
                  <a:lnTo>
                    <a:pt x="8225" y="82292"/>
                  </a:lnTo>
                  <a:lnTo>
                    <a:pt x="2995" y="82828"/>
                  </a:lnTo>
                  <a:lnTo>
                    <a:pt x="0" y="78493"/>
                  </a:lnTo>
                  <a:lnTo>
                    <a:pt x="0" y="78493"/>
                  </a:lnTo>
                  <a:lnTo>
                    <a:pt x="3398" y="61999"/>
                  </a:lnTo>
                  <a:lnTo>
                    <a:pt x="5856" y="49975"/>
                  </a:lnTo>
                  <a:lnTo>
                    <a:pt x="6795" y="45505"/>
                  </a:lnTo>
                  <a:lnTo>
                    <a:pt x="7331" y="43091"/>
                  </a:lnTo>
                  <a:lnTo>
                    <a:pt x="7331" y="43091"/>
                  </a:lnTo>
                  <a:lnTo>
                    <a:pt x="7420" y="42510"/>
                  </a:lnTo>
                  <a:lnTo>
                    <a:pt x="7555" y="41705"/>
                  </a:lnTo>
                  <a:lnTo>
                    <a:pt x="7733" y="39604"/>
                  </a:lnTo>
                  <a:lnTo>
                    <a:pt x="7867" y="36922"/>
                  </a:lnTo>
                  <a:lnTo>
                    <a:pt x="7957" y="33883"/>
                  </a:lnTo>
                  <a:lnTo>
                    <a:pt x="7957" y="33883"/>
                  </a:lnTo>
                  <a:lnTo>
                    <a:pt x="8046" y="30173"/>
                  </a:lnTo>
                  <a:lnTo>
                    <a:pt x="8046" y="30173"/>
                  </a:lnTo>
                  <a:lnTo>
                    <a:pt x="8180" y="23200"/>
                  </a:lnTo>
                  <a:lnTo>
                    <a:pt x="8225" y="20160"/>
                  </a:lnTo>
                  <a:lnTo>
                    <a:pt x="8225" y="20160"/>
                  </a:lnTo>
                  <a:lnTo>
                    <a:pt x="8225" y="19579"/>
                  </a:lnTo>
                  <a:lnTo>
                    <a:pt x="8225" y="18551"/>
                  </a:lnTo>
                  <a:lnTo>
                    <a:pt x="8091" y="15824"/>
                  </a:lnTo>
                  <a:lnTo>
                    <a:pt x="7867" y="13053"/>
                  </a:lnTo>
                  <a:lnTo>
                    <a:pt x="7733" y="12070"/>
                  </a:lnTo>
                  <a:lnTo>
                    <a:pt x="7644" y="11488"/>
                  </a:lnTo>
                  <a:lnTo>
                    <a:pt x="7644" y="11488"/>
                  </a:lnTo>
                  <a:lnTo>
                    <a:pt x="7510" y="10997"/>
                  </a:lnTo>
                  <a:lnTo>
                    <a:pt x="7465" y="10326"/>
                  </a:lnTo>
                  <a:lnTo>
                    <a:pt x="7465" y="9522"/>
                  </a:lnTo>
                  <a:lnTo>
                    <a:pt x="7510" y="8583"/>
                  </a:lnTo>
                  <a:lnTo>
                    <a:pt x="7644" y="7555"/>
                  </a:lnTo>
                  <a:lnTo>
                    <a:pt x="7867" y="6482"/>
                  </a:lnTo>
                  <a:lnTo>
                    <a:pt x="8091" y="5409"/>
                  </a:lnTo>
                  <a:lnTo>
                    <a:pt x="8449" y="4337"/>
                  </a:lnTo>
                  <a:lnTo>
                    <a:pt x="8851" y="3309"/>
                  </a:lnTo>
                  <a:lnTo>
                    <a:pt x="9074" y="2817"/>
                  </a:lnTo>
                  <a:lnTo>
                    <a:pt x="9298" y="2325"/>
                  </a:lnTo>
                  <a:lnTo>
                    <a:pt x="9566" y="1923"/>
                  </a:lnTo>
                  <a:lnTo>
                    <a:pt x="9879" y="1521"/>
                  </a:lnTo>
                  <a:lnTo>
                    <a:pt x="10147" y="1163"/>
                  </a:lnTo>
                  <a:lnTo>
                    <a:pt x="10460" y="850"/>
                  </a:lnTo>
                  <a:lnTo>
                    <a:pt x="10818" y="537"/>
                  </a:lnTo>
                  <a:lnTo>
                    <a:pt x="11175" y="314"/>
                  </a:lnTo>
                  <a:lnTo>
                    <a:pt x="11533" y="135"/>
                  </a:lnTo>
                  <a:lnTo>
                    <a:pt x="11935" y="45"/>
                  </a:lnTo>
                  <a:lnTo>
                    <a:pt x="12382" y="1"/>
                  </a:lnTo>
                  <a:lnTo>
                    <a:pt x="12784" y="1"/>
                  </a:lnTo>
                  <a:lnTo>
                    <a:pt x="13231" y="90"/>
                  </a:lnTo>
                  <a:lnTo>
                    <a:pt x="13723" y="224"/>
                  </a:lnTo>
                  <a:lnTo>
                    <a:pt x="13723" y="224"/>
                  </a:lnTo>
                  <a:lnTo>
                    <a:pt x="14483" y="582"/>
                  </a:lnTo>
                  <a:lnTo>
                    <a:pt x="15243" y="939"/>
                  </a:lnTo>
                  <a:lnTo>
                    <a:pt x="15913" y="1297"/>
                  </a:lnTo>
                  <a:lnTo>
                    <a:pt x="16539" y="1655"/>
                  </a:lnTo>
                  <a:lnTo>
                    <a:pt x="17165" y="2057"/>
                  </a:lnTo>
                  <a:lnTo>
                    <a:pt x="17701" y="2459"/>
                  </a:lnTo>
                  <a:lnTo>
                    <a:pt x="18238" y="2862"/>
                  </a:lnTo>
                  <a:lnTo>
                    <a:pt x="18729" y="3264"/>
                  </a:lnTo>
                  <a:lnTo>
                    <a:pt x="19176" y="3711"/>
                  </a:lnTo>
                  <a:lnTo>
                    <a:pt x="19579" y="4113"/>
                  </a:lnTo>
                  <a:lnTo>
                    <a:pt x="20294" y="4962"/>
                  </a:lnTo>
                  <a:lnTo>
                    <a:pt x="20920" y="5812"/>
                  </a:lnTo>
                  <a:lnTo>
                    <a:pt x="21411" y="6616"/>
                  </a:lnTo>
                  <a:lnTo>
                    <a:pt x="21769" y="7376"/>
                  </a:lnTo>
                  <a:lnTo>
                    <a:pt x="22082" y="8091"/>
                  </a:lnTo>
                  <a:lnTo>
                    <a:pt x="22305" y="8717"/>
                  </a:lnTo>
                  <a:lnTo>
                    <a:pt x="22484" y="9254"/>
                  </a:lnTo>
                  <a:lnTo>
                    <a:pt x="22618" y="10058"/>
                  </a:lnTo>
                  <a:lnTo>
                    <a:pt x="22663" y="10371"/>
                  </a:lnTo>
                  <a:lnTo>
                    <a:pt x="22663" y="10371"/>
                  </a:lnTo>
                  <a:lnTo>
                    <a:pt x="21322" y="16629"/>
                  </a:lnTo>
                  <a:lnTo>
                    <a:pt x="18104" y="31648"/>
                  </a:lnTo>
                  <a:lnTo>
                    <a:pt x="17746" y="33525"/>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6" name="Google Shape;2275;p11">
              <a:extLst>
                <a:ext uri="{FF2B5EF4-FFF2-40B4-BE49-F238E27FC236}">
                  <a16:creationId xmlns:a16="http://schemas.microsoft.com/office/drawing/2014/main" id="{40301A02-52D0-E8FE-6853-C9FB8F49BB2E}"/>
                </a:ext>
              </a:extLst>
            </p:cNvPr>
            <p:cNvSpPr/>
            <p:nvPr/>
          </p:nvSpPr>
          <p:spPr>
            <a:xfrm>
              <a:off x="8844244" y="1777814"/>
              <a:ext cx="100501" cy="81751"/>
            </a:xfrm>
            <a:custGeom>
              <a:avLst/>
              <a:gdLst/>
              <a:ahLst/>
              <a:cxnLst/>
              <a:rect l="l" t="t" r="r" b="b"/>
              <a:pathLst>
                <a:path w="16048" h="13054" extrusionOk="0">
                  <a:moveTo>
                    <a:pt x="2905" y="1"/>
                  </a:moveTo>
                  <a:lnTo>
                    <a:pt x="2727" y="46"/>
                  </a:lnTo>
                  <a:lnTo>
                    <a:pt x="2369" y="314"/>
                  </a:lnTo>
                  <a:lnTo>
                    <a:pt x="1922" y="671"/>
                  </a:lnTo>
                  <a:lnTo>
                    <a:pt x="1430" y="1118"/>
                  </a:lnTo>
                  <a:lnTo>
                    <a:pt x="983" y="1699"/>
                  </a:lnTo>
                  <a:lnTo>
                    <a:pt x="805" y="2012"/>
                  </a:lnTo>
                  <a:lnTo>
                    <a:pt x="626" y="2370"/>
                  </a:lnTo>
                  <a:lnTo>
                    <a:pt x="447" y="2728"/>
                  </a:lnTo>
                  <a:lnTo>
                    <a:pt x="313" y="3130"/>
                  </a:lnTo>
                  <a:lnTo>
                    <a:pt x="224" y="3577"/>
                  </a:lnTo>
                  <a:lnTo>
                    <a:pt x="179" y="4024"/>
                  </a:lnTo>
                  <a:lnTo>
                    <a:pt x="179" y="4516"/>
                  </a:lnTo>
                  <a:lnTo>
                    <a:pt x="268" y="5007"/>
                  </a:lnTo>
                  <a:lnTo>
                    <a:pt x="358" y="5544"/>
                  </a:lnTo>
                  <a:lnTo>
                    <a:pt x="402" y="6035"/>
                  </a:lnTo>
                  <a:lnTo>
                    <a:pt x="447" y="7063"/>
                  </a:lnTo>
                  <a:lnTo>
                    <a:pt x="447" y="8002"/>
                  </a:lnTo>
                  <a:lnTo>
                    <a:pt x="358" y="8851"/>
                  </a:lnTo>
                  <a:lnTo>
                    <a:pt x="224" y="9611"/>
                  </a:lnTo>
                  <a:lnTo>
                    <a:pt x="134" y="10148"/>
                  </a:lnTo>
                  <a:lnTo>
                    <a:pt x="0" y="10639"/>
                  </a:lnTo>
                  <a:lnTo>
                    <a:pt x="849" y="10863"/>
                  </a:lnTo>
                  <a:lnTo>
                    <a:pt x="983" y="10192"/>
                  </a:lnTo>
                  <a:lnTo>
                    <a:pt x="1162" y="9522"/>
                  </a:lnTo>
                  <a:lnTo>
                    <a:pt x="1386" y="8762"/>
                  </a:lnTo>
                  <a:lnTo>
                    <a:pt x="1609" y="7957"/>
                  </a:lnTo>
                  <a:lnTo>
                    <a:pt x="1922" y="7242"/>
                  </a:lnTo>
                  <a:lnTo>
                    <a:pt x="2056" y="6885"/>
                  </a:lnTo>
                  <a:lnTo>
                    <a:pt x="2235" y="6616"/>
                  </a:lnTo>
                  <a:lnTo>
                    <a:pt x="2414" y="6438"/>
                  </a:lnTo>
                  <a:lnTo>
                    <a:pt x="2593" y="6259"/>
                  </a:lnTo>
                  <a:lnTo>
                    <a:pt x="3174" y="6840"/>
                  </a:lnTo>
                  <a:lnTo>
                    <a:pt x="3934" y="7734"/>
                  </a:lnTo>
                  <a:lnTo>
                    <a:pt x="5856" y="9969"/>
                  </a:lnTo>
                  <a:lnTo>
                    <a:pt x="6839" y="11086"/>
                  </a:lnTo>
                  <a:lnTo>
                    <a:pt x="7778" y="12025"/>
                  </a:lnTo>
                  <a:lnTo>
                    <a:pt x="8180" y="12427"/>
                  </a:lnTo>
                  <a:lnTo>
                    <a:pt x="8582" y="12696"/>
                  </a:lnTo>
                  <a:lnTo>
                    <a:pt x="8895" y="12919"/>
                  </a:lnTo>
                  <a:lnTo>
                    <a:pt x="9163" y="13008"/>
                  </a:lnTo>
                  <a:lnTo>
                    <a:pt x="9923" y="13053"/>
                  </a:lnTo>
                  <a:lnTo>
                    <a:pt x="10728" y="13053"/>
                  </a:lnTo>
                  <a:lnTo>
                    <a:pt x="11532" y="13008"/>
                  </a:lnTo>
                  <a:lnTo>
                    <a:pt x="12292" y="12874"/>
                  </a:lnTo>
                  <a:lnTo>
                    <a:pt x="13052" y="12785"/>
                  </a:lnTo>
                  <a:lnTo>
                    <a:pt x="13678" y="12651"/>
                  </a:lnTo>
                  <a:lnTo>
                    <a:pt x="14170" y="12472"/>
                  </a:lnTo>
                  <a:lnTo>
                    <a:pt x="14483" y="12338"/>
                  </a:lnTo>
                  <a:lnTo>
                    <a:pt x="14840" y="12114"/>
                  </a:lnTo>
                  <a:lnTo>
                    <a:pt x="15198" y="11846"/>
                  </a:lnTo>
                  <a:lnTo>
                    <a:pt x="15555" y="11533"/>
                  </a:lnTo>
                  <a:lnTo>
                    <a:pt x="15824" y="11220"/>
                  </a:lnTo>
                  <a:lnTo>
                    <a:pt x="15958" y="11086"/>
                  </a:lnTo>
                  <a:lnTo>
                    <a:pt x="16002" y="10908"/>
                  </a:lnTo>
                  <a:lnTo>
                    <a:pt x="16047" y="10773"/>
                  </a:lnTo>
                  <a:lnTo>
                    <a:pt x="16047" y="10639"/>
                  </a:lnTo>
                  <a:lnTo>
                    <a:pt x="16002" y="10505"/>
                  </a:lnTo>
                  <a:lnTo>
                    <a:pt x="15913" y="10371"/>
                  </a:lnTo>
                  <a:lnTo>
                    <a:pt x="15734" y="10282"/>
                  </a:lnTo>
                  <a:lnTo>
                    <a:pt x="15511" y="10192"/>
                  </a:lnTo>
                  <a:lnTo>
                    <a:pt x="14974" y="10014"/>
                  </a:lnTo>
                  <a:lnTo>
                    <a:pt x="14483" y="9790"/>
                  </a:lnTo>
                  <a:lnTo>
                    <a:pt x="13499" y="9343"/>
                  </a:lnTo>
                  <a:lnTo>
                    <a:pt x="12605" y="8851"/>
                  </a:lnTo>
                  <a:lnTo>
                    <a:pt x="11801" y="8404"/>
                  </a:lnTo>
                  <a:lnTo>
                    <a:pt x="11175" y="7957"/>
                  </a:lnTo>
                  <a:lnTo>
                    <a:pt x="10683" y="7600"/>
                  </a:lnTo>
                  <a:lnTo>
                    <a:pt x="10236" y="7242"/>
                  </a:lnTo>
                  <a:lnTo>
                    <a:pt x="10057" y="7242"/>
                  </a:lnTo>
                  <a:lnTo>
                    <a:pt x="10013" y="7332"/>
                  </a:lnTo>
                  <a:lnTo>
                    <a:pt x="9968" y="7510"/>
                  </a:lnTo>
                  <a:lnTo>
                    <a:pt x="9879" y="7644"/>
                  </a:lnTo>
                  <a:lnTo>
                    <a:pt x="9789" y="7823"/>
                  </a:lnTo>
                  <a:lnTo>
                    <a:pt x="9610" y="7913"/>
                  </a:lnTo>
                  <a:lnTo>
                    <a:pt x="9387" y="7957"/>
                  </a:lnTo>
                  <a:lnTo>
                    <a:pt x="9074" y="7957"/>
                  </a:lnTo>
                  <a:lnTo>
                    <a:pt x="8627" y="7868"/>
                  </a:lnTo>
                  <a:lnTo>
                    <a:pt x="8135" y="7689"/>
                  </a:lnTo>
                  <a:lnTo>
                    <a:pt x="7733" y="7466"/>
                  </a:lnTo>
                  <a:lnTo>
                    <a:pt x="7331" y="7198"/>
                  </a:lnTo>
                  <a:lnTo>
                    <a:pt x="6973" y="6840"/>
                  </a:lnTo>
                  <a:lnTo>
                    <a:pt x="6571" y="6438"/>
                  </a:lnTo>
                  <a:lnTo>
                    <a:pt x="6213" y="5991"/>
                  </a:lnTo>
                  <a:lnTo>
                    <a:pt x="5856" y="5499"/>
                  </a:lnTo>
                  <a:lnTo>
                    <a:pt x="5140" y="4426"/>
                  </a:lnTo>
                  <a:lnTo>
                    <a:pt x="4559" y="3264"/>
                  </a:lnTo>
                  <a:lnTo>
                    <a:pt x="4023" y="2191"/>
                  </a:lnTo>
                  <a:lnTo>
                    <a:pt x="3576" y="1163"/>
                  </a:lnTo>
                  <a:lnTo>
                    <a:pt x="3308" y="269"/>
                  </a:lnTo>
                  <a:lnTo>
                    <a:pt x="3218" y="90"/>
                  </a:lnTo>
                  <a:lnTo>
                    <a:pt x="3084" y="1"/>
                  </a:lnTo>
                  <a:close/>
                </a:path>
              </a:pathLst>
            </a:custGeom>
            <a:solidFill>
              <a:srgbClr val="603A3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7" name="Google Shape;2276;p11">
              <a:extLst>
                <a:ext uri="{FF2B5EF4-FFF2-40B4-BE49-F238E27FC236}">
                  <a16:creationId xmlns:a16="http://schemas.microsoft.com/office/drawing/2014/main" id="{6509ECD6-8C74-083C-1D26-1D8B455FE4E7}"/>
                </a:ext>
              </a:extLst>
            </p:cNvPr>
            <p:cNvSpPr/>
            <p:nvPr/>
          </p:nvSpPr>
          <p:spPr>
            <a:xfrm>
              <a:off x="8869157" y="1312298"/>
              <a:ext cx="319406" cy="393861"/>
            </a:xfrm>
            <a:custGeom>
              <a:avLst/>
              <a:gdLst/>
              <a:ahLst/>
              <a:cxnLst/>
              <a:rect l="l" t="t" r="r" b="b"/>
              <a:pathLst>
                <a:path w="51003" h="62892" extrusionOk="0">
                  <a:moveTo>
                    <a:pt x="6571" y="0"/>
                  </a:moveTo>
                  <a:lnTo>
                    <a:pt x="6392" y="45"/>
                  </a:lnTo>
                  <a:lnTo>
                    <a:pt x="6169" y="134"/>
                  </a:lnTo>
                  <a:lnTo>
                    <a:pt x="5990" y="224"/>
                  </a:lnTo>
                  <a:lnTo>
                    <a:pt x="671" y="4604"/>
                  </a:lnTo>
                  <a:lnTo>
                    <a:pt x="581" y="4738"/>
                  </a:lnTo>
                  <a:lnTo>
                    <a:pt x="447" y="4872"/>
                  </a:lnTo>
                  <a:lnTo>
                    <a:pt x="403" y="5006"/>
                  </a:lnTo>
                  <a:lnTo>
                    <a:pt x="313" y="5185"/>
                  </a:lnTo>
                  <a:lnTo>
                    <a:pt x="224" y="5722"/>
                  </a:lnTo>
                  <a:lnTo>
                    <a:pt x="90" y="6481"/>
                  </a:lnTo>
                  <a:lnTo>
                    <a:pt x="0" y="7331"/>
                  </a:lnTo>
                  <a:lnTo>
                    <a:pt x="0" y="8269"/>
                  </a:lnTo>
                  <a:lnTo>
                    <a:pt x="0" y="8716"/>
                  </a:lnTo>
                  <a:lnTo>
                    <a:pt x="45" y="9163"/>
                  </a:lnTo>
                  <a:lnTo>
                    <a:pt x="90" y="9610"/>
                  </a:lnTo>
                  <a:lnTo>
                    <a:pt x="179" y="10057"/>
                  </a:lnTo>
                  <a:lnTo>
                    <a:pt x="313" y="10415"/>
                  </a:lnTo>
                  <a:lnTo>
                    <a:pt x="492" y="10773"/>
                  </a:lnTo>
                  <a:lnTo>
                    <a:pt x="715" y="11130"/>
                  </a:lnTo>
                  <a:lnTo>
                    <a:pt x="984" y="11354"/>
                  </a:lnTo>
                  <a:lnTo>
                    <a:pt x="1967" y="12069"/>
                  </a:lnTo>
                  <a:lnTo>
                    <a:pt x="2861" y="12695"/>
                  </a:lnTo>
                  <a:lnTo>
                    <a:pt x="3710" y="13231"/>
                  </a:lnTo>
                  <a:lnTo>
                    <a:pt x="4515" y="13633"/>
                  </a:lnTo>
                  <a:lnTo>
                    <a:pt x="5230" y="13991"/>
                  </a:lnTo>
                  <a:lnTo>
                    <a:pt x="5901" y="14259"/>
                  </a:lnTo>
                  <a:lnTo>
                    <a:pt x="6526" y="14438"/>
                  </a:lnTo>
                  <a:lnTo>
                    <a:pt x="7107" y="14572"/>
                  </a:lnTo>
                  <a:lnTo>
                    <a:pt x="7644" y="14661"/>
                  </a:lnTo>
                  <a:lnTo>
                    <a:pt x="8091" y="14706"/>
                  </a:lnTo>
                  <a:lnTo>
                    <a:pt x="8538" y="14706"/>
                  </a:lnTo>
                  <a:lnTo>
                    <a:pt x="8940" y="14661"/>
                  </a:lnTo>
                  <a:lnTo>
                    <a:pt x="9253" y="14572"/>
                  </a:lnTo>
                  <a:lnTo>
                    <a:pt x="9521" y="14483"/>
                  </a:lnTo>
                  <a:lnTo>
                    <a:pt x="9968" y="14304"/>
                  </a:lnTo>
                  <a:lnTo>
                    <a:pt x="10192" y="14080"/>
                  </a:lnTo>
                  <a:lnTo>
                    <a:pt x="10594" y="13499"/>
                  </a:lnTo>
                  <a:lnTo>
                    <a:pt x="11667" y="11890"/>
                  </a:lnTo>
                  <a:lnTo>
                    <a:pt x="12740" y="10281"/>
                  </a:lnTo>
                  <a:lnTo>
                    <a:pt x="13142" y="9789"/>
                  </a:lnTo>
                  <a:lnTo>
                    <a:pt x="13276" y="9655"/>
                  </a:lnTo>
                  <a:lnTo>
                    <a:pt x="13365" y="9610"/>
                  </a:lnTo>
                  <a:lnTo>
                    <a:pt x="15958" y="11488"/>
                  </a:lnTo>
                  <a:lnTo>
                    <a:pt x="21813" y="15779"/>
                  </a:lnTo>
                  <a:lnTo>
                    <a:pt x="25032" y="18193"/>
                  </a:lnTo>
                  <a:lnTo>
                    <a:pt x="27982" y="20428"/>
                  </a:lnTo>
                  <a:lnTo>
                    <a:pt x="29234" y="21456"/>
                  </a:lnTo>
                  <a:lnTo>
                    <a:pt x="30262" y="22305"/>
                  </a:lnTo>
                  <a:lnTo>
                    <a:pt x="31066" y="22976"/>
                  </a:lnTo>
                  <a:lnTo>
                    <a:pt x="31558" y="23467"/>
                  </a:lnTo>
                  <a:lnTo>
                    <a:pt x="31737" y="23780"/>
                  </a:lnTo>
                  <a:lnTo>
                    <a:pt x="31960" y="24227"/>
                  </a:lnTo>
                  <a:lnTo>
                    <a:pt x="32184" y="24898"/>
                  </a:lnTo>
                  <a:lnTo>
                    <a:pt x="32452" y="25702"/>
                  </a:lnTo>
                  <a:lnTo>
                    <a:pt x="33122" y="27714"/>
                  </a:lnTo>
                  <a:lnTo>
                    <a:pt x="33838" y="30261"/>
                  </a:lnTo>
                  <a:lnTo>
                    <a:pt x="34597" y="33167"/>
                  </a:lnTo>
                  <a:lnTo>
                    <a:pt x="35447" y="36341"/>
                  </a:lnTo>
                  <a:lnTo>
                    <a:pt x="37145" y="43135"/>
                  </a:lnTo>
                  <a:lnTo>
                    <a:pt x="38754" y="49840"/>
                  </a:lnTo>
                  <a:lnTo>
                    <a:pt x="40095" y="55651"/>
                  </a:lnTo>
                  <a:lnTo>
                    <a:pt x="41392" y="61283"/>
                  </a:lnTo>
                  <a:lnTo>
                    <a:pt x="41526" y="61506"/>
                  </a:lnTo>
                  <a:lnTo>
                    <a:pt x="41660" y="61730"/>
                  </a:lnTo>
                  <a:lnTo>
                    <a:pt x="41883" y="61909"/>
                  </a:lnTo>
                  <a:lnTo>
                    <a:pt x="42107" y="61998"/>
                  </a:lnTo>
                  <a:lnTo>
                    <a:pt x="44878" y="62847"/>
                  </a:lnTo>
                  <a:lnTo>
                    <a:pt x="45057" y="62892"/>
                  </a:lnTo>
                  <a:lnTo>
                    <a:pt x="45191" y="62892"/>
                  </a:lnTo>
                  <a:lnTo>
                    <a:pt x="50019" y="62758"/>
                  </a:lnTo>
                  <a:lnTo>
                    <a:pt x="50198" y="62758"/>
                  </a:lnTo>
                  <a:lnTo>
                    <a:pt x="50376" y="62713"/>
                  </a:lnTo>
                  <a:lnTo>
                    <a:pt x="50555" y="62624"/>
                  </a:lnTo>
                  <a:lnTo>
                    <a:pt x="50689" y="62490"/>
                  </a:lnTo>
                  <a:lnTo>
                    <a:pt x="50779" y="62356"/>
                  </a:lnTo>
                  <a:lnTo>
                    <a:pt x="50868" y="62221"/>
                  </a:lnTo>
                  <a:lnTo>
                    <a:pt x="51002" y="61909"/>
                  </a:lnTo>
                  <a:lnTo>
                    <a:pt x="51002" y="61551"/>
                  </a:lnTo>
                  <a:lnTo>
                    <a:pt x="50957" y="61372"/>
                  </a:lnTo>
                  <a:lnTo>
                    <a:pt x="50868" y="61238"/>
                  </a:lnTo>
                  <a:lnTo>
                    <a:pt x="50779" y="61104"/>
                  </a:lnTo>
                  <a:lnTo>
                    <a:pt x="50644" y="60970"/>
                  </a:lnTo>
                  <a:lnTo>
                    <a:pt x="50510" y="60836"/>
                  </a:lnTo>
                  <a:lnTo>
                    <a:pt x="50332" y="60746"/>
                  </a:lnTo>
                  <a:lnTo>
                    <a:pt x="50242" y="60702"/>
                  </a:lnTo>
                  <a:lnTo>
                    <a:pt x="49348" y="60299"/>
                  </a:lnTo>
                  <a:lnTo>
                    <a:pt x="48544" y="59852"/>
                  </a:lnTo>
                  <a:lnTo>
                    <a:pt x="47873" y="59405"/>
                  </a:lnTo>
                  <a:lnTo>
                    <a:pt x="47337" y="58958"/>
                  </a:lnTo>
                  <a:lnTo>
                    <a:pt x="46890" y="58467"/>
                  </a:lnTo>
                  <a:lnTo>
                    <a:pt x="46487" y="57975"/>
                  </a:lnTo>
                  <a:lnTo>
                    <a:pt x="46175" y="57439"/>
                  </a:lnTo>
                  <a:lnTo>
                    <a:pt x="45951" y="56858"/>
                  </a:lnTo>
                  <a:lnTo>
                    <a:pt x="45817" y="56232"/>
                  </a:lnTo>
                  <a:lnTo>
                    <a:pt x="45683" y="55025"/>
                  </a:lnTo>
                  <a:lnTo>
                    <a:pt x="45325" y="51136"/>
                  </a:lnTo>
                  <a:lnTo>
                    <a:pt x="44834" y="45817"/>
                  </a:lnTo>
                  <a:lnTo>
                    <a:pt x="44208" y="39738"/>
                  </a:lnTo>
                  <a:lnTo>
                    <a:pt x="43895" y="36564"/>
                  </a:lnTo>
                  <a:lnTo>
                    <a:pt x="43493" y="33435"/>
                  </a:lnTo>
                  <a:lnTo>
                    <a:pt x="43090" y="30396"/>
                  </a:lnTo>
                  <a:lnTo>
                    <a:pt x="42643" y="27580"/>
                  </a:lnTo>
                  <a:lnTo>
                    <a:pt x="42196" y="25032"/>
                  </a:lnTo>
                  <a:lnTo>
                    <a:pt x="41928" y="23869"/>
                  </a:lnTo>
                  <a:lnTo>
                    <a:pt x="41660" y="22841"/>
                  </a:lnTo>
                  <a:lnTo>
                    <a:pt x="41392" y="21858"/>
                  </a:lnTo>
                  <a:lnTo>
                    <a:pt x="41124" y="21053"/>
                  </a:lnTo>
                  <a:lnTo>
                    <a:pt x="40811" y="20338"/>
                  </a:lnTo>
                  <a:lnTo>
                    <a:pt x="40542" y="19757"/>
                  </a:lnTo>
                  <a:lnTo>
                    <a:pt x="40006" y="18908"/>
                  </a:lnTo>
                  <a:lnTo>
                    <a:pt x="39291" y="17924"/>
                  </a:lnTo>
                  <a:lnTo>
                    <a:pt x="38442" y="16852"/>
                  </a:lnTo>
                  <a:lnTo>
                    <a:pt x="37503" y="15690"/>
                  </a:lnTo>
                  <a:lnTo>
                    <a:pt x="36520" y="14438"/>
                  </a:lnTo>
                  <a:lnTo>
                    <a:pt x="35402" y="13186"/>
                  </a:lnTo>
                  <a:lnTo>
                    <a:pt x="33122" y="10683"/>
                  </a:lnTo>
                  <a:lnTo>
                    <a:pt x="31916" y="9432"/>
                  </a:lnTo>
                  <a:lnTo>
                    <a:pt x="30798" y="8269"/>
                  </a:lnTo>
                  <a:lnTo>
                    <a:pt x="29681" y="7197"/>
                  </a:lnTo>
                  <a:lnTo>
                    <a:pt x="28608" y="6213"/>
                  </a:lnTo>
                  <a:lnTo>
                    <a:pt x="27669" y="5319"/>
                  </a:lnTo>
                  <a:lnTo>
                    <a:pt x="26775" y="4604"/>
                  </a:lnTo>
                  <a:lnTo>
                    <a:pt x="26015" y="4068"/>
                  </a:lnTo>
                  <a:lnTo>
                    <a:pt x="25434" y="3710"/>
                  </a:lnTo>
                  <a:lnTo>
                    <a:pt x="25211" y="3621"/>
                  </a:lnTo>
                  <a:lnTo>
                    <a:pt x="24987" y="3576"/>
                  </a:lnTo>
                  <a:lnTo>
                    <a:pt x="24764" y="3531"/>
                  </a:lnTo>
                  <a:lnTo>
                    <a:pt x="24585" y="3531"/>
                  </a:lnTo>
                  <a:lnTo>
                    <a:pt x="24406" y="3576"/>
                  </a:lnTo>
                  <a:lnTo>
                    <a:pt x="24272" y="3665"/>
                  </a:lnTo>
                  <a:lnTo>
                    <a:pt x="23959" y="3844"/>
                  </a:lnTo>
                  <a:lnTo>
                    <a:pt x="23736" y="4112"/>
                  </a:lnTo>
                  <a:lnTo>
                    <a:pt x="23512" y="4425"/>
                  </a:lnTo>
                  <a:lnTo>
                    <a:pt x="23378" y="4783"/>
                  </a:lnTo>
                  <a:lnTo>
                    <a:pt x="23244" y="5141"/>
                  </a:lnTo>
                  <a:lnTo>
                    <a:pt x="23065" y="5722"/>
                  </a:lnTo>
                  <a:lnTo>
                    <a:pt x="22976" y="6258"/>
                  </a:lnTo>
                  <a:lnTo>
                    <a:pt x="22931" y="6750"/>
                  </a:lnTo>
                  <a:lnTo>
                    <a:pt x="21501" y="5990"/>
                  </a:lnTo>
                  <a:lnTo>
                    <a:pt x="19802" y="5096"/>
                  </a:lnTo>
                  <a:lnTo>
                    <a:pt x="16047" y="3263"/>
                  </a:lnTo>
                  <a:lnTo>
                    <a:pt x="12695" y="1654"/>
                  </a:lnTo>
                  <a:lnTo>
                    <a:pt x="11443" y="1028"/>
                  </a:lnTo>
                  <a:lnTo>
                    <a:pt x="10639" y="626"/>
                  </a:lnTo>
                  <a:lnTo>
                    <a:pt x="10460" y="536"/>
                  </a:lnTo>
                  <a:lnTo>
                    <a:pt x="10281" y="492"/>
                  </a:lnTo>
                  <a:lnTo>
                    <a:pt x="6795" y="0"/>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8" name="Google Shape;2277;p11">
              <a:extLst>
                <a:ext uri="{FF2B5EF4-FFF2-40B4-BE49-F238E27FC236}">
                  <a16:creationId xmlns:a16="http://schemas.microsoft.com/office/drawing/2014/main" id="{AE9EE37D-CEE0-F7E7-635C-BF664490707C}"/>
                </a:ext>
              </a:extLst>
            </p:cNvPr>
            <p:cNvSpPr/>
            <p:nvPr/>
          </p:nvSpPr>
          <p:spPr>
            <a:xfrm>
              <a:off x="8869157" y="1312298"/>
              <a:ext cx="319406" cy="393861"/>
            </a:xfrm>
            <a:custGeom>
              <a:avLst/>
              <a:gdLst/>
              <a:ahLst/>
              <a:cxnLst/>
              <a:rect l="l" t="t" r="r" b="b"/>
              <a:pathLst>
                <a:path w="51003" h="62892" fill="none" extrusionOk="0">
                  <a:moveTo>
                    <a:pt x="6795" y="0"/>
                  </a:moveTo>
                  <a:lnTo>
                    <a:pt x="10281" y="492"/>
                  </a:lnTo>
                  <a:lnTo>
                    <a:pt x="10281" y="492"/>
                  </a:lnTo>
                  <a:lnTo>
                    <a:pt x="10460" y="536"/>
                  </a:lnTo>
                  <a:lnTo>
                    <a:pt x="10639" y="626"/>
                  </a:lnTo>
                  <a:lnTo>
                    <a:pt x="10639" y="626"/>
                  </a:lnTo>
                  <a:lnTo>
                    <a:pt x="11443" y="1028"/>
                  </a:lnTo>
                  <a:lnTo>
                    <a:pt x="12695" y="1654"/>
                  </a:lnTo>
                  <a:lnTo>
                    <a:pt x="16047" y="3263"/>
                  </a:lnTo>
                  <a:lnTo>
                    <a:pt x="19802" y="5096"/>
                  </a:lnTo>
                  <a:lnTo>
                    <a:pt x="21501" y="5990"/>
                  </a:lnTo>
                  <a:lnTo>
                    <a:pt x="22931" y="6750"/>
                  </a:lnTo>
                  <a:lnTo>
                    <a:pt x="22931" y="6750"/>
                  </a:lnTo>
                  <a:lnTo>
                    <a:pt x="22976" y="6258"/>
                  </a:lnTo>
                  <a:lnTo>
                    <a:pt x="23065" y="5722"/>
                  </a:lnTo>
                  <a:lnTo>
                    <a:pt x="23244" y="5141"/>
                  </a:lnTo>
                  <a:lnTo>
                    <a:pt x="23244" y="5141"/>
                  </a:lnTo>
                  <a:lnTo>
                    <a:pt x="23378" y="4783"/>
                  </a:lnTo>
                  <a:lnTo>
                    <a:pt x="23512" y="4425"/>
                  </a:lnTo>
                  <a:lnTo>
                    <a:pt x="23736" y="4112"/>
                  </a:lnTo>
                  <a:lnTo>
                    <a:pt x="23959" y="3844"/>
                  </a:lnTo>
                  <a:lnTo>
                    <a:pt x="24272" y="3665"/>
                  </a:lnTo>
                  <a:lnTo>
                    <a:pt x="24406" y="3576"/>
                  </a:lnTo>
                  <a:lnTo>
                    <a:pt x="24585" y="3531"/>
                  </a:lnTo>
                  <a:lnTo>
                    <a:pt x="24764" y="3531"/>
                  </a:lnTo>
                  <a:lnTo>
                    <a:pt x="24987" y="3576"/>
                  </a:lnTo>
                  <a:lnTo>
                    <a:pt x="25211" y="3621"/>
                  </a:lnTo>
                  <a:lnTo>
                    <a:pt x="25434" y="3710"/>
                  </a:lnTo>
                  <a:lnTo>
                    <a:pt x="25434" y="3710"/>
                  </a:lnTo>
                  <a:lnTo>
                    <a:pt x="26015" y="4068"/>
                  </a:lnTo>
                  <a:lnTo>
                    <a:pt x="26775" y="4604"/>
                  </a:lnTo>
                  <a:lnTo>
                    <a:pt x="27669" y="5319"/>
                  </a:lnTo>
                  <a:lnTo>
                    <a:pt x="28608" y="6213"/>
                  </a:lnTo>
                  <a:lnTo>
                    <a:pt x="29681" y="7197"/>
                  </a:lnTo>
                  <a:lnTo>
                    <a:pt x="30798" y="8269"/>
                  </a:lnTo>
                  <a:lnTo>
                    <a:pt x="31916" y="9432"/>
                  </a:lnTo>
                  <a:lnTo>
                    <a:pt x="33122" y="10683"/>
                  </a:lnTo>
                  <a:lnTo>
                    <a:pt x="35402" y="13186"/>
                  </a:lnTo>
                  <a:lnTo>
                    <a:pt x="36520" y="14438"/>
                  </a:lnTo>
                  <a:lnTo>
                    <a:pt x="37503" y="15690"/>
                  </a:lnTo>
                  <a:lnTo>
                    <a:pt x="38442" y="16852"/>
                  </a:lnTo>
                  <a:lnTo>
                    <a:pt x="39291" y="17924"/>
                  </a:lnTo>
                  <a:lnTo>
                    <a:pt x="40006" y="18908"/>
                  </a:lnTo>
                  <a:lnTo>
                    <a:pt x="40542" y="19757"/>
                  </a:lnTo>
                  <a:lnTo>
                    <a:pt x="40542" y="19757"/>
                  </a:lnTo>
                  <a:lnTo>
                    <a:pt x="40811" y="20338"/>
                  </a:lnTo>
                  <a:lnTo>
                    <a:pt x="41124" y="21053"/>
                  </a:lnTo>
                  <a:lnTo>
                    <a:pt x="41392" y="21858"/>
                  </a:lnTo>
                  <a:lnTo>
                    <a:pt x="41660" y="22841"/>
                  </a:lnTo>
                  <a:lnTo>
                    <a:pt x="41928" y="23869"/>
                  </a:lnTo>
                  <a:lnTo>
                    <a:pt x="42196" y="25032"/>
                  </a:lnTo>
                  <a:lnTo>
                    <a:pt x="42643" y="27580"/>
                  </a:lnTo>
                  <a:lnTo>
                    <a:pt x="43090" y="30396"/>
                  </a:lnTo>
                  <a:lnTo>
                    <a:pt x="43493" y="33435"/>
                  </a:lnTo>
                  <a:lnTo>
                    <a:pt x="43895" y="36564"/>
                  </a:lnTo>
                  <a:lnTo>
                    <a:pt x="44208" y="39738"/>
                  </a:lnTo>
                  <a:lnTo>
                    <a:pt x="44834" y="45817"/>
                  </a:lnTo>
                  <a:lnTo>
                    <a:pt x="45325" y="51136"/>
                  </a:lnTo>
                  <a:lnTo>
                    <a:pt x="45683" y="55025"/>
                  </a:lnTo>
                  <a:lnTo>
                    <a:pt x="45817" y="56232"/>
                  </a:lnTo>
                  <a:lnTo>
                    <a:pt x="45951" y="56858"/>
                  </a:lnTo>
                  <a:lnTo>
                    <a:pt x="45951" y="56858"/>
                  </a:lnTo>
                  <a:lnTo>
                    <a:pt x="46175" y="57439"/>
                  </a:lnTo>
                  <a:lnTo>
                    <a:pt x="46487" y="57975"/>
                  </a:lnTo>
                  <a:lnTo>
                    <a:pt x="46890" y="58467"/>
                  </a:lnTo>
                  <a:lnTo>
                    <a:pt x="47337" y="58958"/>
                  </a:lnTo>
                  <a:lnTo>
                    <a:pt x="47873" y="59405"/>
                  </a:lnTo>
                  <a:lnTo>
                    <a:pt x="48544" y="59852"/>
                  </a:lnTo>
                  <a:lnTo>
                    <a:pt x="49348" y="60299"/>
                  </a:lnTo>
                  <a:lnTo>
                    <a:pt x="50242" y="60702"/>
                  </a:lnTo>
                  <a:lnTo>
                    <a:pt x="50242" y="60702"/>
                  </a:lnTo>
                  <a:lnTo>
                    <a:pt x="50332" y="60746"/>
                  </a:lnTo>
                  <a:lnTo>
                    <a:pt x="50332" y="60746"/>
                  </a:lnTo>
                  <a:lnTo>
                    <a:pt x="50510" y="60836"/>
                  </a:lnTo>
                  <a:lnTo>
                    <a:pt x="50644" y="60970"/>
                  </a:lnTo>
                  <a:lnTo>
                    <a:pt x="50779" y="61104"/>
                  </a:lnTo>
                  <a:lnTo>
                    <a:pt x="50868" y="61238"/>
                  </a:lnTo>
                  <a:lnTo>
                    <a:pt x="50957" y="61372"/>
                  </a:lnTo>
                  <a:lnTo>
                    <a:pt x="51002" y="61551"/>
                  </a:lnTo>
                  <a:lnTo>
                    <a:pt x="51002" y="61909"/>
                  </a:lnTo>
                  <a:lnTo>
                    <a:pt x="50868" y="62221"/>
                  </a:lnTo>
                  <a:lnTo>
                    <a:pt x="50779" y="62356"/>
                  </a:lnTo>
                  <a:lnTo>
                    <a:pt x="50689" y="62490"/>
                  </a:lnTo>
                  <a:lnTo>
                    <a:pt x="50555" y="62624"/>
                  </a:lnTo>
                  <a:lnTo>
                    <a:pt x="50376" y="62713"/>
                  </a:lnTo>
                  <a:lnTo>
                    <a:pt x="50198" y="62758"/>
                  </a:lnTo>
                  <a:lnTo>
                    <a:pt x="50019" y="62758"/>
                  </a:lnTo>
                  <a:lnTo>
                    <a:pt x="45191" y="62892"/>
                  </a:lnTo>
                  <a:lnTo>
                    <a:pt x="45191" y="62892"/>
                  </a:lnTo>
                  <a:lnTo>
                    <a:pt x="45057" y="62892"/>
                  </a:lnTo>
                  <a:lnTo>
                    <a:pt x="44878" y="62847"/>
                  </a:lnTo>
                  <a:lnTo>
                    <a:pt x="42107" y="61998"/>
                  </a:lnTo>
                  <a:lnTo>
                    <a:pt x="42107" y="61998"/>
                  </a:lnTo>
                  <a:lnTo>
                    <a:pt x="41883" y="61909"/>
                  </a:lnTo>
                  <a:lnTo>
                    <a:pt x="41660" y="61730"/>
                  </a:lnTo>
                  <a:lnTo>
                    <a:pt x="41526" y="61506"/>
                  </a:lnTo>
                  <a:lnTo>
                    <a:pt x="41392" y="61283"/>
                  </a:lnTo>
                  <a:lnTo>
                    <a:pt x="41392" y="61283"/>
                  </a:lnTo>
                  <a:lnTo>
                    <a:pt x="40095" y="55651"/>
                  </a:lnTo>
                  <a:lnTo>
                    <a:pt x="38754" y="49840"/>
                  </a:lnTo>
                  <a:lnTo>
                    <a:pt x="37145" y="43135"/>
                  </a:lnTo>
                  <a:lnTo>
                    <a:pt x="35447" y="36341"/>
                  </a:lnTo>
                  <a:lnTo>
                    <a:pt x="34597" y="33167"/>
                  </a:lnTo>
                  <a:lnTo>
                    <a:pt x="33838" y="30261"/>
                  </a:lnTo>
                  <a:lnTo>
                    <a:pt x="33122" y="27714"/>
                  </a:lnTo>
                  <a:lnTo>
                    <a:pt x="32452" y="25702"/>
                  </a:lnTo>
                  <a:lnTo>
                    <a:pt x="32184" y="24898"/>
                  </a:lnTo>
                  <a:lnTo>
                    <a:pt x="31960" y="24227"/>
                  </a:lnTo>
                  <a:lnTo>
                    <a:pt x="31737" y="23780"/>
                  </a:lnTo>
                  <a:lnTo>
                    <a:pt x="31558" y="23467"/>
                  </a:lnTo>
                  <a:lnTo>
                    <a:pt x="31558" y="23467"/>
                  </a:lnTo>
                  <a:lnTo>
                    <a:pt x="31066" y="22976"/>
                  </a:lnTo>
                  <a:lnTo>
                    <a:pt x="30262" y="22305"/>
                  </a:lnTo>
                  <a:lnTo>
                    <a:pt x="29234" y="21456"/>
                  </a:lnTo>
                  <a:lnTo>
                    <a:pt x="27982" y="20428"/>
                  </a:lnTo>
                  <a:lnTo>
                    <a:pt x="25032" y="18193"/>
                  </a:lnTo>
                  <a:lnTo>
                    <a:pt x="21813" y="15779"/>
                  </a:lnTo>
                  <a:lnTo>
                    <a:pt x="15958" y="11488"/>
                  </a:lnTo>
                  <a:lnTo>
                    <a:pt x="13365" y="9610"/>
                  </a:lnTo>
                  <a:lnTo>
                    <a:pt x="13365" y="9610"/>
                  </a:lnTo>
                  <a:lnTo>
                    <a:pt x="13276" y="9655"/>
                  </a:lnTo>
                  <a:lnTo>
                    <a:pt x="13142" y="9789"/>
                  </a:lnTo>
                  <a:lnTo>
                    <a:pt x="12740" y="10281"/>
                  </a:lnTo>
                  <a:lnTo>
                    <a:pt x="11667" y="11890"/>
                  </a:lnTo>
                  <a:lnTo>
                    <a:pt x="10594" y="13499"/>
                  </a:lnTo>
                  <a:lnTo>
                    <a:pt x="10192" y="14080"/>
                  </a:lnTo>
                  <a:lnTo>
                    <a:pt x="9968" y="14304"/>
                  </a:lnTo>
                  <a:lnTo>
                    <a:pt x="9968" y="14304"/>
                  </a:lnTo>
                  <a:lnTo>
                    <a:pt x="9521" y="14483"/>
                  </a:lnTo>
                  <a:lnTo>
                    <a:pt x="9253" y="14572"/>
                  </a:lnTo>
                  <a:lnTo>
                    <a:pt x="8940" y="14661"/>
                  </a:lnTo>
                  <a:lnTo>
                    <a:pt x="8538" y="14706"/>
                  </a:lnTo>
                  <a:lnTo>
                    <a:pt x="8091" y="14706"/>
                  </a:lnTo>
                  <a:lnTo>
                    <a:pt x="7644" y="14661"/>
                  </a:lnTo>
                  <a:lnTo>
                    <a:pt x="7107" y="14572"/>
                  </a:lnTo>
                  <a:lnTo>
                    <a:pt x="6526" y="14438"/>
                  </a:lnTo>
                  <a:lnTo>
                    <a:pt x="5901" y="14259"/>
                  </a:lnTo>
                  <a:lnTo>
                    <a:pt x="5230" y="13991"/>
                  </a:lnTo>
                  <a:lnTo>
                    <a:pt x="4515" y="13633"/>
                  </a:lnTo>
                  <a:lnTo>
                    <a:pt x="3710" y="13231"/>
                  </a:lnTo>
                  <a:lnTo>
                    <a:pt x="2861" y="12695"/>
                  </a:lnTo>
                  <a:lnTo>
                    <a:pt x="1967" y="12069"/>
                  </a:lnTo>
                  <a:lnTo>
                    <a:pt x="984" y="11354"/>
                  </a:lnTo>
                  <a:lnTo>
                    <a:pt x="984" y="11354"/>
                  </a:lnTo>
                  <a:lnTo>
                    <a:pt x="715" y="11130"/>
                  </a:lnTo>
                  <a:lnTo>
                    <a:pt x="492" y="10773"/>
                  </a:lnTo>
                  <a:lnTo>
                    <a:pt x="313" y="10415"/>
                  </a:lnTo>
                  <a:lnTo>
                    <a:pt x="179" y="10057"/>
                  </a:lnTo>
                  <a:lnTo>
                    <a:pt x="90" y="9610"/>
                  </a:lnTo>
                  <a:lnTo>
                    <a:pt x="45" y="9163"/>
                  </a:lnTo>
                  <a:lnTo>
                    <a:pt x="0" y="8716"/>
                  </a:lnTo>
                  <a:lnTo>
                    <a:pt x="0" y="8269"/>
                  </a:lnTo>
                  <a:lnTo>
                    <a:pt x="0" y="7331"/>
                  </a:lnTo>
                  <a:lnTo>
                    <a:pt x="90" y="6481"/>
                  </a:lnTo>
                  <a:lnTo>
                    <a:pt x="224" y="5722"/>
                  </a:lnTo>
                  <a:lnTo>
                    <a:pt x="313" y="5185"/>
                  </a:lnTo>
                  <a:lnTo>
                    <a:pt x="313" y="5185"/>
                  </a:lnTo>
                  <a:lnTo>
                    <a:pt x="403" y="5006"/>
                  </a:lnTo>
                  <a:lnTo>
                    <a:pt x="447" y="4872"/>
                  </a:lnTo>
                  <a:lnTo>
                    <a:pt x="581" y="4738"/>
                  </a:lnTo>
                  <a:lnTo>
                    <a:pt x="671" y="4604"/>
                  </a:lnTo>
                  <a:lnTo>
                    <a:pt x="5990" y="224"/>
                  </a:lnTo>
                  <a:lnTo>
                    <a:pt x="5990" y="224"/>
                  </a:lnTo>
                  <a:lnTo>
                    <a:pt x="6169" y="134"/>
                  </a:lnTo>
                  <a:lnTo>
                    <a:pt x="6392" y="45"/>
                  </a:lnTo>
                  <a:lnTo>
                    <a:pt x="6571" y="0"/>
                  </a:lnTo>
                  <a:lnTo>
                    <a:pt x="6795"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9" name="Google Shape;2278;p11">
              <a:extLst>
                <a:ext uri="{FF2B5EF4-FFF2-40B4-BE49-F238E27FC236}">
                  <a16:creationId xmlns:a16="http://schemas.microsoft.com/office/drawing/2014/main" id="{FFE0408C-EE3B-6346-1BDE-B0EA435A5592}"/>
                </a:ext>
              </a:extLst>
            </p:cNvPr>
            <p:cNvSpPr/>
            <p:nvPr/>
          </p:nvSpPr>
          <p:spPr>
            <a:xfrm>
              <a:off x="9124447" y="1691317"/>
              <a:ext cx="108341" cy="48434"/>
            </a:xfrm>
            <a:custGeom>
              <a:avLst/>
              <a:gdLst/>
              <a:ahLst/>
              <a:cxnLst/>
              <a:rect l="l" t="t" r="r" b="b"/>
              <a:pathLst>
                <a:path w="17300" h="7734" extrusionOk="0">
                  <a:moveTo>
                    <a:pt x="403" y="1"/>
                  </a:moveTo>
                  <a:lnTo>
                    <a:pt x="269" y="90"/>
                  </a:lnTo>
                  <a:lnTo>
                    <a:pt x="180" y="269"/>
                  </a:lnTo>
                  <a:lnTo>
                    <a:pt x="90" y="671"/>
                  </a:lnTo>
                  <a:lnTo>
                    <a:pt x="1" y="1252"/>
                  </a:lnTo>
                  <a:lnTo>
                    <a:pt x="1" y="1878"/>
                  </a:lnTo>
                  <a:lnTo>
                    <a:pt x="46" y="2549"/>
                  </a:lnTo>
                  <a:lnTo>
                    <a:pt x="135" y="2906"/>
                  </a:lnTo>
                  <a:lnTo>
                    <a:pt x="224" y="3264"/>
                  </a:lnTo>
                  <a:lnTo>
                    <a:pt x="359" y="3621"/>
                  </a:lnTo>
                  <a:lnTo>
                    <a:pt x="537" y="3979"/>
                  </a:lnTo>
                  <a:lnTo>
                    <a:pt x="761" y="4337"/>
                  </a:lnTo>
                  <a:lnTo>
                    <a:pt x="1029" y="4694"/>
                  </a:lnTo>
                  <a:lnTo>
                    <a:pt x="1342" y="5007"/>
                  </a:lnTo>
                  <a:lnTo>
                    <a:pt x="1700" y="5320"/>
                  </a:lnTo>
                  <a:lnTo>
                    <a:pt x="2459" y="5856"/>
                  </a:lnTo>
                  <a:lnTo>
                    <a:pt x="3041" y="6348"/>
                  </a:lnTo>
                  <a:lnTo>
                    <a:pt x="3488" y="6750"/>
                  </a:lnTo>
                  <a:lnTo>
                    <a:pt x="3845" y="7108"/>
                  </a:lnTo>
                  <a:lnTo>
                    <a:pt x="4069" y="7376"/>
                  </a:lnTo>
                  <a:lnTo>
                    <a:pt x="4203" y="7555"/>
                  </a:lnTo>
                  <a:lnTo>
                    <a:pt x="4292" y="7734"/>
                  </a:lnTo>
                  <a:lnTo>
                    <a:pt x="5320" y="7734"/>
                  </a:lnTo>
                  <a:lnTo>
                    <a:pt x="5097" y="7376"/>
                  </a:lnTo>
                  <a:lnTo>
                    <a:pt x="4873" y="7019"/>
                  </a:lnTo>
                  <a:lnTo>
                    <a:pt x="4605" y="6572"/>
                  </a:lnTo>
                  <a:lnTo>
                    <a:pt x="4381" y="6080"/>
                  </a:lnTo>
                  <a:lnTo>
                    <a:pt x="4203" y="5588"/>
                  </a:lnTo>
                  <a:lnTo>
                    <a:pt x="4113" y="5320"/>
                  </a:lnTo>
                  <a:lnTo>
                    <a:pt x="4113" y="5097"/>
                  </a:lnTo>
                  <a:lnTo>
                    <a:pt x="4069" y="4873"/>
                  </a:lnTo>
                  <a:lnTo>
                    <a:pt x="4113" y="4650"/>
                  </a:lnTo>
                  <a:lnTo>
                    <a:pt x="4605" y="4650"/>
                  </a:lnTo>
                  <a:lnTo>
                    <a:pt x="5231" y="4694"/>
                  </a:lnTo>
                  <a:lnTo>
                    <a:pt x="6840" y="4784"/>
                  </a:lnTo>
                  <a:lnTo>
                    <a:pt x="8673" y="4918"/>
                  </a:lnTo>
                  <a:lnTo>
                    <a:pt x="10550" y="5007"/>
                  </a:lnTo>
                  <a:lnTo>
                    <a:pt x="11936" y="5052"/>
                  </a:lnTo>
                  <a:lnTo>
                    <a:pt x="12472" y="5007"/>
                  </a:lnTo>
                  <a:lnTo>
                    <a:pt x="12919" y="4962"/>
                  </a:lnTo>
                  <a:lnTo>
                    <a:pt x="13053" y="4918"/>
                  </a:lnTo>
                  <a:lnTo>
                    <a:pt x="14171" y="4471"/>
                  </a:lnTo>
                  <a:lnTo>
                    <a:pt x="14841" y="4158"/>
                  </a:lnTo>
                  <a:lnTo>
                    <a:pt x="15512" y="3845"/>
                  </a:lnTo>
                  <a:lnTo>
                    <a:pt x="16093" y="3487"/>
                  </a:lnTo>
                  <a:lnTo>
                    <a:pt x="16629" y="3175"/>
                  </a:lnTo>
                  <a:lnTo>
                    <a:pt x="17031" y="2862"/>
                  </a:lnTo>
                  <a:lnTo>
                    <a:pt x="17165" y="2683"/>
                  </a:lnTo>
                  <a:lnTo>
                    <a:pt x="17255" y="2549"/>
                  </a:lnTo>
                  <a:lnTo>
                    <a:pt x="17300" y="2415"/>
                  </a:lnTo>
                  <a:lnTo>
                    <a:pt x="17300" y="2236"/>
                  </a:lnTo>
                  <a:lnTo>
                    <a:pt x="17255" y="1923"/>
                  </a:lnTo>
                  <a:lnTo>
                    <a:pt x="17076" y="1610"/>
                  </a:lnTo>
                  <a:lnTo>
                    <a:pt x="16853" y="1252"/>
                  </a:lnTo>
                  <a:lnTo>
                    <a:pt x="16495" y="984"/>
                  </a:lnTo>
                  <a:lnTo>
                    <a:pt x="16093" y="671"/>
                  </a:lnTo>
                  <a:lnTo>
                    <a:pt x="15646" y="448"/>
                  </a:lnTo>
                  <a:lnTo>
                    <a:pt x="15109" y="314"/>
                  </a:lnTo>
                  <a:lnTo>
                    <a:pt x="14573" y="224"/>
                  </a:lnTo>
                  <a:lnTo>
                    <a:pt x="13947" y="180"/>
                  </a:lnTo>
                  <a:lnTo>
                    <a:pt x="12561" y="180"/>
                  </a:lnTo>
                  <a:lnTo>
                    <a:pt x="11176" y="224"/>
                  </a:lnTo>
                  <a:lnTo>
                    <a:pt x="10237" y="269"/>
                  </a:lnTo>
                  <a:lnTo>
                    <a:pt x="10014" y="269"/>
                  </a:lnTo>
                  <a:lnTo>
                    <a:pt x="9924" y="314"/>
                  </a:lnTo>
                  <a:lnTo>
                    <a:pt x="9924" y="403"/>
                  </a:lnTo>
                  <a:lnTo>
                    <a:pt x="9924" y="493"/>
                  </a:lnTo>
                  <a:lnTo>
                    <a:pt x="10058" y="761"/>
                  </a:lnTo>
                  <a:lnTo>
                    <a:pt x="10058" y="940"/>
                  </a:lnTo>
                  <a:lnTo>
                    <a:pt x="10014" y="1163"/>
                  </a:lnTo>
                  <a:lnTo>
                    <a:pt x="9879" y="1342"/>
                  </a:lnTo>
                  <a:lnTo>
                    <a:pt x="9701" y="1565"/>
                  </a:lnTo>
                  <a:lnTo>
                    <a:pt x="9343" y="1744"/>
                  </a:lnTo>
                  <a:lnTo>
                    <a:pt x="8851" y="1968"/>
                  </a:lnTo>
                  <a:lnTo>
                    <a:pt x="8449" y="2057"/>
                  </a:lnTo>
                  <a:lnTo>
                    <a:pt x="8002" y="2146"/>
                  </a:lnTo>
                  <a:lnTo>
                    <a:pt x="7510" y="2146"/>
                  </a:lnTo>
                  <a:lnTo>
                    <a:pt x="6974" y="2102"/>
                  </a:lnTo>
                  <a:lnTo>
                    <a:pt x="6393" y="2057"/>
                  </a:lnTo>
                  <a:lnTo>
                    <a:pt x="5857" y="1968"/>
                  </a:lnTo>
                  <a:lnTo>
                    <a:pt x="4650" y="1655"/>
                  </a:lnTo>
                  <a:lnTo>
                    <a:pt x="3488" y="1297"/>
                  </a:lnTo>
                  <a:lnTo>
                    <a:pt x="2415" y="895"/>
                  </a:lnTo>
                  <a:lnTo>
                    <a:pt x="1476" y="448"/>
                  </a:lnTo>
                  <a:lnTo>
                    <a:pt x="716" y="46"/>
                  </a:lnTo>
                  <a:lnTo>
                    <a:pt x="537" y="1"/>
                  </a:lnTo>
                  <a:close/>
                </a:path>
              </a:pathLst>
            </a:custGeom>
            <a:solidFill>
              <a:srgbClr val="603A3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0" name="Google Shape;2279;p11">
              <a:extLst>
                <a:ext uri="{FF2B5EF4-FFF2-40B4-BE49-F238E27FC236}">
                  <a16:creationId xmlns:a16="http://schemas.microsoft.com/office/drawing/2014/main" id="{39A1729C-ECC4-3D4F-6338-761AF7032476}"/>
                </a:ext>
              </a:extLst>
            </p:cNvPr>
            <p:cNvSpPr/>
            <p:nvPr/>
          </p:nvSpPr>
          <p:spPr>
            <a:xfrm>
              <a:off x="8866357" y="1271429"/>
              <a:ext cx="294212" cy="496040"/>
            </a:xfrm>
            <a:custGeom>
              <a:avLst/>
              <a:gdLst/>
              <a:ahLst/>
              <a:cxnLst/>
              <a:rect l="l" t="t" r="r" b="b"/>
              <a:pathLst>
                <a:path w="46980" h="79208" extrusionOk="0">
                  <a:moveTo>
                    <a:pt x="21635" y="0"/>
                  </a:moveTo>
                  <a:lnTo>
                    <a:pt x="21009" y="358"/>
                  </a:lnTo>
                  <a:lnTo>
                    <a:pt x="20338" y="715"/>
                  </a:lnTo>
                  <a:lnTo>
                    <a:pt x="19668" y="983"/>
                  </a:lnTo>
                  <a:lnTo>
                    <a:pt x="18953" y="1252"/>
                  </a:lnTo>
                  <a:lnTo>
                    <a:pt x="18238" y="1430"/>
                  </a:lnTo>
                  <a:lnTo>
                    <a:pt x="17522" y="1609"/>
                  </a:lnTo>
                  <a:lnTo>
                    <a:pt x="16762" y="1788"/>
                  </a:lnTo>
                  <a:lnTo>
                    <a:pt x="16003" y="1877"/>
                  </a:lnTo>
                  <a:lnTo>
                    <a:pt x="14438" y="2056"/>
                  </a:lnTo>
                  <a:lnTo>
                    <a:pt x="12874" y="2101"/>
                  </a:lnTo>
                  <a:lnTo>
                    <a:pt x="11354" y="2056"/>
                  </a:lnTo>
                  <a:lnTo>
                    <a:pt x="9834" y="1967"/>
                  </a:lnTo>
                  <a:lnTo>
                    <a:pt x="8448" y="1833"/>
                  </a:lnTo>
                  <a:lnTo>
                    <a:pt x="7107" y="1699"/>
                  </a:lnTo>
                  <a:lnTo>
                    <a:pt x="5945" y="1520"/>
                  </a:lnTo>
                  <a:lnTo>
                    <a:pt x="4917" y="1296"/>
                  </a:lnTo>
                  <a:lnTo>
                    <a:pt x="3442" y="983"/>
                  </a:lnTo>
                  <a:lnTo>
                    <a:pt x="2861" y="894"/>
                  </a:lnTo>
                  <a:lnTo>
                    <a:pt x="2772" y="1207"/>
                  </a:lnTo>
                  <a:lnTo>
                    <a:pt x="2325" y="2861"/>
                  </a:lnTo>
                  <a:lnTo>
                    <a:pt x="1654" y="5409"/>
                  </a:lnTo>
                  <a:lnTo>
                    <a:pt x="1297" y="6928"/>
                  </a:lnTo>
                  <a:lnTo>
                    <a:pt x="939" y="8582"/>
                  </a:lnTo>
                  <a:lnTo>
                    <a:pt x="671" y="10236"/>
                  </a:lnTo>
                  <a:lnTo>
                    <a:pt x="447" y="11935"/>
                  </a:lnTo>
                  <a:lnTo>
                    <a:pt x="313" y="13231"/>
                  </a:lnTo>
                  <a:lnTo>
                    <a:pt x="268" y="14483"/>
                  </a:lnTo>
                  <a:lnTo>
                    <a:pt x="313" y="15689"/>
                  </a:lnTo>
                  <a:lnTo>
                    <a:pt x="358" y="16226"/>
                  </a:lnTo>
                  <a:lnTo>
                    <a:pt x="447" y="16762"/>
                  </a:lnTo>
                  <a:lnTo>
                    <a:pt x="581" y="17567"/>
                  </a:lnTo>
                  <a:lnTo>
                    <a:pt x="850" y="18416"/>
                  </a:lnTo>
                  <a:lnTo>
                    <a:pt x="1162" y="19310"/>
                  </a:lnTo>
                  <a:lnTo>
                    <a:pt x="1520" y="20293"/>
                  </a:lnTo>
                  <a:lnTo>
                    <a:pt x="2369" y="22394"/>
                  </a:lnTo>
                  <a:lnTo>
                    <a:pt x="3308" y="24629"/>
                  </a:lnTo>
                  <a:lnTo>
                    <a:pt x="4247" y="26954"/>
                  </a:lnTo>
                  <a:lnTo>
                    <a:pt x="4694" y="28116"/>
                  </a:lnTo>
                  <a:lnTo>
                    <a:pt x="5141" y="29278"/>
                  </a:lnTo>
                  <a:lnTo>
                    <a:pt x="5498" y="30395"/>
                  </a:lnTo>
                  <a:lnTo>
                    <a:pt x="5856" y="31558"/>
                  </a:lnTo>
                  <a:lnTo>
                    <a:pt x="6124" y="32675"/>
                  </a:lnTo>
                  <a:lnTo>
                    <a:pt x="6348" y="33748"/>
                  </a:lnTo>
                  <a:lnTo>
                    <a:pt x="6437" y="34463"/>
                  </a:lnTo>
                  <a:lnTo>
                    <a:pt x="6482" y="35223"/>
                  </a:lnTo>
                  <a:lnTo>
                    <a:pt x="6571" y="36877"/>
                  </a:lnTo>
                  <a:lnTo>
                    <a:pt x="6526" y="38620"/>
                  </a:lnTo>
                  <a:lnTo>
                    <a:pt x="6437" y="40453"/>
                  </a:lnTo>
                  <a:lnTo>
                    <a:pt x="6213" y="44073"/>
                  </a:lnTo>
                  <a:lnTo>
                    <a:pt x="6079" y="45817"/>
                  </a:lnTo>
                  <a:lnTo>
                    <a:pt x="5990" y="47426"/>
                  </a:lnTo>
                  <a:lnTo>
                    <a:pt x="5856" y="48186"/>
                  </a:lnTo>
                  <a:lnTo>
                    <a:pt x="5588" y="49437"/>
                  </a:lnTo>
                  <a:lnTo>
                    <a:pt x="4649" y="52969"/>
                  </a:lnTo>
                  <a:lnTo>
                    <a:pt x="3397" y="57528"/>
                  </a:lnTo>
                  <a:lnTo>
                    <a:pt x="2727" y="60031"/>
                  </a:lnTo>
                  <a:lnTo>
                    <a:pt x="2101" y="62624"/>
                  </a:lnTo>
                  <a:lnTo>
                    <a:pt x="1475" y="65171"/>
                  </a:lnTo>
                  <a:lnTo>
                    <a:pt x="939" y="67675"/>
                  </a:lnTo>
                  <a:lnTo>
                    <a:pt x="492" y="70044"/>
                  </a:lnTo>
                  <a:lnTo>
                    <a:pt x="313" y="71161"/>
                  </a:lnTo>
                  <a:lnTo>
                    <a:pt x="179" y="72234"/>
                  </a:lnTo>
                  <a:lnTo>
                    <a:pt x="90" y="73217"/>
                  </a:lnTo>
                  <a:lnTo>
                    <a:pt x="45" y="74156"/>
                  </a:lnTo>
                  <a:lnTo>
                    <a:pt x="0" y="75005"/>
                  </a:lnTo>
                  <a:lnTo>
                    <a:pt x="45" y="75765"/>
                  </a:lnTo>
                  <a:lnTo>
                    <a:pt x="134" y="76391"/>
                  </a:lnTo>
                  <a:lnTo>
                    <a:pt x="313" y="76927"/>
                  </a:lnTo>
                  <a:lnTo>
                    <a:pt x="403" y="77196"/>
                  </a:lnTo>
                  <a:lnTo>
                    <a:pt x="537" y="77374"/>
                  </a:lnTo>
                  <a:lnTo>
                    <a:pt x="626" y="77553"/>
                  </a:lnTo>
                  <a:lnTo>
                    <a:pt x="805" y="77687"/>
                  </a:lnTo>
                  <a:lnTo>
                    <a:pt x="1297" y="78090"/>
                  </a:lnTo>
                  <a:lnTo>
                    <a:pt x="1878" y="78447"/>
                  </a:lnTo>
                  <a:lnTo>
                    <a:pt x="2459" y="78715"/>
                  </a:lnTo>
                  <a:lnTo>
                    <a:pt x="3040" y="78984"/>
                  </a:lnTo>
                  <a:lnTo>
                    <a:pt x="3666" y="79118"/>
                  </a:lnTo>
                  <a:lnTo>
                    <a:pt x="4247" y="79207"/>
                  </a:lnTo>
                  <a:lnTo>
                    <a:pt x="4560" y="79207"/>
                  </a:lnTo>
                  <a:lnTo>
                    <a:pt x="4828" y="79162"/>
                  </a:lnTo>
                  <a:lnTo>
                    <a:pt x="5096" y="79073"/>
                  </a:lnTo>
                  <a:lnTo>
                    <a:pt x="5409" y="78984"/>
                  </a:lnTo>
                  <a:lnTo>
                    <a:pt x="5543" y="78849"/>
                  </a:lnTo>
                  <a:lnTo>
                    <a:pt x="5766" y="78581"/>
                  </a:lnTo>
                  <a:lnTo>
                    <a:pt x="5990" y="78179"/>
                  </a:lnTo>
                  <a:lnTo>
                    <a:pt x="6303" y="77643"/>
                  </a:lnTo>
                  <a:lnTo>
                    <a:pt x="6929" y="76212"/>
                  </a:lnTo>
                  <a:lnTo>
                    <a:pt x="7599" y="74424"/>
                  </a:lnTo>
                  <a:lnTo>
                    <a:pt x="8404" y="72368"/>
                  </a:lnTo>
                  <a:lnTo>
                    <a:pt x="9253" y="70044"/>
                  </a:lnTo>
                  <a:lnTo>
                    <a:pt x="10952" y="64993"/>
                  </a:lnTo>
                  <a:lnTo>
                    <a:pt x="12605" y="59942"/>
                  </a:lnTo>
                  <a:lnTo>
                    <a:pt x="13991" y="55427"/>
                  </a:lnTo>
                  <a:lnTo>
                    <a:pt x="15019" y="52030"/>
                  </a:lnTo>
                  <a:lnTo>
                    <a:pt x="15287" y="50957"/>
                  </a:lnTo>
                  <a:lnTo>
                    <a:pt x="15422" y="50421"/>
                  </a:lnTo>
                  <a:lnTo>
                    <a:pt x="15868" y="47247"/>
                  </a:lnTo>
                  <a:lnTo>
                    <a:pt x="16271" y="44342"/>
                  </a:lnTo>
                  <a:lnTo>
                    <a:pt x="16718" y="41615"/>
                  </a:lnTo>
                  <a:lnTo>
                    <a:pt x="17165" y="39112"/>
                  </a:lnTo>
                  <a:lnTo>
                    <a:pt x="17612" y="36832"/>
                  </a:lnTo>
                  <a:lnTo>
                    <a:pt x="18059" y="34731"/>
                  </a:lnTo>
                  <a:lnTo>
                    <a:pt x="18461" y="32854"/>
                  </a:lnTo>
                  <a:lnTo>
                    <a:pt x="18908" y="31155"/>
                  </a:lnTo>
                  <a:lnTo>
                    <a:pt x="19310" y="29680"/>
                  </a:lnTo>
                  <a:lnTo>
                    <a:pt x="19668" y="28384"/>
                  </a:lnTo>
                  <a:lnTo>
                    <a:pt x="20026" y="27267"/>
                  </a:lnTo>
                  <a:lnTo>
                    <a:pt x="20383" y="26373"/>
                  </a:lnTo>
                  <a:lnTo>
                    <a:pt x="20696" y="25613"/>
                  </a:lnTo>
                  <a:lnTo>
                    <a:pt x="20964" y="25076"/>
                  </a:lnTo>
                  <a:lnTo>
                    <a:pt x="21232" y="24674"/>
                  </a:lnTo>
                  <a:lnTo>
                    <a:pt x="21456" y="24495"/>
                  </a:lnTo>
                  <a:lnTo>
                    <a:pt x="21590" y="24406"/>
                  </a:lnTo>
                  <a:lnTo>
                    <a:pt x="22126" y="24406"/>
                  </a:lnTo>
                  <a:lnTo>
                    <a:pt x="22618" y="24540"/>
                  </a:lnTo>
                  <a:lnTo>
                    <a:pt x="23199" y="24719"/>
                  </a:lnTo>
                  <a:lnTo>
                    <a:pt x="23870" y="24987"/>
                  </a:lnTo>
                  <a:lnTo>
                    <a:pt x="24630" y="25344"/>
                  </a:lnTo>
                  <a:lnTo>
                    <a:pt x="25389" y="25747"/>
                  </a:lnTo>
                  <a:lnTo>
                    <a:pt x="26194" y="26149"/>
                  </a:lnTo>
                  <a:lnTo>
                    <a:pt x="26999" y="26641"/>
                  </a:lnTo>
                  <a:lnTo>
                    <a:pt x="27803" y="27177"/>
                  </a:lnTo>
                  <a:lnTo>
                    <a:pt x="28563" y="27714"/>
                  </a:lnTo>
                  <a:lnTo>
                    <a:pt x="29323" y="28250"/>
                  </a:lnTo>
                  <a:lnTo>
                    <a:pt x="29993" y="28831"/>
                  </a:lnTo>
                  <a:lnTo>
                    <a:pt x="30619" y="29412"/>
                  </a:lnTo>
                  <a:lnTo>
                    <a:pt x="31156" y="29948"/>
                  </a:lnTo>
                  <a:lnTo>
                    <a:pt x="31558" y="30485"/>
                  </a:lnTo>
                  <a:lnTo>
                    <a:pt x="31916" y="31021"/>
                  </a:lnTo>
                  <a:lnTo>
                    <a:pt x="32228" y="31647"/>
                  </a:lnTo>
                  <a:lnTo>
                    <a:pt x="32586" y="32318"/>
                  </a:lnTo>
                  <a:lnTo>
                    <a:pt x="32899" y="33077"/>
                  </a:lnTo>
                  <a:lnTo>
                    <a:pt x="33525" y="34776"/>
                  </a:lnTo>
                  <a:lnTo>
                    <a:pt x="34150" y="36698"/>
                  </a:lnTo>
                  <a:lnTo>
                    <a:pt x="34776" y="38844"/>
                  </a:lnTo>
                  <a:lnTo>
                    <a:pt x="35357" y="41079"/>
                  </a:lnTo>
                  <a:lnTo>
                    <a:pt x="35894" y="43448"/>
                  </a:lnTo>
                  <a:lnTo>
                    <a:pt x="36475" y="45861"/>
                  </a:lnTo>
                  <a:lnTo>
                    <a:pt x="37458" y="50689"/>
                  </a:lnTo>
                  <a:lnTo>
                    <a:pt x="38397" y="55204"/>
                  </a:lnTo>
                  <a:lnTo>
                    <a:pt x="39157" y="59182"/>
                  </a:lnTo>
                  <a:lnTo>
                    <a:pt x="39514" y="60836"/>
                  </a:lnTo>
                  <a:lnTo>
                    <a:pt x="39827" y="62221"/>
                  </a:lnTo>
                  <a:lnTo>
                    <a:pt x="39917" y="62445"/>
                  </a:lnTo>
                  <a:lnTo>
                    <a:pt x="40006" y="62624"/>
                  </a:lnTo>
                  <a:lnTo>
                    <a:pt x="40140" y="62802"/>
                  </a:lnTo>
                  <a:lnTo>
                    <a:pt x="40274" y="62937"/>
                  </a:lnTo>
                  <a:lnTo>
                    <a:pt x="40453" y="63071"/>
                  </a:lnTo>
                  <a:lnTo>
                    <a:pt x="40677" y="63160"/>
                  </a:lnTo>
                  <a:lnTo>
                    <a:pt x="41168" y="63339"/>
                  </a:lnTo>
                  <a:lnTo>
                    <a:pt x="41705" y="63473"/>
                  </a:lnTo>
                  <a:lnTo>
                    <a:pt x="42286" y="63562"/>
                  </a:lnTo>
                  <a:lnTo>
                    <a:pt x="42867" y="63562"/>
                  </a:lnTo>
                  <a:lnTo>
                    <a:pt x="43537" y="63518"/>
                  </a:lnTo>
                  <a:lnTo>
                    <a:pt x="44163" y="63473"/>
                  </a:lnTo>
                  <a:lnTo>
                    <a:pt x="44744" y="63384"/>
                  </a:lnTo>
                  <a:lnTo>
                    <a:pt x="45325" y="63205"/>
                  </a:lnTo>
                  <a:lnTo>
                    <a:pt x="45817" y="63071"/>
                  </a:lnTo>
                  <a:lnTo>
                    <a:pt x="46264" y="62892"/>
                  </a:lnTo>
                  <a:lnTo>
                    <a:pt x="46577" y="62668"/>
                  </a:lnTo>
                  <a:lnTo>
                    <a:pt x="46800" y="62445"/>
                  </a:lnTo>
                  <a:lnTo>
                    <a:pt x="46890" y="62355"/>
                  </a:lnTo>
                  <a:lnTo>
                    <a:pt x="46934" y="62221"/>
                  </a:lnTo>
                  <a:lnTo>
                    <a:pt x="46979" y="61730"/>
                  </a:lnTo>
                  <a:lnTo>
                    <a:pt x="46979" y="61149"/>
                  </a:lnTo>
                  <a:lnTo>
                    <a:pt x="46979" y="59629"/>
                  </a:lnTo>
                  <a:lnTo>
                    <a:pt x="46845" y="57751"/>
                  </a:lnTo>
                  <a:lnTo>
                    <a:pt x="46666" y="55516"/>
                  </a:lnTo>
                  <a:lnTo>
                    <a:pt x="46443" y="53058"/>
                  </a:lnTo>
                  <a:lnTo>
                    <a:pt x="46130" y="50376"/>
                  </a:lnTo>
                  <a:lnTo>
                    <a:pt x="45772" y="47560"/>
                  </a:lnTo>
                  <a:lnTo>
                    <a:pt x="45415" y="44699"/>
                  </a:lnTo>
                  <a:lnTo>
                    <a:pt x="44968" y="41838"/>
                  </a:lnTo>
                  <a:lnTo>
                    <a:pt x="44521" y="39022"/>
                  </a:lnTo>
                  <a:lnTo>
                    <a:pt x="44074" y="36340"/>
                  </a:lnTo>
                  <a:lnTo>
                    <a:pt x="43582" y="33837"/>
                  </a:lnTo>
                  <a:lnTo>
                    <a:pt x="43135" y="31602"/>
                  </a:lnTo>
                  <a:lnTo>
                    <a:pt x="42643" y="29636"/>
                  </a:lnTo>
                  <a:lnTo>
                    <a:pt x="42196" y="28071"/>
                  </a:lnTo>
                  <a:lnTo>
                    <a:pt x="42018" y="27445"/>
                  </a:lnTo>
                  <a:lnTo>
                    <a:pt x="41794" y="26954"/>
                  </a:lnTo>
                  <a:lnTo>
                    <a:pt x="41526" y="26373"/>
                  </a:lnTo>
                  <a:lnTo>
                    <a:pt x="41213" y="25791"/>
                  </a:lnTo>
                  <a:lnTo>
                    <a:pt x="40855" y="25210"/>
                  </a:lnTo>
                  <a:lnTo>
                    <a:pt x="40498" y="24629"/>
                  </a:lnTo>
                  <a:lnTo>
                    <a:pt x="39648" y="23467"/>
                  </a:lnTo>
                  <a:lnTo>
                    <a:pt x="38710" y="22260"/>
                  </a:lnTo>
                  <a:lnTo>
                    <a:pt x="37637" y="21053"/>
                  </a:lnTo>
                  <a:lnTo>
                    <a:pt x="36475" y="19757"/>
                  </a:lnTo>
                  <a:lnTo>
                    <a:pt x="33927" y="16941"/>
                  </a:lnTo>
                  <a:lnTo>
                    <a:pt x="32541" y="15377"/>
                  </a:lnTo>
                  <a:lnTo>
                    <a:pt x="31111" y="13678"/>
                  </a:lnTo>
                  <a:lnTo>
                    <a:pt x="29591" y="11845"/>
                  </a:lnTo>
                  <a:lnTo>
                    <a:pt x="28071" y="9834"/>
                  </a:lnTo>
                  <a:lnTo>
                    <a:pt x="26462" y="7688"/>
                  </a:lnTo>
                  <a:lnTo>
                    <a:pt x="24898" y="5364"/>
                  </a:lnTo>
                  <a:lnTo>
                    <a:pt x="23244" y="2771"/>
                  </a:lnTo>
                  <a:lnTo>
                    <a:pt x="22439" y="1430"/>
                  </a:lnTo>
                  <a:lnTo>
                    <a:pt x="21635" y="0"/>
                  </a:lnTo>
                  <a:close/>
                </a:path>
              </a:pathLst>
            </a:custGeom>
            <a:solidFill>
              <a:srgbClr val="33334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1" name="Google Shape;2280;p11">
              <a:extLst>
                <a:ext uri="{FF2B5EF4-FFF2-40B4-BE49-F238E27FC236}">
                  <a16:creationId xmlns:a16="http://schemas.microsoft.com/office/drawing/2014/main" id="{73B5A6F8-14F8-018B-71EE-037FB223A0E2}"/>
                </a:ext>
              </a:extLst>
            </p:cNvPr>
            <p:cNvSpPr/>
            <p:nvPr/>
          </p:nvSpPr>
          <p:spPr>
            <a:xfrm>
              <a:off x="8866357" y="1271429"/>
              <a:ext cx="294212" cy="496040"/>
            </a:xfrm>
            <a:custGeom>
              <a:avLst/>
              <a:gdLst/>
              <a:ahLst/>
              <a:cxnLst/>
              <a:rect l="l" t="t" r="r" b="b"/>
              <a:pathLst>
                <a:path w="46980" h="79208" fill="none" extrusionOk="0">
                  <a:moveTo>
                    <a:pt x="5990" y="47426"/>
                  </a:moveTo>
                  <a:lnTo>
                    <a:pt x="5990" y="47426"/>
                  </a:lnTo>
                  <a:lnTo>
                    <a:pt x="5856" y="48186"/>
                  </a:lnTo>
                  <a:lnTo>
                    <a:pt x="5588" y="49437"/>
                  </a:lnTo>
                  <a:lnTo>
                    <a:pt x="4649" y="52969"/>
                  </a:lnTo>
                  <a:lnTo>
                    <a:pt x="3397" y="57528"/>
                  </a:lnTo>
                  <a:lnTo>
                    <a:pt x="2727" y="60031"/>
                  </a:lnTo>
                  <a:lnTo>
                    <a:pt x="2101" y="62624"/>
                  </a:lnTo>
                  <a:lnTo>
                    <a:pt x="1475" y="65171"/>
                  </a:lnTo>
                  <a:lnTo>
                    <a:pt x="939" y="67675"/>
                  </a:lnTo>
                  <a:lnTo>
                    <a:pt x="492" y="70044"/>
                  </a:lnTo>
                  <a:lnTo>
                    <a:pt x="313" y="71161"/>
                  </a:lnTo>
                  <a:lnTo>
                    <a:pt x="179" y="72234"/>
                  </a:lnTo>
                  <a:lnTo>
                    <a:pt x="90" y="73217"/>
                  </a:lnTo>
                  <a:lnTo>
                    <a:pt x="45" y="74156"/>
                  </a:lnTo>
                  <a:lnTo>
                    <a:pt x="0" y="75005"/>
                  </a:lnTo>
                  <a:lnTo>
                    <a:pt x="45" y="75765"/>
                  </a:lnTo>
                  <a:lnTo>
                    <a:pt x="134" y="76391"/>
                  </a:lnTo>
                  <a:lnTo>
                    <a:pt x="313" y="76927"/>
                  </a:lnTo>
                  <a:lnTo>
                    <a:pt x="403" y="77196"/>
                  </a:lnTo>
                  <a:lnTo>
                    <a:pt x="537" y="77374"/>
                  </a:lnTo>
                  <a:lnTo>
                    <a:pt x="626" y="77553"/>
                  </a:lnTo>
                  <a:lnTo>
                    <a:pt x="805" y="77687"/>
                  </a:lnTo>
                  <a:lnTo>
                    <a:pt x="805" y="77687"/>
                  </a:lnTo>
                  <a:lnTo>
                    <a:pt x="1297" y="78090"/>
                  </a:lnTo>
                  <a:lnTo>
                    <a:pt x="1878" y="78447"/>
                  </a:lnTo>
                  <a:lnTo>
                    <a:pt x="2459" y="78715"/>
                  </a:lnTo>
                  <a:lnTo>
                    <a:pt x="3040" y="78984"/>
                  </a:lnTo>
                  <a:lnTo>
                    <a:pt x="3666" y="79118"/>
                  </a:lnTo>
                  <a:lnTo>
                    <a:pt x="4247" y="79207"/>
                  </a:lnTo>
                  <a:lnTo>
                    <a:pt x="4560" y="79207"/>
                  </a:lnTo>
                  <a:lnTo>
                    <a:pt x="4828" y="79162"/>
                  </a:lnTo>
                  <a:lnTo>
                    <a:pt x="5096" y="79073"/>
                  </a:lnTo>
                  <a:lnTo>
                    <a:pt x="5409" y="78984"/>
                  </a:lnTo>
                  <a:lnTo>
                    <a:pt x="5409" y="78984"/>
                  </a:lnTo>
                  <a:lnTo>
                    <a:pt x="5543" y="78849"/>
                  </a:lnTo>
                  <a:lnTo>
                    <a:pt x="5766" y="78581"/>
                  </a:lnTo>
                  <a:lnTo>
                    <a:pt x="5990" y="78179"/>
                  </a:lnTo>
                  <a:lnTo>
                    <a:pt x="6303" y="77643"/>
                  </a:lnTo>
                  <a:lnTo>
                    <a:pt x="6929" y="76212"/>
                  </a:lnTo>
                  <a:lnTo>
                    <a:pt x="7599" y="74424"/>
                  </a:lnTo>
                  <a:lnTo>
                    <a:pt x="8404" y="72368"/>
                  </a:lnTo>
                  <a:lnTo>
                    <a:pt x="9253" y="70044"/>
                  </a:lnTo>
                  <a:lnTo>
                    <a:pt x="10952" y="64993"/>
                  </a:lnTo>
                  <a:lnTo>
                    <a:pt x="12605" y="59942"/>
                  </a:lnTo>
                  <a:lnTo>
                    <a:pt x="13991" y="55427"/>
                  </a:lnTo>
                  <a:lnTo>
                    <a:pt x="15019" y="52030"/>
                  </a:lnTo>
                  <a:lnTo>
                    <a:pt x="15287" y="50957"/>
                  </a:lnTo>
                  <a:lnTo>
                    <a:pt x="15422" y="50421"/>
                  </a:lnTo>
                  <a:lnTo>
                    <a:pt x="15422" y="50421"/>
                  </a:lnTo>
                  <a:lnTo>
                    <a:pt x="15868" y="47247"/>
                  </a:lnTo>
                  <a:lnTo>
                    <a:pt x="16271" y="44342"/>
                  </a:lnTo>
                  <a:lnTo>
                    <a:pt x="16718" y="41615"/>
                  </a:lnTo>
                  <a:lnTo>
                    <a:pt x="17165" y="39112"/>
                  </a:lnTo>
                  <a:lnTo>
                    <a:pt x="17612" y="36832"/>
                  </a:lnTo>
                  <a:lnTo>
                    <a:pt x="18059" y="34731"/>
                  </a:lnTo>
                  <a:lnTo>
                    <a:pt x="18461" y="32854"/>
                  </a:lnTo>
                  <a:lnTo>
                    <a:pt x="18908" y="31155"/>
                  </a:lnTo>
                  <a:lnTo>
                    <a:pt x="19310" y="29680"/>
                  </a:lnTo>
                  <a:lnTo>
                    <a:pt x="19668" y="28384"/>
                  </a:lnTo>
                  <a:lnTo>
                    <a:pt x="20026" y="27267"/>
                  </a:lnTo>
                  <a:lnTo>
                    <a:pt x="20383" y="26373"/>
                  </a:lnTo>
                  <a:lnTo>
                    <a:pt x="20696" y="25613"/>
                  </a:lnTo>
                  <a:lnTo>
                    <a:pt x="20964" y="25076"/>
                  </a:lnTo>
                  <a:lnTo>
                    <a:pt x="21232" y="24674"/>
                  </a:lnTo>
                  <a:lnTo>
                    <a:pt x="21456" y="24495"/>
                  </a:lnTo>
                  <a:lnTo>
                    <a:pt x="21456" y="24495"/>
                  </a:lnTo>
                  <a:lnTo>
                    <a:pt x="21590" y="24406"/>
                  </a:lnTo>
                  <a:lnTo>
                    <a:pt x="21724" y="24406"/>
                  </a:lnTo>
                  <a:lnTo>
                    <a:pt x="22126" y="24406"/>
                  </a:lnTo>
                  <a:lnTo>
                    <a:pt x="22618" y="24540"/>
                  </a:lnTo>
                  <a:lnTo>
                    <a:pt x="23199" y="24719"/>
                  </a:lnTo>
                  <a:lnTo>
                    <a:pt x="23870" y="24987"/>
                  </a:lnTo>
                  <a:lnTo>
                    <a:pt x="24630" y="25344"/>
                  </a:lnTo>
                  <a:lnTo>
                    <a:pt x="25389" y="25747"/>
                  </a:lnTo>
                  <a:lnTo>
                    <a:pt x="26194" y="26149"/>
                  </a:lnTo>
                  <a:lnTo>
                    <a:pt x="26999" y="26641"/>
                  </a:lnTo>
                  <a:lnTo>
                    <a:pt x="27803" y="27177"/>
                  </a:lnTo>
                  <a:lnTo>
                    <a:pt x="28563" y="27714"/>
                  </a:lnTo>
                  <a:lnTo>
                    <a:pt x="29323" y="28250"/>
                  </a:lnTo>
                  <a:lnTo>
                    <a:pt x="29993" y="28831"/>
                  </a:lnTo>
                  <a:lnTo>
                    <a:pt x="30619" y="29412"/>
                  </a:lnTo>
                  <a:lnTo>
                    <a:pt x="31156" y="29948"/>
                  </a:lnTo>
                  <a:lnTo>
                    <a:pt x="31558" y="30485"/>
                  </a:lnTo>
                  <a:lnTo>
                    <a:pt x="31558" y="30485"/>
                  </a:lnTo>
                  <a:lnTo>
                    <a:pt x="31916" y="31021"/>
                  </a:lnTo>
                  <a:lnTo>
                    <a:pt x="32228" y="31647"/>
                  </a:lnTo>
                  <a:lnTo>
                    <a:pt x="32586" y="32318"/>
                  </a:lnTo>
                  <a:lnTo>
                    <a:pt x="32899" y="33077"/>
                  </a:lnTo>
                  <a:lnTo>
                    <a:pt x="33525" y="34776"/>
                  </a:lnTo>
                  <a:lnTo>
                    <a:pt x="34150" y="36698"/>
                  </a:lnTo>
                  <a:lnTo>
                    <a:pt x="34776" y="38844"/>
                  </a:lnTo>
                  <a:lnTo>
                    <a:pt x="35357" y="41079"/>
                  </a:lnTo>
                  <a:lnTo>
                    <a:pt x="35894" y="43448"/>
                  </a:lnTo>
                  <a:lnTo>
                    <a:pt x="36475" y="45861"/>
                  </a:lnTo>
                  <a:lnTo>
                    <a:pt x="37458" y="50689"/>
                  </a:lnTo>
                  <a:lnTo>
                    <a:pt x="38397" y="55204"/>
                  </a:lnTo>
                  <a:lnTo>
                    <a:pt x="39157" y="59182"/>
                  </a:lnTo>
                  <a:lnTo>
                    <a:pt x="39514" y="60836"/>
                  </a:lnTo>
                  <a:lnTo>
                    <a:pt x="39827" y="62221"/>
                  </a:lnTo>
                  <a:lnTo>
                    <a:pt x="39827" y="62221"/>
                  </a:lnTo>
                  <a:lnTo>
                    <a:pt x="39917" y="62445"/>
                  </a:lnTo>
                  <a:lnTo>
                    <a:pt x="40006" y="62624"/>
                  </a:lnTo>
                  <a:lnTo>
                    <a:pt x="40140" y="62802"/>
                  </a:lnTo>
                  <a:lnTo>
                    <a:pt x="40274" y="62937"/>
                  </a:lnTo>
                  <a:lnTo>
                    <a:pt x="40453" y="63071"/>
                  </a:lnTo>
                  <a:lnTo>
                    <a:pt x="40677" y="63160"/>
                  </a:lnTo>
                  <a:lnTo>
                    <a:pt x="41168" y="63339"/>
                  </a:lnTo>
                  <a:lnTo>
                    <a:pt x="41705" y="63473"/>
                  </a:lnTo>
                  <a:lnTo>
                    <a:pt x="42286" y="63562"/>
                  </a:lnTo>
                  <a:lnTo>
                    <a:pt x="42867" y="63562"/>
                  </a:lnTo>
                  <a:lnTo>
                    <a:pt x="43537" y="63518"/>
                  </a:lnTo>
                  <a:lnTo>
                    <a:pt x="44163" y="63473"/>
                  </a:lnTo>
                  <a:lnTo>
                    <a:pt x="44744" y="63384"/>
                  </a:lnTo>
                  <a:lnTo>
                    <a:pt x="45325" y="63205"/>
                  </a:lnTo>
                  <a:lnTo>
                    <a:pt x="45817" y="63071"/>
                  </a:lnTo>
                  <a:lnTo>
                    <a:pt x="46264" y="62892"/>
                  </a:lnTo>
                  <a:lnTo>
                    <a:pt x="46577" y="62668"/>
                  </a:lnTo>
                  <a:lnTo>
                    <a:pt x="46800" y="62445"/>
                  </a:lnTo>
                  <a:lnTo>
                    <a:pt x="46890" y="62355"/>
                  </a:lnTo>
                  <a:lnTo>
                    <a:pt x="46934" y="62221"/>
                  </a:lnTo>
                  <a:lnTo>
                    <a:pt x="46934" y="62221"/>
                  </a:lnTo>
                  <a:lnTo>
                    <a:pt x="46979" y="61730"/>
                  </a:lnTo>
                  <a:lnTo>
                    <a:pt x="46979" y="61149"/>
                  </a:lnTo>
                  <a:lnTo>
                    <a:pt x="46979" y="59629"/>
                  </a:lnTo>
                  <a:lnTo>
                    <a:pt x="46845" y="57751"/>
                  </a:lnTo>
                  <a:lnTo>
                    <a:pt x="46666" y="55516"/>
                  </a:lnTo>
                  <a:lnTo>
                    <a:pt x="46443" y="53058"/>
                  </a:lnTo>
                  <a:lnTo>
                    <a:pt x="46130" y="50376"/>
                  </a:lnTo>
                  <a:lnTo>
                    <a:pt x="45772" y="47560"/>
                  </a:lnTo>
                  <a:lnTo>
                    <a:pt x="45415" y="44699"/>
                  </a:lnTo>
                  <a:lnTo>
                    <a:pt x="44968" y="41838"/>
                  </a:lnTo>
                  <a:lnTo>
                    <a:pt x="44521" y="39022"/>
                  </a:lnTo>
                  <a:lnTo>
                    <a:pt x="44074" y="36340"/>
                  </a:lnTo>
                  <a:lnTo>
                    <a:pt x="43582" y="33837"/>
                  </a:lnTo>
                  <a:lnTo>
                    <a:pt x="43135" y="31602"/>
                  </a:lnTo>
                  <a:lnTo>
                    <a:pt x="42643" y="29636"/>
                  </a:lnTo>
                  <a:lnTo>
                    <a:pt x="42196" y="28071"/>
                  </a:lnTo>
                  <a:lnTo>
                    <a:pt x="42018" y="27445"/>
                  </a:lnTo>
                  <a:lnTo>
                    <a:pt x="41794" y="26954"/>
                  </a:lnTo>
                  <a:lnTo>
                    <a:pt x="41794" y="26954"/>
                  </a:lnTo>
                  <a:lnTo>
                    <a:pt x="41526" y="26373"/>
                  </a:lnTo>
                  <a:lnTo>
                    <a:pt x="41213" y="25791"/>
                  </a:lnTo>
                  <a:lnTo>
                    <a:pt x="40855" y="25210"/>
                  </a:lnTo>
                  <a:lnTo>
                    <a:pt x="40498" y="24629"/>
                  </a:lnTo>
                  <a:lnTo>
                    <a:pt x="39648" y="23467"/>
                  </a:lnTo>
                  <a:lnTo>
                    <a:pt x="38710" y="22260"/>
                  </a:lnTo>
                  <a:lnTo>
                    <a:pt x="37637" y="21053"/>
                  </a:lnTo>
                  <a:lnTo>
                    <a:pt x="36475" y="19757"/>
                  </a:lnTo>
                  <a:lnTo>
                    <a:pt x="33927" y="16941"/>
                  </a:lnTo>
                  <a:lnTo>
                    <a:pt x="32541" y="15377"/>
                  </a:lnTo>
                  <a:lnTo>
                    <a:pt x="31111" y="13678"/>
                  </a:lnTo>
                  <a:lnTo>
                    <a:pt x="29591" y="11845"/>
                  </a:lnTo>
                  <a:lnTo>
                    <a:pt x="28071" y="9834"/>
                  </a:lnTo>
                  <a:lnTo>
                    <a:pt x="26462" y="7688"/>
                  </a:lnTo>
                  <a:lnTo>
                    <a:pt x="24898" y="5364"/>
                  </a:lnTo>
                  <a:lnTo>
                    <a:pt x="23244" y="2771"/>
                  </a:lnTo>
                  <a:lnTo>
                    <a:pt x="22439" y="1430"/>
                  </a:lnTo>
                  <a:lnTo>
                    <a:pt x="21635" y="0"/>
                  </a:lnTo>
                  <a:lnTo>
                    <a:pt x="21635" y="0"/>
                  </a:lnTo>
                  <a:lnTo>
                    <a:pt x="21009" y="358"/>
                  </a:lnTo>
                  <a:lnTo>
                    <a:pt x="20338" y="715"/>
                  </a:lnTo>
                  <a:lnTo>
                    <a:pt x="19668" y="983"/>
                  </a:lnTo>
                  <a:lnTo>
                    <a:pt x="18953" y="1252"/>
                  </a:lnTo>
                  <a:lnTo>
                    <a:pt x="18238" y="1430"/>
                  </a:lnTo>
                  <a:lnTo>
                    <a:pt x="17522" y="1609"/>
                  </a:lnTo>
                  <a:lnTo>
                    <a:pt x="16762" y="1788"/>
                  </a:lnTo>
                  <a:lnTo>
                    <a:pt x="16003" y="1877"/>
                  </a:lnTo>
                  <a:lnTo>
                    <a:pt x="14438" y="2056"/>
                  </a:lnTo>
                  <a:lnTo>
                    <a:pt x="12874" y="2101"/>
                  </a:lnTo>
                  <a:lnTo>
                    <a:pt x="11354" y="2056"/>
                  </a:lnTo>
                  <a:lnTo>
                    <a:pt x="9834" y="1967"/>
                  </a:lnTo>
                  <a:lnTo>
                    <a:pt x="8448" y="1833"/>
                  </a:lnTo>
                  <a:lnTo>
                    <a:pt x="7107" y="1699"/>
                  </a:lnTo>
                  <a:lnTo>
                    <a:pt x="5945" y="1520"/>
                  </a:lnTo>
                  <a:lnTo>
                    <a:pt x="4917" y="1296"/>
                  </a:lnTo>
                  <a:lnTo>
                    <a:pt x="3442" y="983"/>
                  </a:lnTo>
                  <a:lnTo>
                    <a:pt x="2861" y="894"/>
                  </a:lnTo>
                  <a:lnTo>
                    <a:pt x="2861" y="894"/>
                  </a:lnTo>
                  <a:lnTo>
                    <a:pt x="2772" y="1207"/>
                  </a:lnTo>
                  <a:lnTo>
                    <a:pt x="2772" y="1207"/>
                  </a:lnTo>
                  <a:lnTo>
                    <a:pt x="2325" y="2861"/>
                  </a:lnTo>
                  <a:lnTo>
                    <a:pt x="1654" y="5409"/>
                  </a:lnTo>
                  <a:lnTo>
                    <a:pt x="1297" y="6928"/>
                  </a:lnTo>
                  <a:lnTo>
                    <a:pt x="939" y="8582"/>
                  </a:lnTo>
                  <a:lnTo>
                    <a:pt x="671" y="10236"/>
                  </a:lnTo>
                  <a:lnTo>
                    <a:pt x="447" y="11935"/>
                  </a:lnTo>
                  <a:lnTo>
                    <a:pt x="447" y="11935"/>
                  </a:lnTo>
                  <a:lnTo>
                    <a:pt x="313" y="13231"/>
                  </a:lnTo>
                  <a:lnTo>
                    <a:pt x="268" y="14483"/>
                  </a:lnTo>
                  <a:lnTo>
                    <a:pt x="313" y="15689"/>
                  </a:lnTo>
                  <a:lnTo>
                    <a:pt x="358" y="16226"/>
                  </a:lnTo>
                  <a:lnTo>
                    <a:pt x="447" y="16762"/>
                  </a:lnTo>
                  <a:lnTo>
                    <a:pt x="447" y="16762"/>
                  </a:lnTo>
                  <a:lnTo>
                    <a:pt x="581" y="17567"/>
                  </a:lnTo>
                  <a:lnTo>
                    <a:pt x="850" y="18416"/>
                  </a:lnTo>
                  <a:lnTo>
                    <a:pt x="1162" y="19310"/>
                  </a:lnTo>
                  <a:lnTo>
                    <a:pt x="1520" y="20293"/>
                  </a:lnTo>
                  <a:lnTo>
                    <a:pt x="2369" y="22394"/>
                  </a:lnTo>
                  <a:lnTo>
                    <a:pt x="3308" y="24629"/>
                  </a:lnTo>
                  <a:lnTo>
                    <a:pt x="4247" y="26954"/>
                  </a:lnTo>
                  <a:lnTo>
                    <a:pt x="4694" y="28116"/>
                  </a:lnTo>
                  <a:lnTo>
                    <a:pt x="5141" y="29278"/>
                  </a:lnTo>
                  <a:lnTo>
                    <a:pt x="5498" y="30395"/>
                  </a:lnTo>
                  <a:lnTo>
                    <a:pt x="5856" y="31558"/>
                  </a:lnTo>
                  <a:lnTo>
                    <a:pt x="6124" y="32675"/>
                  </a:lnTo>
                  <a:lnTo>
                    <a:pt x="6348" y="33748"/>
                  </a:lnTo>
                  <a:lnTo>
                    <a:pt x="6348" y="33748"/>
                  </a:lnTo>
                  <a:lnTo>
                    <a:pt x="6437" y="34463"/>
                  </a:lnTo>
                  <a:lnTo>
                    <a:pt x="6482" y="35223"/>
                  </a:lnTo>
                  <a:lnTo>
                    <a:pt x="6571" y="36877"/>
                  </a:lnTo>
                  <a:lnTo>
                    <a:pt x="6526" y="38620"/>
                  </a:lnTo>
                  <a:lnTo>
                    <a:pt x="6437" y="40453"/>
                  </a:lnTo>
                  <a:lnTo>
                    <a:pt x="6213" y="44073"/>
                  </a:lnTo>
                  <a:lnTo>
                    <a:pt x="6079" y="45817"/>
                  </a:lnTo>
                  <a:lnTo>
                    <a:pt x="5990" y="47426"/>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2" name="Google Shape;2281;p11">
              <a:extLst>
                <a:ext uri="{FF2B5EF4-FFF2-40B4-BE49-F238E27FC236}">
                  <a16:creationId xmlns:a16="http://schemas.microsoft.com/office/drawing/2014/main" id="{BDEBCBCF-B7B7-03CB-9999-34776D75F691}"/>
                </a:ext>
              </a:extLst>
            </p:cNvPr>
            <p:cNvSpPr/>
            <p:nvPr/>
          </p:nvSpPr>
          <p:spPr>
            <a:xfrm>
              <a:off x="8897989" y="1072676"/>
              <a:ext cx="96862" cy="218630"/>
            </a:xfrm>
            <a:custGeom>
              <a:avLst/>
              <a:gdLst/>
              <a:ahLst/>
              <a:cxnLst/>
              <a:rect l="l" t="t" r="r" b="b"/>
              <a:pathLst>
                <a:path w="15467" h="34911" extrusionOk="0">
                  <a:moveTo>
                    <a:pt x="3755" y="1"/>
                  </a:moveTo>
                  <a:lnTo>
                    <a:pt x="0" y="805"/>
                  </a:lnTo>
                  <a:lnTo>
                    <a:pt x="134" y="1744"/>
                  </a:lnTo>
                  <a:lnTo>
                    <a:pt x="492" y="4336"/>
                  </a:lnTo>
                  <a:lnTo>
                    <a:pt x="939" y="8181"/>
                  </a:lnTo>
                  <a:lnTo>
                    <a:pt x="1207" y="10415"/>
                  </a:lnTo>
                  <a:lnTo>
                    <a:pt x="1431" y="12874"/>
                  </a:lnTo>
                  <a:lnTo>
                    <a:pt x="1654" y="15422"/>
                  </a:lnTo>
                  <a:lnTo>
                    <a:pt x="1833" y="18104"/>
                  </a:lnTo>
                  <a:lnTo>
                    <a:pt x="1967" y="20786"/>
                  </a:lnTo>
                  <a:lnTo>
                    <a:pt x="2056" y="23423"/>
                  </a:lnTo>
                  <a:lnTo>
                    <a:pt x="2101" y="26060"/>
                  </a:lnTo>
                  <a:lnTo>
                    <a:pt x="2012" y="28519"/>
                  </a:lnTo>
                  <a:lnTo>
                    <a:pt x="1967" y="29726"/>
                  </a:lnTo>
                  <a:lnTo>
                    <a:pt x="1878" y="30888"/>
                  </a:lnTo>
                  <a:lnTo>
                    <a:pt x="1788" y="31961"/>
                  </a:lnTo>
                  <a:lnTo>
                    <a:pt x="1609" y="33033"/>
                  </a:lnTo>
                  <a:lnTo>
                    <a:pt x="1654" y="33123"/>
                  </a:lnTo>
                  <a:lnTo>
                    <a:pt x="1744" y="33257"/>
                  </a:lnTo>
                  <a:lnTo>
                    <a:pt x="1878" y="33391"/>
                  </a:lnTo>
                  <a:lnTo>
                    <a:pt x="2056" y="33525"/>
                  </a:lnTo>
                  <a:lnTo>
                    <a:pt x="2593" y="33793"/>
                  </a:lnTo>
                  <a:lnTo>
                    <a:pt x="3308" y="34061"/>
                  </a:lnTo>
                  <a:lnTo>
                    <a:pt x="4157" y="34330"/>
                  </a:lnTo>
                  <a:lnTo>
                    <a:pt x="5096" y="34553"/>
                  </a:lnTo>
                  <a:lnTo>
                    <a:pt x="6169" y="34732"/>
                  </a:lnTo>
                  <a:lnTo>
                    <a:pt x="7242" y="34866"/>
                  </a:lnTo>
                  <a:lnTo>
                    <a:pt x="8404" y="34911"/>
                  </a:lnTo>
                  <a:lnTo>
                    <a:pt x="9521" y="34866"/>
                  </a:lnTo>
                  <a:lnTo>
                    <a:pt x="10058" y="34777"/>
                  </a:lnTo>
                  <a:lnTo>
                    <a:pt x="10594" y="34687"/>
                  </a:lnTo>
                  <a:lnTo>
                    <a:pt x="11130" y="34553"/>
                  </a:lnTo>
                  <a:lnTo>
                    <a:pt x="11622" y="34419"/>
                  </a:lnTo>
                  <a:lnTo>
                    <a:pt x="12114" y="34240"/>
                  </a:lnTo>
                  <a:lnTo>
                    <a:pt x="12561" y="34017"/>
                  </a:lnTo>
                  <a:lnTo>
                    <a:pt x="13008" y="33748"/>
                  </a:lnTo>
                  <a:lnTo>
                    <a:pt x="13410" y="33436"/>
                  </a:lnTo>
                  <a:lnTo>
                    <a:pt x="13723" y="33078"/>
                  </a:lnTo>
                  <a:lnTo>
                    <a:pt x="14036" y="32676"/>
                  </a:lnTo>
                  <a:lnTo>
                    <a:pt x="14304" y="32273"/>
                  </a:lnTo>
                  <a:lnTo>
                    <a:pt x="14528" y="31782"/>
                  </a:lnTo>
                  <a:lnTo>
                    <a:pt x="14796" y="30932"/>
                  </a:lnTo>
                  <a:lnTo>
                    <a:pt x="15019" y="29949"/>
                  </a:lnTo>
                  <a:lnTo>
                    <a:pt x="15198" y="28876"/>
                  </a:lnTo>
                  <a:lnTo>
                    <a:pt x="15287" y="27714"/>
                  </a:lnTo>
                  <a:lnTo>
                    <a:pt x="15377" y="26507"/>
                  </a:lnTo>
                  <a:lnTo>
                    <a:pt x="15422" y="25256"/>
                  </a:lnTo>
                  <a:lnTo>
                    <a:pt x="15466" y="22842"/>
                  </a:lnTo>
                  <a:lnTo>
                    <a:pt x="15422" y="20562"/>
                  </a:lnTo>
                  <a:lnTo>
                    <a:pt x="15332" y="18685"/>
                  </a:lnTo>
                  <a:lnTo>
                    <a:pt x="15243" y="16986"/>
                  </a:lnTo>
                  <a:lnTo>
                    <a:pt x="7197" y="984"/>
                  </a:lnTo>
                  <a:lnTo>
                    <a:pt x="3755" y="1"/>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3" name="Google Shape;2282;p11">
              <a:extLst>
                <a:ext uri="{FF2B5EF4-FFF2-40B4-BE49-F238E27FC236}">
                  <a16:creationId xmlns:a16="http://schemas.microsoft.com/office/drawing/2014/main" id="{B44725E5-7CB7-6D78-ED08-F1579073C1C9}"/>
                </a:ext>
              </a:extLst>
            </p:cNvPr>
            <p:cNvSpPr/>
            <p:nvPr/>
          </p:nvSpPr>
          <p:spPr>
            <a:xfrm>
              <a:off x="8897989" y="1072676"/>
              <a:ext cx="96862" cy="218630"/>
            </a:xfrm>
            <a:custGeom>
              <a:avLst/>
              <a:gdLst/>
              <a:ahLst/>
              <a:cxnLst/>
              <a:rect l="l" t="t" r="r" b="b"/>
              <a:pathLst>
                <a:path w="15467" h="34911" fill="none" extrusionOk="0">
                  <a:moveTo>
                    <a:pt x="3755" y="1"/>
                  </a:moveTo>
                  <a:lnTo>
                    <a:pt x="7197" y="984"/>
                  </a:lnTo>
                  <a:lnTo>
                    <a:pt x="15243" y="16986"/>
                  </a:lnTo>
                  <a:lnTo>
                    <a:pt x="15243" y="16986"/>
                  </a:lnTo>
                  <a:lnTo>
                    <a:pt x="15332" y="18685"/>
                  </a:lnTo>
                  <a:lnTo>
                    <a:pt x="15422" y="20562"/>
                  </a:lnTo>
                  <a:lnTo>
                    <a:pt x="15466" y="22842"/>
                  </a:lnTo>
                  <a:lnTo>
                    <a:pt x="15422" y="25256"/>
                  </a:lnTo>
                  <a:lnTo>
                    <a:pt x="15377" y="26507"/>
                  </a:lnTo>
                  <a:lnTo>
                    <a:pt x="15287" y="27714"/>
                  </a:lnTo>
                  <a:lnTo>
                    <a:pt x="15198" y="28876"/>
                  </a:lnTo>
                  <a:lnTo>
                    <a:pt x="15019" y="29949"/>
                  </a:lnTo>
                  <a:lnTo>
                    <a:pt x="14796" y="30932"/>
                  </a:lnTo>
                  <a:lnTo>
                    <a:pt x="14528" y="31782"/>
                  </a:lnTo>
                  <a:lnTo>
                    <a:pt x="14528" y="31782"/>
                  </a:lnTo>
                  <a:lnTo>
                    <a:pt x="14304" y="32273"/>
                  </a:lnTo>
                  <a:lnTo>
                    <a:pt x="14036" y="32676"/>
                  </a:lnTo>
                  <a:lnTo>
                    <a:pt x="13723" y="33078"/>
                  </a:lnTo>
                  <a:lnTo>
                    <a:pt x="13410" y="33436"/>
                  </a:lnTo>
                  <a:lnTo>
                    <a:pt x="13008" y="33748"/>
                  </a:lnTo>
                  <a:lnTo>
                    <a:pt x="12561" y="34017"/>
                  </a:lnTo>
                  <a:lnTo>
                    <a:pt x="12114" y="34240"/>
                  </a:lnTo>
                  <a:lnTo>
                    <a:pt x="11622" y="34419"/>
                  </a:lnTo>
                  <a:lnTo>
                    <a:pt x="11130" y="34553"/>
                  </a:lnTo>
                  <a:lnTo>
                    <a:pt x="10594" y="34687"/>
                  </a:lnTo>
                  <a:lnTo>
                    <a:pt x="10058" y="34777"/>
                  </a:lnTo>
                  <a:lnTo>
                    <a:pt x="9521" y="34866"/>
                  </a:lnTo>
                  <a:lnTo>
                    <a:pt x="8404" y="34911"/>
                  </a:lnTo>
                  <a:lnTo>
                    <a:pt x="7242" y="34866"/>
                  </a:lnTo>
                  <a:lnTo>
                    <a:pt x="6169" y="34732"/>
                  </a:lnTo>
                  <a:lnTo>
                    <a:pt x="5096" y="34553"/>
                  </a:lnTo>
                  <a:lnTo>
                    <a:pt x="4157" y="34330"/>
                  </a:lnTo>
                  <a:lnTo>
                    <a:pt x="3308" y="34061"/>
                  </a:lnTo>
                  <a:lnTo>
                    <a:pt x="2593" y="33793"/>
                  </a:lnTo>
                  <a:lnTo>
                    <a:pt x="2056" y="33525"/>
                  </a:lnTo>
                  <a:lnTo>
                    <a:pt x="1878" y="33391"/>
                  </a:lnTo>
                  <a:lnTo>
                    <a:pt x="1744" y="33257"/>
                  </a:lnTo>
                  <a:lnTo>
                    <a:pt x="1654" y="33123"/>
                  </a:lnTo>
                  <a:lnTo>
                    <a:pt x="1609" y="33033"/>
                  </a:lnTo>
                  <a:lnTo>
                    <a:pt x="1609" y="33033"/>
                  </a:lnTo>
                  <a:lnTo>
                    <a:pt x="1788" y="31961"/>
                  </a:lnTo>
                  <a:lnTo>
                    <a:pt x="1878" y="30888"/>
                  </a:lnTo>
                  <a:lnTo>
                    <a:pt x="1967" y="29726"/>
                  </a:lnTo>
                  <a:lnTo>
                    <a:pt x="2012" y="28519"/>
                  </a:lnTo>
                  <a:lnTo>
                    <a:pt x="2101" y="26060"/>
                  </a:lnTo>
                  <a:lnTo>
                    <a:pt x="2056" y="23423"/>
                  </a:lnTo>
                  <a:lnTo>
                    <a:pt x="1967" y="20786"/>
                  </a:lnTo>
                  <a:lnTo>
                    <a:pt x="1833" y="18104"/>
                  </a:lnTo>
                  <a:lnTo>
                    <a:pt x="1654" y="15422"/>
                  </a:lnTo>
                  <a:lnTo>
                    <a:pt x="1431" y="12874"/>
                  </a:lnTo>
                  <a:lnTo>
                    <a:pt x="1207" y="10415"/>
                  </a:lnTo>
                  <a:lnTo>
                    <a:pt x="939" y="8181"/>
                  </a:lnTo>
                  <a:lnTo>
                    <a:pt x="492" y="4336"/>
                  </a:lnTo>
                  <a:lnTo>
                    <a:pt x="134" y="1744"/>
                  </a:lnTo>
                  <a:lnTo>
                    <a:pt x="0" y="805"/>
                  </a:lnTo>
                  <a:lnTo>
                    <a:pt x="3755"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4" name="Google Shape;2283;p11">
              <a:extLst>
                <a:ext uri="{FF2B5EF4-FFF2-40B4-BE49-F238E27FC236}">
                  <a16:creationId xmlns:a16="http://schemas.microsoft.com/office/drawing/2014/main" id="{F1AF888E-6F82-B367-EC8C-3EC3D27AF788}"/>
                </a:ext>
              </a:extLst>
            </p:cNvPr>
            <p:cNvSpPr/>
            <p:nvPr/>
          </p:nvSpPr>
          <p:spPr>
            <a:xfrm>
              <a:off x="8869157" y="1291018"/>
              <a:ext cx="85101" cy="57114"/>
            </a:xfrm>
            <a:custGeom>
              <a:avLst/>
              <a:gdLst/>
              <a:ahLst/>
              <a:cxnLst/>
              <a:rect l="l" t="t" r="r" b="b"/>
              <a:pathLst>
                <a:path w="13589" h="9120" extrusionOk="0">
                  <a:moveTo>
                    <a:pt x="1788" y="1"/>
                  </a:moveTo>
                  <a:lnTo>
                    <a:pt x="1297" y="1834"/>
                  </a:lnTo>
                  <a:lnTo>
                    <a:pt x="805" y="4024"/>
                  </a:lnTo>
                  <a:lnTo>
                    <a:pt x="358" y="6393"/>
                  </a:lnTo>
                  <a:lnTo>
                    <a:pt x="134" y="7600"/>
                  </a:lnTo>
                  <a:lnTo>
                    <a:pt x="0" y="8807"/>
                  </a:lnTo>
                  <a:lnTo>
                    <a:pt x="626" y="8941"/>
                  </a:lnTo>
                  <a:lnTo>
                    <a:pt x="1252" y="9030"/>
                  </a:lnTo>
                  <a:lnTo>
                    <a:pt x="1922" y="9120"/>
                  </a:lnTo>
                  <a:lnTo>
                    <a:pt x="2548" y="9120"/>
                  </a:lnTo>
                  <a:lnTo>
                    <a:pt x="3487" y="9075"/>
                  </a:lnTo>
                  <a:lnTo>
                    <a:pt x="4470" y="8941"/>
                  </a:lnTo>
                  <a:lnTo>
                    <a:pt x="5409" y="8762"/>
                  </a:lnTo>
                  <a:lnTo>
                    <a:pt x="6303" y="8539"/>
                  </a:lnTo>
                  <a:lnTo>
                    <a:pt x="7197" y="8270"/>
                  </a:lnTo>
                  <a:lnTo>
                    <a:pt x="8046" y="7913"/>
                  </a:lnTo>
                  <a:lnTo>
                    <a:pt x="8851" y="7600"/>
                  </a:lnTo>
                  <a:lnTo>
                    <a:pt x="9655" y="7198"/>
                  </a:lnTo>
                  <a:lnTo>
                    <a:pt x="10370" y="6840"/>
                  </a:lnTo>
                  <a:lnTo>
                    <a:pt x="11041" y="6482"/>
                  </a:lnTo>
                  <a:lnTo>
                    <a:pt x="12158" y="5767"/>
                  </a:lnTo>
                  <a:lnTo>
                    <a:pt x="13052" y="5186"/>
                  </a:lnTo>
                  <a:lnTo>
                    <a:pt x="13589" y="4784"/>
                  </a:lnTo>
                  <a:lnTo>
                    <a:pt x="13589" y="4784"/>
                  </a:lnTo>
                  <a:lnTo>
                    <a:pt x="13365" y="4828"/>
                  </a:lnTo>
                  <a:lnTo>
                    <a:pt x="12605" y="4828"/>
                  </a:lnTo>
                  <a:lnTo>
                    <a:pt x="12024" y="4694"/>
                  </a:lnTo>
                  <a:lnTo>
                    <a:pt x="11309" y="4560"/>
                  </a:lnTo>
                  <a:lnTo>
                    <a:pt x="10549" y="4337"/>
                  </a:lnTo>
                  <a:lnTo>
                    <a:pt x="8851" y="3756"/>
                  </a:lnTo>
                  <a:lnTo>
                    <a:pt x="7107" y="3041"/>
                  </a:lnTo>
                  <a:lnTo>
                    <a:pt x="5364" y="2281"/>
                  </a:lnTo>
                  <a:lnTo>
                    <a:pt x="4560" y="1878"/>
                  </a:lnTo>
                  <a:lnTo>
                    <a:pt x="3800" y="1476"/>
                  </a:lnTo>
                  <a:lnTo>
                    <a:pt x="3129" y="1074"/>
                  </a:lnTo>
                  <a:lnTo>
                    <a:pt x="2548" y="671"/>
                  </a:lnTo>
                  <a:lnTo>
                    <a:pt x="2101" y="314"/>
                  </a:lnTo>
                  <a:lnTo>
                    <a:pt x="1788" y="1"/>
                  </a:lnTo>
                  <a:close/>
                </a:path>
              </a:pathLst>
            </a:custGeom>
            <a:solidFill>
              <a:srgbClr val="27273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5" name="Google Shape;2284;p11">
              <a:extLst>
                <a:ext uri="{FF2B5EF4-FFF2-40B4-BE49-F238E27FC236}">
                  <a16:creationId xmlns:a16="http://schemas.microsoft.com/office/drawing/2014/main" id="{3BA09B31-D928-5B22-FA82-B73A4E975F31}"/>
                </a:ext>
              </a:extLst>
            </p:cNvPr>
            <p:cNvSpPr/>
            <p:nvPr/>
          </p:nvSpPr>
          <p:spPr>
            <a:xfrm>
              <a:off x="8955091" y="1320132"/>
              <a:ext cx="6" cy="6"/>
            </a:xfrm>
            <a:custGeom>
              <a:avLst/>
              <a:gdLst/>
              <a:ahLst/>
              <a:cxnLst/>
              <a:rect l="l" t="t" r="r" b="b"/>
              <a:pathLst>
                <a:path w="1" h="1" fill="none" extrusionOk="0">
                  <a:moveTo>
                    <a:pt x="1" y="1"/>
                  </a:moveTo>
                  <a:lnTo>
                    <a:pt x="1" y="1"/>
                  </a:lnTo>
                  <a:lnTo>
                    <a:pt x="1" y="1"/>
                  </a:lnTo>
                  <a:lnTo>
                    <a:pt x="1" y="1"/>
                  </a:lnTo>
                  <a:lnTo>
                    <a:pt x="1" y="1"/>
                  </a:lnTo>
                  <a:lnTo>
                    <a:pt x="1" y="1"/>
                  </a:lnTo>
                  <a:lnTo>
                    <a:pt x="1" y="1"/>
                  </a:lnTo>
                  <a:lnTo>
                    <a:pt x="1"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6" name="Google Shape;2285;p11">
              <a:extLst>
                <a:ext uri="{FF2B5EF4-FFF2-40B4-BE49-F238E27FC236}">
                  <a16:creationId xmlns:a16="http://schemas.microsoft.com/office/drawing/2014/main" id="{3C11CBB9-D45A-21D4-37DE-CB779C91716C}"/>
                </a:ext>
              </a:extLst>
            </p:cNvPr>
            <p:cNvSpPr/>
            <p:nvPr/>
          </p:nvSpPr>
          <p:spPr>
            <a:xfrm>
              <a:off x="8869157" y="1291018"/>
              <a:ext cx="85101" cy="57114"/>
            </a:xfrm>
            <a:custGeom>
              <a:avLst/>
              <a:gdLst/>
              <a:ahLst/>
              <a:cxnLst/>
              <a:rect l="l" t="t" r="r" b="b"/>
              <a:pathLst>
                <a:path w="13589" h="9120" fill="none" extrusionOk="0">
                  <a:moveTo>
                    <a:pt x="1788" y="1"/>
                  </a:moveTo>
                  <a:lnTo>
                    <a:pt x="1788" y="1"/>
                  </a:lnTo>
                  <a:lnTo>
                    <a:pt x="1297" y="1834"/>
                  </a:lnTo>
                  <a:lnTo>
                    <a:pt x="805" y="4024"/>
                  </a:lnTo>
                  <a:lnTo>
                    <a:pt x="358" y="6393"/>
                  </a:lnTo>
                  <a:lnTo>
                    <a:pt x="134" y="7600"/>
                  </a:lnTo>
                  <a:lnTo>
                    <a:pt x="0" y="8807"/>
                  </a:lnTo>
                  <a:lnTo>
                    <a:pt x="0" y="8807"/>
                  </a:lnTo>
                  <a:lnTo>
                    <a:pt x="626" y="8941"/>
                  </a:lnTo>
                  <a:lnTo>
                    <a:pt x="1252" y="9030"/>
                  </a:lnTo>
                  <a:lnTo>
                    <a:pt x="1922" y="9120"/>
                  </a:lnTo>
                  <a:lnTo>
                    <a:pt x="2548" y="9120"/>
                  </a:lnTo>
                  <a:lnTo>
                    <a:pt x="2548" y="9120"/>
                  </a:lnTo>
                  <a:lnTo>
                    <a:pt x="3487" y="9075"/>
                  </a:lnTo>
                  <a:lnTo>
                    <a:pt x="4470" y="8941"/>
                  </a:lnTo>
                  <a:lnTo>
                    <a:pt x="5409" y="8762"/>
                  </a:lnTo>
                  <a:lnTo>
                    <a:pt x="6303" y="8539"/>
                  </a:lnTo>
                  <a:lnTo>
                    <a:pt x="7197" y="8270"/>
                  </a:lnTo>
                  <a:lnTo>
                    <a:pt x="8046" y="7913"/>
                  </a:lnTo>
                  <a:lnTo>
                    <a:pt x="8851" y="7600"/>
                  </a:lnTo>
                  <a:lnTo>
                    <a:pt x="9655" y="7198"/>
                  </a:lnTo>
                  <a:lnTo>
                    <a:pt x="10370" y="6840"/>
                  </a:lnTo>
                  <a:lnTo>
                    <a:pt x="11041" y="6482"/>
                  </a:lnTo>
                  <a:lnTo>
                    <a:pt x="12158" y="5767"/>
                  </a:lnTo>
                  <a:lnTo>
                    <a:pt x="13052" y="5186"/>
                  </a:lnTo>
                  <a:lnTo>
                    <a:pt x="13589" y="4784"/>
                  </a:lnTo>
                  <a:lnTo>
                    <a:pt x="13589" y="4784"/>
                  </a:lnTo>
                  <a:lnTo>
                    <a:pt x="13365" y="4828"/>
                  </a:lnTo>
                  <a:lnTo>
                    <a:pt x="13097" y="4828"/>
                  </a:lnTo>
                  <a:lnTo>
                    <a:pt x="13097" y="4828"/>
                  </a:lnTo>
                  <a:lnTo>
                    <a:pt x="12605" y="4828"/>
                  </a:lnTo>
                  <a:lnTo>
                    <a:pt x="12024" y="4694"/>
                  </a:lnTo>
                  <a:lnTo>
                    <a:pt x="11309" y="4560"/>
                  </a:lnTo>
                  <a:lnTo>
                    <a:pt x="10549" y="4337"/>
                  </a:lnTo>
                  <a:lnTo>
                    <a:pt x="8851" y="3756"/>
                  </a:lnTo>
                  <a:lnTo>
                    <a:pt x="7107" y="3041"/>
                  </a:lnTo>
                  <a:lnTo>
                    <a:pt x="5364" y="2281"/>
                  </a:lnTo>
                  <a:lnTo>
                    <a:pt x="4560" y="1878"/>
                  </a:lnTo>
                  <a:lnTo>
                    <a:pt x="3800" y="1476"/>
                  </a:lnTo>
                  <a:lnTo>
                    <a:pt x="3129" y="1074"/>
                  </a:lnTo>
                  <a:lnTo>
                    <a:pt x="2548" y="671"/>
                  </a:lnTo>
                  <a:lnTo>
                    <a:pt x="2101" y="314"/>
                  </a:lnTo>
                  <a:lnTo>
                    <a:pt x="1788"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7" name="Google Shape;2286;p11">
              <a:extLst>
                <a:ext uri="{FF2B5EF4-FFF2-40B4-BE49-F238E27FC236}">
                  <a16:creationId xmlns:a16="http://schemas.microsoft.com/office/drawing/2014/main" id="{31BD1FB7-AB44-FB6A-CBE8-156A8D144A89}"/>
                </a:ext>
              </a:extLst>
            </p:cNvPr>
            <p:cNvSpPr/>
            <p:nvPr/>
          </p:nvSpPr>
          <p:spPr>
            <a:xfrm>
              <a:off x="8809250" y="1357645"/>
              <a:ext cx="48152" cy="33598"/>
            </a:xfrm>
            <a:custGeom>
              <a:avLst/>
              <a:gdLst/>
              <a:ahLst/>
              <a:cxnLst/>
              <a:rect l="l" t="t" r="r" b="b"/>
              <a:pathLst>
                <a:path w="7689" h="5365" extrusionOk="0">
                  <a:moveTo>
                    <a:pt x="5901" y="0"/>
                  </a:moveTo>
                  <a:lnTo>
                    <a:pt x="5007" y="90"/>
                  </a:lnTo>
                  <a:lnTo>
                    <a:pt x="4873" y="90"/>
                  </a:lnTo>
                  <a:lnTo>
                    <a:pt x="1208" y="447"/>
                  </a:lnTo>
                  <a:lnTo>
                    <a:pt x="1163" y="447"/>
                  </a:lnTo>
                  <a:lnTo>
                    <a:pt x="895" y="537"/>
                  </a:lnTo>
                  <a:lnTo>
                    <a:pt x="671" y="671"/>
                  </a:lnTo>
                  <a:lnTo>
                    <a:pt x="492" y="805"/>
                  </a:lnTo>
                  <a:lnTo>
                    <a:pt x="358" y="984"/>
                  </a:lnTo>
                  <a:lnTo>
                    <a:pt x="269" y="1163"/>
                  </a:lnTo>
                  <a:lnTo>
                    <a:pt x="135" y="1386"/>
                  </a:lnTo>
                  <a:lnTo>
                    <a:pt x="90" y="1654"/>
                  </a:lnTo>
                  <a:lnTo>
                    <a:pt x="45" y="1922"/>
                  </a:lnTo>
                  <a:lnTo>
                    <a:pt x="1" y="2191"/>
                  </a:lnTo>
                  <a:lnTo>
                    <a:pt x="45" y="2459"/>
                  </a:lnTo>
                  <a:lnTo>
                    <a:pt x="135" y="3576"/>
                  </a:lnTo>
                  <a:lnTo>
                    <a:pt x="314" y="5364"/>
                  </a:lnTo>
                  <a:lnTo>
                    <a:pt x="1252" y="5275"/>
                  </a:lnTo>
                  <a:lnTo>
                    <a:pt x="1073" y="3487"/>
                  </a:lnTo>
                  <a:lnTo>
                    <a:pt x="1029" y="3219"/>
                  </a:lnTo>
                  <a:lnTo>
                    <a:pt x="1073" y="2816"/>
                  </a:lnTo>
                  <a:lnTo>
                    <a:pt x="1118" y="2414"/>
                  </a:lnTo>
                  <a:lnTo>
                    <a:pt x="1297" y="2101"/>
                  </a:lnTo>
                  <a:lnTo>
                    <a:pt x="1520" y="1878"/>
                  </a:lnTo>
                  <a:lnTo>
                    <a:pt x="1610" y="1833"/>
                  </a:lnTo>
                  <a:lnTo>
                    <a:pt x="1744" y="1744"/>
                  </a:lnTo>
                  <a:lnTo>
                    <a:pt x="1878" y="1744"/>
                  </a:lnTo>
                  <a:lnTo>
                    <a:pt x="5186" y="1386"/>
                  </a:lnTo>
                  <a:lnTo>
                    <a:pt x="5454" y="1341"/>
                  </a:lnTo>
                  <a:lnTo>
                    <a:pt x="5633" y="1386"/>
                  </a:lnTo>
                  <a:lnTo>
                    <a:pt x="5856" y="1431"/>
                  </a:lnTo>
                  <a:lnTo>
                    <a:pt x="6035" y="1565"/>
                  </a:lnTo>
                  <a:lnTo>
                    <a:pt x="6169" y="1699"/>
                  </a:lnTo>
                  <a:lnTo>
                    <a:pt x="6303" y="1878"/>
                  </a:lnTo>
                  <a:lnTo>
                    <a:pt x="6437" y="2101"/>
                  </a:lnTo>
                  <a:lnTo>
                    <a:pt x="6527" y="2369"/>
                  </a:lnTo>
                  <a:lnTo>
                    <a:pt x="6571" y="2638"/>
                  </a:lnTo>
                  <a:lnTo>
                    <a:pt x="6571" y="2861"/>
                  </a:lnTo>
                  <a:lnTo>
                    <a:pt x="6795" y="4694"/>
                  </a:lnTo>
                  <a:lnTo>
                    <a:pt x="7689" y="4604"/>
                  </a:lnTo>
                  <a:lnTo>
                    <a:pt x="7510" y="2772"/>
                  </a:lnTo>
                  <a:lnTo>
                    <a:pt x="7421" y="1699"/>
                  </a:lnTo>
                  <a:lnTo>
                    <a:pt x="7376" y="1520"/>
                  </a:lnTo>
                  <a:lnTo>
                    <a:pt x="7331" y="1252"/>
                  </a:lnTo>
                  <a:lnTo>
                    <a:pt x="7242" y="1028"/>
                  </a:lnTo>
                  <a:lnTo>
                    <a:pt x="7153" y="805"/>
                  </a:lnTo>
                  <a:lnTo>
                    <a:pt x="7018" y="581"/>
                  </a:lnTo>
                  <a:lnTo>
                    <a:pt x="6884" y="403"/>
                  </a:lnTo>
                  <a:lnTo>
                    <a:pt x="6616" y="179"/>
                  </a:lnTo>
                  <a:lnTo>
                    <a:pt x="6303" y="45"/>
                  </a:lnTo>
                  <a:lnTo>
                    <a:pt x="6080" y="0"/>
                  </a:lnTo>
                  <a:close/>
                </a:path>
              </a:pathLst>
            </a:custGeom>
            <a:solidFill>
              <a:srgbClr val="201B2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8" name="Google Shape;2287;p11">
              <a:extLst>
                <a:ext uri="{FF2B5EF4-FFF2-40B4-BE49-F238E27FC236}">
                  <a16:creationId xmlns:a16="http://schemas.microsoft.com/office/drawing/2014/main" id="{2FA9F0F0-D3A7-6DDA-0972-D31CBD961E57}"/>
                </a:ext>
              </a:extLst>
            </p:cNvPr>
            <p:cNvSpPr/>
            <p:nvPr/>
          </p:nvSpPr>
          <p:spPr>
            <a:xfrm>
              <a:off x="8812888" y="1327409"/>
              <a:ext cx="36116" cy="45635"/>
            </a:xfrm>
            <a:custGeom>
              <a:avLst/>
              <a:gdLst/>
              <a:ahLst/>
              <a:cxnLst/>
              <a:rect l="l" t="t" r="r" b="b"/>
              <a:pathLst>
                <a:path w="5767" h="7287" extrusionOk="0">
                  <a:moveTo>
                    <a:pt x="3666" y="1"/>
                  </a:moveTo>
                  <a:lnTo>
                    <a:pt x="1" y="448"/>
                  </a:lnTo>
                  <a:lnTo>
                    <a:pt x="180" y="1074"/>
                  </a:lnTo>
                  <a:lnTo>
                    <a:pt x="314" y="1610"/>
                  </a:lnTo>
                  <a:lnTo>
                    <a:pt x="358" y="2102"/>
                  </a:lnTo>
                  <a:lnTo>
                    <a:pt x="358" y="2549"/>
                  </a:lnTo>
                  <a:lnTo>
                    <a:pt x="403" y="3398"/>
                  </a:lnTo>
                  <a:lnTo>
                    <a:pt x="403" y="3845"/>
                  </a:lnTo>
                  <a:lnTo>
                    <a:pt x="448" y="4337"/>
                  </a:lnTo>
                  <a:lnTo>
                    <a:pt x="627" y="5275"/>
                  </a:lnTo>
                  <a:lnTo>
                    <a:pt x="716" y="5722"/>
                  </a:lnTo>
                  <a:lnTo>
                    <a:pt x="805" y="6125"/>
                  </a:lnTo>
                  <a:lnTo>
                    <a:pt x="939" y="6438"/>
                  </a:lnTo>
                  <a:lnTo>
                    <a:pt x="1073" y="6750"/>
                  </a:lnTo>
                  <a:lnTo>
                    <a:pt x="1342" y="6974"/>
                  </a:lnTo>
                  <a:lnTo>
                    <a:pt x="1610" y="7153"/>
                  </a:lnTo>
                  <a:lnTo>
                    <a:pt x="1789" y="7242"/>
                  </a:lnTo>
                  <a:lnTo>
                    <a:pt x="1967" y="7287"/>
                  </a:lnTo>
                  <a:lnTo>
                    <a:pt x="2414" y="7287"/>
                  </a:lnTo>
                  <a:lnTo>
                    <a:pt x="2861" y="7242"/>
                  </a:lnTo>
                  <a:lnTo>
                    <a:pt x="3308" y="7108"/>
                  </a:lnTo>
                  <a:lnTo>
                    <a:pt x="3755" y="6929"/>
                  </a:lnTo>
                  <a:lnTo>
                    <a:pt x="4113" y="6706"/>
                  </a:lnTo>
                  <a:lnTo>
                    <a:pt x="4426" y="6482"/>
                  </a:lnTo>
                  <a:lnTo>
                    <a:pt x="4515" y="6348"/>
                  </a:lnTo>
                  <a:lnTo>
                    <a:pt x="4605" y="6214"/>
                  </a:lnTo>
                  <a:lnTo>
                    <a:pt x="4649" y="5946"/>
                  </a:lnTo>
                  <a:lnTo>
                    <a:pt x="4649" y="5678"/>
                  </a:lnTo>
                  <a:lnTo>
                    <a:pt x="4560" y="5454"/>
                  </a:lnTo>
                  <a:lnTo>
                    <a:pt x="4471" y="5231"/>
                  </a:lnTo>
                  <a:lnTo>
                    <a:pt x="4292" y="4962"/>
                  </a:lnTo>
                  <a:lnTo>
                    <a:pt x="4292" y="4873"/>
                  </a:lnTo>
                  <a:lnTo>
                    <a:pt x="4381" y="4918"/>
                  </a:lnTo>
                  <a:lnTo>
                    <a:pt x="4515" y="4962"/>
                  </a:lnTo>
                  <a:lnTo>
                    <a:pt x="4605" y="5097"/>
                  </a:lnTo>
                  <a:lnTo>
                    <a:pt x="4828" y="5365"/>
                  </a:lnTo>
                  <a:lnTo>
                    <a:pt x="4962" y="5499"/>
                  </a:lnTo>
                  <a:lnTo>
                    <a:pt x="5141" y="5544"/>
                  </a:lnTo>
                  <a:lnTo>
                    <a:pt x="5320" y="5588"/>
                  </a:lnTo>
                  <a:lnTo>
                    <a:pt x="5543" y="5499"/>
                  </a:lnTo>
                  <a:lnTo>
                    <a:pt x="5678" y="5454"/>
                  </a:lnTo>
                  <a:lnTo>
                    <a:pt x="5722" y="5320"/>
                  </a:lnTo>
                  <a:lnTo>
                    <a:pt x="5767" y="5231"/>
                  </a:lnTo>
                  <a:lnTo>
                    <a:pt x="5767" y="5052"/>
                  </a:lnTo>
                  <a:lnTo>
                    <a:pt x="5678" y="4739"/>
                  </a:lnTo>
                  <a:lnTo>
                    <a:pt x="5499" y="4337"/>
                  </a:lnTo>
                  <a:lnTo>
                    <a:pt x="5007" y="3353"/>
                  </a:lnTo>
                  <a:lnTo>
                    <a:pt x="4739" y="2862"/>
                  </a:lnTo>
                  <a:lnTo>
                    <a:pt x="4471" y="2370"/>
                  </a:lnTo>
                  <a:lnTo>
                    <a:pt x="4158" y="1610"/>
                  </a:lnTo>
                  <a:lnTo>
                    <a:pt x="3979" y="1074"/>
                  </a:lnTo>
                  <a:lnTo>
                    <a:pt x="3666" y="1"/>
                  </a:lnTo>
                  <a:close/>
                </a:path>
              </a:pathLst>
            </a:custGeom>
            <a:solidFill>
              <a:srgbClr val="EEADA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9" name="Google Shape;2288;p11">
              <a:extLst>
                <a:ext uri="{FF2B5EF4-FFF2-40B4-BE49-F238E27FC236}">
                  <a16:creationId xmlns:a16="http://schemas.microsoft.com/office/drawing/2014/main" id="{D50FBA61-4D6C-F379-FD92-234C610CDE65}"/>
                </a:ext>
              </a:extLst>
            </p:cNvPr>
            <p:cNvSpPr/>
            <p:nvPr/>
          </p:nvSpPr>
          <p:spPr>
            <a:xfrm>
              <a:off x="8840042" y="1357363"/>
              <a:ext cx="17360" cy="29678"/>
            </a:xfrm>
            <a:custGeom>
              <a:avLst/>
              <a:gdLst/>
              <a:ahLst/>
              <a:cxnLst/>
              <a:rect l="l" t="t" r="r" b="b"/>
              <a:pathLst>
                <a:path w="2772" h="4739" extrusionOk="0">
                  <a:moveTo>
                    <a:pt x="984" y="1"/>
                  </a:moveTo>
                  <a:lnTo>
                    <a:pt x="90" y="135"/>
                  </a:lnTo>
                  <a:lnTo>
                    <a:pt x="1" y="135"/>
                  </a:lnTo>
                  <a:lnTo>
                    <a:pt x="135" y="403"/>
                  </a:lnTo>
                  <a:lnTo>
                    <a:pt x="135" y="448"/>
                  </a:lnTo>
                  <a:lnTo>
                    <a:pt x="313" y="850"/>
                  </a:lnTo>
                  <a:lnTo>
                    <a:pt x="537" y="1386"/>
                  </a:lnTo>
                  <a:lnTo>
                    <a:pt x="716" y="1386"/>
                  </a:lnTo>
                  <a:lnTo>
                    <a:pt x="939" y="1476"/>
                  </a:lnTo>
                  <a:lnTo>
                    <a:pt x="1118" y="1565"/>
                  </a:lnTo>
                  <a:lnTo>
                    <a:pt x="1252" y="1744"/>
                  </a:lnTo>
                  <a:lnTo>
                    <a:pt x="1386" y="1923"/>
                  </a:lnTo>
                  <a:lnTo>
                    <a:pt x="1520" y="2146"/>
                  </a:lnTo>
                  <a:lnTo>
                    <a:pt x="1610" y="2414"/>
                  </a:lnTo>
                  <a:lnTo>
                    <a:pt x="1654" y="2683"/>
                  </a:lnTo>
                  <a:lnTo>
                    <a:pt x="1654" y="2906"/>
                  </a:lnTo>
                  <a:lnTo>
                    <a:pt x="1878" y="4739"/>
                  </a:lnTo>
                  <a:lnTo>
                    <a:pt x="2772" y="4649"/>
                  </a:lnTo>
                  <a:lnTo>
                    <a:pt x="2593" y="2817"/>
                  </a:lnTo>
                  <a:lnTo>
                    <a:pt x="2504" y="1744"/>
                  </a:lnTo>
                  <a:lnTo>
                    <a:pt x="2459" y="1565"/>
                  </a:lnTo>
                  <a:lnTo>
                    <a:pt x="2414" y="1297"/>
                  </a:lnTo>
                  <a:lnTo>
                    <a:pt x="2325" y="1073"/>
                  </a:lnTo>
                  <a:lnTo>
                    <a:pt x="2236" y="850"/>
                  </a:lnTo>
                  <a:lnTo>
                    <a:pt x="2101" y="626"/>
                  </a:lnTo>
                  <a:lnTo>
                    <a:pt x="1967" y="448"/>
                  </a:lnTo>
                  <a:lnTo>
                    <a:pt x="1699" y="224"/>
                  </a:lnTo>
                  <a:lnTo>
                    <a:pt x="1386" y="45"/>
                  </a:lnTo>
                  <a:lnTo>
                    <a:pt x="1163" y="1"/>
                  </a:lnTo>
                  <a:close/>
                </a:path>
              </a:pathLst>
            </a:custGeom>
            <a:solidFill>
              <a:srgbClr val="201B2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60" name="Google Shape;2289;p11">
              <a:extLst>
                <a:ext uri="{FF2B5EF4-FFF2-40B4-BE49-F238E27FC236}">
                  <a16:creationId xmlns:a16="http://schemas.microsoft.com/office/drawing/2014/main" id="{00EF0BF6-4EE3-FECE-568E-E9058066B023}"/>
                </a:ext>
              </a:extLst>
            </p:cNvPr>
            <p:cNvSpPr/>
            <p:nvPr/>
          </p:nvSpPr>
          <p:spPr>
            <a:xfrm>
              <a:off x="8749906" y="1369681"/>
              <a:ext cx="186441" cy="128212"/>
            </a:xfrm>
            <a:custGeom>
              <a:avLst/>
              <a:gdLst/>
              <a:ahLst/>
              <a:cxnLst/>
              <a:rect l="l" t="t" r="r" b="b"/>
              <a:pathLst>
                <a:path w="29771" h="20473" extrusionOk="0">
                  <a:moveTo>
                    <a:pt x="24764" y="0"/>
                  </a:moveTo>
                  <a:lnTo>
                    <a:pt x="24004" y="90"/>
                  </a:lnTo>
                  <a:lnTo>
                    <a:pt x="2816" y="2369"/>
                  </a:lnTo>
                  <a:lnTo>
                    <a:pt x="2414" y="2459"/>
                  </a:lnTo>
                  <a:lnTo>
                    <a:pt x="2057" y="2548"/>
                  </a:lnTo>
                  <a:lnTo>
                    <a:pt x="1744" y="2682"/>
                  </a:lnTo>
                  <a:lnTo>
                    <a:pt x="1431" y="2861"/>
                  </a:lnTo>
                  <a:lnTo>
                    <a:pt x="1163" y="3040"/>
                  </a:lnTo>
                  <a:lnTo>
                    <a:pt x="939" y="3263"/>
                  </a:lnTo>
                  <a:lnTo>
                    <a:pt x="760" y="3487"/>
                  </a:lnTo>
                  <a:lnTo>
                    <a:pt x="537" y="3755"/>
                  </a:lnTo>
                  <a:lnTo>
                    <a:pt x="269" y="4247"/>
                  </a:lnTo>
                  <a:lnTo>
                    <a:pt x="90" y="4739"/>
                  </a:lnTo>
                  <a:lnTo>
                    <a:pt x="0" y="5186"/>
                  </a:lnTo>
                  <a:lnTo>
                    <a:pt x="0" y="5543"/>
                  </a:lnTo>
                  <a:lnTo>
                    <a:pt x="1699" y="18014"/>
                  </a:lnTo>
                  <a:lnTo>
                    <a:pt x="1744" y="18372"/>
                  </a:lnTo>
                  <a:lnTo>
                    <a:pt x="1833" y="18774"/>
                  </a:lnTo>
                  <a:lnTo>
                    <a:pt x="1967" y="19221"/>
                  </a:lnTo>
                  <a:lnTo>
                    <a:pt x="2101" y="19445"/>
                  </a:lnTo>
                  <a:lnTo>
                    <a:pt x="2235" y="19623"/>
                  </a:lnTo>
                  <a:lnTo>
                    <a:pt x="2369" y="19847"/>
                  </a:lnTo>
                  <a:lnTo>
                    <a:pt x="2593" y="19981"/>
                  </a:lnTo>
                  <a:lnTo>
                    <a:pt x="2816" y="20160"/>
                  </a:lnTo>
                  <a:lnTo>
                    <a:pt x="3085" y="20294"/>
                  </a:lnTo>
                  <a:lnTo>
                    <a:pt x="3398" y="20383"/>
                  </a:lnTo>
                  <a:lnTo>
                    <a:pt x="3755" y="20428"/>
                  </a:lnTo>
                  <a:lnTo>
                    <a:pt x="4202" y="20473"/>
                  </a:lnTo>
                  <a:lnTo>
                    <a:pt x="4694" y="20428"/>
                  </a:lnTo>
                  <a:lnTo>
                    <a:pt x="28429" y="17567"/>
                  </a:lnTo>
                  <a:lnTo>
                    <a:pt x="28474" y="17567"/>
                  </a:lnTo>
                  <a:lnTo>
                    <a:pt x="28787" y="17523"/>
                  </a:lnTo>
                  <a:lnTo>
                    <a:pt x="29055" y="17388"/>
                  </a:lnTo>
                  <a:lnTo>
                    <a:pt x="29278" y="17254"/>
                  </a:lnTo>
                  <a:lnTo>
                    <a:pt x="29457" y="17031"/>
                  </a:lnTo>
                  <a:lnTo>
                    <a:pt x="29636" y="16807"/>
                  </a:lnTo>
                  <a:lnTo>
                    <a:pt x="29725" y="16539"/>
                  </a:lnTo>
                  <a:lnTo>
                    <a:pt x="29770" y="16271"/>
                  </a:lnTo>
                  <a:lnTo>
                    <a:pt x="29770" y="16003"/>
                  </a:lnTo>
                  <a:lnTo>
                    <a:pt x="28340" y="2727"/>
                  </a:lnTo>
                  <a:lnTo>
                    <a:pt x="28295" y="2369"/>
                  </a:lnTo>
                  <a:lnTo>
                    <a:pt x="28206" y="2057"/>
                  </a:lnTo>
                  <a:lnTo>
                    <a:pt x="28116" y="1788"/>
                  </a:lnTo>
                  <a:lnTo>
                    <a:pt x="27937" y="1520"/>
                  </a:lnTo>
                  <a:lnTo>
                    <a:pt x="27803" y="1252"/>
                  </a:lnTo>
                  <a:lnTo>
                    <a:pt x="27580" y="1029"/>
                  </a:lnTo>
                  <a:lnTo>
                    <a:pt x="27401" y="805"/>
                  </a:lnTo>
                  <a:lnTo>
                    <a:pt x="27133" y="626"/>
                  </a:lnTo>
                  <a:lnTo>
                    <a:pt x="26909" y="447"/>
                  </a:lnTo>
                  <a:lnTo>
                    <a:pt x="26641" y="313"/>
                  </a:lnTo>
                  <a:lnTo>
                    <a:pt x="26328" y="224"/>
                  </a:lnTo>
                  <a:lnTo>
                    <a:pt x="26060" y="90"/>
                  </a:lnTo>
                  <a:lnTo>
                    <a:pt x="25747" y="45"/>
                  </a:lnTo>
                  <a:lnTo>
                    <a:pt x="25434" y="0"/>
                  </a:lnTo>
                  <a:close/>
                </a:path>
              </a:pathLst>
            </a:custGeom>
            <a:solidFill>
              <a:srgbClr val="603A3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61" name="Google Shape;2290;p11">
              <a:extLst>
                <a:ext uri="{FF2B5EF4-FFF2-40B4-BE49-F238E27FC236}">
                  <a16:creationId xmlns:a16="http://schemas.microsoft.com/office/drawing/2014/main" id="{5B37108D-9A6D-27E4-F34D-7685F6B6616D}"/>
                </a:ext>
              </a:extLst>
            </p:cNvPr>
            <p:cNvSpPr/>
            <p:nvPr/>
          </p:nvSpPr>
          <p:spPr>
            <a:xfrm>
              <a:off x="8900225" y="1369681"/>
              <a:ext cx="36122" cy="110020"/>
            </a:xfrm>
            <a:custGeom>
              <a:avLst/>
              <a:gdLst/>
              <a:ahLst/>
              <a:cxnLst/>
              <a:rect l="l" t="t" r="r" b="b"/>
              <a:pathLst>
                <a:path w="5768" h="17568" extrusionOk="0">
                  <a:moveTo>
                    <a:pt x="761" y="0"/>
                  </a:moveTo>
                  <a:lnTo>
                    <a:pt x="1" y="90"/>
                  </a:lnTo>
                  <a:lnTo>
                    <a:pt x="582" y="1520"/>
                  </a:lnTo>
                  <a:lnTo>
                    <a:pt x="1208" y="3040"/>
                  </a:lnTo>
                  <a:lnTo>
                    <a:pt x="1789" y="4649"/>
                  </a:lnTo>
                  <a:lnTo>
                    <a:pt x="2370" y="6392"/>
                  </a:lnTo>
                  <a:lnTo>
                    <a:pt x="2862" y="8180"/>
                  </a:lnTo>
                  <a:lnTo>
                    <a:pt x="3085" y="9074"/>
                  </a:lnTo>
                  <a:lnTo>
                    <a:pt x="3264" y="9968"/>
                  </a:lnTo>
                  <a:lnTo>
                    <a:pt x="3398" y="10907"/>
                  </a:lnTo>
                  <a:lnTo>
                    <a:pt x="3532" y="11801"/>
                  </a:lnTo>
                  <a:lnTo>
                    <a:pt x="3622" y="12740"/>
                  </a:lnTo>
                  <a:lnTo>
                    <a:pt x="3711" y="13634"/>
                  </a:lnTo>
                  <a:lnTo>
                    <a:pt x="3800" y="14975"/>
                  </a:lnTo>
                  <a:lnTo>
                    <a:pt x="3979" y="16047"/>
                  </a:lnTo>
                  <a:lnTo>
                    <a:pt x="4203" y="16897"/>
                  </a:lnTo>
                  <a:lnTo>
                    <a:pt x="4426" y="17567"/>
                  </a:lnTo>
                  <a:lnTo>
                    <a:pt x="4471" y="17567"/>
                  </a:lnTo>
                  <a:lnTo>
                    <a:pt x="4784" y="17523"/>
                  </a:lnTo>
                  <a:lnTo>
                    <a:pt x="5052" y="17388"/>
                  </a:lnTo>
                  <a:lnTo>
                    <a:pt x="5275" y="17254"/>
                  </a:lnTo>
                  <a:lnTo>
                    <a:pt x="5454" y="17031"/>
                  </a:lnTo>
                  <a:lnTo>
                    <a:pt x="5633" y="16807"/>
                  </a:lnTo>
                  <a:lnTo>
                    <a:pt x="5722" y="16539"/>
                  </a:lnTo>
                  <a:lnTo>
                    <a:pt x="5767" y="16271"/>
                  </a:lnTo>
                  <a:lnTo>
                    <a:pt x="5767" y="16003"/>
                  </a:lnTo>
                  <a:lnTo>
                    <a:pt x="4337" y="2727"/>
                  </a:lnTo>
                  <a:lnTo>
                    <a:pt x="4292" y="2369"/>
                  </a:lnTo>
                  <a:lnTo>
                    <a:pt x="4203" y="2057"/>
                  </a:lnTo>
                  <a:lnTo>
                    <a:pt x="4113" y="1788"/>
                  </a:lnTo>
                  <a:lnTo>
                    <a:pt x="3934" y="1520"/>
                  </a:lnTo>
                  <a:lnTo>
                    <a:pt x="3800" y="1252"/>
                  </a:lnTo>
                  <a:lnTo>
                    <a:pt x="3577" y="1029"/>
                  </a:lnTo>
                  <a:lnTo>
                    <a:pt x="3398" y="805"/>
                  </a:lnTo>
                  <a:lnTo>
                    <a:pt x="3130" y="626"/>
                  </a:lnTo>
                  <a:lnTo>
                    <a:pt x="2906" y="447"/>
                  </a:lnTo>
                  <a:lnTo>
                    <a:pt x="2638" y="313"/>
                  </a:lnTo>
                  <a:lnTo>
                    <a:pt x="2325" y="224"/>
                  </a:lnTo>
                  <a:lnTo>
                    <a:pt x="2057" y="90"/>
                  </a:lnTo>
                  <a:lnTo>
                    <a:pt x="1744" y="45"/>
                  </a:lnTo>
                  <a:lnTo>
                    <a:pt x="1431" y="0"/>
                  </a:lnTo>
                  <a:close/>
                </a:path>
              </a:pathLst>
            </a:custGeom>
            <a:solidFill>
              <a:srgbClr val="77515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62" name="Google Shape;2291;p11">
              <a:extLst>
                <a:ext uri="{FF2B5EF4-FFF2-40B4-BE49-F238E27FC236}">
                  <a16:creationId xmlns:a16="http://schemas.microsoft.com/office/drawing/2014/main" id="{996330DA-E183-A1FC-76FF-C4901B0876F8}"/>
                </a:ext>
              </a:extLst>
            </p:cNvPr>
            <p:cNvSpPr/>
            <p:nvPr/>
          </p:nvSpPr>
          <p:spPr>
            <a:xfrm>
              <a:off x="8792735" y="1076314"/>
              <a:ext cx="163207" cy="261184"/>
            </a:xfrm>
            <a:custGeom>
              <a:avLst/>
              <a:gdLst/>
              <a:ahLst/>
              <a:cxnLst/>
              <a:rect l="l" t="t" r="r" b="b"/>
              <a:pathLst>
                <a:path w="26061" h="41706" extrusionOk="0">
                  <a:moveTo>
                    <a:pt x="16807" y="1"/>
                  </a:moveTo>
                  <a:lnTo>
                    <a:pt x="16271" y="314"/>
                  </a:lnTo>
                  <a:lnTo>
                    <a:pt x="15735" y="671"/>
                  </a:lnTo>
                  <a:lnTo>
                    <a:pt x="14572" y="1520"/>
                  </a:lnTo>
                  <a:lnTo>
                    <a:pt x="13231" y="2683"/>
                  </a:lnTo>
                  <a:lnTo>
                    <a:pt x="11801" y="3979"/>
                  </a:lnTo>
                  <a:lnTo>
                    <a:pt x="10326" y="5499"/>
                  </a:lnTo>
                  <a:lnTo>
                    <a:pt x="8851" y="7108"/>
                  </a:lnTo>
                  <a:lnTo>
                    <a:pt x="7912" y="8225"/>
                  </a:lnTo>
                  <a:lnTo>
                    <a:pt x="6973" y="9387"/>
                  </a:lnTo>
                  <a:lnTo>
                    <a:pt x="6124" y="10594"/>
                  </a:lnTo>
                  <a:lnTo>
                    <a:pt x="5275" y="11846"/>
                  </a:lnTo>
                  <a:lnTo>
                    <a:pt x="4470" y="13098"/>
                  </a:lnTo>
                  <a:lnTo>
                    <a:pt x="3755" y="14394"/>
                  </a:lnTo>
                  <a:lnTo>
                    <a:pt x="3085" y="15645"/>
                  </a:lnTo>
                  <a:lnTo>
                    <a:pt x="2459" y="16852"/>
                  </a:lnTo>
                  <a:lnTo>
                    <a:pt x="1878" y="18104"/>
                  </a:lnTo>
                  <a:lnTo>
                    <a:pt x="1386" y="19266"/>
                  </a:lnTo>
                  <a:lnTo>
                    <a:pt x="984" y="20383"/>
                  </a:lnTo>
                  <a:lnTo>
                    <a:pt x="626" y="21412"/>
                  </a:lnTo>
                  <a:lnTo>
                    <a:pt x="358" y="22395"/>
                  </a:lnTo>
                  <a:lnTo>
                    <a:pt x="134" y="23289"/>
                  </a:lnTo>
                  <a:lnTo>
                    <a:pt x="45" y="24049"/>
                  </a:lnTo>
                  <a:lnTo>
                    <a:pt x="0" y="24719"/>
                  </a:lnTo>
                  <a:lnTo>
                    <a:pt x="45" y="25658"/>
                  </a:lnTo>
                  <a:lnTo>
                    <a:pt x="134" y="26686"/>
                  </a:lnTo>
                  <a:lnTo>
                    <a:pt x="447" y="29189"/>
                  </a:lnTo>
                  <a:lnTo>
                    <a:pt x="894" y="31916"/>
                  </a:lnTo>
                  <a:lnTo>
                    <a:pt x="1386" y="34687"/>
                  </a:lnTo>
                  <a:lnTo>
                    <a:pt x="2280" y="39381"/>
                  </a:lnTo>
                  <a:lnTo>
                    <a:pt x="2638" y="41347"/>
                  </a:lnTo>
                  <a:lnTo>
                    <a:pt x="3398" y="41526"/>
                  </a:lnTo>
                  <a:lnTo>
                    <a:pt x="4113" y="41660"/>
                  </a:lnTo>
                  <a:lnTo>
                    <a:pt x="4738" y="41705"/>
                  </a:lnTo>
                  <a:lnTo>
                    <a:pt x="5320" y="41705"/>
                  </a:lnTo>
                  <a:lnTo>
                    <a:pt x="5856" y="41660"/>
                  </a:lnTo>
                  <a:lnTo>
                    <a:pt x="6303" y="41571"/>
                  </a:lnTo>
                  <a:lnTo>
                    <a:pt x="6705" y="41482"/>
                  </a:lnTo>
                  <a:lnTo>
                    <a:pt x="7063" y="41392"/>
                  </a:lnTo>
                  <a:lnTo>
                    <a:pt x="7644" y="41169"/>
                  </a:lnTo>
                  <a:lnTo>
                    <a:pt x="7823" y="41079"/>
                  </a:lnTo>
                  <a:lnTo>
                    <a:pt x="7689" y="40409"/>
                  </a:lnTo>
                  <a:lnTo>
                    <a:pt x="7376" y="38665"/>
                  </a:lnTo>
                  <a:lnTo>
                    <a:pt x="6571" y="33480"/>
                  </a:lnTo>
                  <a:lnTo>
                    <a:pt x="5722" y="27982"/>
                  </a:lnTo>
                  <a:lnTo>
                    <a:pt x="5454" y="25926"/>
                  </a:lnTo>
                  <a:lnTo>
                    <a:pt x="5364" y="24809"/>
                  </a:lnTo>
                  <a:lnTo>
                    <a:pt x="5409" y="24317"/>
                  </a:lnTo>
                  <a:lnTo>
                    <a:pt x="5588" y="23691"/>
                  </a:lnTo>
                  <a:lnTo>
                    <a:pt x="5856" y="23021"/>
                  </a:lnTo>
                  <a:lnTo>
                    <a:pt x="6169" y="22261"/>
                  </a:lnTo>
                  <a:lnTo>
                    <a:pt x="6571" y="21412"/>
                  </a:lnTo>
                  <a:lnTo>
                    <a:pt x="7018" y="20562"/>
                  </a:lnTo>
                  <a:lnTo>
                    <a:pt x="7510" y="19713"/>
                  </a:lnTo>
                  <a:lnTo>
                    <a:pt x="8046" y="18864"/>
                  </a:lnTo>
                  <a:lnTo>
                    <a:pt x="8583" y="18059"/>
                  </a:lnTo>
                  <a:lnTo>
                    <a:pt x="9119" y="17299"/>
                  </a:lnTo>
                  <a:lnTo>
                    <a:pt x="9655" y="16629"/>
                  </a:lnTo>
                  <a:lnTo>
                    <a:pt x="10192" y="16048"/>
                  </a:lnTo>
                  <a:lnTo>
                    <a:pt x="10639" y="15601"/>
                  </a:lnTo>
                  <a:lnTo>
                    <a:pt x="11086" y="15288"/>
                  </a:lnTo>
                  <a:lnTo>
                    <a:pt x="11265" y="15198"/>
                  </a:lnTo>
                  <a:lnTo>
                    <a:pt x="11443" y="15109"/>
                  </a:lnTo>
                  <a:lnTo>
                    <a:pt x="11577" y="15109"/>
                  </a:lnTo>
                  <a:lnTo>
                    <a:pt x="11712" y="15154"/>
                  </a:lnTo>
                  <a:lnTo>
                    <a:pt x="12024" y="15377"/>
                  </a:lnTo>
                  <a:lnTo>
                    <a:pt x="12337" y="15645"/>
                  </a:lnTo>
                  <a:lnTo>
                    <a:pt x="12650" y="16048"/>
                  </a:lnTo>
                  <a:lnTo>
                    <a:pt x="13008" y="16539"/>
                  </a:lnTo>
                  <a:lnTo>
                    <a:pt x="13365" y="17076"/>
                  </a:lnTo>
                  <a:lnTo>
                    <a:pt x="13678" y="17657"/>
                  </a:lnTo>
                  <a:lnTo>
                    <a:pt x="14036" y="18327"/>
                  </a:lnTo>
                  <a:lnTo>
                    <a:pt x="14349" y="19043"/>
                  </a:lnTo>
                  <a:lnTo>
                    <a:pt x="14662" y="19802"/>
                  </a:lnTo>
                  <a:lnTo>
                    <a:pt x="14975" y="20562"/>
                  </a:lnTo>
                  <a:lnTo>
                    <a:pt x="15243" y="21367"/>
                  </a:lnTo>
                  <a:lnTo>
                    <a:pt x="15511" y="22171"/>
                  </a:lnTo>
                  <a:lnTo>
                    <a:pt x="15690" y="22976"/>
                  </a:lnTo>
                  <a:lnTo>
                    <a:pt x="15869" y="23781"/>
                  </a:lnTo>
                  <a:lnTo>
                    <a:pt x="16003" y="24585"/>
                  </a:lnTo>
                  <a:lnTo>
                    <a:pt x="16092" y="25345"/>
                  </a:lnTo>
                  <a:lnTo>
                    <a:pt x="16092" y="25971"/>
                  </a:lnTo>
                  <a:lnTo>
                    <a:pt x="16092" y="26552"/>
                  </a:lnTo>
                  <a:lnTo>
                    <a:pt x="16047" y="27133"/>
                  </a:lnTo>
                  <a:lnTo>
                    <a:pt x="15913" y="27625"/>
                  </a:lnTo>
                  <a:lnTo>
                    <a:pt x="15735" y="28340"/>
                  </a:lnTo>
                  <a:lnTo>
                    <a:pt x="15556" y="28921"/>
                  </a:lnTo>
                  <a:lnTo>
                    <a:pt x="15332" y="29502"/>
                  </a:lnTo>
                  <a:lnTo>
                    <a:pt x="15109" y="29994"/>
                  </a:lnTo>
                  <a:lnTo>
                    <a:pt x="14662" y="30843"/>
                  </a:lnTo>
                  <a:lnTo>
                    <a:pt x="14259" y="31558"/>
                  </a:lnTo>
                  <a:lnTo>
                    <a:pt x="13947" y="32184"/>
                  </a:lnTo>
                  <a:lnTo>
                    <a:pt x="13812" y="32452"/>
                  </a:lnTo>
                  <a:lnTo>
                    <a:pt x="13768" y="32765"/>
                  </a:lnTo>
                  <a:lnTo>
                    <a:pt x="13678" y="33033"/>
                  </a:lnTo>
                  <a:lnTo>
                    <a:pt x="13678" y="33346"/>
                  </a:lnTo>
                  <a:lnTo>
                    <a:pt x="13723" y="33659"/>
                  </a:lnTo>
                  <a:lnTo>
                    <a:pt x="13812" y="33972"/>
                  </a:lnTo>
                  <a:lnTo>
                    <a:pt x="13902" y="34151"/>
                  </a:lnTo>
                  <a:lnTo>
                    <a:pt x="14036" y="34330"/>
                  </a:lnTo>
                  <a:lnTo>
                    <a:pt x="14483" y="34732"/>
                  </a:lnTo>
                  <a:lnTo>
                    <a:pt x="15109" y="35179"/>
                  </a:lnTo>
                  <a:lnTo>
                    <a:pt x="15869" y="35671"/>
                  </a:lnTo>
                  <a:lnTo>
                    <a:pt x="16763" y="36162"/>
                  </a:lnTo>
                  <a:lnTo>
                    <a:pt x="17746" y="36654"/>
                  </a:lnTo>
                  <a:lnTo>
                    <a:pt x="18774" y="37101"/>
                  </a:lnTo>
                  <a:lnTo>
                    <a:pt x="19847" y="37548"/>
                  </a:lnTo>
                  <a:lnTo>
                    <a:pt x="20920" y="37995"/>
                  </a:lnTo>
                  <a:lnTo>
                    <a:pt x="21948" y="38353"/>
                  </a:lnTo>
                  <a:lnTo>
                    <a:pt x="22931" y="38665"/>
                  </a:lnTo>
                  <a:lnTo>
                    <a:pt x="23825" y="38889"/>
                  </a:lnTo>
                  <a:lnTo>
                    <a:pt x="24585" y="39068"/>
                  </a:lnTo>
                  <a:lnTo>
                    <a:pt x="25211" y="39112"/>
                  </a:lnTo>
                  <a:lnTo>
                    <a:pt x="25479" y="39112"/>
                  </a:lnTo>
                  <a:lnTo>
                    <a:pt x="25702" y="39068"/>
                  </a:lnTo>
                  <a:lnTo>
                    <a:pt x="25837" y="39023"/>
                  </a:lnTo>
                  <a:lnTo>
                    <a:pt x="25926" y="38934"/>
                  </a:lnTo>
                  <a:lnTo>
                    <a:pt x="25971" y="38800"/>
                  </a:lnTo>
                  <a:lnTo>
                    <a:pt x="26015" y="38576"/>
                  </a:lnTo>
                  <a:lnTo>
                    <a:pt x="26060" y="37995"/>
                  </a:lnTo>
                  <a:lnTo>
                    <a:pt x="26015" y="37235"/>
                  </a:lnTo>
                  <a:lnTo>
                    <a:pt x="25881" y="36296"/>
                  </a:lnTo>
                  <a:lnTo>
                    <a:pt x="25568" y="33972"/>
                  </a:lnTo>
                  <a:lnTo>
                    <a:pt x="25166" y="31380"/>
                  </a:lnTo>
                  <a:lnTo>
                    <a:pt x="24719" y="28653"/>
                  </a:lnTo>
                  <a:lnTo>
                    <a:pt x="24361" y="26060"/>
                  </a:lnTo>
                  <a:lnTo>
                    <a:pt x="24227" y="24943"/>
                  </a:lnTo>
                  <a:lnTo>
                    <a:pt x="24093" y="23915"/>
                  </a:lnTo>
                  <a:lnTo>
                    <a:pt x="24093" y="23065"/>
                  </a:lnTo>
                  <a:lnTo>
                    <a:pt x="24093" y="22395"/>
                  </a:lnTo>
                  <a:lnTo>
                    <a:pt x="24406" y="19981"/>
                  </a:lnTo>
                  <a:lnTo>
                    <a:pt x="24585" y="18596"/>
                  </a:lnTo>
                  <a:lnTo>
                    <a:pt x="24630" y="17880"/>
                  </a:lnTo>
                  <a:lnTo>
                    <a:pt x="24630" y="17120"/>
                  </a:lnTo>
                  <a:lnTo>
                    <a:pt x="24630" y="16361"/>
                  </a:lnTo>
                  <a:lnTo>
                    <a:pt x="24585" y="15645"/>
                  </a:lnTo>
                  <a:lnTo>
                    <a:pt x="24496" y="14885"/>
                  </a:lnTo>
                  <a:lnTo>
                    <a:pt x="24361" y="14170"/>
                  </a:lnTo>
                  <a:lnTo>
                    <a:pt x="24138" y="13455"/>
                  </a:lnTo>
                  <a:lnTo>
                    <a:pt x="23914" y="12785"/>
                  </a:lnTo>
                  <a:lnTo>
                    <a:pt x="23557" y="12114"/>
                  </a:lnTo>
                  <a:lnTo>
                    <a:pt x="23155" y="11488"/>
                  </a:lnTo>
                  <a:lnTo>
                    <a:pt x="22484" y="10460"/>
                  </a:lnTo>
                  <a:lnTo>
                    <a:pt x="21724" y="9298"/>
                  </a:lnTo>
                  <a:lnTo>
                    <a:pt x="20964" y="7957"/>
                  </a:lnTo>
                  <a:lnTo>
                    <a:pt x="20204" y="6527"/>
                  </a:lnTo>
                  <a:lnTo>
                    <a:pt x="18729" y="3755"/>
                  </a:lnTo>
                  <a:lnTo>
                    <a:pt x="17522" y="1476"/>
                  </a:lnTo>
                  <a:lnTo>
                    <a:pt x="17478" y="1342"/>
                  </a:lnTo>
                  <a:lnTo>
                    <a:pt x="16807" y="1"/>
                  </a:lnTo>
                  <a:close/>
                </a:path>
              </a:pathLst>
            </a:custGeom>
            <a:solidFill>
              <a:srgbClr val="D9395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63" name="Google Shape;2292;p11">
              <a:extLst>
                <a:ext uri="{FF2B5EF4-FFF2-40B4-BE49-F238E27FC236}">
                  <a16:creationId xmlns:a16="http://schemas.microsoft.com/office/drawing/2014/main" id="{1170EFB6-D28C-B8C9-B571-B6D1226131EC}"/>
                </a:ext>
              </a:extLst>
            </p:cNvPr>
            <p:cNvSpPr/>
            <p:nvPr/>
          </p:nvSpPr>
          <p:spPr>
            <a:xfrm>
              <a:off x="8792735" y="1076314"/>
              <a:ext cx="163207" cy="261184"/>
            </a:xfrm>
            <a:custGeom>
              <a:avLst/>
              <a:gdLst/>
              <a:ahLst/>
              <a:cxnLst/>
              <a:rect l="l" t="t" r="r" b="b"/>
              <a:pathLst>
                <a:path w="26061" h="41706" fill="none" extrusionOk="0">
                  <a:moveTo>
                    <a:pt x="0" y="24719"/>
                  </a:moveTo>
                  <a:lnTo>
                    <a:pt x="0" y="24719"/>
                  </a:lnTo>
                  <a:lnTo>
                    <a:pt x="45" y="25658"/>
                  </a:lnTo>
                  <a:lnTo>
                    <a:pt x="134" y="26686"/>
                  </a:lnTo>
                  <a:lnTo>
                    <a:pt x="447" y="29189"/>
                  </a:lnTo>
                  <a:lnTo>
                    <a:pt x="894" y="31916"/>
                  </a:lnTo>
                  <a:lnTo>
                    <a:pt x="1386" y="34687"/>
                  </a:lnTo>
                  <a:lnTo>
                    <a:pt x="2280" y="39381"/>
                  </a:lnTo>
                  <a:lnTo>
                    <a:pt x="2638" y="41347"/>
                  </a:lnTo>
                  <a:lnTo>
                    <a:pt x="2638" y="41347"/>
                  </a:lnTo>
                  <a:lnTo>
                    <a:pt x="3398" y="41526"/>
                  </a:lnTo>
                  <a:lnTo>
                    <a:pt x="4113" y="41660"/>
                  </a:lnTo>
                  <a:lnTo>
                    <a:pt x="4738" y="41705"/>
                  </a:lnTo>
                  <a:lnTo>
                    <a:pt x="5320" y="41705"/>
                  </a:lnTo>
                  <a:lnTo>
                    <a:pt x="5856" y="41660"/>
                  </a:lnTo>
                  <a:lnTo>
                    <a:pt x="6303" y="41571"/>
                  </a:lnTo>
                  <a:lnTo>
                    <a:pt x="6705" y="41482"/>
                  </a:lnTo>
                  <a:lnTo>
                    <a:pt x="7063" y="41392"/>
                  </a:lnTo>
                  <a:lnTo>
                    <a:pt x="7063" y="41392"/>
                  </a:lnTo>
                  <a:lnTo>
                    <a:pt x="7644" y="41169"/>
                  </a:lnTo>
                  <a:lnTo>
                    <a:pt x="7823" y="41079"/>
                  </a:lnTo>
                  <a:lnTo>
                    <a:pt x="7823" y="41079"/>
                  </a:lnTo>
                  <a:lnTo>
                    <a:pt x="7689" y="40409"/>
                  </a:lnTo>
                  <a:lnTo>
                    <a:pt x="7376" y="38665"/>
                  </a:lnTo>
                  <a:lnTo>
                    <a:pt x="6571" y="33480"/>
                  </a:lnTo>
                  <a:lnTo>
                    <a:pt x="5722" y="27982"/>
                  </a:lnTo>
                  <a:lnTo>
                    <a:pt x="5454" y="25926"/>
                  </a:lnTo>
                  <a:lnTo>
                    <a:pt x="5364" y="24809"/>
                  </a:lnTo>
                  <a:lnTo>
                    <a:pt x="5364" y="24809"/>
                  </a:lnTo>
                  <a:lnTo>
                    <a:pt x="5409" y="24317"/>
                  </a:lnTo>
                  <a:lnTo>
                    <a:pt x="5588" y="23691"/>
                  </a:lnTo>
                  <a:lnTo>
                    <a:pt x="5856" y="23021"/>
                  </a:lnTo>
                  <a:lnTo>
                    <a:pt x="6169" y="22261"/>
                  </a:lnTo>
                  <a:lnTo>
                    <a:pt x="6571" y="21412"/>
                  </a:lnTo>
                  <a:lnTo>
                    <a:pt x="7018" y="20562"/>
                  </a:lnTo>
                  <a:lnTo>
                    <a:pt x="7510" y="19713"/>
                  </a:lnTo>
                  <a:lnTo>
                    <a:pt x="8046" y="18864"/>
                  </a:lnTo>
                  <a:lnTo>
                    <a:pt x="8583" y="18059"/>
                  </a:lnTo>
                  <a:lnTo>
                    <a:pt x="9119" y="17299"/>
                  </a:lnTo>
                  <a:lnTo>
                    <a:pt x="9655" y="16629"/>
                  </a:lnTo>
                  <a:lnTo>
                    <a:pt x="10192" y="16048"/>
                  </a:lnTo>
                  <a:lnTo>
                    <a:pt x="10639" y="15601"/>
                  </a:lnTo>
                  <a:lnTo>
                    <a:pt x="11086" y="15288"/>
                  </a:lnTo>
                  <a:lnTo>
                    <a:pt x="11265" y="15198"/>
                  </a:lnTo>
                  <a:lnTo>
                    <a:pt x="11443" y="15109"/>
                  </a:lnTo>
                  <a:lnTo>
                    <a:pt x="11577" y="15109"/>
                  </a:lnTo>
                  <a:lnTo>
                    <a:pt x="11712" y="15154"/>
                  </a:lnTo>
                  <a:lnTo>
                    <a:pt x="11712" y="15154"/>
                  </a:lnTo>
                  <a:lnTo>
                    <a:pt x="12024" y="15377"/>
                  </a:lnTo>
                  <a:lnTo>
                    <a:pt x="12337" y="15645"/>
                  </a:lnTo>
                  <a:lnTo>
                    <a:pt x="12650" y="16048"/>
                  </a:lnTo>
                  <a:lnTo>
                    <a:pt x="13008" y="16539"/>
                  </a:lnTo>
                  <a:lnTo>
                    <a:pt x="13365" y="17076"/>
                  </a:lnTo>
                  <a:lnTo>
                    <a:pt x="13678" y="17657"/>
                  </a:lnTo>
                  <a:lnTo>
                    <a:pt x="14036" y="18327"/>
                  </a:lnTo>
                  <a:lnTo>
                    <a:pt x="14349" y="19043"/>
                  </a:lnTo>
                  <a:lnTo>
                    <a:pt x="14662" y="19802"/>
                  </a:lnTo>
                  <a:lnTo>
                    <a:pt x="14975" y="20562"/>
                  </a:lnTo>
                  <a:lnTo>
                    <a:pt x="15243" y="21367"/>
                  </a:lnTo>
                  <a:lnTo>
                    <a:pt x="15511" y="22171"/>
                  </a:lnTo>
                  <a:lnTo>
                    <a:pt x="15690" y="22976"/>
                  </a:lnTo>
                  <a:lnTo>
                    <a:pt x="15869" y="23781"/>
                  </a:lnTo>
                  <a:lnTo>
                    <a:pt x="16003" y="24585"/>
                  </a:lnTo>
                  <a:lnTo>
                    <a:pt x="16092" y="25345"/>
                  </a:lnTo>
                  <a:lnTo>
                    <a:pt x="16092" y="25345"/>
                  </a:lnTo>
                  <a:lnTo>
                    <a:pt x="16092" y="25971"/>
                  </a:lnTo>
                  <a:lnTo>
                    <a:pt x="16092" y="26552"/>
                  </a:lnTo>
                  <a:lnTo>
                    <a:pt x="16047" y="27133"/>
                  </a:lnTo>
                  <a:lnTo>
                    <a:pt x="15913" y="27625"/>
                  </a:lnTo>
                  <a:lnTo>
                    <a:pt x="15913" y="27625"/>
                  </a:lnTo>
                  <a:lnTo>
                    <a:pt x="15735" y="28340"/>
                  </a:lnTo>
                  <a:lnTo>
                    <a:pt x="15556" y="28921"/>
                  </a:lnTo>
                  <a:lnTo>
                    <a:pt x="15332" y="29502"/>
                  </a:lnTo>
                  <a:lnTo>
                    <a:pt x="15109" y="29994"/>
                  </a:lnTo>
                  <a:lnTo>
                    <a:pt x="14662" y="30843"/>
                  </a:lnTo>
                  <a:lnTo>
                    <a:pt x="14259" y="31558"/>
                  </a:lnTo>
                  <a:lnTo>
                    <a:pt x="13947" y="32184"/>
                  </a:lnTo>
                  <a:lnTo>
                    <a:pt x="13812" y="32452"/>
                  </a:lnTo>
                  <a:lnTo>
                    <a:pt x="13768" y="32765"/>
                  </a:lnTo>
                  <a:lnTo>
                    <a:pt x="13678" y="33033"/>
                  </a:lnTo>
                  <a:lnTo>
                    <a:pt x="13678" y="33346"/>
                  </a:lnTo>
                  <a:lnTo>
                    <a:pt x="13723" y="33659"/>
                  </a:lnTo>
                  <a:lnTo>
                    <a:pt x="13812" y="33972"/>
                  </a:lnTo>
                  <a:lnTo>
                    <a:pt x="13812" y="33972"/>
                  </a:lnTo>
                  <a:lnTo>
                    <a:pt x="13902" y="34151"/>
                  </a:lnTo>
                  <a:lnTo>
                    <a:pt x="14036" y="34330"/>
                  </a:lnTo>
                  <a:lnTo>
                    <a:pt x="14483" y="34732"/>
                  </a:lnTo>
                  <a:lnTo>
                    <a:pt x="15109" y="35179"/>
                  </a:lnTo>
                  <a:lnTo>
                    <a:pt x="15869" y="35671"/>
                  </a:lnTo>
                  <a:lnTo>
                    <a:pt x="16763" y="36162"/>
                  </a:lnTo>
                  <a:lnTo>
                    <a:pt x="17746" y="36654"/>
                  </a:lnTo>
                  <a:lnTo>
                    <a:pt x="18774" y="37101"/>
                  </a:lnTo>
                  <a:lnTo>
                    <a:pt x="19847" y="37548"/>
                  </a:lnTo>
                  <a:lnTo>
                    <a:pt x="20920" y="37995"/>
                  </a:lnTo>
                  <a:lnTo>
                    <a:pt x="21948" y="38353"/>
                  </a:lnTo>
                  <a:lnTo>
                    <a:pt x="22931" y="38665"/>
                  </a:lnTo>
                  <a:lnTo>
                    <a:pt x="23825" y="38889"/>
                  </a:lnTo>
                  <a:lnTo>
                    <a:pt x="24585" y="39068"/>
                  </a:lnTo>
                  <a:lnTo>
                    <a:pt x="25211" y="39112"/>
                  </a:lnTo>
                  <a:lnTo>
                    <a:pt x="25479" y="39112"/>
                  </a:lnTo>
                  <a:lnTo>
                    <a:pt x="25702" y="39068"/>
                  </a:lnTo>
                  <a:lnTo>
                    <a:pt x="25837" y="39023"/>
                  </a:lnTo>
                  <a:lnTo>
                    <a:pt x="25926" y="38934"/>
                  </a:lnTo>
                  <a:lnTo>
                    <a:pt x="25926" y="38934"/>
                  </a:lnTo>
                  <a:lnTo>
                    <a:pt x="25971" y="38800"/>
                  </a:lnTo>
                  <a:lnTo>
                    <a:pt x="26015" y="38576"/>
                  </a:lnTo>
                  <a:lnTo>
                    <a:pt x="26060" y="37995"/>
                  </a:lnTo>
                  <a:lnTo>
                    <a:pt x="26015" y="37235"/>
                  </a:lnTo>
                  <a:lnTo>
                    <a:pt x="25881" y="36296"/>
                  </a:lnTo>
                  <a:lnTo>
                    <a:pt x="25568" y="33972"/>
                  </a:lnTo>
                  <a:lnTo>
                    <a:pt x="25166" y="31380"/>
                  </a:lnTo>
                  <a:lnTo>
                    <a:pt x="24719" y="28653"/>
                  </a:lnTo>
                  <a:lnTo>
                    <a:pt x="24361" y="26060"/>
                  </a:lnTo>
                  <a:lnTo>
                    <a:pt x="24227" y="24943"/>
                  </a:lnTo>
                  <a:lnTo>
                    <a:pt x="24093" y="23915"/>
                  </a:lnTo>
                  <a:lnTo>
                    <a:pt x="24093" y="23065"/>
                  </a:lnTo>
                  <a:lnTo>
                    <a:pt x="24093" y="22395"/>
                  </a:lnTo>
                  <a:lnTo>
                    <a:pt x="24093" y="22395"/>
                  </a:lnTo>
                  <a:lnTo>
                    <a:pt x="24406" y="19981"/>
                  </a:lnTo>
                  <a:lnTo>
                    <a:pt x="24585" y="18596"/>
                  </a:lnTo>
                  <a:lnTo>
                    <a:pt x="24630" y="17880"/>
                  </a:lnTo>
                  <a:lnTo>
                    <a:pt x="24630" y="17120"/>
                  </a:lnTo>
                  <a:lnTo>
                    <a:pt x="24630" y="16361"/>
                  </a:lnTo>
                  <a:lnTo>
                    <a:pt x="24585" y="15645"/>
                  </a:lnTo>
                  <a:lnTo>
                    <a:pt x="24496" y="14885"/>
                  </a:lnTo>
                  <a:lnTo>
                    <a:pt x="24361" y="14170"/>
                  </a:lnTo>
                  <a:lnTo>
                    <a:pt x="24138" y="13455"/>
                  </a:lnTo>
                  <a:lnTo>
                    <a:pt x="23914" y="12785"/>
                  </a:lnTo>
                  <a:lnTo>
                    <a:pt x="23557" y="12114"/>
                  </a:lnTo>
                  <a:lnTo>
                    <a:pt x="23155" y="11488"/>
                  </a:lnTo>
                  <a:lnTo>
                    <a:pt x="23155" y="11488"/>
                  </a:lnTo>
                  <a:lnTo>
                    <a:pt x="22484" y="10460"/>
                  </a:lnTo>
                  <a:lnTo>
                    <a:pt x="21724" y="9298"/>
                  </a:lnTo>
                  <a:lnTo>
                    <a:pt x="20964" y="7957"/>
                  </a:lnTo>
                  <a:lnTo>
                    <a:pt x="20204" y="6527"/>
                  </a:lnTo>
                  <a:lnTo>
                    <a:pt x="18729" y="3755"/>
                  </a:lnTo>
                  <a:lnTo>
                    <a:pt x="17522" y="1476"/>
                  </a:lnTo>
                  <a:lnTo>
                    <a:pt x="17522" y="1476"/>
                  </a:lnTo>
                  <a:lnTo>
                    <a:pt x="17478" y="1342"/>
                  </a:lnTo>
                  <a:lnTo>
                    <a:pt x="17478" y="1342"/>
                  </a:lnTo>
                  <a:lnTo>
                    <a:pt x="16807" y="1"/>
                  </a:lnTo>
                  <a:lnTo>
                    <a:pt x="16807" y="1"/>
                  </a:lnTo>
                  <a:lnTo>
                    <a:pt x="16271" y="314"/>
                  </a:lnTo>
                  <a:lnTo>
                    <a:pt x="15735" y="671"/>
                  </a:lnTo>
                  <a:lnTo>
                    <a:pt x="14572" y="1520"/>
                  </a:lnTo>
                  <a:lnTo>
                    <a:pt x="14572" y="1520"/>
                  </a:lnTo>
                  <a:lnTo>
                    <a:pt x="13231" y="2683"/>
                  </a:lnTo>
                  <a:lnTo>
                    <a:pt x="11801" y="3979"/>
                  </a:lnTo>
                  <a:lnTo>
                    <a:pt x="10326" y="5499"/>
                  </a:lnTo>
                  <a:lnTo>
                    <a:pt x="8851" y="7108"/>
                  </a:lnTo>
                  <a:lnTo>
                    <a:pt x="8851" y="7108"/>
                  </a:lnTo>
                  <a:lnTo>
                    <a:pt x="7912" y="8225"/>
                  </a:lnTo>
                  <a:lnTo>
                    <a:pt x="6973" y="9387"/>
                  </a:lnTo>
                  <a:lnTo>
                    <a:pt x="6124" y="10594"/>
                  </a:lnTo>
                  <a:lnTo>
                    <a:pt x="5275" y="11846"/>
                  </a:lnTo>
                  <a:lnTo>
                    <a:pt x="4470" y="13098"/>
                  </a:lnTo>
                  <a:lnTo>
                    <a:pt x="3755" y="14394"/>
                  </a:lnTo>
                  <a:lnTo>
                    <a:pt x="3085" y="15645"/>
                  </a:lnTo>
                  <a:lnTo>
                    <a:pt x="2459" y="16852"/>
                  </a:lnTo>
                  <a:lnTo>
                    <a:pt x="1878" y="18104"/>
                  </a:lnTo>
                  <a:lnTo>
                    <a:pt x="1386" y="19266"/>
                  </a:lnTo>
                  <a:lnTo>
                    <a:pt x="984" y="20383"/>
                  </a:lnTo>
                  <a:lnTo>
                    <a:pt x="626" y="21412"/>
                  </a:lnTo>
                  <a:lnTo>
                    <a:pt x="358" y="22395"/>
                  </a:lnTo>
                  <a:lnTo>
                    <a:pt x="134" y="23289"/>
                  </a:lnTo>
                  <a:lnTo>
                    <a:pt x="45" y="24049"/>
                  </a:lnTo>
                  <a:lnTo>
                    <a:pt x="0" y="24719"/>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64" name="Google Shape;2293;p11">
              <a:extLst>
                <a:ext uri="{FF2B5EF4-FFF2-40B4-BE49-F238E27FC236}">
                  <a16:creationId xmlns:a16="http://schemas.microsoft.com/office/drawing/2014/main" id="{67280522-71C1-53E9-65A7-C34376A6FDB8}"/>
                </a:ext>
              </a:extLst>
            </p:cNvPr>
            <p:cNvSpPr/>
            <p:nvPr/>
          </p:nvSpPr>
          <p:spPr>
            <a:xfrm>
              <a:off x="8939979" y="1077993"/>
              <a:ext cx="242421" cy="232351"/>
            </a:xfrm>
            <a:custGeom>
              <a:avLst/>
              <a:gdLst/>
              <a:ahLst/>
              <a:cxnLst/>
              <a:rect l="l" t="t" r="r" b="b"/>
              <a:pathLst>
                <a:path w="38710" h="37102" extrusionOk="0">
                  <a:moveTo>
                    <a:pt x="0" y="1"/>
                  </a:moveTo>
                  <a:lnTo>
                    <a:pt x="0" y="46"/>
                  </a:lnTo>
                  <a:lnTo>
                    <a:pt x="45" y="135"/>
                  </a:lnTo>
                  <a:lnTo>
                    <a:pt x="224" y="493"/>
                  </a:lnTo>
                  <a:lnTo>
                    <a:pt x="537" y="1074"/>
                  </a:lnTo>
                  <a:lnTo>
                    <a:pt x="671" y="1476"/>
                  </a:lnTo>
                  <a:lnTo>
                    <a:pt x="805" y="1878"/>
                  </a:lnTo>
                  <a:lnTo>
                    <a:pt x="1073" y="2638"/>
                  </a:lnTo>
                  <a:lnTo>
                    <a:pt x="1341" y="3398"/>
                  </a:lnTo>
                  <a:lnTo>
                    <a:pt x="1654" y="4292"/>
                  </a:lnTo>
                  <a:lnTo>
                    <a:pt x="1967" y="5186"/>
                  </a:lnTo>
                  <a:lnTo>
                    <a:pt x="2190" y="5856"/>
                  </a:lnTo>
                  <a:lnTo>
                    <a:pt x="2414" y="6438"/>
                  </a:lnTo>
                  <a:lnTo>
                    <a:pt x="2637" y="6974"/>
                  </a:lnTo>
                  <a:lnTo>
                    <a:pt x="2906" y="7421"/>
                  </a:lnTo>
                  <a:lnTo>
                    <a:pt x="3442" y="8315"/>
                  </a:lnTo>
                  <a:lnTo>
                    <a:pt x="3978" y="9075"/>
                  </a:lnTo>
                  <a:lnTo>
                    <a:pt x="5275" y="10729"/>
                  </a:lnTo>
                  <a:lnTo>
                    <a:pt x="5990" y="11801"/>
                  </a:lnTo>
                  <a:lnTo>
                    <a:pt x="6794" y="13098"/>
                  </a:lnTo>
                  <a:lnTo>
                    <a:pt x="6929" y="13411"/>
                  </a:lnTo>
                  <a:lnTo>
                    <a:pt x="7063" y="13768"/>
                  </a:lnTo>
                  <a:lnTo>
                    <a:pt x="7197" y="14126"/>
                  </a:lnTo>
                  <a:lnTo>
                    <a:pt x="7286" y="14573"/>
                  </a:lnTo>
                  <a:lnTo>
                    <a:pt x="7376" y="15467"/>
                  </a:lnTo>
                  <a:lnTo>
                    <a:pt x="7420" y="16540"/>
                  </a:lnTo>
                  <a:lnTo>
                    <a:pt x="7376" y="17657"/>
                  </a:lnTo>
                  <a:lnTo>
                    <a:pt x="7331" y="18864"/>
                  </a:lnTo>
                  <a:lnTo>
                    <a:pt x="7063" y="21456"/>
                  </a:lnTo>
                  <a:lnTo>
                    <a:pt x="6794" y="24183"/>
                  </a:lnTo>
                  <a:lnTo>
                    <a:pt x="6660" y="25613"/>
                  </a:lnTo>
                  <a:lnTo>
                    <a:pt x="6571" y="26999"/>
                  </a:lnTo>
                  <a:lnTo>
                    <a:pt x="6526" y="28385"/>
                  </a:lnTo>
                  <a:lnTo>
                    <a:pt x="6526" y="29726"/>
                  </a:lnTo>
                  <a:lnTo>
                    <a:pt x="6571" y="31022"/>
                  </a:lnTo>
                  <a:lnTo>
                    <a:pt x="6705" y="32274"/>
                  </a:lnTo>
                  <a:lnTo>
                    <a:pt x="6750" y="32542"/>
                  </a:lnTo>
                  <a:lnTo>
                    <a:pt x="6884" y="33346"/>
                  </a:lnTo>
                  <a:lnTo>
                    <a:pt x="7107" y="34106"/>
                  </a:lnTo>
                  <a:lnTo>
                    <a:pt x="7376" y="34822"/>
                  </a:lnTo>
                  <a:lnTo>
                    <a:pt x="7688" y="35492"/>
                  </a:lnTo>
                  <a:lnTo>
                    <a:pt x="7823" y="35716"/>
                  </a:lnTo>
                  <a:lnTo>
                    <a:pt x="7957" y="35939"/>
                  </a:lnTo>
                  <a:lnTo>
                    <a:pt x="8180" y="36118"/>
                  </a:lnTo>
                  <a:lnTo>
                    <a:pt x="8359" y="36297"/>
                  </a:lnTo>
                  <a:lnTo>
                    <a:pt x="8851" y="36565"/>
                  </a:lnTo>
                  <a:lnTo>
                    <a:pt x="9387" y="36788"/>
                  </a:lnTo>
                  <a:lnTo>
                    <a:pt x="9968" y="36967"/>
                  </a:lnTo>
                  <a:lnTo>
                    <a:pt x="10549" y="37057"/>
                  </a:lnTo>
                  <a:lnTo>
                    <a:pt x="11086" y="37101"/>
                  </a:lnTo>
                  <a:lnTo>
                    <a:pt x="11577" y="37101"/>
                  </a:lnTo>
                  <a:lnTo>
                    <a:pt x="11890" y="37057"/>
                  </a:lnTo>
                  <a:lnTo>
                    <a:pt x="12158" y="36967"/>
                  </a:lnTo>
                  <a:lnTo>
                    <a:pt x="12382" y="36833"/>
                  </a:lnTo>
                  <a:lnTo>
                    <a:pt x="12561" y="36654"/>
                  </a:lnTo>
                  <a:lnTo>
                    <a:pt x="12695" y="36475"/>
                  </a:lnTo>
                  <a:lnTo>
                    <a:pt x="12739" y="36207"/>
                  </a:lnTo>
                  <a:lnTo>
                    <a:pt x="12739" y="35939"/>
                  </a:lnTo>
                  <a:lnTo>
                    <a:pt x="12650" y="35626"/>
                  </a:lnTo>
                  <a:lnTo>
                    <a:pt x="12382" y="34911"/>
                  </a:lnTo>
                  <a:lnTo>
                    <a:pt x="12158" y="34196"/>
                  </a:lnTo>
                  <a:lnTo>
                    <a:pt x="11980" y="33481"/>
                  </a:lnTo>
                  <a:lnTo>
                    <a:pt x="11845" y="32765"/>
                  </a:lnTo>
                  <a:lnTo>
                    <a:pt x="11577" y="31380"/>
                  </a:lnTo>
                  <a:lnTo>
                    <a:pt x="11488" y="30039"/>
                  </a:lnTo>
                  <a:lnTo>
                    <a:pt x="11443" y="28653"/>
                  </a:lnTo>
                  <a:lnTo>
                    <a:pt x="11443" y="27312"/>
                  </a:lnTo>
                  <a:lnTo>
                    <a:pt x="11488" y="25971"/>
                  </a:lnTo>
                  <a:lnTo>
                    <a:pt x="11577" y="24630"/>
                  </a:lnTo>
                  <a:lnTo>
                    <a:pt x="11801" y="21903"/>
                  </a:lnTo>
                  <a:lnTo>
                    <a:pt x="11890" y="20473"/>
                  </a:lnTo>
                  <a:lnTo>
                    <a:pt x="11935" y="19043"/>
                  </a:lnTo>
                  <a:lnTo>
                    <a:pt x="11890" y="17568"/>
                  </a:lnTo>
                  <a:lnTo>
                    <a:pt x="11845" y="16048"/>
                  </a:lnTo>
                  <a:lnTo>
                    <a:pt x="11667" y="14439"/>
                  </a:lnTo>
                  <a:lnTo>
                    <a:pt x="11354" y="12830"/>
                  </a:lnTo>
                  <a:lnTo>
                    <a:pt x="11175" y="12114"/>
                  </a:lnTo>
                  <a:lnTo>
                    <a:pt x="10951" y="11578"/>
                  </a:lnTo>
                  <a:lnTo>
                    <a:pt x="10728" y="11131"/>
                  </a:lnTo>
                  <a:lnTo>
                    <a:pt x="10460" y="10773"/>
                  </a:lnTo>
                  <a:lnTo>
                    <a:pt x="9923" y="10148"/>
                  </a:lnTo>
                  <a:lnTo>
                    <a:pt x="9700" y="9879"/>
                  </a:lnTo>
                  <a:lnTo>
                    <a:pt x="9476" y="9611"/>
                  </a:lnTo>
                  <a:lnTo>
                    <a:pt x="9432" y="9522"/>
                  </a:lnTo>
                  <a:lnTo>
                    <a:pt x="9432" y="9432"/>
                  </a:lnTo>
                  <a:lnTo>
                    <a:pt x="9476" y="9388"/>
                  </a:lnTo>
                  <a:lnTo>
                    <a:pt x="9566" y="9388"/>
                  </a:lnTo>
                  <a:lnTo>
                    <a:pt x="9834" y="9432"/>
                  </a:lnTo>
                  <a:lnTo>
                    <a:pt x="10236" y="9611"/>
                  </a:lnTo>
                  <a:lnTo>
                    <a:pt x="11354" y="10103"/>
                  </a:lnTo>
                  <a:lnTo>
                    <a:pt x="12874" y="10818"/>
                  </a:lnTo>
                  <a:lnTo>
                    <a:pt x="14662" y="11667"/>
                  </a:lnTo>
                  <a:lnTo>
                    <a:pt x="15600" y="12070"/>
                  </a:lnTo>
                  <a:lnTo>
                    <a:pt x="16584" y="12427"/>
                  </a:lnTo>
                  <a:lnTo>
                    <a:pt x="17612" y="12785"/>
                  </a:lnTo>
                  <a:lnTo>
                    <a:pt x="18595" y="13098"/>
                  </a:lnTo>
                  <a:lnTo>
                    <a:pt x="19623" y="13366"/>
                  </a:lnTo>
                  <a:lnTo>
                    <a:pt x="20562" y="13500"/>
                  </a:lnTo>
                  <a:lnTo>
                    <a:pt x="21188" y="13589"/>
                  </a:lnTo>
                  <a:lnTo>
                    <a:pt x="22037" y="13589"/>
                  </a:lnTo>
                  <a:lnTo>
                    <a:pt x="23020" y="13545"/>
                  </a:lnTo>
                  <a:lnTo>
                    <a:pt x="24138" y="13500"/>
                  </a:lnTo>
                  <a:lnTo>
                    <a:pt x="25345" y="13366"/>
                  </a:lnTo>
                  <a:lnTo>
                    <a:pt x="26686" y="13232"/>
                  </a:lnTo>
                  <a:lnTo>
                    <a:pt x="28071" y="13053"/>
                  </a:lnTo>
                  <a:lnTo>
                    <a:pt x="29457" y="12830"/>
                  </a:lnTo>
                  <a:lnTo>
                    <a:pt x="30843" y="12561"/>
                  </a:lnTo>
                  <a:lnTo>
                    <a:pt x="32228" y="12293"/>
                  </a:lnTo>
                  <a:lnTo>
                    <a:pt x="33525" y="11936"/>
                  </a:lnTo>
                  <a:lnTo>
                    <a:pt x="34776" y="11578"/>
                  </a:lnTo>
                  <a:lnTo>
                    <a:pt x="35894" y="11176"/>
                  </a:lnTo>
                  <a:lnTo>
                    <a:pt x="36877" y="10729"/>
                  </a:lnTo>
                  <a:lnTo>
                    <a:pt x="37279" y="10460"/>
                  </a:lnTo>
                  <a:lnTo>
                    <a:pt x="37682" y="10237"/>
                  </a:lnTo>
                  <a:lnTo>
                    <a:pt x="37995" y="9969"/>
                  </a:lnTo>
                  <a:lnTo>
                    <a:pt x="38307" y="9701"/>
                  </a:lnTo>
                  <a:lnTo>
                    <a:pt x="38442" y="9477"/>
                  </a:lnTo>
                  <a:lnTo>
                    <a:pt x="38531" y="9209"/>
                  </a:lnTo>
                  <a:lnTo>
                    <a:pt x="38620" y="8896"/>
                  </a:lnTo>
                  <a:lnTo>
                    <a:pt x="38665" y="8538"/>
                  </a:lnTo>
                  <a:lnTo>
                    <a:pt x="38710" y="7689"/>
                  </a:lnTo>
                  <a:lnTo>
                    <a:pt x="38620" y="6840"/>
                  </a:lnTo>
                  <a:lnTo>
                    <a:pt x="38486" y="5991"/>
                  </a:lnTo>
                  <a:lnTo>
                    <a:pt x="38352" y="5633"/>
                  </a:lnTo>
                  <a:lnTo>
                    <a:pt x="38218" y="5365"/>
                  </a:lnTo>
                  <a:lnTo>
                    <a:pt x="38084" y="5097"/>
                  </a:lnTo>
                  <a:lnTo>
                    <a:pt x="37950" y="4918"/>
                  </a:lnTo>
                  <a:lnTo>
                    <a:pt x="37816" y="4873"/>
                  </a:lnTo>
                  <a:lnTo>
                    <a:pt x="37637" y="4873"/>
                  </a:lnTo>
                  <a:lnTo>
                    <a:pt x="36251" y="5320"/>
                  </a:lnTo>
                  <a:lnTo>
                    <a:pt x="34374" y="5901"/>
                  </a:lnTo>
                  <a:lnTo>
                    <a:pt x="32184" y="6438"/>
                  </a:lnTo>
                  <a:lnTo>
                    <a:pt x="29770" y="7019"/>
                  </a:lnTo>
                  <a:lnTo>
                    <a:pt x="27356" y="7466"/>
                  </a:lnTo>
                  <a:lnTo>
                    <a:pt x="26149" y="7644"/>
                  </a:lnTo>
                  <a:lnTo>
                    <a:pt x="25032" y="7823"/>
                  </a:lnTo>
                  <a:lnTo>
                    <a:pt x="23914" y="7913"/>
                  </a:lnTo>
                  <a:lnTo>
                    <a:pt x="22886" y="8002"/>
                  </a:lnTo>
                  <a:lnTo>
                    <a:pt x="21992" y="8002"/>
                  </a:lnTo>
                  <a:lnTo>
                    <a:pt x="21143" y="7957"/>
                  </a:lnTo>
                  <a:lnTo>
                    <a:pt x="20785" y="7868"/>
                  </a:lnTo>
                  <a:lnTo>
                    <a:pt x="20383" y="7779"/>
                  </a:lnTo>
                  <a:lnTo>
                    <a:pt x="19534" y="7510"/>
                  </a:lnTo>
                  <a:lnTo>
                    <a:pt x="18640" y="7153"/>
                  </a:lnTo>
                  <a:lnTo>
                    <a:pt x="17612" y="6706"/>
                  </a:lnTo>
                  <a:lnTo>
                    <a:pt x="15421" y="5588"/>
                  </a:lnTo>
                  <a:lnTo>
                    <a:pt x="12963" y="4337"/>
                  </a:lnTo>
                  <a:lnTo>
                    <a:pt x="11622" y="3666"/>
                  </a:lnTo>
                  <a:lnTo>
                    <a:pt x="10192" y="3040"/>
                  </a:lnTo>
                  <a:lnTo>
                    <a:pt x="8672" y="2415"/>
                  </a:lnTo>
                  <a:lnTo>
                    <a:pt x="7107" y="1789"/>
                  </a:lnTo>
                  <a:lnTo>
                    <a:pt x="5453" y="1252"/>
                  </a:lnTo>
                  <a:lnTo>
                    <a:pt x="3710" y="761"/>
                  </a:lnTo>
                  <a:lnTo>
                    <a:pt x="1922" y="314"/>
                  </a:lnTo>
                  <a:lnTo>
                    <a:pt x="984" y="135"/>
                  </a:lnTo>
                  <a:lnTo>
                    <a:pt x="0" y="1"/>
                  </a:lnTo>
                  <a:close/>
                </a:path>
              </a:pathLst>
            </a:custGeom>
            <a:solidFill>
              <a:srgbClr val="D9395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65" name="Google Shape;2294;p11">
              <a:extLst>
                <a:ext uri="{FF2B5EF4-FFF2-40B4-BE49-F238E27FC236}">
                  <a16:creationId xmlns:a16="http://schemas.microsoft.com/office/drawing/2014/main" id="{0F5F73F0-92AC-0886-FA97-344D0B577DCD}"/>
                </a:ext>
              </a:extLst>
            </p:cNvPr>
            <p:cNvSpPr/>
            <p:nvPr/>
          </p:nvSpPr>
          <p:spPr>
            <a:xfrm>
              <a:off x="8867754" y="1172331"/>
              <a:ext cx="20165" cy="36955"/>
            </a:xfrm>
            <a:custGeom>
              <a:avLst/>
              <a:gdLst/>
              <a:ahLst/>
              <a:cxnLst/>
              <a:rect l="l" t="t" r="r" b="b"/>
              <a:pathLst>
                <a:path w="3220" h="5901" extrusionOk="0">
                  <a:moveTo>
                    <a:pt x="1" y="0"/>
                  </a:moveTo>
                  <a:lnTo>
                    <a:pt x="269" y="269"/>
                  </a:lnTo>
                  <a:lnTo>
                    <a:pt x="582" y="626"/>
                  </a:lnTo>
                  <a:lnTo>
                    <a:pt x="895" y="1029"/>
                  </a:lnTo>
                  <a:lnTo>
                    <a:pt x="1208" y="1476"/>
                  </a:lnTo>
                  <a:lnTo>
                    <a:pt x="895" y="984"/>
                  </a:lnTo>
                  <a:lnTo>
                    <a:pt x="582" y="582"/>
                  </a:lnTo>
                  <a:lnTo>
                    <a:pt x="314" y="269"/>
                  </a:lnTo>
                  <a:lnTo>
                    <a:pt x="1" y="0"/>
                  </a:lnTo>
                  <a:close/>
                  <a:moveTo>
                    <a:pt x="1208" y="1476"/>
                  </a:moveTo>
                  <a:lnTo>
                    <a:pt x="1521" y="2012"/>
                  </a:lnTo>
                  <a:lnTo>
                    <a:pt x="2102" y="3174"/>
                  </a:lnTo>
                  <a:lnTo>
                    <a:pt x="2683" y="4515"/>
                  </a:lnTo>
                  <a:lnTo>
                    <a:pt x="3219" y="5901"/>
                  </a:lnTo>
                  <a:lnTo>
                    <a:pt x="2727" y="4470"/>
                  </a:lnTo>
                  <a:lnTo>
                    <a:pt x="2146" y="3174"/>
                  </a:lnTo>
                  <a:lnTo>
                    <a:pt x="1521" y="1967"/>
                  </a:lnTo>
                  <a:lnTo>
                    <a:pt x="1208" y="1476"/>
                  </a:lnTo>
                  <a:close/>
                </a:path>
              </a:pathLst>
            </a:custGeom>
            <a:solidFill>
              <a:srgbClr val="D5D5D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66" name="Google Shape;2295;p11">
              <a:extLst>
                <a:ext uri="{FF2B5EF4-FFF2-40B4-BE49-F238E27FC236}">
                  <a16:creationId xmlns:a16="http://schemas.microsoft.com/office/drawing/2014/main" id="{82450B50-BBBB-C49D-7C7B-3480CF6E3418}"/>
                </a:ext>
              </a:extLst>
            </p:cNvPr>
            <p:cNvSpPr/>
            <p:nvPr/>
          </p:nvSpPr>
          <p:spPr>
            <a:xfrm>
              <a:off x="8866076" y="1171210"/>
              <a:ext cx="26321" cy="56275"/>
            </a:xfrm>
            <a:custGeom>
              <a:avLst/>
              <a:gdLst/>
              <a:ahLst/>
              <a:cxnLst/>
              <a:rect l="l" t="t" r="r" b="b"/>
              <a:pathLst>
                <a:path w="4203" h="8986" fill="none" extrusionOk="0">
                  <a:moveTo>
                    <a:pt x="1" y="1"/>
                  </a:moveTo>
                  <a:lnTo>
                    <a:pt x="1" y="1"/>
                  </a:lnTo>
                  <a:lnTo>
                    <a:pt x="269" y="179"/>
                  </a:lnTo>
                  <a:lnTo>
                    <a:pt x="537" y="448"/>
                  </a:lnTo>
                  <a:lnTo>
                    <a:pt x="850" y="805"/>
                  </a:lnTo>
                  <a:lnTo>
                    <a:pt x="1163" y="1208"/>
                  </a:lnTo>
                  <a:lnTo>
                    <a:pt x="1476" y="1655"/>
                  </a:lnTo>
                  <a:lnTo>
                    <a:pt x="1789" y="2191"/>
                  </a:lnTo>
                  <a:lnTo>
                    <a:pt x="2370" y="3353"/>
                  </a:lnTo>
                  <a:lnTo>
                    <a:pt x="2951" y="4694"/>
                  </a:lnTo>
                  <a:lnTo>
                    <a:pt x="3487" y="6080"/>
                  </a:lnTo>
                  <a:lnTo>
                    <a:pt x="3934" y="7555"/>
                  </a:lnTo>
                  <a:lnTo>
                    <a:pt x="4068" y="8270"/>
                  </a:lnTo>
                  <a:lnTo>
                    <a:pt x="4202" y="8985"/>
                  </a:lnTo>
                  <a:lnTo>
                    <a:pt x="4202" y="8985"/>
                  </a:lnTo>
                  <a:lnTo>
                    <a:pt x="4068" y="8270"/>
                  </a:lnTo>
                  <a:lnTo>
                    <a:pt x="3934" y="7555"/>
                  </a:lnTo>
                  <a:lnTo>
                    <a:pt x="3487" y="6080"/>
                  </a:lnTo>
                  <a:lnTo>
                    <a:pt x="2995" y="4649"/>
                  </a:lnTo>
                  <a:lnTo>
                    <a:pt x="2414" y="3353"/>
                  </a:lnTo>
                  <a:lnTo>
                    <a:pt x="1789" y="2146"/>
                  </a:lnTo>
                  <a:lnTo>
                    <a:pt x="1476" y="1655"/>
                  </a:lnTo>
                  <a:lnTo>
                    <a:pt x="1163" y="1163"/>
                  </a:lnTo>
                  <a:lnTo>
                    <a:pt x="850" y="761"/>
                  </a:lnTo>
                  <a:lnTo>
                    <a:pt x="582" y="448"/>
                  </a:lnTo>
                  <a:lnTo>
                    <a:pt x="269" y="179"/>
                  </a:lnTo>
                  <a:lnTo>
                    <a:pt x="1" y="1"/>
                  </a:lnTo>
                  <a:lnTo>
                    <a:pt x="1" y="1"/>
                  </a:lnTo>
                  <a:lnTo>
                    <a:pt x="1"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67" name="Google Shape;2296;p11">
              <a:extLst>
                <a:ext uri="{FF2B5EF4-FFF2-40B4-BE49-F238E27FC236}">
                  <a16:creationId xmlns:a16="http://schemas.microsoft.com/office/drawing/2014/main" id="{28F2F672-F532-D5B9-1A9E-922E0BE81F05}"/>
                </a:ext>
              </a:extLst>
            </p:cNvPr>
            <p:cNvSpPr/>
            <p:nvPr/>
          </p:nvSpPr>
          <p:spPr>
            <a:xfrm>
              <a:off x="8866076" y="1171210"/>
              <a:ext cx="34995" cy="63834"/>
            </a:xfrm>
            <a:custGeom>
              <a:avLst/>
              <a:gdLst/>
              <a:ahLst/>
              <a:cxnLst/>
              <a:rect l="l" t="t" r="r" b="b"/>
              <a:pathLst>
                <a:path w="5588" h="10193" extrusionOk="0">
                  <a:moveTo>
                    <a:pt x="1" y="1"/>
                  </a:moveTo>
                  <a:lnTo>
                    <a:pt x="269" y="179"/>
                  </a:lnTo>
                  <a:lnTo>
                    <a:pt x="582" y="448"/>
                  </a:lnTo>
                  <a:lnTo>
                    <a:pt x="850" y="761"/>
                  </a:lnTo>
                  <a:lnTo>
                    <a:pt x="1163" y="1163"/>
                  </a:lnTo>
                  <a:lnTo>
                    <a:pt x="1476" y="1655"/>
                  </a:lnTo>
                  <a:lnTo>
                    <a:pt x="1789" y="2146"/>
                  </a:lnTo>
                  <a:lnTo>
                    <a:pt x="2414" y="3353"/>
                  </a:lnTo>
                  <a:lnTo>
                    <a:pt x="2995" y="4649"/>
                  </a:lnTo>
                  <a:lnTo>
                    <a:pt x="3487" y="6080"/>
                  </a:lnTo>
                  <a:lnTo>
                    <a:pt x="3934" y="7555"/>
                  </a:lnTo>
                  <a:lnTo>
                    <a:pt x="4068" y="8270"/>
                  </a:lnTo>
                  <a:lnTo>
                    <a:pt x="4202" y="8985"/>
                  </a:lnTo>
                  <a:lnTo>
                    <a:pt x="4292" y="9611"/>
                  </a:lnTo>
                  <a:lnTo>
                    <a:pt x="4381" y="10192"/>
                  </a:lnTo>
                  <a:lnTo>
                    <a:pt x="4828" y="8851"/>
                  </a:lnTo>
                  <a:lnTo>
                    <a:pt x="5230" y="7421"/>
                  </a:lnTo>
                  <a:lnTo>
                    <a:pt x="5409" y="6750"/>
                  </a:lnTo>
                  <a:lnTo>
                    <a:pt x="5543" y="6169"/>
                  </a:lnTo>
                  <a:lnTo>
                    <a:pt x="5588" y="5633"/>
                  </a:lnTo>
                  <a:lnTo>
                    <a:pt x="5588" y="5275"/>
                  </a:lnTo>
                  <a:lnTo>
                    <a:pt x="5543" y="5007"/>
                  </a:lnTo>
                  <a:lnTo>
                    <a:pt x="5409" y="4694"/>
                  </a:lnTo>
                  <a:lnTo>
                    <a:pt x="5230" y="4381"/>
                  </a:lnTo>
                  <a:lnTo>
                    <a:pt x="5052" y="4024"/>
                  </a:lnTo>
                  <a:lnTo>
                    <a:pt x="4470" y="3264"/>
                  </a:lnTo>
                  <a:lnTo>
                    <a:pt x="3800" y="2504"/>
                  </a:lnTo>
                  <a:lnTo>
                    <a:pt x="2951" y="1789"/>
                  </a:lnTo>
                  <a:lnTo>
                    <a:pt x="2504" y="1431"/>
                  </a:lnTo>
                  <a:lnTo>
                    <a:pt x="2012" y="1073"/>
                  </a:lnTo>
                  <a:lnTo>
                    <a:pt x="1565" y="761"/>
                  </a:lnTo>
                  <a:lnTo>
                    <a:pt x="1029" y="492"/>
                  </a:lnTo>
                  <a:lnTo>
                    <a:pt x="537" y="224"/>
                  </a:lnTo>
                  <a:lnTo>
                    <a:pt x="1" y="1"/>
                  </a:lnTo>
                  <a:close/>
                </a:path>
              </a:pathLst>
            </a:custGeom>
            <a:solidFill>
              <a:srgbClr val="BA243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68" name="Google Shape;2297;p11">
              <a:extLst>
                <a:ext uri="{FF2B5EF4-FFF2-40B4-BE49-F238E27FC236}">
                  <a16:creationId xmlns:a16="http://schemas.microsoft.com/office/drawing/2014/main" id="{2727AC55-404A-2448-F55D-656472B3D2B4}"/>
                </a:ext>
              </a:extLst>
            </p:cNvPr>
            <p:cNvSpPr/>
            <p:nvPr/>
          </p:nvSpPr>
          <p:spPr>
            <a:xfrm>
              <a:off x="8866076" y="1171210"/>
              <a:ext cx="34995" cy="63834"/>
            </a:xfrm>
            <a:custGeom>
              <a:avLst/>
              <a:gdLst/>
              <a:ahLst/>
              <a:cxnLst/>
              <a:rect l="l" t="t" r="r" b="b"/>
              <a:pathLst>
                <a:path w="5588" h="10193" fill="none" extrusionOk="0">
                  <a:moveTo>
                    <a:pt x="1" y="1"/>
                  </a:moveTo>
                  <a:lnTo>
                    <a:pt x="1" y="1"/>
                  </a:lnTo>
                  <a:lnTo>
                    <a:pt x="269" y="179"/>
                  </a:lnTo>
                  <a:lnTo>
                    <a:pt x="582" y="448"/>
                  </a:lnTo>
                  <a:lnTo>
                    <a:pt x="850" y="761"/>
                  </a:lnTo>
                  <a:lnTo>
                    <a:pt x="1163" y="1163"/>
                  </a:lnTo>
                  <a:lnTo>
                    <a:pt x="1476" y="1655"/>
                  </a:lnTo>
                  <a:lnTo>
                    <a:pt x="1789" y="2146"/>
                  </a:lnTo>
                  <a:lnTo>
                    <a:pt x="2414" y="3353"/>
                  </a:lnTo>
                  <a:lnTo>
                    <a:pt x="2995" y="4649"/>
                  </a:lnTo>
                  <a:lnTo>
                    <a:pt x="3487" y="6080"/>
                  </a:lnTo>
                  <a:lnTo>
                    <a:pt x="3934" y="7555"/>
                  </a:lnTo>
                  <a:lnTo>
                    <a:pt x="4068" y="8270"/>
                  </a:lnTo>
                  <a:lnTo>
                    <a:pt x="4202" y="8985"/>
                  </a:lnTo>
                  <a:lnTo>
                    <a:pt x="4202" y="8985"/>
                  </a:lnTo>
                  <a:lnTo>
                    <a:pt x="4292" y="9611"/>
                  </a:lnTo>
                  <a:lnTo>
                    <a:pt x="4381" y="10192"/>
                  </a:lnTo>
                  <a:lnTo>
                    <a:pt x="4381" y="10192"/>
                  </a:lnTo>
                  <a:lnTo>
                    <a:pt x="4828" y="8851"/>
                  </a:lnTo>
                  <a:lnTo>
                    <a:pt x="5230" y="7421"/>
                  </a:lnTo>
                  <a:lnTo>
                    <a:pt x="5409" y="6750"/>
                  </a:lnTo>
                  <a:lnTo>
                    <a:pt x="5543" y="6169"/>
                  </a:lnTo>
                  <a:lnTo>
                    <a:pt x="5588" y="5633"/>
                  </a:lnTo>
                  <a:lnTo>
                    <a:pt x="5588" y="5275"/>
                  </a:lnTo>
                  <a:lnTo>
                    <a:pt x="5588" y="5275"/>
                  </a:lnTo>
                  <a:lnTo>
                    <a:pt x="5543" y="5007"/>
                  </a:lnTo>
                  <a:lnTo>
                    <a:pt x="5409" y="4694"/>
                  </a:lnTo>
                  <a:lnTo>
                    <a:pt x="5230" y="4381"/>
                  </a:lnTo>
                  <a:lnTo>
                    <a:pt x="5052" y="4024"/>
                  </a:lnTo>
                  <a:lnTo>
                    <a:pt x="4470" y="3264"/>
                  </a:lnTo>
                  <a:lnTo>
                    <a:pt x="3800" y="2504"/>
                  </a:lnTo>
                  <a:lnTo>
                    <a:pt x="2951" y="1789"/>
                  </a:lnTo>
                  <a:lnTo>
                    <a:pt x="2504" y="1431"/>
                  </a:lnTo>
                  <a:lnTo>
                    <a:pt x="2012" y="1073"/>
                  </a:lnTo>
                  <a:lnTo>
                    <a:pt x="1565" y="761"/>
                  </a:lnTo>
                  <a:lnTo>
                    <a:pt x="1029" y="492"/>
                  </a:lnTo>
                  <a:lnTo>
                    <a:pt x="537" y="224"/>
                  </a:lnTo>
                  <a:lnTo>
                    <a:pt x="1"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69" name="Google Shape;2298;p11">
              <a:extLst>
                <a:ext uri="{FF2B5EF4-FFF2-40B4-BE49-F238E27FC236}">
                  <a16:creationId xmlns:a16="http://schemas.microsoft.com/office/drawing/2014/main" id="{4BE55ABE-F1E6-D9B4-F3DF-C34DAEE68176}"/>
                </a:ext>
              </a:extLst>
            </p:cNvPr>
            <p:cNvSpPr/>
            <p:nvPr/>
          </p:nvSpPr>
          <p:spPr>
            <a:xfrm>
              <a:off x="8902185" y="1084712"/>
              <a:ext cx="570" cy="845"/>
            </a:xfrm>
            <a:custGeom>
              <a:avLst/>
              <a:gdLst/>
              <a:ahLst/>
              <a:cxnLst/>
              <a:rect l="l" t="t" r="r" b="b"/>
              <a:pathLst>
                <a:path w="91" h="135" extrusionOk="0">
                  <a:moveTo>
                    <a:pt x="1" y="1"/>
                  </a:moveTo>
                  <a:lnTo>
                    <a:pt x="45" y="135"/>
                  </a:lnTo>
                  <a:lnTo>
                    <a:pt x="90" y="1"/>
                  </a:lnTo>
                  <a:close/>
                </a:path>
              </a:pathLst>
            </a:custGeom>
            <a:solidFill>
              <a:srgbClr val="D5D5D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70" name="Google Shape;2299;p11">
              <a:extLst>
                <a:ext uri="{FF2B5EF4-FFF2-40B4-BE49-F238E27FC236}">
                  <a16:creationId xmlns:a16="http://schemas.microsoft.com/office/drawing/2014/main" id="{4602A450-05DE-EC82-5060-148FC29EAF4D}"/>
                </a:ext>
              </a:extLst>
            </p:cNvPr>
            <p:cNvSpPr/>
            <p:nvPr/>
          </p:nvSpPr>
          <p:spPr>
            <a:xfrm>
              <a:off x="8902185" y="1084712"/>
              <a:ext cx="570" cy="845"/>
            </a:xfrm>
            <a:custGeom>
              <a:avLst/>
              <a:gdLst/>
              <a:ahLst/>
              <a:cxnLst/>
              <a:rect l="l" t="t" r="r" b="b"/>
              <a:pathLst>
                <a:path w="91" h="135" fill="none" extrusionOk="0">
                  <a:moveTo>
                    <a:pt x="90" y="1"/>
                  </a:moveTo>
                  <a:lnTo>
                    <a:pt x="1" y="1"/>
                  </a:lnTo>
                  <a:lnTo>
                    <a:pt x="1" y="1"/>
                  </a:lnTo>
                  <a:lnTo>
                    <a:pt x="1" y="1"/>
                  </a:lnTo>
                  <a:lnTo>
                    <a:pt x="45" y="135"/>
                  </a:lnTo>
                  <a:lnTo>
                    <a:pt x="45" y="135"/>
                  </a:lnTo>
                  <a:lnTo>
                    <a:pt x="45" y="135"/>
                  </a:lnTo>
                  <a:lnTo>
                    <a:pt x="90"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71" name="Google Shape;2300;p11">
              <a:extLst>
                <a:ext uri="{FF2B5EF4-FFF2-40B4-BE49-F238E27FC236}">
                  <a16:creationId xmlns:a16="http://schemas.microsoft.com/office/drawing/2014/main" id="{8AC7283E-74D0-DC04-1DD4-171A8AB609F0}"/>
                </a:ext>
              </a:extLst>
            </p:cNvPr>
            <p:cNvSpPr/>
            <p:nvPr/>
          </p:nvSpPr>
          <p:spPr>
            <a:xfrm>
              <a:off x="8848158" y="1084712"/>
              <a:ext cx="54315" cy="36116"/>
            </a:xfrm>
            <a:custGeom>
              <a:avLst/>
              <a:gdLst/>
              <a:ahLst/>
              <a:cxnLst/>
              <a:rect l="l" t="t" r="r" b="b"/>
              <a:pathLst>
                <a:path w="8673" h="5767" extrusionOk="0">
                  <a:moveTo>
                    <a:pt x="8628" y="1"/>
                  </a:moveTo>
                  <a:lnTo>
                    <a:pt x="5722" y="179"/>
                  </a:lnTo>
                  <a:lnTo>
                    <a:pt x="4381" y="1342"/>
                  </a:lnTo>
                  <a:lnTo>
                    <a:pt x="2951" y="2638"/>
                  </a:lnTo>
                  <a:lnTo>
                    <a:pt x="1476" y="4158"/>
                  </a:lnTo>
                  <a:lnTo>
                    <a:pt x="1" y="5767"/>
                  </a:lnTo>
                  <a:lnTo>
                    <a:pt x="1029" y="5499"/>
                  </a:lnTo>
                  <a:lnTo>
                    <a:pt x="1968" y="5230"/>
                  </a:lnTo>
                  <a:lnTo>
                    <a:pt x="2862" y="4962"/>
                  </a:lnTo>
                  <a:lnTo>
                    <a:pt x="3666" y="4694"/>
                  </a:lnTo>
                  <a:lnTo>
                    <a:pt x="4381" y="4381"/>
                  </a:lnTo>
                  <a:lnTo>
                    <a:pt x="5052" y="4113"/>
                  </a:lnTo>
                  <a:lnTo>
                    <a:pt x="5633" y="3800"/>
                  </a:lnTo>
                  <a:lnTo>
                    <a:pt x="6169" y="3442"/>
                  </a:lnTo>
                  <a:lnTo>
                    <a:pt x="6661" y="3085"/>
                  </a:lnTo>
                  <a:lnTo>
                    <a:pt x="7108" y="2727"/>
                  </a:lnTo>
                  <a:lnTo>
                    <a:pt x="7466" y="2370"/>
                  </a:lnTo>
                  <a:lnTo>
                    <a:pt x="7778" y="1967"/>
                  </a:lnTo>
                  <a:lnTo>
                    <a:pt x="8091" y="1520"/>
                  </a:lnTo>
                  <a:lnTo>
                    <a:pt x="8315" y="1073"/>
                  </a:lnTo>
                  <a:lnTo>
                    <a:pt x="8538" y="626"/>
                  </a:lnTo>
                  <a:lnTo>
                    <a:pt x="8672" y="135"/>
                  </a:lnTo>
                  <a:lnTo>
                    <a:pt x="8628" y="1"/>
                  </a:lnTo>
                  <a:close/>
                </a:path>
              </a:pathLst>
            </a:custGeom>
            <a:solidFill>
              <a:srgbClr val="BA243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72" name="Google Shape;2301;p11">
              <a:extLst>
                <a:ext uri="{FF2B5EF4-FFF2-40B4-BE49-F238E27FC236}">
                  <a16:creationId xmlns:a16="http://schemas.microsoft.com/office/drawing/2014/main" id="{BA338F58-172C-2723-62B9-48B0EF734708}"/>
                </a:ext>
              </a:extLst>
            </p:cNvPr>
            <p:cNvSpPr/>
            <p:nvPr/>
          </p:nvSpPr>
          <p:spPr>
            <a:xfrm>
              <a:off x="8897707" y="1011372"/>
              <a:ext cx="73628" cy="119532"/>
            </a:xfrm>
            <a:custGeom>
              <a:avLst/>
              <a:gdLst/>
              <a:ahLst/>
              <a:cxnLst/>
              <a:rect l="l" t="t" r="r" b="b"/>
              <a:pathLst>
                <a:path w="11757" h="19087" extrusionOk="0">
                  <a:moveTo>
                    <a:pt x="10728" y="0"/>
                  </a:moveTo>
                  <a:lnTo>
                    <a:pt x="5096" y="179"/>
                  </a:lnTo>
                  <a:lnTo>
                    <a:pt x="3308" y="3353"/>
                  </a:lnTo>
                  <a:lnTo>
                    <a:pt x="3085" y="3576"/>
                  </a:lnTo>
                  <a:lnTo>
                    <a:pt x="2459" y="4202"/>
                  </a:lnTo>
                  <a:lnTo>
                    <a:pt x="2101" y="4649"/>
                  </a:lnTo>
                  <a:lnTo>
                    <a:pt x="1654" y="5141"/>
                  </a:lnTo>
                  <a:lnTo>
                    <a:pt x="1252" y="5722"/>
                  </a:lnTo>
                  <a:lnTo>
                    <a:pt x="850" y="6348"/>
                  </a:lnTo>
                  <a:lnTo>
                    <a:pt x="537" y="7018"/>
                  </a:lnTo>
                  <a:lnTo>
                    <a:pt x="269" y="7733"/>
                  </a:lnTo>
                  <a:lnTo>
                    <a:pt x="45" y="8449"/>
                  </a:lnTo>
                  <a:lnTo>
                    <a:pt x="1" y="8806"/>
                  </a:lnTo>
                  <a:lnTo>
                    <a:pt x="1" y="9208"/>
                  </a:lnTo>
                  <a:lnTo>
                    <a:pt x="1" y="9566"/>
                  </a:lnTo>
                  <a:lnTo>
                    <a:pt x="45" y="9968"/>
                  </a:lnTo>
                  <a:lnTo>
                    <a:pt x="135" y="10326"/>
                  </a:lnTo>
                  <a:lnTo>
                    <a:pt x="269" y="10728"/>
                  </a:lnTo>
                  <a:lnTo>
                    <a:pt x="448" y="11086"/>
                  </a:lnTo>
                  <a:lnTo>
                    <a:pt x="671" y="11443"/>
                  </a:lnTo>
                  <a:lnTo>
                    <a:pt x="939" y="11801"/>
                  </a:lnTo>
                  <a:lnTo>
                    <a:pt x="1297" y="12159"/>
                  </a:lnTo>
                  <a:lnTo>
                    <a:pt x="1833" y="12784"/>
                  </a:lnTo>
                  <a:lnTo>
                    <a:pt x="2370" y="13365"/>
                  </a:lnTo>
                  <a:lnTo>
                    <a:pt x="2861" y="13947"/>
                  </a:lnTo>
                  <a:lnTo>
                    <a:pt x="3264" y="14528"/>
                  </a:lnTo>
                  <a:lnTo>
                    <a:pt x="4024" y="15600"/>
                  </a:lnTo>
                  <a:lnTo>
                    <a:pt x="4649" y="16629"/>
                  </a:lnTo>
                  <a:lnTo>
                    <a:pt x="5186" y="17478"/>
                  </a:lnTo>
                  <a:lnTo>
                    <a:pt x="5677" y="18193"/>
                  </a:lnTo>
                  <a:lnTo>
                    <a:pt x="5946" y="18506"/>
                  </a:lnTo>
                  <a:lnTo>
                    <a:pt x="6169" y="18729"/>
                  </a:lnTo>
                  <a:lnTo>
                    <a:pt x="6393" y="18953"/>
                  </a:lnTo>
                  <a:lnTo>
                    <a:pt x="6661" y="19087"/>
                  </a:lnTo>
                  <a:lnTo>
                    <a:pt x="6705" y="19087"/>
                  </a:lnTo>
                  <a:lnTo>
                    <a:pt x="6750" y="19042"/>
                  </a:lnTo>
                  <a:lnTo>
                    <a:pt x="6840" y="18908"/>
                  </a:lnTo>
                  <a:lnTo>
                    <a:pt x="6884" y="18685"/>
                  </a:lnTo>
                  <a:lnTo>
                    <a:pt x="6974" y="18372"/>
                  </a:lnTo>
                  <a:lnTo>
                    <a:pt x="7063" y="17523"/>
                  </a:lnTo>
                  <a:lnTo>
                    <a:pt x="7152" y="16494"/>
                  </a:lnTo>
                  <a:lnTo>
                    <a:pt x="7197" y="14394"/>
                  </a:lnTo>
                  <a:lnTo>
                    <a:pt x="7152" y="13008"/>
                  </a:lnTo>
                  <a:lnTo>
                    <a:pt x="7063" y="12561"/>
                  </a:lnTo>
                  <a:lnTo>
                    <a:pt x="6929" y="12025"/>
                  </a:lnTo>
                  <a:lnTo>
                    <a:pt x="6616" y="10818"/>
                  </a:lnTo>
                  <a:lnTo>
                    <a:pt x="6482" y="10281"/>
                  </a:lnTo>
                  <a:lnTo>
                    <a:pt x="6437" y="9745"/>
                  </a:lnTo>
                  <a:lnTo>
                    <a:pt x="6437" y="9566"/>
                  </a:lnTo>
                  <a:lnTo>
                    <a:pt x="6527" y="9343"/>
                  </a:lnTo>
                  <a:lnTo>
                    <a:pt x="6571" y="9208"/>
                  </a:lnTo>
                  <a:lnTo>
                    <a:pt x="6705" y="9074"/>
                  </a:lnTo>
                  <a:lnTo>
                    <a:pt x="6884" y="9030"/>
                  </a:lnTo>
                  <a:lnTo>
                    <a:pt x="7063" y="8985"/>
                  </a:lnTo>
                  <a:lnTo>
                    <a:pt x="7242" y="8940"/>
                  </a:lnTo>
                  <a:lnTo>
                    <a:pt x="7465" y="8985"/>
                  </a:lnTo>
                  <a:lnTo>
                    <a:pt x="7823" y="9074"/>
                  </a:lnTo>
                  <a:lnTo>
                    <a:pt x="8225" y="9208"/>
                  </a:lnTo>
                  <a:lnTo>
                    <a:pt x="8940" y="9566"/>
                  </a:lnTo>
                  <a:lnTo>
                    <a:pt x="9209" y="9655"/>
                  </a:lnTo>
                  <a:lnTo>
                    <a:pt x="9432" y="9700"/>
                  </a:lnTo>
                  <a:lnTo>
                    <a:pt x="9566" y="9655"/>
                  </a:lnTo>
                  <a:lnTo>
                    <a:pt x="9700" y="9566"/>
                  </a:lnTo>
                  <a:lnTo>
                    <a:pt x="9790" y="9432"/>
                  </a:lnTo>
                  <a:lnTo>
                    <a:pt x="9879" y="9298"/>
                  </a:lnTo>
                  <a:lnTo>
                    <a:pt x="9969" y="8985"/>
                  </a:lnTo>
                  <a:lnTo>
                    <a:pt x="9969" y="8583"/>
                  </a:lnTo>
                  <a:lnTo>
                    <a:pt x="9969" y="7778"/>
                  </a:lnTo>
                  <a:lnTo>
                    <a:pt x="10013" y="7465"/>
                  </a:lnTo>
                  <a:lnTo>
                    <a:pt x="10058" y="7331"/>
                  </a:lnTo>
                  <a:lnTo>
                    <a:pt x="10103" y="7197"/>
                  </a:lnTo>
                  <a:lnTo>
                    <a:pt x="10281" y="6929"/>
                  </a:lnTo>
                  <a:lnTo>
                    <a:pt x="10281" y="6884"/>
                  </a:lnTo>
                  <a:lnTo>
                    <a:pt x="10237" y="6795"/>
                  </a:lnTo>
                  <a:lnTo>
                    <a:pt x="10147" y="6750"/>
                  </a:lnTo>
                  <a:lnTo>
                    <a:pt x="10013" y="6705"/>
                  </a:lnTo>
                  <a:lnTo>
                    <a:pt x="9924" y="6571"/>
                  </a:lnTo>
                  <a:lnTo>
                    <a:pt x="9879" y="6527"/>
                  </a:lnTo>
                  <a:lnTo>
                    <a:pt x="9879" y="6482"/>
                  </a:lnTo>
                  <a:lnTo>
                    <a:pt x="9924" y="6437"/>
                  </a:lnTo>
                  <a:lnTo>
                    <a:pt x="10371" y="6348"/>
                  </a:lnTo>
                  <a:lnTo>
                    <a:pt x="10505" y="6303"/>
                  </a:lnTo>
                  <a:lnTo>
                    <a:pt x="10594" y="6214"/>
                  </a:lnTo>
                  <a:lnTo>
                    <a:pt x="10639" y="6124"/>
                  </a:lnTo>
                  <a:lnTo>
                    <a:pt x="10639" y="6035"/>
                  </a:lnTo>
                  <a:lnTo>
                    <a:pt x="10594" y="5722"/>
                  </a:lnTo>
                  <a:lnTo>
                    <a:pt x="10550" y="5409"/>
                  </a:lnTo>
                  <a:lnTo>
                    <a:pt x="10594" y="5275"/>
                  </a:lnTo>
                  <a:lnTo>
                    <a:pt x="10684" y="5186"/>
                  </a:lnTo>
                  <a:lnTo>
                    <a:pt x="10862" y="5141"/>
                  </a:lnTo>
                  <a:lnTo>
                    <a:pt x="10997" y="5141"/>
                  </a:lnTo>
                  <a:lnTo>
                    <a:pt x="11399" y="5096"/>
                  </a:lnTo>
                  <a:lnTo>
                    <a:pt x="11578" y="5007"/>
                  </a:lnTo>
                  <a:lnTo>
                    <a:pt x="11712" y="4917"/>
                  </a:lnTo>
                  <a:lnTo>
                    <a:pt x="11756" y="4739"/>
                  </a:lnTo>
                  <a:lnTo>
                    <a:pt x="11756" y="4604"/>
                  </a:lnTo>
                  <a:lnTo>
                    <a:pt x="11712" y="4470"/>
                  </a:lnTo>
                  <a:lnTo>
                    <a:pt x="11578" y="4292"/>
                  </a:lnTo>
                  <a:lnTo>
                    <a:pt x="11220" y="3889"/>
                  </a:lnTo>
                  <a:lnTo>
                    <a:pt x="10997" y="3576"/>
                  </a:lnTo>
                  <a:lnTo>
                    <a:pt x="10818" y="3263"/>
                  </a:lnTo>
                  <a:lnTo>
                    <a:pt x="10594" y="2772"/>
                  </a:lnTo>
                  <a:lnTo>
                    <a:pt x="10550" y="2369"/>
                  </a:lnTo>
                  <a:lnTo>
                    <a:pt x="10550" y="1967"/>
                  </a:lnTo>
                  <a:lnTo>
                    <a:pt x="10594" y="1610"/>
                  </a:lnTo>
                  <a:lnTo>
                    <a:pt x="10728" y="850"/>
                  </a:lnTo>
                  <a:lnTo>
                    <a:pt x="10773" y="447"/>
                  </a:lnTo>
                  <a:lnTo>
                    <a:pt x="10728" y="0"/>
                  </a:lnTo>
                  <a:close/>
                </a:path>
              </a:pathLst>
            </a:custGeom>
            <a:solidFill>
              <a:srgbClr val="F5B1B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73" name="Google Shape;2302;p11">
              <a:extLst>
                <a:ext uri="{FF2B5EF4-FFF2-40B4-BE49-F238E27FC236}">
                  <a16:creationId xmlns:a16="http://schemas.microsoft.com/office/drawing/2014/main" id="{33496512-DFA4-A1F0-A9D4-D42365571393}"/>
                </a:ext>
              </a:extLst>
            </p:cNvPr>
            <p:cNvSpPr/>
            <p:nvPr/>
          </p:nvSpPr>
          <p:spPr>
            <a:xfrm>
              <a:off x="8730311" y="981982"/>
              <a:ext cx="238507" cy="116176"/>
            </a:xfrm>
            <a:custGeom>
              <a:avLst/>
              <a:gdLst/>
              <a:ahLst/>
              <a:cxnLst/>
              <a:rect l="l" t="t" r="r" b="b"/>
              <a:pathLst>
                <a:path w="38085" h="18551" extrusionOk="0">
                  <a:moveTo>
                    <a:pt x="32854" y="0"/>
                  </a:moveTo>
                  <a:lnTo>
                    <a:pt x="31692" y="45"/>
                  </a:lnTo>
                  <a:lnTo>
                    <a:pt x="31290" y="89"/>
                  </a:lnTo>
                  <a:lnTo>
                    <a:pt x="30888" y="179"/>
                  </a:lnTo>
                  <a:lnTo>
                    <a:pt x="30485" y="268"/>
                  </a:lnTo>
                  <a:lnTo>
                    <a:pt x="30128" y="402"/>
                  </a:lnTo>
                  <a:lnTo>
                    <a:pt x="29770" y="581"/>
                  </a:lnTo>
                  <a:lnTo>
                    <a:pt x="29413" y="760"/>
                  </a:lnTo>
                  <a:lnTo>
                    <a:pt x="28742" y="1207"/>
                  </a:lnTo>
                  <a:lnTo>
                    <a:pt x="28161" y="1699"/>
                  </a:lnTo>
                  <a:lnTo>
                    <a:pt x="27580" y="2235"/>
                  </a:lnTo>
                  <a:lnTo>
                    <a:pt x="27043" y="2816"/>
                  </a:lnTo>
                  <a:lnTo>
                    <a:pt x="26552" y="3442"/>
                  </a:lnTo>
                  <a:lnTo>
                    <a:pt x="25658" y="4649"/>
                  </a:lnTo>
                  <a:lnTo>
                    <a:pt x="24943" y="5766"/>
                  </a:lnTo>
                  <a:lnTo>
                    <a:pt x="24317" y="6571"/>
                  </a:lnTo>
                  <a:lnTo>
                    <a:pt x="24093" y="6884"/>
                  </a:lnTo>
                  <a:lnTo>
                    <a:pt x="23825" y="7062"/>
                  </a:lnTo>
                  <a:lnTo>
                    <a:pt x="23602" y="7107"/>
                  </a:lnTo>
                  <a:lnTo>
                    <a:pt x="23423" y="7152"/>
                  </a:lnTo>
                  <a:lnTo>
                    <a:pt x="22976" y="7152"/>
                  </a:lnTo>
                  <a:lnTo>
                    <a:pt x="22529" y="7018"/>
                  </a:lnTo>
                  <a:lnTo>
                    <a:pt x="22037" y="6839"/>
                  </a:lnTo>
                  <a:lnTo>
                    <a:pt x="21456" y="6705"/>
                  </a:lnTo>
                  <a:lnTo>
                    <a:pt x="21143" y="6660"/>
                  </a:lnTo>
                  <a:lnTo>
                    <a:pt x="20741" y="6615"/>
                  </a:lnTo>
                  <a:lnTo>
                    <a:pt x="20339" y="6615"/>
                  </a:lnTo>
                  <a:lnTo>
                    <a:pt x="19892" y="6705"/>
                  </a:lnTo>
                  <a:lnTo>
                    <a:pt x="19400" y="6794"/>
                  </a:lnTo>
                  <a:lnTo>
                    <a:pt x="18864" y="6928"/>
                  </a:lnTo>
                  <a:lnTo>
                    <a:pt x="18238" y="7152"/>
                  </a:lnTo>
                  <a:lnTo>
                    <a:pt x="17657" y="7375"/>
                  </a:lnTo>
                  <a:lnTo>
                    <a:pt x="17210" y="7599"/>
                  </a:lnTo>
                  <a:lnTo>
                    <a:pt x="16807" y="7867"/>
                  </a:lnTo>
                  <a:lnTo>
                    <a:pt x="16450" y="8091"/>
                  </a:lnTo>
                  <a:lnTo>
                    <a:pt x="16137" y="8359"/>
                  </a:lnTo>
                  <a:lnTo>
                    <a:pt x="15645" y="8850"/>
                  </a:lnTo>
                  <a:lnTo>
                    <a:pt x="14975" y="9744"/>
                  </a:lnTo>
                  <a:lnTo>
                    <a:pt x="14617" y="10057"/>
                  </a:lnTo>
                  <a:lnTo>
                    <a:pt x="14438" y="10191"/>
                  </a:lnTo>
                  <a:lnTo>
                    <a:pt x="14215" y="10326"/>
                  </a:lnTo>
                  <a:lnTo>
                    <a:pt x="13991" y="10370"/>
                  </a:lnTo>
                  <a:lnTo>
                    <a:pt x="13768" y="10415"/>
                  </a:lnTo>
                  <a:lnTo>
                    <a:pt x="13231" y="10415"/>
                  </a:lnTo>
                  <a:lnTo>
                    <a:pt x="12650" y="10370"/>
                  </a:lnTo>
                  <a:lnTo>
                    <a:pt x="11980" y="10281"/>
                  </a:lnTo>
                  <a:lnTo>
                    <a:pt x="10505" y="10102"/>
                  </a:lnTo>
                  <a:lnTo>
                    <a:pt x="9655" y="10013"/>
                  </a:lnTo>
                  <a:lnTo>
                    <a:pt x="8002" y="10013"/>
                  </a:lnTo>
                  <a:lnTo>
                    <a:pt x="7152" y="10147"/>
                  </a:lnTo>
                  <a:lnTo>
                    <a:pt x="6303" y="10326"/>
                  </a:lnTo>
                  <a:lnTo>
                    <a:pt x="5454" y="10549"/>
                  </a:lnTo>
                  <a:lnTo>
                    <a:pt x="4604" y="10817"/>
                  </a:lnTo>
                  <a:lnTo>
                    <a:pt x="3800" y="11130"/>
                  </a:lnTo>
                  <a:lnTo>
                    <a:pt x="3040" y="11488"/>
                  </a:lnTo>
                  <a:lnTo>
                    <a:pt x="2325" y="11890"/>
                  </a:lnTo>
                  <a:lnTo>
                    <a:pt x="1654" y="12337"/>
                  </a:lnTo>
                  <a:lnTo>
                    <a:pt x="1073" y="12784"/>
                  </a:lnTo>
                  <a:lnTo>
                    <a:pt x="626" y="13276"/>
                  </a:lnTo>
                  <a:lnTo>
                    <a:pt x="447" y="13499"/>
                  </a:lnTo>
                  <a:lnTo>
                    <a:pt x="269" y="13767"/>
                  </a:lnTo>
                  <a:lnTo>
                    <a:pt x="179" y="13991"/>
                  </a:lnTo>
                  <a:lnTo>
                    <a:pt x="90" y="14259"/>
                  </a:lnTo>
                  <a:lnTo>
                    <a:pt x="45" y="14483"/>
                  </a:lnTo>
                  <a:lnTo>
                    <a:pt x="0" y="14751"/>
                  </a:lnTo>
                  <a:lnTo>
                    <a:pt x="45" y="15019"/>
                  </a:lnTo>
                  <a:lnTo>
                    <a:pt x="135" y="15242"/>
                  </a:lnTo>
                  <a:lnTo>
                    <a:pt x="224" y="15466"/>
                  </a:lnTo>
                  <a:lnTo>
                    <a:pt x="403" y="15734"/>
                  </a:lnTo>
                  <a:lnTo>
                    <a:pt x="537" y="15868"/>
                  </a:lnTo>
                  <a:lnTo>
                    <a:pt x="716" y="15958"/>
                  </a:lnTo>
                  <a:lnTo>
                    <a:pt x="894" y="16047"/>
                  </a:lnTo>
                  <a:lnTo>
                    <a:pt x="1163" y="16047"/>
                  </a:lnTo>
                  <a:lnTo>
                    <a:pt x="1699" y="16092"/>
                  </a:lnTo>
                  <a:lnTo>
                    <a:pt x="2370" y="16002"/>
                  </a:lnTo>
                  <a:lnTo>
                    <a:pt x="3934" y="15689"/>
                  </a:lnTo>
                  <a:lnTo>
                    <a:pt x="4828" y="15511"/>
                  </a:lnTo>
                  <a:lnTo>
                    <a:pt x="5722" y="15377"/>
                  </a:lnTo>
                  <a:lnTo>
                    <a:pt x="6661" y="15242"/>
                  </a:lnTo>
                  <a:lnTo>
                    <a:pt x="7644" y="15198"/>
                  </a:lnTo>
                  <a:lnTo>
                    <a:pt x="8583" y="15198"/>
                  </a:lnTo>
                  <a:lnTo>
                    <a:pt x="9030" y="15287"/>
                  </a:lnTo>
                  <a:lnTo>
                    <a:pt x="9521" y="15332"/>
                  </a:lnTo>
                  <a:lnTo>
                    <a:pt x="9968" y="15466"/>
                  </a:lnTo>
                  <a:lnTo>
                    <a:pt x="10415" y="15645"/>
                  </a:lnTo>
                  <a:lnTo>
                    <a:pt x="10862" y="15824"/>
                  </a:lnTo>
                  <a:lnTo>
                    <a:pt x="11265" y="16047"/>
                  </a:lnTo>
                  <a:lnTo>
                    <a:pt x="11667" y="16315"/>
                  </a:lnTo>
                  <a:lnTo>
                    <a:pt x="12025" y="16673"/>
                  </a:lnTo>
                  <a:lnTo>
                    <a:pt x="12382" y="17030"/>
                  </a:lnTo>
                  <a:lnTo>
                    <a:pt x="12740" y="17477"/>
                  </a:lnTo>
                  <a:lnTo>
                    <a:pt x="13008" y="17790"/>
                  </a:lnTo>
                  <a:lnTo>
                    <a:pt x="13276" y="18058"/>
                  </a:lnTo>
                  <a:lnTo>
                    <a:pt x="13589" y="18237"/>
                  </a:lnTo>
                  <a:lnTo>
                    <a:pt x="13857" y="18327"/>
                  </a:lnTo>
                  <a:lnTo>
                    <a:pt x="14170" y="18416"/>
                  </a:lnTo>
                  <a:lnTo>
                    <a:pt x="14841" y="18416"/>
                  </a:lnTo>
                  <a:lnTo>
                    <a:pt x="15153" y="18327"/>
                  </a:lnTo>
                  <a:lnTo>
                    <a:pt x="15824" y="18148"/>
                  </a:lnTo>
                  <a:lnTo>
                    <a:pt x="16539" y="17969"/>
                  </a:lnTo>
                  <a:lnTo>
                    <a:pt x="17254" y="17746"/>
                  </a:lnTo>
                  <a:lnTo>
                    <a:pt x="17612" y="17656"/>
                  </a:lnTo>
                  <a:lnTo>
                    <a:pt x="17970" y="17611"/>
                  </a:lnTo>
                  <a:lnTo>
                    <a:pt x="18417" y="17611"/>
                  </a:lnTo>
                  <a:lnTo>
                    <a:pt x="18864" y="17701"/>
                  </a:lnTo>
                  <a:lnTo>
                    <a:pt x="19623" y="17924"/>
                  </a:lnTo>
                  <a:lnTo>
                    <a:pt x="20294" y="18148"/>
                  </a:lnTo>
                  <a:lnTo>
                    <a:pt x="20920" y="18327"/>
                  </a:lnTo>
                  <a:lnTo>
                    <a:pt x="21590" y="18505"/>
                  </a:lnTo>
                  <a:lnTo>
                    <a:pt x="21992" y="18505"/>
                  </a:lnTo>
                  <a:lnTo>
                    <a:pt x="22395" y="18550"/>
                  </a:lnTo>
                  <a:lnTo>
                    <a:pt x="23199" y="18505"/>
                  </a:lnTo>
                  <a:lnTo>
                    <a:pt x="24093" y="18371"/>
                  </a:lnTo>
                  <a:lnTo>
                    <a:pt x="25166" y="18193"/>
                  </a:lnTo>
                  <a:lnTo>
                    <a:pt x="25747" y="18014"/>
                  </a:lnTo>
                  <a:lnTo>
                    <a:pt x="26328" y="17790"/>
                  </a:lnTo>
                  <a:lnTo>
                    <a:pt x="26865" y="17522"/>
                  </a:lnTo>
                  <a:lnTo>
                    <a:pt x="27401" y="17165"/>
                  </a:lnTo>
                  <a:lnTo>
                    <a:pt x="27446" y="17120"/>
                  </a:lnTo>
                  <a:lnTo>
                    <a:pt x="27893" y="16762"/>
                  </a:lnTo>
                  <a:lnTo>
                    <a:pt x="28340" y="16360"/>
                  </a:lnTo>
                  <a:lnTo>
                    <a:pt x="28697" y="15913"/>
                  </a:lnTo>
                  <a:lnTo>
                    <a:pt x="29100" y="15466"/>
                  </a:lnTo>
                  <a:lnTo>
                    <a:pt x="29770" y="14572"/>
                  </a:lnTo>
                  <a:lnTo>
                    <a:pt x="30396" y="13633"/>
                  </a:lnTo>
                  <a:lnTo>
                    <a:pt x="30932" y="12739"/>
                  </a:lnTo>
                  <a:lnTo>
                    <a:pt x="31379" y="11890"/>
                  </a:lnTo>
                  <a:lnTo>
                    <a:pt x="31782" y="11175"/>
                  </a:lnTo>
                  <a:lnTo>
                    <a:pt x="32094" y="10638"/>
                  </a:lnTo>
                  <a:lnTo>
                    <a:pt x="32229" y="10326"/>
                  </a:lnTo>
                  <a:lnTo>
                    <a:pt x="32318" y="9923"/>
                  </a:lnTo>
                  <a:lnTo>
                    <a:pt x="32318" y="9521"/>
                  </a:lnTo>
                  <a:lnTo>
                    <a:pt x="32229" y="9342"/>
                  </a:lnTo>
                  <a:lnTo>
                    <a:pt x="32184" y="9163"/>
                  </a:lnTo>
                  <a:lnTo>
                    <a:pt x="31916" y="8761"/>
                  </a:lnTo>
                  <a:lnTo>
                    <a:pt x="31737" y="8269"/>
                  </a:lnTo>
                  <a:lnTo>
                    <a:pt x="31692" y="8046"/>
                  </a:lnTo>
                  <a:lnTo>
                    <a:pt x="31692" y="7822"/>
                  </a:lnTo>
                  <a:lnTo>
                    <a:pt x="31737" y="7599"/>
                  </a:lnTo>
                  <a:lnTo>
                    <a:pt x="31826" y="7420"/>
                  </a:lnTo>
                  <a:lnTo>
                    <a:pt x="32005" y="7241"/>
                  </a:lnTo>
                  <a:lnTo>
                    <a:pt x="32184" y="7152"/>
                  </a:lnTo>
                  <a:lnTo>
                    <a:pt x="32407" y="7107"/>
                  </a:lnTo>
                  <a:lnTo>
                    <a:pt x="32586" y="7107"/>
                  </a:lnTo>
                  <a:lnTo>
                    <a:pt x="32765" y="7152"/>
                  </a:lnTo>
                  <a:lnTo>
                    <a:pt x="32944" y="7241"/>
                  </a:lnTo>
                  <a:lnTo>
                    <a:pt x="33078" y="7375"/>
                  </a:lnTo>
                  <a:lnTo>
                    <a:pt x="33167" y="7509"/>
                  </a:lnTo>
                  <a:lnTo>
                    <a:pt x="33301" y="7867"/>
                  </a:lnTo>
                  <a:lnTo>
                    <a:pt x="33435" y="8135"/>
                  </a:lnTo>
                  <a:lnTo>
                    <a:pt x="33570" y="8359"/>
                  </a:lnTo>
                  <a:lnTo>
                    <a:pt x="33748" y="8448"/>
                  </a:lnTo>
                  <a:lnTo>
                    <a:pt x="33882" y="8448"/>
                  </a:lnTo>
                  <a:lnTo>
                    <a:pt x="34061" y="8314"/>
                  </a:lnTo>
                  <a:lnTo>
                    <a:pt x="34151" y="8046"/>
                  </a:lnTo>
                  <a:lnTo>
                    <a:pt x="34285" y="7644"/>
                  </a:lnTo>
                  <a:lnTo>
                    <a:pt x="34374" y="7286"/>
                  </a:lnTo>
                  <a:lnTo>
                    <a:pt x="34464" y="6973"/>
                  </a:lnTo>
                  <a:lnTo>
                    <a:pt x="34598" y="6705"/>
                  </a:lnTo>
                  <a:lnTo>
                    <a:pt x="34732" y="6437"/>
                  </a:lnTo>
                  <a:lnTo>
                    <a:pt x="35045" y="5990"/>
                  </a:lnTo>
                  <a:lnTo>
                    <a:pt x="35358" y="5722"/>
                  </a:lnTo>
                  <a:lnTo>
                    <a:pt x="35715" y="5498"/>
                  </a:lnTo>
                  <a:lnTo>
                    <a:pt x="36028" y="5364"/>
                  </a:lnTo>
                  <a:lnTo>
                    <a:pt x="36341" y="5275"/>
                  </a:lnTo>
                  <a:lnTo>
                    <a:pt x="36564" y="5230"/>
                  </a:lnTo>
                  <a:lnTo>
                    <a:pt x="36877" y="5230"/>
                  </a:lnTo>
                  <a:lnTo>
                    <a:pt x="37101" y="5185"/>
                  </a:lnTo>
                  <a:lnTo>
                    <a:pt x="37324" y="5096"/>
                  </a:lnTo>
                  <a:lnTo>
                    <a:pt x="37503" y="5006"/>
                  </a:lnTo>
                  <a:lnTo>
                    <a:pt x="37637" y="4872"/>
                  </a:lnTo>
                  <a:lnTo>
                    <a:pt x="37771" y="4783"/>
                  </a:lnTo>
                  <a:lnTo>
                    <a:pt x="37905" y="4470"/>
                  </a:lnTo>
                  <a:lnTo>
                    <a:pt x="38039" y="4157"/>
                  </a:lnTo>
                  <a:lnTo>
                    <a:pt x="38084" y="3844"/>
                  </a:lnTo>
                  <a:lnTo>
                    <a:pt x="38084" y="3531"/>
                  </a:lnTo>
                  <a:lnTo>
                    <a:pt x="38039" y="3218"/>
                  </a:lnTo>
                  <a:lnTo>
                    <a:pt x="37905" y="2727"/>
                  </a:lnTo>
                  <a:lnTo>
                    <a:pt x="37771" y="2324"/>
                  </a:lnTo>
                  <a:lnTo>
                    <a:pt x="37592" y="1967"/>
                  </a:lnTo>
                  <a:lnTo>
                    <a:pt x="37369" y="1654"/>
                  </a:lnTo>
                  <a:lnTo>
                    <a:pt x="37146" y="1341"/>
                  </a:lnTo>
                  <a:lnTo>
                    <a:pt x="36833" y="1073"/>
                  </a:lnTo>
                  <a:lnTo>
                    <a:pt x="36520" y="849"/>
                  </a:lnTo>
                  <a:lnTo>
                    <a:pt x="36162" y="626"/>
                  </a:lnTo>
                  <a:lnTo>
                    <a:pt x="35760" y="492"/>
                  </a:lnTo>
                  <a:lnTo>
                    <a:pt x="35358" y="313"/>
                  </a:lnTo>
                  <a:lnTo>
                    <a:pt x="34866" y="223"/>
                  </a:lnTo>
                  <a:lnTo>
                    <a:pt x="34419" y="134"/>
                  </a:lnTo>
                  <a:lnTo>
                    <a:pt x="33927" y="45"/>
                  </a:lnTo>
                  <a:lnTo>
                    <a:pt x="32854" y="0"/>
                  </a:lnTo>
                  <a:close/>
                </a:path>
              </a:pathLst>
            </a:custGeom>
            <a:solidFill>
              <a:srgbClr val="2E2E49"/>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74" name="Google Shape;2303;p11">
              <a:extLst>
                <a:ext uri="{FF2B5EF4-FFF2-40B4-BE49-F238E27FC236}">
                  <a16:creationId xmlns:a16="http://schemas.microsoft.com/office/drawing/2014/main" id="{AF163F1B-CF0F-00B3-3027-1E5AB0D31BD1}"/>
                </a:ext>
              </a:extLst>
            </p:cNvPr>
            <p:cNvSpPr/>
            <p:nvPr/>
          </p:nvSpPr>
          <p:spPr>
            <a:xfrm>
              <a:off x="8384596" y="2050465"/>
              <a:ext cx="62713" cy="70829"/>
            </a:xfrm>
            <a:custGeom>
              <a:avLst/>
              <a:gdLst/>
              <a:ahLst/>
              <a:cxnLst/>
              <a:rect l="l" t="t" r="r" b="b"/>
              <a:pathLst>
                <a:path w="10014" h="11310" extrusionOk="0">
                  <a:moveTo>
                    <a:pt x="4158" y="1"/>
                  </a:moveTo>
                  <a:lnTo>
                    <a:pt x="2996" y="90"/>
                  </a:lnTo>
                  <a:lnTo>
                    <a:pt x="2504" y="180"/>
                  </a:lnTo>
                  <a:lnTo>
                    <a:pt x="2057" y="269"/>
                  </a:lnTo>
                  <a:lnTo>
                    <a:pt x="1655" y="359"/>
                  </a:lnTo>
                  <a:lnTo>
                    <a:pt x="1297" y="493"/>
                  </a:lnTo>
                  <a:lnTo>
                    <a:pt x="984" y="627"/>
                  </a:lnTo>
                  <a:lnTo>
                    <a:pt x="761" y="761"/>
                  </a:lnTo>
                  <a:lnTo>
                    <a:pt x="537" y="940"/>
                  </a:lnTo>
                  <a:lnTo>
                    <a:pt x="358" y="1118"/>
                  </a:lnTo>
                  <a:lnTo>
                    <a:pt x="224" y="1297"/>
                  </a:lnTo>
                  <a:lnTo>
                    <a:pt x="90" y="1476"/>
                  </a:lnTo>
                  <a:lnTo>
                    <a:pt x="46" y="1655"/>
                  </a:lnTo>
                  <a:lnTo>
                    <a:pt x="1" y="1878"/>
                  </a:lnTo>
                  <a:lnTo>
                    <a:pt x="1" y="2057"/>
                  </a:lnTo>
                  <a:lnTo>
                    <a:pt x="1" y="2281"/>
                  </a:lnTo>
                  <a:lnTo>
                    <a:pt x="135" y="2683"/>
                  </a:lnTo>
                  <a:lnTo>
                    <a:pt x="358" y="3085"/>
                  </a:lnTo>
                  <a:lnTo>
                    <a:pt x="627" y="3443"/>
                  </a:lnTo>
                  <a:lnTo>
                    <a:pt x="940" y="3756"/>
                  </a:lnTo>
                  <a:lnTo>
                    <a:pt x="1342" y="4069"/>
                  </a:lnTo>
                  <a:lnTo>
                    <a:pt x="1699" y="4292"/>
                  </a:lnTo>
                  <a:lnTo>
                    <a:pt x="2102" y="4426"/>
                  </a:lnTo>
                  <a:lnTo>
                    <a:pt x="2504" y="4516"/>
                  </a:lnTo>
                  <a:lnTo>
                    <a:pt x="2683" y="4560"/>
                  </a:lnTo>
                  <a:lnTo>
                    <a:pt x="2817" y="4650"/>
                  </a:lnTo>
                  <a:lnTo>
                    <a:pt x="2996" y="4739"/>
                  </a:lnTo>
                  <a:lnTo>
                    <a:pt x="3085" y="4873"/>
                  </a:lnTo>
                  <a:lnTo>
                    <a:pt x="3309" y="5186"/>
                  </a:lnTo>
                  <a:lnTo>
                    <a:pt x="3487" y="5633"/>
                  </a:lnTo>
                  <a:lnTo>
                    <a:pt x="3577" y="6125"/>
                  </a:lnTo>
                  <a:lnTo>
                    <a:pt x="3666" y="6706"/>
                  </a:lnTo>
                  <a:lnTo>
                    <a:pt x="3800" y="7868"/>
                  </a:lnTo>
                  <a:lnTo>
                    <a:pt x="3890" y="9075"/>
                  </a:lnTo>
                  <a:lnTo>
                    <a:pt x="3934" y="9656"/>
                  </a:lnTo>
                  <a:lnTo>
                    <a:pt x="4069" y="10148"/>
                  </a:lnTo>
                  <a:lnTo>
                    <a:pt x="4203" y="10595"/>
                  </a:lnTo>
                  <a:lnTo>
                    <a:pt x="4381" y="10952"/>
                  </a:lnTo>
                  <a:lnTo>
                    <a:pt x="4471" y="11086"/>
                  </a:lnTo>
                  <a:lnTo>
                    <a:pt x="4605" y="11176"/>
                  </a:lnTo>
                  <a:lnTo>
                    <a:pt x="4739" y="11265"/>
                  </a:lnTo>
                  <a:lnTo>
                    <a:pt x="4918" y="11310"/>
                  </a:lnTo>
                  <a:lnTo>
                    <a:pt x="5052" y="11310"/>
                  </a:lnTo>
                  <a:lnTo>
                    <a:pt x="5186" y="11265"/>
                  </a:lnTo>
                  <a:lnTo>
                    <a:pt x="5320" y="11220"/>
                  </a:lnTo>
                  <a:lnTo>
                    <a:pt x="5409" y="11131"/>
                  </a:lnTo>
                  <a:lnTo>
                    <a:pt x="5588" y="10818"/>
                  </a:lnTo>
                  <a:lnTo>
                    <a:pt x="5678" y="10461"/>
                  </a:lnTo>
                  <a:lnTo>
                    <a:pt x="5767" y="10014"/>
                  </a:lnTo>
                  <a:lnTo>
                    <a:pt x="5812" y="9522"/>
                  </a:lnTo>
                  <a:lnTo>
                    <a:pt x="5856" y="8360"/>
                  </a:lnTo>
                  <a:lnTo>
                    <a:pt x="5901" y="7779"/>
                  </a:lnTo>
                  <a:lnTo>
                    <a:pt x="5991" y="7153"/>
                  </a:lnTo>
                  <a:lnTo>
                    <a:pt x="6080" y="6616"/>
                  </a:lnTo>
                  <a:lnTo>
                    <a:pt x="6259" y="6080"/>
                  </a:lnTo>
                  <a:lnTo>
                    <a:pt x="6527" y="5588"/>
                  </a:lnTo>
                  <a:lnTo>
                    <a:pt x="6661" y="5365"/>
                  </a:lnTo>
                  <a:lnTo>
                    <a:pt x="6840" y="5186"/>
                  </a:lnTo>
                  <a:lnTo>
                    <a:pt x="7019" y="5007"/>
                  </a:lnTo>
                  <a:lnTo>
                    <a:pt x="7242" y="4873"/>
                  </a:lnTo>
                  <a:lnTo>
                    <a:pt x="7510" y="4784"/>
                  </a:lnTo>
                  <a:lnTo>
                    <a:pt x="7779" y="4694"/>
                  </a:lnTo>
                  <a:lnTo>
                    <a:pt x="8404" y="4471"/>
                  </a:lnTo>
                  <a:lnTo>
                    <a:pt x="8941" y="4203"/>
                  </a:lnTo>
                  <a:lnTo>
                    <a:pt x="9343" y="3890"/>
                  </a:lnTo>
                  <a:lnTo>
                    <a:pt x="9656" y="3532"/>
                  </a:lnTo>
                  <a:lnTo>
                    <a:pt x="9790" y="3353"/>
                  </a:lnTo>
                  <a:lnTo>
                    <a:pt x="9879" y="3175"/>
                  </a:lnTo>
                  <a:lnTo>
                    <a:pt x="9969" y="2951"/>
                  </a:lnTo>
                  <a:lnTo>
                    <a:pt x="10014" y="2772"/>
                  </a:lnTo>
                  <a:lnTo>
                    <a:pt x="10014" y="2549"/>
                  </a:lnTo>
                  <a:lnTo>
                    <a:pt x="10014" y="2325"/>
                  </a:lnTo>
                  <a:lnTo>
                    <a:pt x="9924" y="2147"/>
                  </a:lnTo>
                  <a:lnTo>
                    <a:pt x="9879" y="1923"/>
                  </a:lnTo>
                  <a:lnTo>
                    <a:pt x="9745" y="1744"/>
                  </a:lnTo>
                  <a:lnTo>
                    <a:pt x="9611" y="1521"/>
                  </a:lnTo>
                  <a:lnTo>
                    <a:pt x="9432" y="1342"/>
                  </a:lnTo>
                  <a:lnTo>
                    <a:pt x="9254" y="1163"/>
                  </a:lnTo>
                  <a:lnTo>
                    <a:pt x="8985" y="984"/>
                  </a:lnTo>
                  <a:lnTo>
                    <a:pt x="8717" y="806"/>
                  </a:lnTo>
                  <a:lnTo>
                    <a:pt x="8091" y="537"/>
                  </a:lnTo>
                  <a:lnTo>
                    <a:pt x="7332" y="314"/>
                  </a:lnTo>
                  <a:lnTo>
                    <a:pt x="6393" y="135"/>
                  </a:lnTo>
                  <a:lnTo>
                    <a:pt x="5365" y="46"/>
                  </a:lnTo>
                  <a:lnTo>
                    <a:pt x="4158" y="1"/>
                  </a:lnTo>
                  <a:close/>
                </a:path>
              </a:pathLst>
            </a:custGeom>
            <a:solidFill>
              <a:srgbClr val="603A3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75" name="Google Shape;2304;p11">
              <a:extLst>
                <a:ext uri="{FF2B5EF4-FFF2-40B4-BE49-F238E27FC236}">
                  <a16:creationId xmlns:a16="http://schemas.microsoft.com/office/drawing/2014/main" id="{A88C02E9-4A85-C028-231F-2D42D03768FC}"/>
                </a:ext>
              </a:extLst>
            </p:cNvPr>
            <p:cNvSpPr/>
            <p:nvPr/>
          </p:nvSpPr>
          <p:spPr>
            <a:xfrm>
              <a:off x="8270950" y="2098054"/>
              <a:ext cx="220308" cy="196235"/>
            </a:xfrm>
            <a:custGeom>
              <a:avLst/>
              <a:gdLst/>
              <a:ahLst/>
              <a:cxnLst/>
              <a:rect l="l" t="t" r="r" b="b"/>
              <a:pathLst>
                <a:path w="35179" h="31335" extrusionOk="0">
                  <a:moveTo>
                    <a:pt x="6213" y="1"/>
                  </a:moveTo>
                  <a:lnTo>
                    <a:pt x="5543" y="46"/>
                  </a:lnTo>
                  <a:lnTo>
                    <a:pt x="4962" y="135"/>
                  </a:lnTo>
                  <a:lnTo>
                    <a:pt x="4336" y="269"/>
                  </a:lnTo>
                  <a:lnTo>
                    <a:pt x="3755" y="448"/>
                  </a:lnTo>
                  <a:lnTo>
                    <a:pt x="3218" y="716"/>
                  </a:lnTo>
                  <a:lnTo>
                    <a:pt x="2727" y="984"/>
                  </a:lnTo>
                  <a:lnTo>
                    <a:pt x="2235" y="1342"/>
                  </a:lnTo>
                  <a:lnTo>
                    <a:pt x="1788" y="1699"/>
                  </a:lnTo>
                  <a:lnTo>
                    <a:pt x="1386" y="2102"/>
                  </a:lnTo>
                  <a:lnTo>
                    <a:pt x="1028" y="2549"/>
                  </a:lnTo>
                  <a:lnTo>
                    <a:pt x="715" y="2996"/>
                  </a:lnTo>
                  <a:lnTo>
                    <a:pt x="492" y="3532"/>
                  </a:lnTo>
                  <a:lnTo>
                    <a:pt x="268" y="4024"/>
                  </a:lnTo>
                  <a:lnTo>
                    <a:pt x="134" y="4605"/>
                  </a:lnTo>
                  <a:lnTo>
                    <a:pt x="0" y="5141"/>
                  </a:lnTo>
                  <a:lnTo>
                    <a:pt x="0" y="5722"/>
                  </a:lnTo>
                  <a:lnTo>
                    <a:pt x="0" y="31335"/>
                  </a:lnTo>
                  <a:lnTo>
                    <a:pt x="35134" y="31335"/>
                  </a:lnTo>
                  <a:lnTo>
                    <a:pt x="35134" y="24898"/>
                  </a:lnTo>
                  <a:lnTo>
                    <a:pt x="35134" y="17612"/>
                  </a:lnTo>
                  <a:lnTo>
                    <a:pt x="35178" y="1"/>
                  </a:lnTo>
                  <a:close/>
                </a:path>
              </a:pathLst>
            </a:custGeom>
            <a:solidFill>
              <a:srgbClr val="EB8C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76" name="Google Shape;2305;p11">
              <a:extLst>
                <a:ext uri="{FF2B5EF4-FFF2-40B4-BE49-F238E27FC236}">
                  <a16:creationId xmlns:a16="http://schemas.microsoft.com/office/drawing/2014/main" id="{CE31858D-A654-054B-6AC6-9059749630D5}"/>
                </a:ext>
              </a:extLst>
            </p:cNvPr>
            <p:cNvSpPr/>
            <p:nvPr/>
          </p:nvSpPr>
          <p:spPr>
            <a:xfrm>
              <a:off x="8270950" y="2098054"/>
              <a:ext cx="307363" cy="196235"/>
            </a:xfrm>
            <a:custGeom>
              <a:avLst/>
              <a:gdLst/>
              <a:ahLst/>
              <a:cxnLst/>
              <a:rect l="l" t="t" r="r" b="b"/>
              <a:pathLst>
                <a:path w="49080" h="31335" fill="none" extrusionOk="0">
                  <a:moveTo>
                    <a:pt x="35178" y="1"/>
                  </a:moveTo>
                  <a:lnTo>
                    <a:pt x="49080" y="1"/>
                  </a:lnTo>
                  <a:lnTo>
                    <a:pt x="6213" y="1"/>
                  </a:lnTo>
                  <a:lnTo>
                    <a:pt x="6213" y="1"/>
                  </a:lnTo>
                  <a:lnTo>
                    <a:pt x="5543" y="46"/>
                  </a:lnTo>
                  <a:lnTo>
                    <a:pt x="4962" y="135"/>
                  </a:lnTo>
                  <a:lnTo>
                    <a:pt x="4336" y="269"/>
                  </a:lnTo>
                  <a:lnTo>
                    <a:pt x="3755" y="448"/>
                  </a:lnTo>
                  <a:lnTo>
                    <a:pt x="3218" y="716"/>
                  </a:lnTo>
                  <a:lnTo>
                    <a:pt x="2727" y="984"/>
                  </a:lnTo>
                  <a:lnTo>
                    <a:pt x="2235" y="1342"/>
                  </a:lnTo>
                  <a:lnTo>
                    <a:pt x="1788" y="1699"/>
                  </a:lnTo>
                  <a:lnTo>
                    <a:pt x="1386" y="2102"/>
                  </a:lnTo>
                  <a:lnTo>
                    <a:pt x="1028" y="2549"/>
                  </a:lnTo>
                  <a:lnTo>
                    <a:pt x="715" y="2996"/>
                  </a:lnTo>
                  <a:lnTo>
                    <a:pt x="492" y="3532"/>
                  </a:lnTo>
                  <a:lnTo>
                    <a:pt x="268" y="4024"/>
                  </a:lnTo>
                  <a:lnTo>
                    <a:pt x="134" y="4605"/>
                  </a:lnTo>
                  <a:lnTo>
                    <a:pt x="0" y="5141"/>
                  </a:lnTo>
                  <a:lnTo>
                    <a:pt x="0" y="5722"/>
                  </a:lnTo>
                  <a:lnTo>
                    <a:pt x="0" y="31335"/>
                  </a:lnTo>
                  <a:lnTo>
                    <a:pt x="35134" y="31335"/>
                  </a:lnTo>
                  <a:lnTo>
                    <a:pt x="35134" y="31335"/>
                  </a:lnTo>
                  <a:lnTo>
                    <a:pt x="35134" y="24898"/>
                  </a:lnTo>
                  <a:lnTo>
                    <a:pt x="35134" y="17612"/>
                  </a:lnTo>
                  <a:lnTo>
                    <a:pt x="35178"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77" name="Google Shape;2306;p11">
              <a:extLst>
                <a:ext uri="{FF2B5EF4-FFF2-40B4-BE49-F238E27FC236}">
                  <a16:creationId xmlns:a16="http://schemas.microsoft.com/office/drawing/2014/main" id="{9FDE911C-9265-B7B9-75EE-3FE1B710EE2A}"/>
                </a:ext>
              </a:extLst>
            </p:cNvPr>
            <p:cNvSpPr/>
            <p:nvPr/>
          </p:nvSpPr>
          <p:spPr>
            <a:xfrm>
              <a:off x="8490971" y="2098054"/>
              <a:ext cx="126252" cy="196235"/>
            </a:xfrm>
            <a:custGeom>
              <a:avLst/>
              <a:gdLst/>
              <a:ahLst/>
              <a:cxnLst/>
              <a:rect l="l" t="t" r="r" b="b"/>
              <a:pathLst>
                <a:path w="20160" h="31335" fill="none" extrusionOk="0">
                  <a:moveTo>
                    <a:pt x="1" y="31335"/>
                  </a:moveTo>
                  <a:lnTo>
                    <a:pt x="20160" y="31335"/>
                  </a:lnTo>
                  <a:lnTo>
                    <a:pt x="20115" y="5722"/>
                  </a:lnTo>
                  <a:lnTo>
                    <a:pt x="20115" y="5722"/>
                  </a:lnTo>
                  <a:lnTo>
                    <a:pt x="20115" y="5141"/>
                  </a:lnTo>
                  <a:lnTo>
                    <a:pt x="20026" y="4560"/>
                  </a:lnTo>
                  <a:lnTo>
                    <a:pt x="19847" y="4024"/>
                  </a:lnTo>
                  <a:lnTo>
                    <a:pt x="19624" y="3487"/>
                  </a:lnTo>
                  <a:lnTo>
                    <a:pt x="19400" y="2996"/>
                  </a:lnTo>
                  <a:lnTo>
                    <a:pt x="19087" y="2504"/>
                  </a:lnTo>
                  <a:lnTo>
                    <a:pt x="18730" y="2057"/>
                  </a:lnTo>
                  <a:lnTo>
                    <a:pt x="18327" y="1655"/>
                  </a:lnTo>
                  <a:lnTo>
                    <a:pt x="17880" y="1297"/>
                  </a:lnTo>
                  <a:lnTo>
                    <a:pt x="17389" y="984"/>
                  </a:lnTo>
                  <a:lnTo>
                    <a:pt x="16897" y="671"/>
                  </a:lnTo>
                  <a:lnTo>
                    <a:pt x="16361" y="448"/>
                  </a:lnTo>
                  <a:lnTo>
                    <a:pt x="15779" y="269"/>
                  </a:lnTo>
                  <a:lnTo>
                    <a:pt x="15154" y="90"/>
                  </a:lnTo>
                  <a:lnTo>
                    <a:pt x="14573" y="1"/>
                  </a:lnTo>
                  <a:lnTo>
                    <a:pt x="13947" y="1"/>
                  </a:lnTo>
                  <a:lnTo>
                    <a:pt x="45" y="1"/>
                  </a:lnTo>
                  <a:lnTo>
                    <a:pt x="45" y="1"/>
                  </a:lnTo>
                  <a:lnTo>
                    <a:pt x="1" y="17612"/>
                  </a:lnTo>
                  <a:lnTo>
                    <a:pt x="1" y="24898"/>
                  </a:lnTo>
                  <a:lnTo>
                    <a:pt x="1" y="31335"/>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78" name="Google Shape;2307;p11">
              <a:extLst>
                <a:ext uri="{FF2B5EF4-FFF2-40B4-BE49-F238E27FC236}">
                  <a16:creationId xmlns:a16="http://schemas.microsoft.com/office/drawing/2014/main" id="{40D89A3F-FFC9-3405-DF91-3E86D852CA82}"/>
                </a:ext>
              </a:extLst>
            </p:cNvPr>
            <p:cNvSpPr/>
            <p:nvPr/>
          </p:nvSpPr>
          <p:spPr>
            <a:xfrm>
              <a:off x="8490971" y="2098054"/>
              <a:ext cx="126252" cy="196235"/>
            </a:xfrm>
            <a:custGeom>
              <a:avLst/>
              <a:gdLst/>
              <a:ahLst/>
              <a:cxnLst/>
              <a:rect l="l" t="t" r="r" b="b"/>
              <a:pathLst>
                <a:path w="20160" h="31335" extrusionOk="0">
                  <a:moveTo>
                    <a:pt x="45" y="1"/>
                  </a:moveTo>
                  <a:lnTo>
                    <a:pt x="1" y="11265"/>
                  </a:lnTo>
                  <a:lnTo>
                    <a:pt x="1" y="20965"/>
                  </a:lnTo>
                  <a:lnTo>
                    <a:pt x="1" y="31335"/>
                  </a:lnTo>
                  <a:lnTo>
                    <a:pt x="20160" y="31335"/>
                  </a:lnTo>
                  <a:lnTo>
                    <a:pt x="20115" y="5722"/>
                  </a:lnTo>
                  <a:lnTo>
                    <a:pt x="20115" y="5141"/>
                  </a:lnTo>
                  <a:lnTo>
                    <a:pt x="20026" y="4560"/>
                  </a:lnTo>
                  <a:lnTo>
                    <a:pt x="19847" y="4024"/>
                  </a:lnTo>
                  <a:lnTo>
                    <a:pt x="19624" y="3487"/>
                  </a:lnTo>
                  <a:lnTo>
                    <a:pt x="19400" y="2996"/>
                  </a:lnTo>
                  <a:lnTo>
                    <a:pt x="19087" y="2504"/>
                  </a:lnTo>
                  <a:lnTo>
                    <a:pt x="18730" y="2057"/>
                  </a:lnTo>
                  <a:lnTo>
                    <a:pt x="18327" y="1655"/>
                  </a:lnTo>
                  <a:lnTo>
                    <a:pt x="17880" y="1297"/>
                  </a:lnTo>
                  <a:lnTo>
                    <a:pt x="17389" y="984"/>
                  </a:lnTo>
                  <a:lnTo>
                    <a:pt x="16897" y="671"/>
                  </a:lnTo>
                  <a:lnTo>
                    <a:pt x="16361" y="448"/>
                  </a:lnTo>
                  <a:lnTo>
                    <a:pt x="15779" y="269"/>
                  </a:lnTo>
                  <a:lnTo>
                    <a:pt x="15198" y="90"/>
                  </a:lnTo>
                  <a:lnTo>
                    <a:pt x="14573" y="1"/>
                  </a:lnTo>
                  <a:close/>
                </a:path>
              </a:pathLst>
            </a:custGeom>
            <a:solidFill>
              <a:srgbClr val="C877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79" name="Google Shape;2308;p11">
              <a:extLst>
                <a:ext uri="{FF2B5EF4-FFF2-40B4-BE49-F238E27FC236}">
                  <a16:creationId xmlns:a16="http://schemas.microsoft.com/office/drawing/2014/main" id="{390C9ED8-4532-4C40-108C-32AF5CDD8288}"/>
                </a:ext>
              </a:extLst>
            </p:cNvPr>
            <p:cNvSpPr/>
            <p:nvPr/>
          </p:nvSpPr>
          <p:spPr>
            <a:xfrm>
              <a:off x="8490971" y="2098054"/>
              <a:ext cx="126252" cy="196235"/>
            </a:xfrm>
            <a:custGeom>
              <a:avLst/>
              <a:gdLst/>
              <a:ahLst/>
              <a:cxnLst/>
              <a:rect l="l" t="t" r="r" b="b"/>
              <a:pathLst>
                <a:path w="20160" h="31335" fill="none" extrusionOk="0">
                  <a:moveTo>
                    <a:pt x="13947" y="1"/>
                  </a:moveTo>
                  <a:lnTo>
                    <a:pt x="13947" y="1"/>
                  </a:lnTo>
                  <a:lnTo>
                    <a:pt x="13947" y="1"/>
                  </a:lnTo>
                  <a:lnTo>
                    <a:pt x="45" y="1"/>
                  </a:lnTo>
                  <a:lnTo>
                    <a:pt x="45" y="1"/>
                  </a:lnTo>
                  <a:lnTo>
                    <a:pt x="1" y="11265"/>
                  </a:lnTo>
                  <a:lnTo>
                    <a:pt x="1" y="20965"/>
                  </a:lnTo>
                  <a:lnTo>
                    <a:pt x="1" y="20965"/>
                  </a:lnTo>
                  <a:lnTo>
                    <a:pt x="1" y="31335"/>
                  </a:lnTo>
                  <a:lnTo>
                    <a:pt x="20160" y="31335"/>
                  </a:lnTo>
                  <a:lnTo>
                    <a:pt x="20115" y="5722"/>
                  </a:lnTo>
                  <a:lnTo>
                    <a:pt x="20115" y="5722"/>
                  </a:lnTo>
                  <a:lnTo>
                    <a:pt x="20115" y="5141"/>
                  </a:lnTo>
                  <a:lnTo>
                    <a:pt x="20026" y="4560"/>
                  </a:lnTo>
                  <a:lnTo>
                    <a:pt x="19847" y="4024"/>
                  </a:lnTo>
                  <a:lnTo>
                    <a:pt x="19624" y="3487"/>
                  </a:lnTo>
                  <a:lnTo>
                    <a:pt x="19400" y="2996"/>
                  </a:lnTo>
                  <a:lnTo>
                    <a:pt x="19087" y="2504"/>
                  </a:lnTo>
                  <a:lnTo>
                    <a:pt x="18730" y="2057"/>
                  </a:lnTo>
                  <a:lnTo>
                    <a:pt x="18327" y="1655"/>
                  </a:lnTo>
                  <a:lnTo>
                    <a:pt x="17880" y="1297"/>
                  </a:lnTo>
                  <a:lnTo>
                    <a:pt x="17389" y="984"/>
                  </a:lnTo>
                  <a:lnTo>
                    <a:pt x="16897" y="671"/>
                  </a:lnTo>
                  <a:lnTo>
                    <a:pt x="16361" y="448"/>
                  </a:lnTo>
                  <a:lnTo>
                    <a:pt x="15779" y="269"/>
                  </a:lnTo>
                  <a:lnTo>
                    <a:pt x="15198" y="90"/>
                  </a:lnTo>
                  <a:lnTo>
                    <a:pt x="14573" y="1"/>
                  </a:lnTo>
                  <a:lnTo>
                    <a:pt x="13947"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80" name="Google Shape;2309;p11">
              <a:extLst>
                <a:ext uri="{FF2B5EF4-FFF2-40B4-BE49-F238E27FC236}">
                  <a16:creationId xmlns:a16="http://schemas.microsoft.com/office/drawing/2014/main" id="{5FD58667-9585-CDD9-ED67-49CED3396826}"/>
                </a:ext>
              </a:extLst>
            </p:cNvPr>
            <p:cNvSpPr/>
            <p:nvPr/>
          </p:nvSpPr>
          <p:spPr>
            <a:xfrm>
              <a:off x="9663035" y="1308377"/>
              <a:ext cx="230948" cy="985912"/>
            </a:xfrm>
            <a:custGeom>
              <a:avLst/>
              <a:gdLst/>
              <a:ahLst/>
              <a:cxnLst/>
              <a:rect l="l" t="t" r="r" b="b"/>
              <a:pathLst>
                <a:path w="36878" h="157431" extrusionOk="0">
                  <a:moveTo>
                    <a:pt x="6169" y="0"/>
                  </a:moveTo>
                  <a:lnTo>
                    <a:pt x="5543" y="45"/>
                  </a:lnTo>
                  <a:lnTo>
                    <a:pt x="4917" y="179"/>
                  </a:lnTo>
                  <a:lnTo>
                    <a:pt x="4336" y="358"/>
                  </a:lnTo>
                  <a:lnTo>
                    <a:pt x="3755" y="581"/>
                  </a:lnTo>
                  <a:lnTo>
                    <a:pt x="3219" y="894"/>
                  </a:lnTo>
                  <a:lnTo>
                    <a:pt x="2727" y="1297"/>
                  </a:lnTo>
                  <a:lnTo>
                    <a:pt x="2235" y="1699"/>
                  </a:lnTo>
                  <a:lnTo>
                    <a:pt x="1788" y="2191"/>
                  </a:lnTo>
                  <a:lnTo>
                    <a:pt x="1386" y="2727"/>
                  </a:lnTo>
                  <a:lnTo>
                    <a:pt x="1028" y="3308"/>
                  </a:lnTo>
                  <a:lnTo>
                    <a:pt x="715" y="3889"/>
                  </a:lnTo>
                  <a:lnTo>
                    <a:pt x="447" y="4560"/>
                  </a:lnTo>
                  <a:lnTo>
                    <a:pt x="268" y="5230"/>
                  </a:lnTo>
                  <a:lnTo>
                    <a:pt x="90" y="5945"/>
                  </a:lnTo>
                  <a:lnTo>
                    <a:pt x="0" y="6660"/>
                  </a:lnTo>
                  <a:lnTo>
                    <a:pt x="0" y="7420"/>
                  </a:lnTo>
                  <a:lnTo>
                    <a:pt x="0" y="157431"/>
                  </a:lnTo>
                  <a:lnTo>
                    <a:pt x="36877" y="157431"/>
                  </a:lnTo>
                  <a:lnTo>
                    <a:pt x="36609" y="149251"/>
                  </a:lnTo>
                  <a:lnTo>
                    <a:pt x="36385" y="140803"/>
                  </a:lnTo>
                  <a:lnTo>
                    <a:pt x="36162" y="132042"/>
                  </a:lnTo>
                  <a:lnTo>
                    <a:pt x="35983" y="123057"/>
                  </a:lnTo>
                  <a:lnTo>
                    <a:pt x="35626" y="104328"/>
                  </a:lnTo>
                  <a:lnTo>
                    <a:pt x="35357" y="84750"/>
                  </a:lnTo>
                  <a:lnTo>
                    <a:pt x="35223" y="64412"/>
                  </a:lnTo>
                  <a:lnTo>
                    <a:pt x="35134" y="43448"/>
                  </a:lnTo>
                  <a:lnTo>
                    <a:pt x="35134" y="21948"/>
                  </a:lnTo>
                  <a:lnTo>
                    <a:pt x="35179" y="0"/>
                  </a:lnTo>
                  <a:close/>
                </a:path>
              </a:pathLst>
            </a:custGeom>
            <a:solidFill>
              <a:srgbClr val="EB8C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81" name="Google Shape;2310;p11">
              <a:extLst>
                <a:ext uri="{FF2B5EF4-FFF2-40B4-BE49-F238E27FC236}">
                  <a16:creationId xmlns:a16="http://schemas.microsoft.com/office/drawing/2014/main" id="{6F077613-F762-07B5-DBA1-A247B1139045}"/>
                </a:ext>
              </a:extLst>
            </p:cNvPr>
            <p:cNvSpPr/>
            <p:nvPr/>
          </p:nvSpPr>
          <p:spPr>
            <a:xfrm>
              <a:off x="9663035" y="1308377"/>
              <a:ext cx="230948" cy="985912"/>
            </a:xfrm>
            <a:custGeom>
              <a:avLst/>
              <a:gdLst/>
              <a:ahLst/>
              <a:cxnLst/>
              <a:rect l="l" t="t" r="r" b="b"/>
              <a:pathLst>
                <a:path w="36878" h="157431" fill="none" extrusionOk="0">
                  <a:moveTo>
                    <a:pt x="35179" y="0"/>
                  </a:moveTo>
                  <a:lnTo>
                    <a:pt x="6169" y="0"/>
                  </a:lnTo>
                  <a:lnTo>
                    <a:pt x="6169" y="0"/>
                  </a:lnTo>
                  <a:lnTo>
                    <a:pt x="5543" y="45"/>
                  </a:lnTo>
                  <a:lnTo>
                    <a:pt x="4917" y="179"/>
                  </a:lnTo>
                  <a:lnTo>
                    <a:pt x="4336" y="358"/>
                  </a:lnTo>
                  <a:lnTo>
                    <a:pt x="3755" y="581"/>
                  </a:lnTo>
                  <a:lnTo>
                    <a:pt x="3219" y="894"/>
                  </a:lnTo>
                  <a:lnTo>
                    <a:pt x="2727" y="1297"/>
                  </a:lnTo>
                  <a:lnTo>
                    <a:pt x="2235" y="1699"/>
                  </a:lnTo>
                  <a:lnTo>
                    <a:pt x="1788" y="2191"/>
                  </a:lnTo>
                  <a:lnTo>
                    <a:pt x="1386" y="2727"/>
                  </a:lnTo>
                  <a:lnTo>
                    <a:pt x="1028" y="3308"/>
                  </a:lnTo>
                  <a:lnTo>
                    <a:pt x="715" y="3889"/>
                  </a:lnTo>
                  <a:lnTo>
                    <a:pt x="447" y="4560"/>
                  </a:lnTo>
                  <a:lnTo>
                    <a:pt x="268" y="5230"/>
                  </a:lnTo>
                  <a:lnTo>
                    <a:pt x="90" y="5945"/>
                  </a:lnTo>
                  <a:lnTo>
                    <a:pt x="0" y="6660"/>
                  </a:lnTo>
                  <a:lnTo>
                    <a:pt x="0" y="7420"/>
                  </a:lnTo>
                  <a:lnTo>
                    <a:pt x="0" y="157431"/>
                  </a:lnTo>
                  <a:lnTo>
                    <a:pt x="36877" y="157431"/>
                  </a:lnTo>
                  <a:lnTo>
                    <a:pt x="36877" y="157431"/>
                  </a:lnTo>
                  <a:lnTo>
                    <a:pt x="36609" y="149251"/>
                  </a:lnTo>
                  <a:lnTo>
                    <a:pt x="36385" y="140803"/>
                  </a:lnTo>
                  <a:lnTo>
                    <a:pt x="36162" y="132042"/>
                  </a:lnTo>
                  <a:lnTo>
                    <a:pt x="35983" y="123057"/>
                  </a:lnTo>
                  <a:lnTo>
                    <a:pt x="35626" y="104328"/>
                  </a:lnTo>
                  <a:lnTo>
                    <a:pt x="35357" y="84750"/>
                  </a:lnTo>
                  <a:lnTo>
                    <a:pt x="35223" y="64412"/>
                  </a:lnTo>
                  <a:lnTo>
                    <a:pt x="35134" y="43448"/>
                  </a:lnTo>
                  <a:lnTo>
                    <a:pt x="35134" y="21948"/>
                  </a:lnTo>
                  <a:lnTo>
                    <a:pt x="35179"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82" name="Google Shape;2311;p11">
              <a:extLst>
                <a:ext uri="{FF2B5EF4-FFF2-40B4-BE49-F238E27FC236}">
                  <a16:creationId xmlns:a16="http://schemas.microsoft.com/office/drawing/2014/main" id="{00DD34F1-2926-C0DA-6358-D2512D996F5F}"/>
                </a:ext>
              </a:extLst>
            </p:cNvPr>
            <p:cNvSpPr/>
            <p:nvPr/>
          </p:nvSpPr>
          <p:spPr>
            <a:xfrm>
              <a:off x="9883055" y="1308377"/>
              <a:ext cx="126258" cy="985912"/>
            </a:xfrm>
            <a:custGeom>
              <a:avLst/>
              <a:gdLst/>
              <a:ahLst/>
              <a:cxnLst/>
              <a:rect l="l" t="t" r="r" b="b"/>
              <a:pathLst>
                <a:path w="20161" h="157431" fill="none" extrusionOk="0">
                  <a:moveTo>
                    <a:pt x="1744" y="157431"/>
                  </a:moveTo>
                  <a:lnTo>
                    <a:pt x="20160" y="157431"/>
                  </a:lnTo>
                  <a:lnTo>
                    <a:pt x="20116" y="7420"/>
                  </a:lnTo>
                  <a:lnTo>
                    <a:pt x="20116" y="7420"/>
                  </a:lnTo>
                  <a:lnTo>
                    <a:pt x="20116" y="6660"/>
                  </a:lnTo>
                  <a:lnTo>
                    <a:pt x="19981" y="5901"/>
                  </a:lnTo>
                  <a:lnTo>
                    <a:pt x="19847" y="5185"/>
                  </a:lnTo>
                  <a:lnTo>
                    <a:pt x="19624" y="4515"/>
                  </a:lnTo>
                  <a:lnTo>
                    <a:pt x="19400" y="3889"/>
                  </a:lnTo>
                  <a:lnTo>
                    <a:pt x="19087" y="3263"/>
                  </a:lnTo>
                  <a:lnTo>
                    <a:pt x="18730" y="2682"/>
                  </a:lnTo>
                  <a:lnTo>
                    <a:pt x="18328" y="2146"/>
                  </a:lnTo>
                  <a:lnTo>
                    <a:pt x="17881" y="1699"/>
                  </a:lnTo>
                  <a:lnTo>
                    <a:pt x="17389" y="1252"/>
                  </a:lnTo>
                  <a:lnTo>
                    <a:pt x="16897" y="894"/>
                  </a:lnTo>
                  <a:lnTo>
                    <a:pt x="16316" y="581"/>
                  </a:lnTo>
                  <a:lnTo>
                    <a:pt x="15780" y="313"/>
                  </a:lnTo>
                  <a:lnTo>
                    <a:pt x="15154" y="134"/>
                  </a:lnTo>
                  <a:lnTo>
                    <a:pt x="14573" y="45"/>
                  </a:lnTo>
                  <a:lnTo>
                    <a:pt x="13902" y="0"/>
                  </a:lnTo>
                  <a:lnTo>
                    <a:pt x="46" y="0"/>
                  </a:lnTo>
                  <a:lnTo>
                    <a:pt x="46" y="0"/>
                  </a:lnTo>
                  <a:lnTo>
                    <a:pt x="1" y="21948"/>
                  </a:lnTo>
                  <a:lnTo>
                    <a:pt x="1" y="43448"/>
                  </a:lnTo>
                  <a:lnTo>
                    <a:pt x="90" y="64412"/>
                  </a:lnTo>
                  <a:lnTo>
                    <a:pt x="224" y="84750"/>
                  </a:lnTo>
                  <a:lnTo>
                    <a:pt x="493" y="104328"/>
                  </a:lnTo>
                  <a:lnTo>
                    <a:pt x="850" y="123057"/>
                  </a:lnTo>
                  <a:lnTo>
                    <a:pt x="1029" y="132042"/>
                  </a:lnTo>
                  <a:lnTo>
                    <a:pt x="1252" y="140803"/>
                  </a:lnTo>
                  <a:lnTo>
                    <a:pt x="1476" y="149251"/>
                  </a:lnTo>
                  <a:lnTo>
                    <a:pt x="1744" y="15743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83" name="Google Shape;2312;p11">
              <a:extLst>
                <a:ext uri="{FF2B5EF4-FFF2-40B4-BE49-F238E27FC236}">
                  <a16:creationId xmlns:a16="http://schemas.microsoft.com/office/drawing/2014/main" id="{961BD744-55FB-76EF-DB75-9D376A60249F}"/>
                </a:ext>
              </a:extLst>
            </p:cNvPr>
            <p:cNvSpPr/>
            <p:nvPr/>
          </p:nvSpPr>
          <p:spPr>
            <a:xfrm>
              <a:off x="9882780" y="1308377"/>
              <a:ext cx="126534" cy="985912"/>
            </a:xfrm>
            <a:custGeom>
              <a:avLst/>
              <a:gdLst/>
              <a:ahLst/>
              <a:cxnLst/>
              <a:rect l="l" t="t" r="r" b="b"/>
              <a:pathLst>
                <a:path w="20205" h="157431" extrusionOk="0">
                  <a:moveTo>
                    <a:pt x="90" y="0"/>
                  </a:moveTo>
                  <a:lnTo>
                    <a:pt x="45" y="15645"/>
                  </a:lnTo>
                  <a:lnTo>
                    <a:pt x="0" y="31066"/>
                  </a:lnTo>
                  <a:lnTo>
                    <a:pt x="45" y="48633"/>
                  </a:lnTo>
                  <a:lnTo>
                    <a:pt x="134" y="65798"/>
                  </a:lnTo>
                  <a:lnTo>
                    <a:pt x="268" y="82515"/>
                  </a:lnTo>
                  <a:lnTo>
                    <a:pt x="447" y="98741"/>
                  </a:lnTo>
                  <a:lnTo>
                    <a:pt x="715" y="114430"/>
                  </a:lnTo>
                  <a:lnTo>
                    <a:pt x="1028" y="129449"/>
                  </a:lnTo>
                  <a:lnTo>
                    <a:pt x="1386" y="143842"/>
                  </a:lnTo>
                  <a:lnTo>
                    <a:pt x="1788" y="157431"/>
                  </a:lnTo>
                  <a:lnTo>
                    <a:pt x="20204" y="157431"/>
                  </a:lnTo>
                  <a:lnTo>
                    <a:pt x="20160" y="7420"/>
                  </a:lnTo>
                  <a:lnTo>
                    <a:pt x="20160" y="6660"/>
                  </a:lnTo>
                  <a:lnTo>
                    <a:pt x="20025" y="5901"/>
                  </a:lnTo>
                  <a:lnTo>
                    <a:pt x="19891" y="5185"/>
                  </a:lnTo>
                  <a:lnTo>
                    <a:pt x="19668" y="4515"/>
                  </a:lnTo>
                  <a:lnTo>
                    <a:pt x="19444" y="3889"/>
                  </a:lnTo>
                  <a:lnTo>
                    <a:pt x="19131" y="3263"/>
                  </a:lnTo>
                  <a:lnTo>
                    <a:pt x="18774" y="2682"/>
                  </a:lnTo>
                  <a:lnTo>
                    <a:pt x="18372" y="2146"/>
                  </a:lnTo>
                  <a:lnTo>
                    <a:pt x="17925" y="1699"/>
                  </a:lnTo>
                  <a:lnTo>
                    <a:pt x="17433" y="1252"/>
                  </a:lnTo>
                  <a:lnTo>
                    <a:pt x="16941" y="894"/>
                  </a:lnTo>
                  <a:lnTo>
                    <a:pt x="16360" y="581"/>
                  </a:lnTo>
                  <a:lnTo>
                    <a:pt x="15824" y="313"/>
                  </a:lnTo>
                  <a:lnTo>
                    <a:pt x="15198" y="134"/>
                  </a:lnTo>
                  <a:lnTo>
                    <a:pt x="14617" y="45"/>
                  </a:lnTo>
                  <a:lnTo>
                    <a:pt x="13946" y="0"/>
                  </a:lnTo>
                  <a:close/>
                </a:path>
              </a:pathLst>
            </a:custGeom>
            <a:solidFill>
              <a:srgbClr val="C877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84" name="Google Shape;2313;p11">
              <a:extLst>
                <a:ext uri="{FF2B5EF4-FFF2-40B4-BE49-F238E27FC236}">
                  <a16:creationId xmlns:a16="http://schemas.microsoft.com/office/drawing/2014/main" id="{07168660-CF8C-41ED-4709-2E8A6C999C38}"/>
                </a:ext>
              </a:extLst>
            </p:cNvPr>
            <p:cNvSpPr/>
            <p:nvPr/>
          </p:nvSpPr>
          <p:spPr>
            <a:xfrm>
              <a:off x="9882780" y="1308377"/>
              <a:ext cx="126534" cy="985912"/>
            </a:xfrm>
            <a:custGeom>
              <a:avLst/>
              <a:gdLst/>
              <a:ahLst/>
              <a:cxnLst/>
              <a:rect l="l" t="t" r="r" b="b"/>
              <a:pathLst>
                <a:path w="20205" h="157431" fill="none" extrusionOk="0">
                  <a:moveTo>
                    <a:pt x="13946" y="0"/>
                  </a:moveTo>
                  <a:lnTo>
                    <a:pt x="13946" y="0"/>
                  </a:lnTo>
                  <a:lnTo>
                    <a:pt x="13946" y="0"/>
                  </a:lnTo>
                  <a:lnTo>
                    <a:pt x="90" y="0"/>
                  </a:lnTo>
                  <a:lnTo>
                    <a:pt x="90" y="0"/>
                  </a:lnTo>
                  <a:lnTo>
                    <a:pt x="45" y="15645"/>
                  </a:lnTo>
                  <a:lnTo>
                    <a:pt x="0" y="31066"/>
                  </a:lnTo>
                  <a:lnTo>
                    <a:pt x="0" y="31066"/>
                  </a:lnTo>
                  <a:lnTo>
                    <a:pt x="45" y="48633"/>
                  </a:lnTo>
                  <a:lnTo>
                    <a:pt x="134" y="65798"/>
                  </a:lnTo>
                  <a:lnTo>
                    <a:pt x="268" y="82515"/>
                  </a:lnTo>
                  <a:lnTo>
                    <a:pt x="447" y="98741"/>
                  </a:lnTo>
                  <a:lnTo>
                    <a:pt x="715" y="114430"/>
                  </a:lnTo>
                  <a:lnTo>
                    <a:pt x="1028" y="129449"/>
                  </a:lnTo>
                  <a:lnTo>
                    <a:pt x="1386" y="143842"/>
                  </a:lnTo>
                  <a:lnTo>
                    <a:pt x="1788" y="157431"/>
                  </a:lnTo>
                  <a:lnTo>
                    <a:pt x="20204" y="157431"/>
                  </a:lnTo>
                  <a:lnTo>
                    <a:pt x="20160" y="7420"/>
                  </a:lnTo>
                  <a:lnTo>
                    <a:pt x="20160" y="7420"/>
                  </a:lnTo>
                  <a:lnTo>
                    <a:pt x="20160" y="6660"/>
                  </a:lnTo>
                  <a:lnTo>
                    <a:pt x="20025" y="5901"/>
                  </a:lnTo>
                  <a:lnTo>
                    <a:pt x="19891" y="5185"/>
                  </a:lnTo>
                  <a:lnTo>
                    <a:pt x="19668" y="4515"/>
                  </a:lnTo>
                  <a:lnTo>
                    <a:pt x="19444" y="3889"/>
                  </a:lnTo>
                  <a:lnTo>
                    <a:pt x="19131" y="3263"/>
                  </a:lnTo>
                  <a:lnTo>
                    <a:pt x="18774" y="2682"/>
                  </a:lnTo>
                  <a:lnTo>
                    <a:pt x="18372" y="2146"/>
                  </a:lnTo>
                  <a:lnTo>
                    <a:pt x="17925" y="1699"/>
                  </a:lnTo>
                  <a:lnTo>
                    <a:pt x="17433" y="1252"/>
                  </a:lnTo>
                  <a:lnTo>
                    <a:pt x="16941" y="894"/>
                  </a:lnTo>
                  <a:lnTo>
                    <a:pt x="16360" y="581"/>
                  </a:lnTo>
                  <a:lnTo>
                    <a:pt x="15824" y="313"/>
                  </a:lnTo>
                  <a:lnTo>
                    <a:pt x="15198" y="134"/>
                  </a:lnTo>
                  <a:lnTo>
                    <a:pt x="14617" y="45"/>
                  </a:lnTo>
                  <a:lnTo>
                    <a:pt x="13946"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grpSp>
      <p:grpSp>
        <p:nvGrpSpPr>
          <p:cNvPr id="85" name="Google Shape;2314;p11">
            <a:extLst>
              <a:ext uri="{FF2B5EF4-FFF2-40B4-BE49-F238E27FC236}">
                <a16:creationId xmlns:a16="http://schemas.microsoft.com/office/drawing/2014/main" id="{E360A87F-04D6-E5C3-EE8C-3F872EC46B90}"/>
              </a:ext>
            </a:extLst>
          </p:cNvPr>
          <p:cNvGrpSpPr/>
          <p:nvPr/>
        </p:nvGrpSpPr>
        <p:grpSpPr>
          <a:xfrm>
            <a:off x="6858246" y="2320749"/>
            <a:ext cx="825101" cy="662178"/>
            <a:chOff x="546150" y="238125"/>
            <a:chExt cx="6527700" cy="5238750"/>
          </a:xfrm>
        </p:grpSpPr>
        <p:sp>
          <p:nvSpPr>
            <p:cNvPr id="86" name="Google Shape;2315;p11">
              <a:extLst>
                <a:ext uri="{FF2B5EF4-FFF2-40B4-BE49-F238E27FC236}">
                  <a16:creationId xmlns:a16="http://schemas.microsoft.com/office/drawing/2014/main" id="{FDD9799E-0249-9B44-2E8F-157F55E868D2}"/>
                </a:ext>
              </a:extLst>
            </p:cNvPr>
            <p:cNvSpPr/>
            <p:nvPr/>
          </p:nvSpPr>
          <p:spPr>
            <a:xfrm>
              <a:off x="1029075" y="4567175"/>
              <a:ext cx="4062125" cy="145150"/>
            </a:xfrm>
            <a:custGeom>
              <a:avLst/>
              <a:gdLst/>
              <a:ahLst/>
              <a:cxnLst/>
              <a:rect l="l" t="t" r="r" b="b"/>
              <a:pathLst>
                <a:path w="162485" h="5806" extrusionOk="0">
                  <a:moveTo>
                    <a:pt x="3870" y="1451"/>
                  </a:moveTo>
                  <a:lnTo>
                    <a:pt x="2212" y="1693"/>
                  </a:lnTo>
                  <a:lnTo>
                    <a:pt x="1520" y="1832"/>
                  </a:lnTo>
                  <a:lnTo>
                    <a:pt x="968" y="1970"/>
                  </a:lnTo>
                  <a:lnTo>
                    <a:pt x="553" y="2074"/>
                  </a:lnTo>
                  <a:lnTo>
                    <a:pt x="242" y="2212"/>
                  </a:lnTo>
                  <a:lnTo>
                    <a:pt x="35" y="2350"/>
                  </a:lnTo>
                  <a:lnTo>
                    <a:pt x="0" y="2419"/>
                  </a:lnTo>
                  <a:lnTo>
                    <a:pt x="0" y="2488"/>
                  </a:lnTo>
                  <a:lnTo>
                    <a:pt x="0" y="2557"/>
                  </a:lnTo>
                  <a:lnTo>
                    <a:pt x="35" y="2592"/>
                  </a:lnTo>
                  <a:lnTo>
                    <a:pt x="207" y="2730"/>
                  </a:lnTo>
                  <a:lnTo>
                    <a:pt x="518" y="2868"/>
                  </a:lnTo>
                  <a:lnTo>
                    <a:pt x="898" y="2972"/>
                  </a:lnTo>
                  <a:lnTo>
                    <a:pt x="1417" y="3110"/>
                  </a:lnTo>
                  <a:lnTo>
                    <a:pt x="2039" y="3214"/>
                  </a:lnTo>
                  <a:lnTo>
                    <a:pt x="3594" y="3456"/>
                  </a:lnTo>
                  <a:lnTo>
                    <a:pt x="3870" y="1451"/>
                  </a:lnTo>
                  <a:close/>
                  <a:moveTo>
                    <a:pt x="147107" y="0"/>
                  </a:moveTo>
                  <a:lnTo>
                    <a:pt x="146934" y="346"/>
                  </a:lnTo>
                  <a:lnTo>
                    <a:pt x="146830" y="518"/>
                  </a:lnTo>
                  <a:lnTo>
                    <a:pt x="146623" y="657"/>
                  </a:lnTo>
                  <a:lnTo>
                    <a:pt x="146346" y="829"/>
                  </a:lnTo>
                  <a:lnTo>
                    <a:pt x="146001" y="968"/>
                  </a:lnTo>
                  <a:lnTo>
                    <a:pt x="145828" y="2903"/>
                  </a:lnTo>
                  <a:lnTo>
                    <a:pt x="145828" y="3663"/>
                  </a:lnTo>
                  <a:lnTo>
                    <a:pt x="145828" y="4251"/>
                  </a:lnTo>
                  <a:lnTo>
                    <a:pt x="150977" y="3940"/>
                  </a:lnTo>
                  <a:lnTo>
                    <a:pt x="155469" y="3594"/>
                  </a:lnTo>
                  <a:lnTo>
                    <a:pt x="159270" y="3248"/>
                  </a:lnTo>
                  <a:lnTo>
                    <a:pt x="160860" y="3076"/>
                  </a:lnTo>
                  <a:lnTo>
                    <a:pt x="162277" y="2903"/>
                  </a:lnTo>
                  <a:lnTo>
                    <a:pt x="162484" y="899"/>
                  </a:lnTo>
                  <a:lnTo>
                    <a:pt x="161171" y="795"/>
                  </a:lnTo>
                  <a:lnTo>
                    <a:pt x="159650" y="657"/>
                  </a:lnTo>
                  <a:lnTo>
                    <a:pt x="156126" y="415"/>
                  </a:lnTo>
                  <a:lnTo>
                    <a:pt x="151910" y="207"/>
                  </a:lnTo>
                  <a:lnTo>
                    <a:pt x="147107" y="0"/>
                  </a:lnTo>
                  <a:close/>
                  <a:moveTo>
                    <a:pt x="18073" y="380"/>
                  </a:moveTo>
                  <a:lnTo>
                    <a:pt x="12959" y="657"/>
                  </a:lnTo>
                  <a:lnTo>
                    <a:pt x="8605" y="968"/>
                  </a:lnTo>
                  <a:lnTo>
                    <a:pt x="7913" y="3905"/>
                  </a:lnTo>
                  <a:lnTo>
                    <a:pt x="10298" y="4112"/>
                  </a:lnTo>
                  <a:lnTo>
                    <a:pt x="12924" y="4285"/>
                  </a:lnTo>
                  <a:lnTo>
                    <a:pt x="15827" y="4458"/>
                  </a:lnTo>
                  <a:lnTo>
                    <a:pt x="18971" y="4631"/>
                  </a:lnTo>
                  <a:lnTo>
                    <a:pt x="18591" y="2972"/>
                  </a:lnTo>
                  <a:lnTo>
                    <a:pt x="18384" y="2074"/>
                  </a:lnTo>
                  <a:lnTo>
                    <a:pt x="18073" y="380"/>
                  </a:lnTo>
                  <a:close/>
                  <a:moveTo>
                    <a:pt x="137085" y="2454"/>
                  </a:moveTo>
                  <a:lnTo>
                    <a:pt x="133768" y="2730"/>
                  </a:lnTo>
                  <a:lnTo>
                    <a:pt x="130070" y="2972"/>
                  </a:lnTo>
                  <a:lnTo>
                    <a:pt x="129759" y="3663"/>
                  </a:lnTo>
                  <a:lnTo>
                    <a:pt x="129483" y="4285"/>
                  </a:lnTo>
                  <a:lnTo>
                    <a:pt x="129241" y="5011"/>
                  </a:lnTo>
                  <a:lnTo>
                    <a:pt x="137154" y="4700"/>
                  </a:lnTo>
                  <a:lnTo>
                    <a:pt x="137085" y="3663"/>
                  </a:lnTo>
                  <a:lnTo>
                    <a:pt x="137085" y="2454"/>
                  </a:lnTo>
                  <a:close/>
                  <a:moveTo>
                    <a:pt x="25295" y="69"/>
                  </a:moveTo>
                  <a:lnTo>
                    <a:pt x="23913" y="104"/>
                  </a:lnTo>
                  <a:lnTo>
                    <a:pt x="24259" y="4838"/>
                  </a:lnTo>
                  <a:lnTo>
                    <a:pt x="30064" y="5045"/>
                  </a:lnTo>
                  <a:lnTo>
                    <a:pt x="36353" y="5253"/>
                  </a:lnTo>
                  <a:lnTo>
                    <a:pt x="43057" y="5425"/>
                  </a:lnTo>
                  <a:lnTo>
                    <a:pt x="50176" y="5564"/>
                  </a:lnTo>
                  <a:lnTo>
                    <a:pt x="57640" y="5667"/>
                  </a:lnTo>
                  <a:lnTo>
                    <a:pt x="65450" y="5736"/>
                  </a:lnTo>
                  <a:lnTo>
                    <a:pt x="73501" y="5806"/>
                  </a:lnTo>
                  <a:lnTo>
                    <a:pt x="81830" y="5806"/>
                  </a:lnTo>
                  <a:lnTo>
                    <a:pt x="92231" y="5771"/>
                  </a:lnTo>
                  <a:lnTo>
                    <a:pt x="102321" y="5667"/>
                  </a:lnTo>
                  <a:lnTo>
                    <a:pt x="112032" y="5495"/>
                  </a:lnTo>
                  <a:lnTo>
                    <a:pt x="121224" y="5253"/>
                  </a:lnTo>
                  <a:lnTo>
                    <a:pt x="121535" y="3318"/>
                  </a:lnTo>
                  <a:lnTo>
                    <a:pt x="115142" y="3525"/>
                  </a:lnTo>
                  <a:lnTo>
                    <a:pt x="108300" y="3629"/>
                  </a:lnTo>
                  <a:lnTo>
                    <a:pt x="101216" y="3698"/>
                  </a:lnTo>
                  <a:lnTo>
                    <a:pt x="93890" y="3732"/>
                  </a:lnTo>
                  <a:lnTo>
                    <a:pt x="88153" y="3732"/>
                  </a:lnTo>
                  <a:lnTo>
                    <a:pt x="82417" y="3698"/>
                  </a:lnTo>
                  <a:lnTo>
                    <a:pt x="76715" y="3629"/>
                  </a:lnTo>
                  <a:lnTo>
                    <a:pt x="71082" y="3525"/>
                  </a:lnTo>
                  <a:lnTo>
                    <a:pt x="65588" y="3421"/>
                  </a:lnTo>
                  <a:lnTo>
                    <a:pt x="60266" y="3283"/>
                  </a:lnTo>
                  <a:lnTo>
                    <a:pt x="55152" y="3110"/>
                  </a:lnTo>
                  <a:lnTo>
                    <a:pt x="50314" y="2937"/>
                  </a:lnTo>
                  <a:lnTo>
                    <a:pt x="45753" y="2730"/>
                  </a:lnTo>
                  <a:lnTo>
                    <a:pt x="41571" y="2523"/>
                  </a:lnTo>
                  <a:lnTo>
                    <a:pt x="37805" y="2281"/>
                  </a:lnTo>
                  <a:lnTo>
                    <a:pt x="34487" y="2039"/>
                  </a:lnTo>
                  <a:lnTo>
                    <a:pt x="31619" y="1797"/>
                  </a:lnTo>
                  <a:lnTo>
                    <a:pt x="29338" y="1521"/>
                  </a:lnTo>
                  <a:lnTo>
                    <a:pt x="28405" y="1382"/>
                  </a:lnTo>
                  <a:lnTo>
                    <a:pt x="27645" y="1210"/>
                  </a:lnTo>
                  <a:lnTo>
                    <a:pt x="27023" y="1071"/>
                  </a:lnTo>
                  <a:lnTo>
                    <a:pt x="26574" y="933"/>
                  </a:lnTo>
                  <a:lnTo>
                    <a:pt x="26228" y="760"/>
                  </a:lnTo>
                  <a:lnTo>
                    <a:pt x="25883" y="588"/>
                  </a:lnTo>
                  <a:lnTo>
                    <a:pt x="25572" y="346"/>
                  </a:lnTo>
                  <a:lnTo>
                    <a:pt x="25295" y="69"/>
                  </a:lnTo>
                  <a:close/>
                </a:path>
              </a:pathLst>
            </a:custGeom>
            <a:solidFill>
              <a:srgbClr val="E6E6E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87" name="Google Shape;2316;p11">
              <a:extLst>
                <a:ext uri="{FF2B5EF4-FFF2-40B4-BE49-F238E27FC236}">
                  <a16:creationId xmlns:a16="http://schemas.microsoft.com/office/drawing/2014/main" id="{87C3C04B-3AF3-58D2-14B2-493F666F43DE}"/>
                </a:ext>
              </a:extLst>
            </p:cNvPr>
            <p:cNvSpPr/>
            <p:nvPr/>
          </p:nvSpPr>
          <p:spPr>
            <a:xfrm>
              <a:off x="4260075" y="4628500"/>
              <a:ext cx="197875" cy="63950"/>
            </a:xfrm>
            <a:custGeom>
              <a:avLst/>
              <a:gdLst/>
              <a:ahLst/>
              <a:cxnLst/>
              <a:rect l="l" t="t" r="r" b="b"/>
              <a:pathLst>
                <a:path w="7915" h="2558" fill="none" extrusionOk="0">
                  <a:moveTo>
                    <a:pt x="7845" y="1"/>
                  </a:moveTo>
                  <a:lnTo>
                    <a:pt x="7845" y="1"/>
                  </a:lnTo>
                  <a:lnTo>
                    <a:pt x="4528" y="277"/>
                  </a:lnTo>
                  <a:lnTo>
                    <a:pt x="830" y="519"/>
                  </a:lnTo>
                  <a:lnTo>
                    <a:pt x="830" y="519"/>
                  </a:lnTo>
                  <a:lnTo>
                    <a:pt x="519" y="1210"/>
                  </a:lnTo>
                  <a:lnTo>
                    <a:pt x="519" y="1210"/>
                  </a:lnTo>
                  <a:lnTo>
                    <a:pt x="243" y="1832"/>
                  </a:lnTo>
                  <a:lnTo>
                    <a:pt x="1" y="2558"/>
                  </a:lnTo>
                  <a:lnTo>
                    <a:pt x="1" y="2558"/>
                  </a:lnTo>
                  <a:lnTo>
                    <a:pt x="7914" y="2247"/>
                  </a:lnTo>
                  <a:lnTo>
                    <a:pt x="7914" y="2247"/>
                  </a:lnTo>
                  <a:lnTo>
                    <a:pt x="7845" y="1210"/>
                  </a:lnTo>
                  <a:lnTo>
                    <a:pt x="7845"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88" name="Google Shape;2317;p11">
              <a:extLst>
                <a:ext uri="{FF2B5EF4-FFF2-40B4-BE49-F238E27FC236}">
                  <a16:creationId xmlns:a16="http://schemas.microsoft.com/office/drawing/2014/main" id="{DC7F74BD-F965-AC36-04C2-CC72E4E96880}"/>
                </a:ext>
              </a:extLst>
            </p:cNvPr>
            <p:cNvSpPr/>
            <p:nvPr/>
          </p:nvSpPr>
          <p:spPr>
            <a:xfrm>
              <a:off x="1029075" y="4603450"/>
              <a:ext cx="96775" cy="50125"/>
            </a:xfrm>
            <a:custGeom>
              <a:avLst/>
              <a:gdLst/>
              <a:ahLst/>
              <a:cxnLst/>
              <a:rect l="l" t="t" r="r" b="b"/>
              <a:pathLst>
                <a:path w="3871" h="2005" fill="none" extrusionOk="0">
                  <a:moveTo>
                    <a:pt x="3870" y="0"/>
                  </a:moveTo>
                  <a:lnTo>
                    <a:pt x="3870" y="0"/>
                  </a:lnTo>
                  <a:lnTo>
                    <a:pt x="2212" y="242"/>
                  </a:lnTo>
                  <a:lnTo>
                    <a:pt x="1520" y="381"/>
                  </a:lnTo>
                  <a:lnTo>
                    <a:pt x="968" y="519"/>
                  </a:lnTo>
                  <a:lnTo>
                    <a:pt x="553" y="623"/>
                  </a:lnTo>
                  <a:lnTo>
                    <a:pt x="242" y="761"/>
                  </a:lnTo>
                  <a:lnTo>
                    <a:pt x="35" y="899"/>
                  </a:lnTo>
                  <a:lnTo>
                    <a:pt x="0" y="968"/>
                  </a:lnTo>
                  <a:lnTo>
                    <a:pt x="0" y="1037"/>
                  </a:lnTo>
                  <a:lnTo>
                    <a:pt x="0" y="1037"/>
                  </a:lnTo>
                  <a:lnTo>
                    <a:pt x="0" y="1106"/>
                  </a:lnTo>
                  <a:lnTo>
                    <a:pt x="35" y="1141"/>
                  </a:lnTo>
                  <a:lnTo>
                    <a:pt x="207" y="1279"/>
                  </a:lnTo>
                  <a:lnTo>
                    <a:pt x="518" y="1417"/>
                  </a:lnTo>
                  <a:lnTo>
                    <a:pt x="898" y="1521"/>
                  </a:lnTo>
                  <a:lnTo>
                    <a:pt x="1417" y="1659"/>
                  </a:lnTo>
                  <a:lnTo>
                    <a:pt x="2039" y="1763"/>
                  </a:lnTo>
                  <a:lnTo>
                    <a:pt x="3594" y="2005"/>
                  </a:lnTo>
                  <a:lnTo>
                    <a:pt x="3594" y="2005"/>
                  </a:lnTo>
                  <a:lnTo>
                    <a:pt x="3870"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89" name="Google Shape;2318;p11">
              <a:extLst>
                <a:ext uri="{FF2B5EF4-FFF2-40B4-BE49-F238E27FC236}">
                  <a16:creationId xmlns:a16="http://schemas.microsoft.com/office/drawing/2014/main" id="{7E362295-0E52-CA0C-6CB9-CB3A92D3A93C}"/>
                </a:ext>
              </a:extLst>
            </p:cNvPr>
            <p:cNvSpPr/>
            <p:nvPr/>
          </p:nvSpPr>
          <p:spPr>
            <a:xfrm>
              <a:off x="1226900" y="4576675"/>
              <a:ext cx="276475" cy="106275"/>
            </a:xfrm>
            <a:custGeom>
              <a:avLst/>
              <a:gdLst/>
              <a:ahLst/>
              <a:cxnLst/>
              <a:rect l="l" t="t" r="r" b="b"/>
              <a:pathLst>
                <a:path w="11059" h="4251" fill="none" extrusionOk="0">
                  <a:moveTo>
                    <a:pt x="10160" y="0"/>
                  </a:moveTo>
                  <a:lnTo>
                    <a:pt x="10160" y="0"/>
                  </a:lnTo>
                  <a:lnTo>
                    <a:pt x="5046" y="277"/>
                  </a:lnTo>
                  <a:lnTo>
                    <a:pt x="692" y="588"/>
                  </a:lnTo>
                  <a:lnTo>
                    <a:pt x="692" y="588"/>
                  </a:lnTo>
                  <a:lnTo>
                    <a:pt x="0" y="3525"/>
                  </a:lnTo>
                  <a:lnTo>
                    <a:pt x="0" y="3525"/>
                  </a:lnTo>
                  <a:lnTo>
                    <a:pt x="2385" y="3732"/>
                  </a:lnTo>
                  <a:lnTo>
                    <a:pt x="5011" y="3905"/>
                  </a:lnTo>
                  <a:lnTo>
                    <a:pt x="7914" y="4078"/>
                  </a:lnTo>
                  <a:lnTo>
                    <a:pt x="11058" y="4251"/>
                  </a:lnTo>
                  <a:lnTo>
                    <a:pt x="11058" y="4251"/>
                  </a:lnTo>
                  <a:lnTo>
                    <a:pt x="10678" y="2592"/>
                  </a:lnTo>
                  <a:lnTo>
                    <a:pt x="10678" y="2592"/>
                  </a:lnTo>
                  <a:lnTo>
                    <a:pt x="10471" y="1694"/>
                  </a:lnTo>
                  <a:lnTo>
                    <a:pt x="10160"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90" name="Google Shape;2319;p11">
              <a:extLst>
                <a:ext uri="{FF2B5EF4-FFF2-40B4-BE49-F238E27FC236}">
                  <a16:creationId xmlns:a16="http://schemas.microsoft.com/office/drawing/2014/main" id="{550A3287-9F9D-9D6A-B5F3-432046227F6F}"/>
                </a:ext>
              </a:extLst>
            </p:cNvPr>
            <p:cNvSpPr/>
            <p:nvPr/>
          </p:nvSpPr>
          <p:spPr>
            <a:xfrm>
              <a:off x="1626900" y="4568900"/>
              <a:ext cx="2440550" cy="143425"/>
            </a:xfrm>
            <a:custGeom>
              <a:avLst/>
              <a:gdLst/>
              <a:ahLst/>
              <a:cxnLst/>
              <a:rect l="l" t="t" r="r" b="b"/>
              <a:pathLst>
                <a:path w="97622" h="5737" fill="none" extrusionOk="0">
                  <a:moveTo>
                    <a:pt x="1382" y="0"/>
                  </a:moveTo>
                  <a:lnTo>
                    <a:pt x="1382" y="0"/>
                  </a:lnTo>
                  <a:lnTo>
                    <a:pt x="0" y="35"/>
                  </a:lnTo>
                  <a:lnTo>
                    <a:pt x="0" y="35"/>
                  </a:lnTo>
                  <a:lnTo>
                    <a:pt x="346" y="4769"/>
                  </a:lnTo>
                  <a:lnTo>
                    <a:pt x="346" y="4769"/>
                  </a:lnTo>
                  <a:lnTo>
                    <a:pt x="6151" y="4976"/>
                  </a:lnTo>
                  <a:lnTo>
                    <a:pt x="12440" y="5184"/>
                  </a:lnTo>
                  <a:lnTo>
                    <a:pt x="19144" y="5356"/>
                  </a:lnTo>
                  <a:lnTo>
                    <a:pt x="26263" y="5495"/>
                  </a:lnTo>
                  <a:lnTo>
                    <a:pt x="33727" y="5598"/>
                  </a:lnTo>
                  <a:lnTo>
                    <a:pt x="41537" y="5667"/>
                  </a:lnTo>
                  <a:lnTo>
                    <a:pt x="49588" y="5737"/>
                  </a:lnTo>
                  <a:lnTo>
                    <a:pt x="57917" y="5737"/>
                  </a:lnTo>
                  <a:lnTo>
                    <a:pt x="57917" y="5737"/>
                  </a:lnTo>
                  <a:lnTo>
                    <a:pt x="68318" y="5702"/>
                  </a:lnTo>
                  <a:lnTo>
                    <a:pt x="78408" y="5598"/>
                  </a:lnTo>
                  <a:lnTo>
                    <a:pt x="88119" y="5426"/>
                  </a:lnTo>
                  <a:lnTo>
                    <a:pt x="97311" y="5184"/>
                  </a:lnTo>
                  <a:lnTo>
                    <a:pt x="97311" y="5184"/>
                  </a:lnTo>
                  <a:lnTo>
                    <a:pt x="97622" y="3249"/>
                  </a:lnTo>
                  <a:lnTo>
                    <a:pt x="97622" y="3249"/>
                  </a:lnTo>
                  <a:lnTo>
                    <a:pt x="91229" y="3456"/>
                  </a:lnTo>
                  <a:lnTo>
                    <a:pt x="84387" y="3560"/>
                  </a:lnTo>
                  <a:lnTo>
                    <a:pt x="77303" y="3629"/>
                  </a:lnTo>
                  <a:lnTo>
                    <a:pt x="69977" y="3663"/>
                  </a:lnTo>
                  <a:lnTo>
                    <a:pt x="69977" y="3663"/>
                  </a:lnTo>
                  <a:lnTo>
                    <a:pt x="64240" y="3663"/>
                  </a:lnTo>
                  <a:lnTo>
                    <a:pt x="58504" y="3629"/>
                  </a:lnTo>
                  <a:lnTo>
                    <a:pt x="52802" y="3560"/>
                  </a:lnTo>
                  <a:lnTo>
                    <a:pt x="47169" y="3456"/>
                  </a:lnTo>
                  <a:lnTo>
                    <a:pt x="41675" y="3352"/>
                  </a:lnTo>
                  <a:lnTo>
                    <a:pt x="36353" y="3214"/>
                  </a:lnTo>
                  <a:lnTo>
                    <a:pt x="31239" y="3041"/>
                  </a:lnTo>
                  <a:lnTo>
                    <a:pt x="26401" y="2868"/>
                  </a:lnTo>
                  <a:lnTo>
                    <a:pt x="21840" y="2661"/>
                  </a:lnTo>
                  <a:lnTo>
                    <a:pt x="17658" y="2454"/>
                  </a:lnTo>
                  <a:lnTo>
                    <a:pt x="13892" y="2212"/>
                  </a:lnTo>
                  <a:lnTo>
                    <a:pt x="10574" y="1970"/>
                  </a:lnTo>
                  <a:lnTo>
                    <a:pt x="7706" y="1728"/>
                  </a:lnTo>
                  <a:lnTo>
                    <a:pt x="5425" y="1452"/>
                  </a:lnTo>
                  <a:lnTo>
                    <a:pt x="4492" y="1313"/>
                  </a:lnTo>
                  <a:lnTo>
                    <a:pt x="3732" y="1141"/>
                  </a:lnTo>
                  <a:lnTo>
                    <a:pt x="3110" y="1002"/>
                  </a:lnTo>
                  <a:lnTo>
                    <a:pt x="2661" y="864"/>
                  </a:lnTo>
                  <a:lnTo>
                    <a:pt x="2661" y="864"/>
                  </a:lnTo>
                  <a:lnTo>
                    <a:pt x="2315" y="691"/>
                  </a:lnTo>
                  <a:lnTo>
                    <a:pt x="1970" y="519"/>
                  </a:lnTo>
                  <a:lnTo>
                    <a:pt x="1659" y="277"/>
                  </a:lnTo>
                  <a:lnTo>
                    <a:pt x="1382"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91" name="Google Shape;2320;p11">
              <a:extLst>
                <a:ext uri="{FF2B5EF4-FFF2-40B4-BE49-F238E27FC236}">
                  <a16:creationId xmlns:a16="http://schemas.microsoft.com/office/drawing/2014/main" id="{0A2729A1-7A8F-4017-FD64-DFAD83E0538D}"/>
                </a:ext>
              </a:extLst>
            </p:cNvPr>
            <p:cNvSpPr/>
            <p:nvPr/>
          </p:nvSpPr>
          <p:spPr>
            <a:xfrm>
              <a:off x="4674750" y="4567175"/>
              <a:ext cx="416450" cy="106275"/>
            </a:xfrm>
            <a:custGeom>
              <a:avLst/>
              <a:gdLst/>
              <a:ahLst/>
              <a:cxnLst/>
              <a:rect l="l" t="t" r="r" b="b"/>
              <a:pathLst>
                <a:path w="16658" h="4251" fill="none" extrusionOk="0">
                  <a:moveTo>
                    <a:pt x="1280" y="0"/>
                  </a:moveTo>
                  <a:lnTo>
                    <a:pt x="1280" y="0"/>
                  </a:lnTo>
                  <a:lnTo>
                    <a:pt x="1107" y="346"/>
                  </a:lnTo>
                  <a:lnTo>
                    <a:pt x="1107" y="346"/>
                  </a:lnTo>
                  <a:lnTo>
                    <a:pt x="1003" y="518"/>
                  </a:lnTo>
                  <a:lnTo>
                    <a:pt x="796" y="657"/>
                  </a:lnTo>
                  <a:lnTo>
                    <a:pt x="519" y="829"/>
                  </a:lnTo>
                  <a:lnTo>
                    <a:pt x="174" y="968"/>
                  </a:lnTo>
                  <a:lnTo>
                    <a:pt x="174" y="968"/>
                  </a:lnTo>
                  <a:lnTo>
                    <a:pt x="1" y="2903"/>
                  </a:lnTo>
                  <a:lnTo>
                    <a:pt x="1" y="3663"/>
                  </a:lnTo>
                  <a:lnTo>
                    <a:pt x="1" y="4251"/>
                  </a:lnTo>
                  <a:lnTo>
                    <a:pt x="1" y="4251"/>
                  </a:lnTo>
                  <a:lnTo>
                    <a:pt x="5150" y="3940"/>
                  </a:lnTo>
                  <a:lnTo>
                    <a:pt x="9642" y="3594"/>
                  </a:lnTo>
                  <a:lnTo>
                    <a:pt x="13443" y="3248"/>
                  </a:lnTo>
                  <a:lnTo>
                    <a:pt x="15033" y="3076"/>
                  </a:lnTo>
                  <a:lnTo>
                    <a:pt x="16450" y="2903"/>
                  </a:lnTo>
                  <a:lnTo>
                    <a:pt x="16657" y="899"/>
                  </a:lnTo>
                  <a:lnTo>
                    <a:pt x="16657" y="899"/>
                  </a:lnTo>
                  <a:lnTo>
                    <a:pt x="15344" y="795"/>
                  </a:lnTo>
                  <a:lnTo>
                    <a:pt x="13823" y="657"/>
                  </a:lnTo>
                  <a:lnTo>
                    <a:pt x="10299" y="415"/>
                  </a:lnTo>
                  <a:lnTo>
                    <a:pt x="6083" y="207"/>
                  </a:lnTo>
                  <a:lnTo>
                    <a:pt x="1280"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92" name="Google Shape;2321;p11">
              <a:extLst>
                <a:ext uri="{FF2B5EF4-FFF2-40B4-BE49-F238E27FC236}">
                  <a16:creationId xmlns:a16="http://schemas.microsoft.com/office/drawing/2014/main" id="{30C7EAB5-51C9-7F7F-8BAA-CF7F731670EB}"/>
                </a:ext>
              </a:extLst>
            </p:cNvPr>
            <p:cNvSpPr/>
            <p:nvPr/>
          </p:nvSpPr>
          <p:spPr>
            <a:xfrm>
              <a:off x="1544825" y="238125"/>
              <a:ext cx="3225000" cy="4422375"/>
            </a:xfrm>
            <a:custGeom>
              <a:avLst/>
              <a:gdLst/>
              <a:ahLst/>
              <a:cxnLst/>
              <a:rect l="l" t="t" r="r" b="b"/>
              <a:pathLst>
                <a:path w="129000" h="176895" extrusionOk="0">
                  <a:moveTo>
                    <a:pt x="61545" y="0"/>
                  </a:moveTo>
                  <a:lnTo>
                    <a:pt x="56051" y="69"/>
                  </a:lnTo>
                  <a:lnTo>
                    <a:pt x="50591" y="173"/>
                  </a:lnTo>
                  <a:lnTo>
                    <a:pt x="45200" y="311"/>
                  </a:lnTo>
                  <a:lnTo>
                    <a:pt x="39913" y="518"/>
                  </a:lnTo>
                  <a:lnTo>
                    <a:pt x="34764" y="795"/>
                  </a:lnTo>
                  <a:lnTo>
                    <a:pt x="29822" y="1106"/>
                  </a:lnTo>
                  <a:lnTo>
                    <a:pt x="27438" y="1313"/>
                  </a:lnTo>
                  <a:lnTo>
                    <a:pt x="25123" y="1520"/>
                  </a:lnTo>
                  <a:lnTo>
                    <a:pt x="22877" y="1728"/>
                  </a:lnTo>
                  <a:lnTo>
                    <a:pt x="20699" y="1970"/>
                  </a:lnTo>
                  <a:lnTo>
                    <a:pt x="18626" y="2246"/>
                  </a:lnTo>
                  <a:lnTo>
                    <a:pt x="16622" y="2523"/>
                  </a:lnTo>
                  <a:lnTo>
                    <a:pt x="14687" y="2799"/>
                  </a:lnTo>
                  <a:lnTo>
                    <a:pt x="12855" y="3145"/>
                  </a:lnTo>
                  <a:lnTo>
                    <a:pt x="11127" y="3456"/>
                  </a:lnTo>
                  <a:lnTo>
                    <a:pt x="9503" y="3836"/>
                  </a:lnTo>
                  <a:lnTo>
                    <a:pt x="7983" y="4181"/>
                  </a:lnTo>
                  <a:lnTo>
                    <a:pt x="6600" y="4596"/>
                  </a:lnTo>
                  <a:lnTo>
                    <a:pt x="5322" y="5011"/>
                  </a:lnTo>
                  <a:lnTo>
                    <a:pt x="4147" y="5460"/>
                  </a:lnTo>
                  <a:lnTo>
                    <a:pt x="3145" y="5909"/>
                  </a:lnTo>
                  <a:lnTo>
                    <a:pt x="2661" y="6151"/>
                  </a:lnTo>
                  <a:lnTo>
                    <a:pt x="2246" y="6393"/>
                  </a:lnTo>
                  <a:lnTo>
                    <a:pt x="1866" y="6669"/>
                  </a:lnTo>
                  <a:lnTo>
                    <a:pt x="1486" y="6911"/>
                  </a:lnTo>
                  <a:lnTo>
                    <a:pt x="1175" y="7188"/>
                  </a:lnTo>
                  <a:lnTo>
                    <a:pt x="899" y="7464"/>
                  </a:lnTo>
                  <a:lnTo>
                    <a:pt x="657" y="7706"/>
                  </a:lnTo>
                  <a:lnTo>
                    <a:pt x="449" y="8017"/>
                  </a:lnTo>
                  <a:lnTo>
                    <a:pt x="277" y="8294"/>
                  </a:lnTo>
                  <a:lnTo>
                    <a:pt x="138" y="8570"/>
                  </a:lnTo>
                  <a:lnTo>
                    <a:pt x="35" y="8881"/>
                  </a:lnTo>
                  <a:lnTo>
                    <a:pt x="0" y="9192"/>
                  </a:lnTo>
                  <a:lnTo>
                    <a:pt x="0" y="9503"/>
                  </a:lnTo>
                  <a:lnTo>
                    <a:pt x="35" y="9814"/>
                  </a:lnTo>
                  <a:lnTo>
                    <a:pt x="553" y="12924"/>
                  </a:lnTo>
                  <a:lnTo>
                    <a:pt x="1037" y="16103"/>
                  </a:lnTo>
                  <a:lnTo>
                    <a:pt x="1452" y="19282"/>
                  </a:lnTo>
                  <a:lnTo>
                    <a:pt x="1866" y="22496"/>
                  </a:lnTo>
                  <a:lnTo>
                    <a:pt x="2212" y="25745"/>
                  </a:lnTo>
                  <a:lnTo>
                    <a:pt x="2523" y="29027"/>
                  </a:lnTo>
                  <a:lnTo>
                    <a:pt x="2799" y="32310"/>
                  </a:lnTo>
                  <a:lnTo>
                    <a:pt x="3041" y="35628"/>
                  </a:lnTo>
                  <a:lnTo>
                    <a:pt x="3248" y="38945"/>
                  </a:lnTo>
                  <a:lnTo>
                    <a:pt x="3421" y="42297"/>
                  </a:lnTo>
                  <a:lnTo>
                    <a:pt x="3594" y="45684"/>
                  </a:lnTo>
                  <a:lnTo>
                    <a:pt x="3698" y="49036"/>
                  </a:lnTo>
                  <a:lnTo>
                    <a:pt x="3801" y="52422"/>
                  </a:lnTo>
                  <a:lnTo>
                    <a:pt x="3870" y="55809"/>
                  </a:lnTo>
                  <a:lnTo>
                    <a:pt x="3905" y="59195"/>
                  </a:lnTo>
                  <a:lnTo>
                    <a:pt x="3940" y="62582"/>
                  </a:lnTo>
                  <a:lnTo>
                    <a:pt x="3940" y="65968"/>
                  </a:lnTo>
                  <a:lnTo>
                    <a:pt x="3905" y="69355"/>
                  </a:lnTo>
                  <a:lnTo>
                    <a:pt x="3801" y="76093"/>
                  </a:lnTo>
                  <a:lnTo>
                    <a:pt x="3663" y="82797"/>
                  </a:lnTo>
                  <a:lnTo>
                    <a:pt x="3421" y="89397"/>
                  </a:lnTo>
                  <a:lnTo>
                    <a:pt x="3179" y="95929"/>
                  </a:lnTo>
                  <a:lnTo>
                    <a:pt x="2903" y="102321"/>
                  </a:lnTo>
                  <a:lnTo>
                    <a:pt x="2281" y="114693"/>
                  </a:lnTo>
                  <a:lnTo>
                    <a:pt x="1693" y="126373"/>
                  </a:lnTo>
                  <a:lnTo>
                    <a:pt x="1452" y="131902"/>
                  </a:lnTo>
                  <a:lnTo>
                    <a:pt x="1210" y="137154"/>
                  </a:lnTo>
                  <a:lnTo>
                    <a:pt x="1071" y="142165"/>
                  </a:lnTo>
                  <a:lnTo>
                    <a:pt x="968" y="146899"/>
                  </a:lnTo>
                  <a:lnTo>
                    <a:pt x="933" y="151322"/>
                  </a:lnTo>
                  <a:lnTo>
                    <a:pt x="933" y="153430"/>
                  </a:lnTo>
                  <a:lnTo>
                    <a:pt x="968" y="155435"/>
                  </a:lnTo>
                  <a:lnTo>
                    <a:pt x="1037" y="157370"/>
                  </a:lnTo>
                  <a:lnTo>
                    <a:pt x="1141" y="159201"/>
                  </a:lnTo>
                  <a:lnTo>
                    <a:pt x="1244" y="160929"/>
                  </a:lnTo>
                  <a:lnTo>
                    <a:pt x="1417" y="162588"/>
                  </a:lnTo>
                  <a:lnTo>
                    <a:pt x="1590" y="164143"/>
                  </a:lnTo>
                  <a:lnTo>
                    <a:pt x="1797" y="165594"/>
                  </a:lnTo>
                  <a:lnTo>
                    <a:pt x="2039" y="166942"/>
                  </a:lnTo>
                  <a:lnTo>
                    <a:pt x="2315" y="168186"/>
                  </a:lnTo>
                  <a:lnTo>
                    <a:pt x="2626" y="169326"/>
                  </a:lnTo>
                  <a:lnTo>
                    <a:pt x="2972" y="170363"/>
                  </a:lnTo>
                  <a:lnTo>
                    <a:pt x="3352" y="171296"/>
                  </a:lnTo>
                  <a:lnTo>
                    <a:pt x="3559" y="171711"/>
                  </a:lnTo>
                  <a:lnTo>
                    <a:pt x="3767" y="172091"/>
                  </a:lnTo>
                  <a:lnTo>
                    <a:pt x="4009" y="172436"/>
                  </a:lnTo>
                  <a:lnTo>
                    <a:pt x="4251" y="172782"/>
                  </a:lnTo>
                  <a:lnTo>
                    <a:pt x="4493" y="173058"/>
                  </a:lnTo>
                  <a:lnTo>
                    <a:pt x="4769" y="173335"/>
                  </a:lnTo>
                  <a:lnTo>
                    <a:pt x="5045" y="173577"/>
                  </a:lnTo>
                  <a:lnTo>
                    <a:pt x="5322" y="173784"/>
                  </a:lnTo>
                  <a:lnTo>
                    <a:pt x="5633" y="173957"/>
                  </a:lnTo>
                  <a:lnTo>
                    <a:pt x="5944" y="174095"/>
                  </a:lnTo>
                  <a:lnTo>
                    <a:pt x="6359" y="174233"/>
                  </a:lnTo>
                  <a:lnTo>
                    <a:pt x="6911" y="174372"/>
                  </a:lnTo>
                  <a:lnTo>
                    <a:pt x="7637" y="174510"/>
                  </a:lnTo>
                  <a:lnTo>
                    <a:pt x="8466" y="174648"/>
                  </a:lnTo>
                  <a:lnTo>
                    <a:pt x="10574" y="174890"/>
                  </a:lnTo>
                  <a:lnTo>
                    <a:pt x="13132" y="175132"/>
                  </a:lnTo>
                  <a:lnTo>
                    <a:pt x="16138" y="175374"/>
                  </a:lnTo>
                  <a:lnTo>
                    <a:pt x="19559" y="175616"/>
                  </a:lnTo>
                  <a:lnTo>
                    <a:pt x="23360" y="175823"/>
                  </a:lnTo>
                  <a:lnTo>
                    <a:pt x="27507" y="175996"/>
                  </a:lnTo>
                  <a:lnTo>
                    <a:pt x="31930" y="176169"/>
                  </a:lnTo>
                  <a:lnTo>
                    <a:pt x="36595" y="176341"/>
                  </a:lnTo>
                  <a:lnTo>
                    <a:pt x="41502" y="176480"/>
                  </a:lnTo>
                  <a:lnTo>
                    <a:pt x="46548" y="176618"/>
                  </a:lnTo>
                  <a:lnTo>
                    <a:pt x="51766" y="176721"/>
                  </a:lnTo>
                  <a:lnTo>
                    <a:pt x="57087" y="176791"/>
                  </a:lnTo>
                  <a:lnTo>
                    <a:pt x="62478" y="176860"/>
                  </a:lnTo>
                  <a:lnTo>
                    <a:pt x="67869" y="176894"/>
                  </a:lnTo>
                  <a:lnTo>
                    <a:pt x="78616" y="176894"/>
                  </a:lnTo>
                  <a:lnTo>
                    <a:pt x="83834" y="176860"/>
                  </a:lnTo>
                  <a:lnTo>
                    <a:pt x="88983" y="176791"/>
                  </a:lnTo>
                  <a:lnTo>
                    <a:pt x="93924" y="176687"/>
                  </a:lnTo>
                  <a:lnTo>
                    <a:pt x="98659" y="176549"/>
                  </a:lnTo>
                  <a:lnTo>
                    <a:pt x="103151" y="176410"/>
                  </a:lnTo>
                  <a:lnTo>
                    <a:pt x="107367" y="176238"/>
                  </a:lnTo>
                  <a:lnTo>
                    <a:pt x="111272" y="175996"/>
                  </a:lnTo>
                  <a:lnTo>
                    <a:pt x="114831" y="175754"/>
                  </a:lnTo>
                  <a:lnTo>
                    <a:pt x="117941" y="175477"/>
                  </a:lnTo>
                  <a:lnTo>
                    <a:pt x="119358" y="175305"/>
                  </a:lnTo>
                  <a:lnTo>
                    <a:pt x="120637" y="175166"/>
                  </a:lnTo>
                  <a:lnTo>
                    <a:pt x="121811" y="174994"/>
                  </a:lnTo>
                  <a:lnTo>
                    <a:pt x="122883" y="174786"/>
                  </a:lnTo>
                  <a:lnTo>
                    <a:pt x="123816" y="174613"/>
                  </a:lnTo>
                  <a:lnTo>
                    <a:pt x="124576" y="174406"/>
                  </a:lnTo>
                  <a:lnTo>
                    <a:pt x="125232" y="174199"/>
                  </a:lnTo>
                  <a:lnTo>
                    <a:pt x="125751" y="173957"/>
                  </a:lnTo>
                  <a:lnTo>
                    <a:pt x="125958" y="173853"/>
                  </a:lnTo>
                  <a:lnTo>
                    <a:pt x="126096" y="173750"/>
                  </a:lnTo>
                  <a:lnTo>
                    <a:pt x="126235" y="173611"/>
                  </a:lnTo>
                  <a:lnTo>
                    <a:pt x="126304" y="173508"/>
                  </a:lnTo>
                  <a:lnTo>
                    <a:pt x="126442" y="173231"/>
                  </a:lnTo>
                  <a:lnTo>
                    <a:pt x="126546" y="172920"/>
                  </a:lnTo>
                  <a:lnTo>
                    <a:pt x="126788" y="172160"/>
                  </a:lnTo>
                  <a:lnTo>
                    <a:pt x="126995" y="171158"/>
                  </a:lnTo>
                  <a:lnTo>
                    <a:pt x="127202" y="169983"/>
                  </a:lnTo>
                  <a:lnTo>
                    <a:pt x="127410" y="168601"/>
                  </a:lnTo>
                  <a:lnTo>
                    <a:pt x="127582" y="167080"/>
                  </a:lnTo>
                  <a:lnTo>
                    <a:pt x="127755" y="165352"/>
                  </a:lnTo>
                  <a:lnTo>
                    <a:pt x="127928" y="163452"/>
                  </a:lnTo>
                  <a:lnTo>
                    <a:pt x="128066" y="161378"/>
                  </a:lnTo>
                  <a:lnTo>
                    <a:pt x="128204" y="159167"/>
                  </a:lnTo>
                  <a:lnTo>
                    <a:pt x="128446" y="154329"/>
                  </a:lnTo>
                  <a:lnTo>
                    <a:pt x="128654" y="148938"/>
                  </a:lnTo>
                  <a:lnTo>
                    <a:pt x="128826" y="143063"/>
                  </a:lnTo>
                  <a:lnTo>
                    <a:pt x="128930" y="136740"/>
                  </a:lnTo>
                  <a:lnTo>
                    <a:pt x="128999" y="130105"/>
                  </a:lnTo>
                  <a:lnTo>
                    <a:pt x="128999" y="123124"/>
                  </a:lnTo>
                  <a:lnTo>
                    <a:pt x="128999" y="115868"/>
                  </a:lnTo>
                  <a:lnTo>
                    <a:pt x="128930" y="108438"/>
                  </a:lnTo>
                  <a:lnTo>
                    <a:pt x="128826" y="100870"/>
                  </a:lnTo>
                  <a:lnTo>
                    <a:pt x="128688" y="93199"/>
                  </a:lnTo>
                  <a:lnTo>
                    <a:pt x="128515" y="85493"/>
                  </a:lnTo>
                  <a:lnTo>
                    <a:pt x="128273" y="77786"/>
                  </a:lnTo>
                  <a:lnTo>
                    <a:pt x="128032" y="70184"/>
                  </a:lnTo>
                  <a:lnTo>
                    <a:pt x="127721" y="62720"/>
                  </a:lnTo>
                  <a:lnTo>
                    <a:pt x="127375" y="55428"/>
                  </a:lnTo>
                  <a:lnTo>
                    <a:pt x="126995" y="48379"/>
                  </a:lnTo>
                  <a:lnTo>
                    <a:pt x="126580" y="41640"/>
                  </a:lnTo>
                  <a:lnTo>
                    <a:pt x="126131" y="35213"/>
                  </a:lnTo>
                  <a:lnTo>
                    <a:pt x="125613" y="29235"/>
                  </a:lnTo>
                  <a:lnTo>
                    <a:pt x="125371" y="26436"/>
                  </a:lnTo>
                  <a:lnTo>
                    <a:pt x="125094" y="23706"/>
                  </a:lnTo>
                  <a:lnTo>
                    <a:pt x="124818" y="21149"/>
                  </a:lnTo>
                  <a:lnTo>
                    <a:pt x="124507" y="18730"/>
                  </a:lnTo>
                  <a:lnTo>
                    <a:pt x="124196" y="16414"/>
                  </a:lnTo>
                  <a:lnTo>
                    <a:pt x="123885" y="14306"/>
                  </a:lnTo>
                  <a:lnTo>
                    <a:pt x="123574" y="12302"/>
                  </a:lnTo>
                  <a:lnTo>
                    <a:pt x="123263" y="10505"/>
                  </a:lnTo>
                  <a:lnTo>
                    <a:pt x="122917" y="8846"/>
                  </a:lnTo>
                  <a:lnTo>
                    <a:pt x="122572" y="7395"/>
                  </a:lnTo>
                  <a:lnTo>
                    <a:pt x="122226" y="6116"/>
                  </a:lnTo>
                  <a:lnTo>
                    <a:pt x="121846" y="5045"/>
                  </a:lnTo>
                  <a:lnTo>
                    <a:pt x="121673" y="4561"/>
                  </a:lnTo>
                  <a:lnTo>
                    <a:pt x="121500" y="4147"/>
                  </a:lnTo>
                  <a:lnTo>
                    <a:pt x="121293" y="3767"/>
                  </a:lnTo>
                  <a:lnTo>
                    <a:pt x="121120" y="3456"/>
                  </a:lnTo>
                  <a:lnTo>
                    <a:pt x="120913" y="3214"/>
                  </a:lnTo>
                  <a:lnTo>
                    <a:pt x="120706" y="3006"/>
                  </a:lnTo>
                  <a:lnTo>
                    <a:pt x="120533" y="2834"/>
                  </a:lnTo>
                  <a:lnTo>
                    <a:pt x="120325" y="2765"/>
                  </a:lnTo>
                  <a:lnTo>
                    <a:pt x="119842" y="2626"/>
                  </a:lnTo>
                  <a:lnTo>
                    <a:pt x="119220" y="2488"/>
                  </a:lnTo>
                  <a:lnTo>
                    <a:pt x="118425" y="2350"/>
                  </a:lnTo>
                  <a:lnTo>
                    <a:pt x="117526" y="2212"/>
                  </a:lnTo>
                  <a:lnTo>
                    <a:pt x="115315" y="1935"/>
                  </a:lnTo>
                  <a:lnTo>
                    <a:pt x="112585" y="1659"/>
                  </a:lnTo>
                  <a:lnTo>
                    <a:pt x="109406" y="1417"/>
                  </a:lnTo>
                  <a:lnTo>
                    <a:pt x="105812" y="1175"/>
                  </a:lnTo>
                  <a:lnTo>
                    <a:pt x="101872" y="933"/>
                  </a:lnTo>
                  <a:lnTo>
                    <a:pt x="97553" y="726"/>
                  </a:lnTo>
                  <a:lnTo>
                    <a:pt x="92957" y="518"/>
                  </a:lnTo>
                  <a:lnTo>
                    <a:pt x="88119" y="346"/>
                  </a:lnTo>
                  <a:lnTo>
                    <a:pt x="83074" y="207"/>
                  </a:lnTo>
                  <a:lnTo>
                    <a:pt x="77856" y="104"/>
                  </a:lnTo>
                  <a:lnTo>
                    <a:pt x="72499" y="35"/>
                  </a:lnTo>
                  <a:lnTo>
                    <a:pt x="67040" y="0"/>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93" name="Google Shape;2322;p11">
              <a:extLst>
                <a:ext uri="{FF2B5EF4-FFF2-40B4-BE49-F238E27FC236}">
                  <a16:creationId xmlns:a16="http://schemas.microsoft.com/office/drawing/2014/main" id="{EF0CFB4C-AFB8-8402-B836-022B06ED7133}"/>
                </a:ext>
              </a:extLst>
            </p:cNvPr>
            <p:cNvSpPr/>
            <p:nvPr/>
          </p:nvSpPr>
          <p:spPr>
            <a:xfrm>
              <a:off x="1544825" y="238125"/>
              <a:ext cx="3225000" cy="4422375"/>
            </a:xfrm>
            <a:custGeom>
              <a:avLst/>
              <a:gdLst/>
              <a:ahLst/>
              <a:cxnLst/>
              <a:rect l="l" t="t" r="r" b="b"/>
              <a:pathLst>
                <a:path w="129000" h="176895" fill="none" extrusionOk="0">
                  <a:moveTo>
                    <a:pt x="35" y="9814"/>
                  </a:moveTo>
                  <a:lnTo>
                    <a:pt x="35" y="9814"/>
                  </a:lnTo>
                  <a:lnTo>
                    <a:pt x="553" y="12924"/>
                  </a:lnTo>
                  <a:lnTo>
                    <a:pt x="1037" y="16103"/>
                  </a:lnTo>
                  <a:lnTo>
                    <a:pt x="1452" y="19282"/>
                  </a:lnTo>
                  <a:lnTo>
                    <a:pt x="1866" y="22496"/>
                  </a:lnTo>
                  <a:lnTo>
                    <a:pt x="2212" y="25745"/>
                  </a:lnTo>
                  <a:lnTo>
                    <a:pt x="2523" y="29027"/>
                  </a:lnTo>
                  <a:lnTo>
                    <a:pt x="2799" y="32310"/>
                  </a:lnTo>
                  <a:lnTo>
                    <a:pt x="3041" y="35628"/>
                  </a:lnTo>
                  <a:lnTo>
                    <a:pt x="3248" y="38945"/>
                  </a:lnTo>
                  <a:lnTo>
                    <a:pt x="3421" y="42297"/>
                  </a:lnTo>
                  <a:lnTo>
                    <a:pt x="3594" y="45684"/>
                  </a:lnTo>
                  <a:lnTo>
                    <a:pt x="3698" y="49036"/>
                  </a:lnTo>
                  <a:lnTo>
                    <a:pt x="3801" y="52422"/>
                  </a:lnTo>
                  <a:lnTo>
                    <a:pt x="3870" y="55809"/>
                  </a:lnTo>
                  <a:lnTo>
                    <a:pt x="3905" y="59195"/>
                  </a:lnTo>
                  <a:lnTo>
                    <a:pt x="3940" y="62582"/>
                  </a:lnTo>
                  <a:lnTo>
                    <a:pt x="3940" y="65968"/>
                  </a:lnTo>
                  <a:lnTo>
                    <a:pt x="3905" y="69355"/>
                  </a:lnTo>
                  <a:lnTo>
                    <a:pt x="3801" y="76093"/>
                  </a:lnTo>
                  <a:lnTo>
                    <a:pt x="3663" y="82797"/>
                  </a:lnTo>
                  <a:lnTo>
                    <a:pt x="3421" y="89397"/>
                  </a:lnTo>
                  <a:lnTo>
                    <a:pt x="3179" y="95929"/>
                  </a:lnTo>
                  <a:lnTo>
                    <a:pt x="2903" y="102321"/>
                  </a:lnTo>
                  <a:lnTo>
                    <a:pt x="2281" y="114693"/>
                  </a:lnTo>
                  <a:lnTo>
                    <a:pt x="1693" y="126373"/>
                  </a:lnTo>
                  <a:lnTo>
                    <a:pt x="1452" y="131902"/>
                  </a:lnTo>
                  <a:lnTo>
                    <a:pt x="1210" y="137154"/>
                  </a:lnTo>
                  <a:lnTo>
                    <a:pt x="1071" y="142165"/>
                  </a:lnTo>
                  <a:lnTo>
                    <a:pt x="968" y="146899"/>
                  </a:lnTo>
                  <a:lnTo>
                    <a:pt x="933" y="151322"/>
                  </a:lnTo>
                  <a:lnTo>
                    <a:pt x="933" y="153430"/>
                  </a:lnTo>
                  <a:lnTo>
                    <a:pt x="968" y="155435"/>
                  </a:lnTo>
                  <a:lnTo>
                    <a:pt x="1037" y="157370"/>
                  </a:lnTo>
                  <a:lnTo>
                    <a:pt x="1141" y="159201"/>
                  </a:lnTo>
                  <a:lnTo>
                    <a:pt x="1244" y="160929"/>
                  </a:lnTo>
                  <a:lnTo>
                    <a:pt x="1417" y="162588"/>
                  </a:lnTo>
                  <a:lnTo>
                    <a:pt x="1590" y="164143"/>
                  </a:lnTo>
                  <a:lnTo>
                    <a:pt x="1797" y="165594"/>
                  </a:lnTo>
                  <a:lnTo>
                    <a:pt x="2039" y="166942"/>
                  </a:lnTo>
                  <a:lnTo>
                    <a:pt x="2315" y="168186"/>
                  </a:lnTo>
                  <a:lnTo>
                    <a:pt x="2626" y="169326"/>
                  </a:lnTo>
                  <a:lnTo>
                    <a:pt x="2972" y="170363"/>
                  </a:lnTo>
                  <a:lnTo>
                    <a:pt x="3352" y="171296"/>
                  </a:lnTo>
                  <a:lnTo>
                    <a:pt x="3559" y="171711"/>
                  </a:lnTo>
                  <a:lnTo>
                    <a:pt x="3767" y="172091"/>
                  </a:lnTo>
                  <a:lnTo>
                    <a:pt x="4009" y="172436"/>
                  </a:lnTo>
                  <a:lnTo>
                    <a:pt x="4251" y="172782"/>
                  </a:lnTo>
                  <a:lnTo>
                    <a:pt x="4493" y="173058"/>
                  </a:lnTo>
                  <a:lnTo>
                    <a:pt x="4769" y="173335"/>
                  </a:lnTo>
                  <a:lnTo>
                    <a:pt x="5045" y="173577"/>
                  </a:lnTo>
                  <a:lnTo>
                    <a:pt x="5322" y="173784"/>
                  </a:lnTo>
                  <a:lnTo>
                    <a:pt x="5633" y="173957"/>
                  </a:lnTo>
                  <a:lnTo>
                    <a:pt x="5944" y="174095"/>
                  </a:lnTo>
                  <a:lnTo>
                    <a:pt x="5944" y="174095"/>
                  </a:lnTo>
                  <a:lnTo>
                    <a:pt x="6359" y="174233"/>
                  </a:lnTo>
                  <a:lnTo>
                    <a:pt x="6911" y="174372"/>
                  </a:lnTo>
                  <a:lnTo>
                    <a:pt x="7637" y="174510"/>
                  </a:lnTo>
                  <a:lnTo>
                    <a:pt x="8466" y="174648"/>
                  </a:lnTo>
                  <a:lnTo>
                    <a:pt x="10574" y="174890"/>
                  </a:lnTo>
                  <a:lnTo>
                    <a:pt x="13132" y="175132"/>
                  </a:lnTo>
                  <a:lnTo>
                    <a:pt x="16138" y="175374"/>
                  </a:lnTo>
                  <a:lnTo>
                    <a:pt x="19559" y="175616"/>
                  </a:lnTo>
                  <a:lnTo>
                    <a:pt x="23360" y="175823"/>
                  </a:lnTo>
                  <a:lnTo>
                    <a:pt x="27507" y="175996"/>
                  </a:lnTo>
                  <a:lnTo>
                    <a:pt x="31930" y="176169"/>
                  </a:lnTo>
                  <a:lnTo>
                    <a:pt x="36595" y="176341"/>
                  </a:lnTo>
                  <a:lnTo>
                    <a:pt x="41502" y="176480"/>
                  </a:lnTo>
                  <a:lnTo>
                    <a:pt x="46548" y="176618"/>
                  </a:lnTo>
                  <a:lnTo>
                    <a:pt x="51766" y="176721"/>
                  </a:lnTo>
                  <a:lnTo>
                    <a:pt x="57087" y="176791"/>
                  </a:lnTo>
                  <a:lnTo>
                    <a:pt x="62478" y="176860"/>
                  </a:lnTo>
                  <a:lnTo>
                    <a:pt x="67869" y="176894"/>
                  </a:lnTo>
                  <a:lnTo>
                    <a:pt x="73260" y="176894"/>
                  </a:lnTo>
                  <a:lnTo>
                    <a:pt x="78616" y="176894"/>
                  </a:lnTo>
                  <a:lnTo>
                    <a:pt x="83834" y="176860"/>
                  </a:lnTo>
                  <a:lnTo>
                    <a:pt x="88983" y="176791"/>
                  </a:lnTo>
                  <a:lnTo>
                    <a:pt x="93924" y="176687"/>
                  </a:lnTo>
                  <a:lnTo>
                    <a:pt x="98659" y="176549"/>
                  </a:lnTo>
                  <a:lnTo>
                    <a:pt x="103151" y="176410"/>
                  </a:lnTo>
                  <a:lnTo>
                    <a:pt x="107367" y="176238"/>
                  </a:lnTo>
                  <a:lnTo>
                    <a:pt x="111272" y="175996"/>
                  </a:lnTo>
                  <a:lnTo>
                    <a:pt x="114831" y="175754"/>
                  </a:lnTo>
                  <a:lnTo>
                    <a:pt x="117941" y="175477"/>
                  </a:lnTo>
                  <a:lnTo>
                    <a:pt x="119358" y="175305"/>
                  </a:lnTo>
                  <a:lnTo>
                    <a:pt x="120637" y="175166"/>
                  </a:lnTo>
                  <a:lnTo>
                    <a:pt x="121811" y="174994"/>
                  </a:lnTo>
                  <a:lnTo>
                    <a:pt x="122883" y="174786"/>
                  </a:lnTo>
                  <a:lnTo>
                    <a:pt x="123816" y="174613"/>
                  </a:lnTo>
                  <a:lnTo>
                    <a:pt x="124576" y="174406"/>
                  </a:lnTo>
                  <a:lnTo>
                    <a:pt x="125232" y="174199"/>
                  </a:lnTo>
                  <a:lnTo>
                    <a:pt x="125751" y="173957"/>
                  </a:lnTo>
                  <a:lnTo>
                    <a:pt x="125958" y="173853"/>
                  </a:lnTo>
                  <a:lnTo>
                    <a:pt x="126096" y="173750"/>
                  </a:lnTo>
                  <a:lnTo>
                    <a:pt x="126235" y="173611"/>
                  </a:lnTo>
                  <a:lnTo>
                    <a:pt x="126304" y="173508"/>
                  </a:lnTo>
                  <a:lnTo>
                    <a:pt x="126304" y="173508"/>
                  </a:lnTo>
                  <a:lnTo>
                    <a:pt x="126442" y="173231"/>
                  </a:lnTo>
                  <a:lnTo>
                    <a:pt x="126546" y="172920"/>
                  </a:lnTo>
                  <a:lnTo>
                    <a:pt x="126788" y="172160"/>
                  </a:lnTo>
                  <a:lnTo>
                    <a:pt x="126995" y="171158"/>
                  </a:lnTo>
                  <a:lnTo>
                    <a:pt x="127202" y="169983"/>
                  </a:lnTo>
                  <a:lnTo>
                    <a:pt x="127410" y="168601"/>
                  </a:lnTo>
                  <a:lnTo>
                    <a:pt x="127582" y="167080"/>
                  </a:lnTo>
                  <a:lnTo>
                    <a:pt x="127755" y="165352"/>
                  </a:lnTo>
                  <a:lnTo>
                    <a:pt x="127928" y="163452"/>
                  </a:lnTo>
                  <a:lnTo>
                    <a:pt x="128066" y="161378"/>
                  </a:lnTo>
                  <a:lnTo>
                    <a:pt x="128204" y="159167"/>
                  </a:lnTo>
                  <a:lnTo>
                    <a:pt x="128446" y="154329"/>
                  </a:lnTo>
                  <a:lnTo>
                    <a:pt x="128654" y="148938"/>
                  </a:lnTo>
                  <a:lnTo>
                    <a:pt x="128826" y="143063"/>
                  </a:lnTo>
                  <a:lnTo>
                    <a:pt x="128930" y="136740"/>
                  </a:lnTo>
                  <a:lnTo>
                    <a:pt x="128999" y="130105"/>
                  </a:lnTo>
                  <a:lnTo>
                    <a:pt x="128999" y="123124"/>
                  </a:lnTo>
                  <a:lnTo>
                    <a:pt x="128999" y="115868"/>
                  </a:lnTo>
                  <a:lnTo>
                    <a:pt x="128930" y="108438"/>
                  </a:lnTo>
                  <a:lnTo>
                    <a:pt x="128826" y="100870"/>
                  </a:lnTo>
                  <a:lnTo>
                    <a:pt x="128688" y="93199"/>
                  </a:lnTo>
                  <a:lnTo>
                    <a:pt x="128515" y="85493"/>
                  </a:lnTo>
                  <a:lnTo>
                    <a:pt x="128273" y="77786"/>
                  </a:lnTo>
                  <a:lnTo>
                    <a:pt x="128032" y="70184"/>
                  </a:lnTo>
                  <a:lnTo>
                    <a:pt x="127721" y="62720"/>
                  </a:lnTo>
                  <a:lnTo>
                    <a:pt x="127375" y="55428"/>
                  </a:lnTo>
                  <a:lnTo>
                    <a:pt x="126995" y="48379"/>
                  </a:lnTo>
                  <a:lnTo>
                    <a:pt x="126580" y="41640"/>
                  </a:lnTo>
                  <a:lnTo>
                    <a:pt x="126131" y="35213"/>
                  </a:lnTo>
                  <a:lnTo>
                    <a:pt x="125613" y="29235"/>
                  </a:lnTo>
                  <a:lnTo>
                    <a:pt x="125371" y="26436"/>
                  </a:lnTo>
                  <a:lnTo>
                    <a:pt x="125094" y="23706"/>
                  </a:lnTo>
                  <a:lnTo>
                    <a:pt x="124818" y="21149"/>
                  </a:lnTo>
                  <a:lnTo>
                    <a:pt x="124507" y="18730"/>
                  </a:lnTo>
                  <a:lnTo>
                    <a:pt x="124196" y="16414"/>
                  </a:lnTo>
                  <a:lnTo>
                    <a:pt x="123885" y="14306"/>
                  </a:lnTo>
                  <a:lnTo>
                    <a:pt x="123574" y="12302"/>
                  </a:lnTo>
                  <a:lnTo>
                    <a:pt x="123263" y="10505"/>
                  </a:lnTo>
                  <a:lnTo>
                    <a:pt x="122917" y="8846"/>
                  </a:lnTo>
                  <a:lnTo>
                    <a:pt x="122572" y="7395"/>
                  </a:lnTo>
                  <a:lnTo>
                    <a:pt x="122226" y="6116"/>
                  </a:lnTo>
                  <a:lnTo>
                    <a:pt x="121846" y="5045"/>
                  </a:lnTo>
                  <a:lnTo>
                    <a:pt x="121673" y="4561"/>
                  </a:lnTo>
                  <a:lnTo>
                    <a:pt x="121500" y="4147"/>
                  </a:lnTo>
                  <a:lnTo>
                    <a:pt x="121293" y="3767"/>
                  </a:lnTo>
                  <a:lnTo>
                    <a:pt x="121120" y="3456"/>
                  </a:lnTo>
                  <a:lnTo>
                    <a:pt x="120913" y="3214"/>
                  </a:lnTo>
                  <a:lnTo>
                    <a:pt x="120706" y="3006"/>
                  </a:lnTo>
                  <a:lnTo>
                    <a:pt x="120533" y="2834"/>
                  </a:lnTo>
                  <a:lnTo>
                    <a:pt x="120325" y="2765"/>
                  </a:lnTo>
                  <a:lnTo>
                    <a:pt x="120325" y="2765"/>
                  </a:lnTo>
                  <a:lnTo>
                    <a:pt x="119842" y="2626"/>
                  </a:lnTo>
                  <a:lnTo>
                    <a:pt x="119220" y="2488"/>
                  </a:lnTo>
                  <a:lnTo>
                    <a:pt x="118425" y="2350"/>
                  </a:lnTo>
                  <a:lnTo>
                    <a:pt x="117526" y="2212"/>
                  </a:lnTo>
                  <a:lnTo>
                    <a:pt x="115315" y="1935"/>
                  </a:lnTo>
                  <a:lnTo>
                    <a:pt x="112585" y="1659"/>
                  </a:lnTo>
                  <a:lnTo>
                    <a:pt x="109406" y="1417"/>
                  </a:lnTo>
                  <a:lnTo>
                    <a:pt x="105812" y="1175"/>
                  </a:lnTo>
                  <a:lnTo>
                    <a:pt x="101872" y="933"/>
                  </a:lnTo>
                  <a:lnTo>
                    <a:pt x="97553" y="726"/>
                  </a:lnTo>
                  <a:lnTo>
                    <a:pt x="92957" y="518"/>
                  </a:lnTo>
                  <a:lnTo>
                    <a:pt x="88119" y="346"/>
                  </a:lnTo>
                  <a:lnTo>
                    <a:pt x="83074" y="207"/>
                  </a:lnTo>
                  <a:lnTo>
                    <a:pt x="77856" y="104"/>
                  </a:lnTo>
                  <a:lnTo>
                    <a:pt x="72499" y="35"/>
                  </a:lnTo>
                  <a:lnTo>
                    <a:pt x="67040" y="0"/>
                  </a:lnTo>
                  <a:lnTo>
                    <a:pt x="61545" y="0"/>
                  </a:lnTo>
                  <a:lnTo>
                    <a:pt x="56051" y="69"/>
                  </a:lnTo>
                  <a:lnTo>
                    <a:pt x="50591" y="173"/>
                  </a:lnTo>
                  <a:lnTo>
                    <a:pt x="45200" y="311"/>
                  </a:lnTo>
                  <a:lnTo>
                    <a:pt x="39913" y="518"/>
                  </a:lnTo>
                  <a:lnTo>
                    <a:pt x="34764" y="795"/>
                  </a:lnTo>
                  <a:lnTo>
                    <a:pt x="29822" y="1106"/>
                  </a:lnTo>
                  <a:lnTo>
                    <a:pt x="27438" y="1313"/>
                  </a:lnTo>
                  <a:lnTo>
                    <a:pt x="25123" y="1520"/>
                  </a:lnTo>
                  <a:lnTo>
                    <a:pt x="22877" y="1728"/>
                  </a:lnTo>
                  <a:lnTo>
                    <a:pt x="20699" y="1970"/>
                  </a:lnTo>
                  <a:lnTo>
                    <a:pt x="18626" y="2246"/>
                  </a:lnTo>
                  <a:lnTo>
                    <a:pt x="16622" y="2523"/>
                  </a:lnTo>
                  <a:lnTo>
                    <a:pt x="14687" y="2799"/>
                  </a:lnTo>
                  <a:lnTo>
                    <a:pt x="12855" y="3145"/>
                  </a:lnTo>
                  <a:lnTo>
                    <a:pt x="11127" y="3456"/>
                  </a:lnTo>
                  <a:lnTo>
                    <a:pt x="9503" y="3836"/>
                  </a:lnTo>
                  <a:lnTo>
                    <a:pt x="7983" y="4181"/>
                  </a:lnTo>
                  <a:lnTo>
                    <a:pt x="6600" y="4596"/>
                  </a:lnTo>
                  <a:lnTo>
                    <a:pt x="5322" y="5011"/>
                  </a:lnTo>
                  <a:lnTo>
                    <a:pt x="4147" y="5460"/>
                  </a:lnTo>
                  <a:lnTo>
                    <a:pt x="3145" y="5909"/>
                  </a:lnTo>
                  <a:lnTo>
                    <a:pt x="2661" y="6151"/>
                  </a:lnTo>
                  <a:lnTo>
                    <a:pt x="2246" y="6393"/>
                  </a:lnTo>
                  <a:lnTo>
                    <a:pt x="1866" y="6669"/>
                  </a:lnTo>
                  <a:lnTo>
                    <a:pt x="1486" y="6911"/>
                  </a:lnTo>
                  <a:lnTo>
                    <a:pt x="1175" y="7188"/>
                  </a:lnTo>
                  <a:lnTo>
                    <a:pt x="899" y="7464"/>
                  </a:lnTo>
                  <a:lnTo>
                    <a:pt x="657" y="7706"/>
                  </a:lnTo>
                  <a:lnTo>
                    <a:pt x="449" y="8017"/>
                  </a:lnTo>
                  <a:lnTo>
                    <a:pt x="277" y="8294"/>
                  </a:lnTo>
                  <a:lnTo>
                    <a:pt x="138" y="8570"/>
                  </a:lnTo>
                  <a:lnTo>
                    <a:pt x="35" y="8881"/>
                  </a:lnTo>
                  <a:lnTo>
                    <a:pt x="0" y="9192"/>
                  </a:lnTo>
                  <a:lnTo>
                    <a:pt x="0" y="9503"/>
                  </a:lnTo>
                  <a:lnTo>
                    <a:pt x="35" y="9814"/>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94" name="Google Shape;2323;p11">
              <a:extLst>
                <a:ext uri="{FF2B5EF4-FFF2-40B4-BE49-F238E27FC236}">
                  <a16:creationId xmlns:a16="http://schemas.microsoft.com/office/drawing/2014/main" id="{2AF5156A-2D31-29DF-0BFD-71AA46C197A2}"/>
                </a:ext>
              </a:extLst>
            </p:cNvPr>
            <p:cNvSpPr/>
            <p:nvPr/>
          </p:nvSpPr>
          <p:spPr>
            <a:xfrm>
              <a:off x="3648425" y="917150"/>
              <a:ext cx="567625" cy="568475"/>
            </a:xfrm>
            <a:custGeom>
              <a:avLst/>
              <a:gdLst/>
              <a:ahLst/>
              <a:cxnLst/>
              <a:rect l="l" t="t" r="r" b="b"/>
              <a:pathLst>
                <a:path w="22705" h="22739" extrusionOk="0">
                  <a:moveTo>
                    <a:pt x="10748" y="0"/>
                  </a:moveTo>
                  <a:lnTo>
                    <a:pt x="10195" y="35"/>
                  </a:lnTo>
                  <a:lnTo>
                    <a:pt x="9608" y="104"/>
                  </a:lnTo>
                  <a:lnTo>
                    <a:pt x="9055" y="208"/>
                  </a:lnTo>
                  <a:lnTo>
                    <a:pt x="8502" y="346"/>
                  </a:lnTo>
                  <a:lnTo>
                    <a:pt x="7983" y="484"/>
                  </a:lnTo>
                  <a:lnTo>
                    <a:pt x="7431" y="691"/>
                  </a:lnTo>
                  <a:lnTo>
                    <a:pt x="6912" y="899"/>
                  </a:lnTo>
                  <a:lnTo>
                    <a:pt x="6428" y="1106"/>
                  </a:lnTo>
                  <a:lnTo>
                    <a:pt x="5945" y="1348"/>
                  </a:lnTo>
                  <a:lnTo>
                    <a:pt x="5461" y="1624"/>
                  </a:lnTo>
                  <a:lnTo>
                    <a:pt x="5012" y="1935"/>
                  </a:lnTo>
                  <a:lnTo>
                    <a:pt x="4562" y="2246"/>
                  </a:lnTo>
                  <a:lnTo>
                    <a:pt x="4113" y="2592"/>
                  </a:lnTo>
                  <a:lnTo>
                    <a:pt x="3698" y="2938"/>
                  </a:lnTo>
                  <a:lnTo>
                    <a:pt x="3318" y="3318"/>
                  </a:lnTo>
                  <a:lnTo>
                    <a:pt x="2938" y="3732"/>
                  </a:lnTo>
                  <a:lnTo>
                    <a:pt x="2593" y="4147"/>
                  </a:lnTo>
                  <a:lnTo>
                    <a:pt x="2247" y="4562"/>
                  </a:lnTo>
                  <a:lnTo>
                    <a:pt x="1936" y="5011"/>
                  </a:lnTo>
                  <a:lnTo>
                    <a:pt x="1625" y="5460"/>
                  </a:lnTo>
                  <a:lnTo>
                    <a:pt x="1349" y="5944"/>
                  </a:lnTo>
                  <a:lnTo>
                    <a:pt x="1107" y="6428"/>
                  </a:lnTo>
                  <a:lnTo>
                    <a:pt x="899" y="6946"/>
                  </a:lnTo>
                  <a:lnTo>
                    <a:pt x="692" y="7465"/>
                  </a:lnTo>
                  <a:lnTo>
                    <a:pt x="519" y="7983"/>
                  </a:lnTo>
                  <a:lnTo>
                    <a:pt x="347" y="8536"/>
                  </a:lnTo>
                  <a:lnTo>
                    <a:pt x="208" y="9089"/>
                  </a:lnTo>
                  <a:lnTo>
                    <a:pt x="139" y="9642"/>
                  </a:lnTo>
                  <a:lnTo>
                    <a:pt x="36" y="10194"/>
                  </a:lnTo>
                  <a:lnTo>
                    <a:pt x="1" y="10782"/>
                  </a:lnTo>
                  <a:lnTo>
                    <a:pt x="1" y="11369"/>
                  </a:lnTo>
                  <a:lnTo>
                    <a:pt x="1" y="11957"/>
                  </a:lnTo>
                  <a:lnTo>
                    <a:pt x="36" y="12544"/>
                  </a:lnTo>
                  <a:lnTo>
                    <a:pt x="139" y="13097"/>
                  </a:lnTo>
                  <a:lnTo>
                    <a:pt x="208" y="13650"/>
                  </a:lnTo>
                  <a:lnTo>
                    <a:pt x="347" y="14203"/>
                  </a:lnTo>
                  <a:lnTo>
                    <a:pt x="519" y="14756"/>
                  </a:lnTo>
                  <a:lnTo>
                    <a:pt x="692" y="15274"/>
                  </a:lnTo>
                  <a:lnTo>
                    <a:pt x="899" y="15793"/>
                  </a:lnTo>
                  <a:lnTo>
                    <a:pt x="1107" y="16311"/>
                  </a:lnTo>
                  <a:lnTo>
                    <a:pt x="1349" y="16795"/>
                  </a:lnTo>
                  <a:lnTo>
                    <a:pt x="1625" y="17279"/>
                  </a:lnTo>
                  <a:lnTo>
                    <a:pt x="1936" y="17728"/>
                  </a:lnTo>
                  <a:lnTo>
                    <a:pt x="2247" y="18177"/>
                  </a:lnTo>
                  <a:lnTo>
                    <a:pt x="2593" y="18626"/>
                  </a:lnTo>
                  <a:lnTo>
                    <a:pt x="2938" y="19041"/>
                  </a:lnTo>
                  <a:lnTo>
                    <a:pt x="3318" y="19421"/>
                  </a:lnTo>
                  <a:lnTo>
                    <a:pt x="3698" y="19801"/>
                  </a:lnTo>
                  <a:lnTo>
                    <a:pt x="4113" y="20147"/>
                  </a:lnTo>
                  <a:lnTo>
                    <a:pt x="4562" y="20492"/>
                  </a:lnTo>
                  <a:lnTo>
                    <a:pt x="5012" y="20803"/>
                  </a:lnTo>
                  <a:lnTo>
                    <a:pt x="5461" y="21114"/>
                  </a:lnTo>
                  <a:lnTo>
                    <a:pt x="5945" y="21391"/>
                  </a:lnTo>
                  <a:lnTo>
                    <a:pt x="6428" y="21633"/>
                  </a:lnTo>
                  <a:lnTo>
                    <a:pt x="6912" y="21875"/>
                  </a:lnTo>
                  <a:lnTo>
                    <a:pt x="7431" y="22047"/>
                  </a:lnTo>
                  <a:lnTo>
                    <a:pt x="7983" y="22255"/>
                  </a:lnTo>
                  <a:lnTo>
                    <a:pt x="8502" y="22393"/>
                  </a:lnTo>
                  <a:lnTo>
                    <a:pt x="9055" y="22531"/>
                  </a:lnTo>
                  <a:lnTo>
                    <a:pt x="9608" y="22635"/>
                  </a:lnTo>
                  <a:lnTo>
                    <a:pt x="10195" y="22704"/>
                  </a:lnTo>
                  <a:lnTo>
                    <a:pt x="10748" y="22738"/>
                  </a:lnTo>
                  <a:lnTo>
                    <a:pt x="11819" y="22738"/>
                  </a:lnTo>
                  <a:lnTo>
                    <a:pt x="12338" y="22704"/>
                  </a:lnTo>
                  <a:lnTo>
                    <a:pt x="13271" y="22600"/>
                  </a:lnTo>
                  <a:lnTo>
                    <a:pt x="14204" y="22393"/>
                  </a:lnTo>
                  <a:lnTo>
                    <a:pt x="15102" y="22116"/>
                  </a:lnTo>
                  <a:lnTo>
                    <a:pt x="15966" y="21771"/>
                  </a:lnTo>
                  <a:lnTo>
                    <a:pt x="16795" y="21356"/>
                  </a:lnTo>
                  <a:lnTo>
                    <a:pt x="17590" y="20872"/>
                  </a:lnTo>
                  <a:lnTo>
                    <a:pt x="18350" y="20354"/>
                  </a:lnTo>
                  <a:lnTo>
                    <a:pt x="19042" y="19732"/>
                  </a:lnTo>
                  <a:lnTo>
                    <a:pt x="19664" y="19110"/>
                  </a:lnTo>
                  <a:lnTo>
                    <a:pt x="20286" y="18384"/>
                  </a:lnTo>
                  <a:lnTo>
                    <a:pt x="20804" y="17659"/>
                  </a:lnTo>
                  <a:lnTo>
                    <a:pt x="21288" y="16864"/>
                  </a:lnTo>
                  <a:lnTo>
                    <a:pt x="21702" y="16034"/>
                  </a:lnTo>
                  <a:lnTo>
                    <a:pt x="22048" y="15171"/>
                  </a:lnTo>
                  <a:lnTo>
                    <a:pt x="22324" y="14272"/>
                  </a:lnTo>
                  <a:lnTo>
                    <a:pt x="22497" y="13546"/>
                  </a:lnTo>
                  <a:lnTo>
                    <a:pt x="22601" y="12855"/>
                  </a:lnTo>
                  <a:lnTo>
                    <a:pt x="22670" y="12130"/>
                  </a:lnTo>
                  <a:lnTo>
                    <a:pt x="22705" y="11369"/>
                  </a:lnTo>
                  <a:lnTo>
                    <a:pt x="22670" y="10609"/>
                  </a:lnTo>
                  <a:lnTo>
                    <a:pt x="22601" y="9883"/>
                  </a:lnTo>
                  <a:lnTo>
                    <a:pt x="22497" y="9158"/>
                  </a:lnTo>
                  <a:lnTo>
                    <a:pt x="22324" y="8467"/>
                  </a:lnTo>
                  <a:lnTo>
                    <a:pt x="22117" y="7776"/>
                  </a:lnTo>
                  <a:lnTo>
                    <a:pt x="21875" y="7084"/>
                  </a:lnTo>
                  <a:lnTo>
                    <a:pt x="21564" y="6428"/>
                  </a:lnTo>
                  <a:lnTo>
                    <a:pt x="21253" y="5806"/>
                  </a:lnTo>
                  <a:lnTo>
                    <a:pt x="20873" y="5184"/>
                  </a:lnTo>
                  <a:lnTo>
                    <a:pt x="20458" y="4562"/>
                  </a:lnTo>
                  <a:lnTo>
                    <a:pt x="19975" y="3974"/>
                  </a:lnTo>
                  <a:lnTo>
                    <a:pt x="19491" y="3421"/>
                  </a:lnTo>
                  <a:lnTo>
                    <a:pt x="18938" y="2938"/>
                  </a:lnTo>
                  <a:lnTo>
                    <a:pt x="18385" y="2454"/>
                  </a:lnTo>
                  <a:lnTo>
                    <a:pt x="17798" y="2005"/>
                  </a:lnTo>
                  <a:lnTo>
                    <a:pt x="17175" y="1590"/>
                  </a:lnTo>
                  <a:lnTo>
                    <a:pt x="16519" y="1244"/>
                  </a:lnTo>
                  <a:lnTo>
                    <a:pt x="15828" y="899"/>
                  </a:lnTo>
                  <a:lnTo>
                    <a:pt x="15137" y="622"/>
                  </a:lnTo>
                  <a:lnTo>
                    <a:pt x="14411" y="415"/>
                  </a:lnTo>
                  <a:lnTo>
                    <a:pt x="13685" y="242"/>
                  </a:lnTo>
                  <a:lnTo>
                    <a:pt x="12925" y="104"/>
                  </a:lnTo>
                  <a:lnTo>
                    <a:pt x="12130" y="0"/>
                  </a:lnTo>
                  <a:close/>
                </a:path>
              </a:pathLst>
            </a:custGeom>
            <a:solidFill>
              <a:srgbClr val="E0301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95" name="Google Shape;2324;p11">
              <a:extLst>
                <a:ext uri="{FF2B5EF4-FFF2-40B4-BE49-F238E27FC236}">
                  <a16:creationId xmlns:a16="http://schemas.microsoft.com/office/drawing/2014/main" id="{AD7E6F55-F8D9-55DD-941E-A90BA17696FD}"/>
                </a:ext>
              </a:extLst>
            </p:cNvPr>
            <p:cNvSpPr/>
            <p:nvPr/>
          </p:nvSpPr>
          <p:spPr>
            <a:xfrm>
              <a:off x="3699400" y="968125"/>
              <a:ext cx="465675" cy="466525"/>
            </a:xfrm>
            <a:custGeom>
              <a:avLst/>
              <a:gdLst/>
              <a:ahLst/>
              <a:cxnLst/>
              <a:rect l="l" t="t" r="r" b="b"/>
              <a:pathLst>
                <a:path w="18627" h="18661" extrusionOk="0">
                  <a:moveTo>
                    <a:pt x="8813" y="0"/>
                  </a:moveTo>
                  <a:lnTo>
                    <a:pt x="8363" y="35"/>
                  </a:lnTo>
                  <a:lnTo>
                    <a:pt x="7880" y="104"/>
                  </a:lnTo>
                  <a:lnTo>
                    <a:pt x="7430" y="173"/>
                  </a:lnTo>
                  <a:lnTo>
                    <a:pt x="6981" y="277"/>
                  </a:lnTo>
                  <a:lnTo>
                    <a:pt x="6532" y="415"/>
                  </a:lnTo>
                  <a:lnTo>
                    <a:pt x="6117" y="553"/>
                  </a:lnTo>
                  <a:lnTo>
                    <a:pt x="5668" y="726"/>
                  </a:lnTo>
                  <a:lnTo>
                    <a:pt x="5253" y="899"/>
                  </a:lnTo>
                  <a:lnTo>
                    <a:pt x="4873" y="1106"/>
                  </a:lnTo>
                  <a:lnTo>
                    <a:pt x="4459" y="1348"/>
                  </a:lnTo>
                  <a:lnTo>
                    <a:pt x="4113" y="1590"/>
                  </a:lnTo>
                  <a:lnTo>
                    <a:pt x="3733" y="1832"/>
                  </a:lnTo>
                  <a:lnTo>
                    <a:pt x="3387" y="2108"/>
                  </a:lnTo>
                  <a:lnTo>
                    <a:pt x="3042" y="2419"/>
                  </a:lnTo>
                  <a:lnTo>
                    <a:pt x="2731" y="2730"/>
                  </a:lnTo>
                  <a:lnTo>
                    <a:pt x="2420" y="3041"/>
                  </a:lnTo>
                  <a:lnTo>
                    <a:pt x="2109" y="3387"/>
                  </a:lnTo>
                  <a:lnTo>
                    <a:pt x="1832" y="3732"/>
                  </a:lnTo>
                  <a:lnTo>
                    <a:pt x="1590" y="4112"/>
                  </a:lnTo>
                  <a:lnTo>
                    <a:pt x="1348" y="4492"/>
                  </a:lnTo>
                  <a:lnTo>
                    <a:pt x="1107" y="4873"/>
                  </a:lnTo>
                  <a:lnTo>
                    <a:pt x="899" y="5287"/>
                  </a:lnTo>
                  <a:lnTo>
                    <a:pt x="726" y="5702"/>
                  </a:lnTo>
                  <a:lnTo>
                    <a:pt x="554" y="6117"/>
                  </a:lnTo>
                  <a:lnTo>
                    <a:pt x="415" y="6566"/>
                  </a:lnTo>
                  <a:lnTo>
                    <a:pt x="277" y="6981"/>
                  </a:lnTo>
                  <a:lnTo>
                    <a:pt x="174" y="7464"/>
                  </a:lnTo>
                  <a:lnTo>
                    <a:pt x="104" y="7914"/>
                  </a:lnTo>
                  <a:lnTo>
                    <a:pt x="35" y="8363"/>
                  </a:lnTo>
                  <a:lnTo>
                    <a:pt x="1" y="8847"/>
                  </a:lnTo>
                  <a:lnTo>
                    <a:pt x="1" y="9330"/>
                  </a:lnTo>
                  <a:lnTo>
                    <a:pt x="1" y="9814"/>
                  </a:lnTo>
                  <a:lnTo>
                    <a:pt x="35" y="10298"/>
                  </a:lnTo>
                  <a:lnTo>
                    <a:pt x="104" y="10747"/>
                  </a:lnTo>
                  <a:lnTo>
                    <a:pt x="174" y="11231"/>
                  </a:lnTo>
                  <a:lnTo>
                    <a:pt x="277" y="11680"/>
                  </a:lnTo>
                  <a:lnTo>
                    <a:pt x="415" y="12095"/>
                  </a:lnTo>
                  <a:lnTo>
                    <a:pt x="554" y="12544"/>
                  </a:lnTo>
                  <a:lnTo>
                    <a:pt x="726" y="12959"/>
                  </a:lnTo>
                  <a:lnTo>
                    <a:pt x="899" y="13373"/>
                  </a:lnTo>
                  <a:lnTo>
                    <a:pt x="1107" y="13788"/>
                  </a:lnTo>
                  <a:lnTo>
                    <a:pt x="1348" y="14168"/>
                  </a:lnTo>
                  <a:lnTo>
                    <a:pt x="1590" y="14548"/>
                  </a:lnTo>
                  <a:lnTo>
                    <a:pt x="1832" y="14929"/>
                  </a:lnTo>
                  <a:lnTo>
                    <a:pt x="2109" y="15274"/>
                  </a:lnTo>
                  <a:lnTo>
                    <a:pt x="2420" y="15620"/>
                  </a:lnTo>
                  <a:lnTo>
                    <a:pt x="2731" y="15931"/>
                  </a:lnTo>
                  <a:lnTo>
                    <a:pt x="3042" y="16242"/>
                  </a:lnTo>
                  <a:lnTo>
                    <a:pt x="3387" y="16553"/>
                  </a:lnTo>
                  <a:lnTo>
                    <a:pt x="3733" y="16829"/>
                  </a:lnTo>
                  <a:lnTo>
                    <a:pt x="4113" y="17071"/>
                  </a:lnTo>
                  <a:lnTo>
                    <a:pt x="4459" y="17313"/>
                  </a:lnTo>
                  <a:lnTo>
                    <a:pt x="4873" y="17555"/>
                  </a:lnTo>
                  <a:lnTo>
                    <a:pt x="5253" y="17762"/>
                  </a:lnTo>
                  <a:lnTo>
                    <a:pt x="5668" y="17935"/>
                  </a:lnTo>
                  <a:lnTo>
                    <a:pt x="6117" y="18108"/>
                  </a:lnTo>
                  <a:lnTo>
                    <a:pt x="6532" y="18246"/>
                  </a:lnTo>
                  <a:lnTo>
                    <a:pt x="6981" y="18384"/>
                  </a:lnTo>
                  <a:lnTo>
                    <a:pt x="7430" y="18488"/>
                  </a:lnTo>
                  <a:lnTo>
                    <a:pt x="7880" y="18557"/>
                  </a:lnTo>
                  <a:lnTo>
                    <a:pt x="8363" y="18626"/>
                  </a:lnTo>
                  <a:lnTo>
                    <a:pt x="8813" y="18661"/>
                  </a:lnTo>
                  <a:lnTo>
                    <a:pt x="9296" y="18661"/>
                  </a:lnTo>
                  <a:lnTo>
                    <a:pt x="10091" y="18626"/>
                  </a:lnTo>
                  <a:lnTo>
                    <a:pt x="10886" y="18522"/>
                  </a:lnTo>
                  <a:lnTo>
                    <a:pt x="11646" y="18384"/>
                  </a:lnTo>
                  <a:lnTo>
                    <a:pt x="12407" y="18142"/>
                  </a:lnTo>
                  <a:lnTo>
                    <a:pt x="13098" y="17866"/>
                  </a:lnTo>
                  <a:lnTo>
                    <a:pt x="13789" y="17520"/>
                  </a:lnTo>
                  <a:lnTo>
                    <a:pt x="14445" y="17140"/>
                  </a:lnTo>
                  <a:lnTo>
                    <a:pt x="15033" y="16691"/>
                  </a:lnTo>
                  <a:lnTo>
                    <a:pt x="15620" y="16207"/>
                  </a:lnTo>
                  <a:lnTo>
                    <a:pt x="16139" y="15689"/>
                  </a:lnTo>
                  <a:lnTo>
                    <a:pt x="16622" y="15101"/>
                  </a:lnTo>
                  <a:lnTo>
                    <a:pt x="17072" y="14479"/>
                  </a:lnTo>
                  <a:lnTo>
                    <a:pt x="17452" y="13823"/>
                  </a:lnTo>
                  <a:lnTo>
                    <a:pt x="17797" y="13166"/>
                  </a:lnTo>
                  <a:lnTo>
                    <a:pt x="18074" y="12440"/>
                  </a:lnTo>
                  <a:lnTo>
                    <a:pt x="18316" y="11715"/>
                  </a:lnTo>
                  <a:lnTo>
                    <a:pt x="18454" y="11127"/>
                  </a:lnTo>
                  <a:lnTo>
                    <a:pt x="18558" y="10540"/>
                  </a:lnTo>
                  <a:lnTo>
                    <a:pt x="18592" y="9952"/>
                  </a:lnTo>
                  <a:lnTo>
                    <a:pt x="18627" y="9330"/>
                  </a:lnTo>
                  <a:lnTo>
                    <a:pt x="18592" y="8708"/>
                  </a:lnTo>
                  <a:lnTo>
                    <a:pt x="18558" y="8121"/>
                  </a:lnTo>
                  <a:lnTo>
                    <a:pt x="18454" y="7499"/>
                  </a:lnTo>
                  <a:lnTo>
                    <a:pt x="18316" y="6946"/>
                  </a:lnTo>
                  <a:lnTo>
                    <a:pt x="18143" y="6359"/>
                  </a:lnTo>
                  <a:lnTo>
                    <a:pt x="17936" y="5806"/>
                  </a:lnTo>
                  <a:lnTo>
                    <a:pt x="17694" y="5287"/>
                  </a:lnTo>
                  <a:lnTo>
                    <a:pt x="17452" y="4769"/>
                  </a:lnTo>
                  <a:lnTo>
                    <a:pt x="17106" y="4251"/>
                  </a:lnTo>
                  <a:lnTo>
                    <a:pt x="16761" y="3732"/>
                  </a:lnTo>
                  <a:lnTo>
                    <a:pt x="16381" y="3283"/>
                  </a:lnTo>
                  <a:lnTo>
                    <a:pt x="16000" y="2834"/>
                  </a:lnTo>
                  <a:lnTo>
                    <a:pt x="15551" y="2385"/>
                  </a:lnTo>
                  <a:lnTo>
                    <a:pt x="15067" y="2004"/>
                  </a:lnTo>
                  <a:lnTo>
                    <a:pt x="14584" y="1624"/>
                  </a:lnTo>
                  <a:lnTo>
                    <a:pt x="14065" y="1313"/>
                  </a:lnTo>
                  <a:lnTo>
                    <a:pt x="13547" y="1002"/>
                  </a:lnTo>
                  <a:lnTo>
                    <a:pt x="12994" y="760"/>
                  </a:lnTo>
                  <a:lnTo>
                    <a:pt x="12407" y="519"/>
                  </a:lnTo>
                  <a:lnTo>
                    <a:pt x="11819" y="346"/>
                  </a:lnTo>
                  <a:lnTo>
                    <a:pt x="11232" y="173"/>
                  </a:lnTo>
                  <a:lnTo>
                    <a:pt x="10575" y="69"/>
                  </a:lnTo>
                  <a:lnTo>
                    <a:pt x="9953" y="0"/>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96" name="Google Shape;2325;p11">
              <a:extLst>
                <a:ext uri="{FF2B5EF4-FFF2-40B4-BE49-F238E27FC236}">
                  <a16:creationId xmlns:a16="http://schemas.microsoft.com/office/drawing/2014/main" id="{490803E5-808F-8044-65ED-1441E32EA35E}"/>
                </a:ext>
              </a:extLst>
            </p:cNvPr>
            <p:cNvSpPr/>
            <p:nvPr/>
          </p:nvSpPr>
          <p:spPr>
            <a:xfrm>
              <a:off x="3753825" y="1023400"/>
              <a:ext cx="355975" cy="355975"/>
            </a:xfrm>
            <a:custGeom>
              <a:avLst/>
              <a:gdLst/>
              <a:ahLst/>
              <a:cxnLst/>
              <a:rect l="l" t="t" r="r" b="b"/>
              <a:pathLst>
                <a:path w="14239" h="14239" extrusionOk="0">
                  <a:moveTo>
                    <a:pt x="7119" y="1"/>
                  </a:moveTo>
                  <a:lnTo>
                    <a:pt x="6394" y="35"/>
                  </a:lnTo>
                  <a:lnTo>
                    <a:pt x="5703" y="139"/>
                  </a:lnTo>
                  <a:lnTo>
                    <a:pt x="5012" y="312"/>
                  </a:lnTo>
                  <a:lnTo>
                    <a:pt x="4355" y="554"/>
                  </a:lnTo>
                  <a:lnTo>
                    <a:pt x="3733" y="865"/>
                  </a:lnTo>
                  <a:lnTo>
                    <a:pt x="3145" y="1210"/>
                  </a:lnTo>
                  <a:lnTo>
                    <a:pt x="2593" y="1625"/>
                  </a:lnTo>
                  <a:lnTo>
                    <a:pt x="2109" y="2074"/>
                  </a:lnTo>
                  <a:lnTo>
                    <a:pt x="1625" y="2592"/>
                  </a:lnTo>
                  <a:lnTo>
                    <a:pt x="1245" y="3145"/>
                  </a:lnTo>
                  <a:lnTo>
                    <a:pt x="865" y="3733"/>
                  </a:lnTo>
                  <a:lnTo>
                    <a:pt x="588" y="4355"/>
                  </a:lnTo>
                  <a:lnTo>
                    <a:pt x="346" y="5011"/>
                  </a:lnTo>
                  <a:lnTo>
                    <a:pt x="174" y="5668"/>
                  </a:lnTo>
                  <a:lnTo>
                    <a:pt x="70" y="6394"/>
                  </a:lnTo>
                  <a:lnTo>
                    <a:pt x="1" y="7119"/>
                  </a:lnTo>
                  <a:lnTo>
                    <a:pt x="70" y="7845"/>
                  </a:lnTo>
                  <a:lnTo>
                    <a:pt x="174" y="8571"/>
                  </a:lnTo>
                  <a:lnTo>
                    <a:pt x="346" y="9227"/>
                  </a:lnTo>
                  <a:lnTo>
                    <a:pt x="588" y="9884"/>
                  </a:lnTo>
                  <a:lnTo>
                    <a:pt x="865" y="10506"/>
                  </a:lnTo>
                  <a:lnTo>
                    <a:pt x="1245" y="11093"/>
                  </a:lnTo>
                  <a:lnTo>
                    <a:pt x="1625" y="11646"/>
                  </a:lnTo>
                  <a:lnTo>
                    <a:pt x="2109" y="12165"/>
                  </a:lnTo>
                  <a:lnTo>
                    <a:pt x="2593" y="12614"/>
                  </a:lnTo>
                  <a:lnTo>
                    <a:pt x="3145" y="13029"/>
                  </a:lnTo>
                  <a:lnTo>
                    <a:pt x="3733" y="13374"/>
                  </a:lnTo>
                  <a:lnTo>
                    <a:pt x="4355" y="13685"/>
                  </a:lnTo>
                  <a:lnTo>
                    <a:pt x="5012" y="13927"/>
                  </a:lnTo>
                  <a:lnTo>
                    <a:pt x="5703" y="14100"/>
                  </a:lnTo>
                  <a:lnTo>
                    <a:pt x="6394" y="14203"/>
                  </a:lnTo>
                  <a:lnTo>
                    <a:pt x="7119" y="14238"/>
                  </a:lnTo>
                  <a:lnTo>
                    <a:pt x="7845" y="14203"/>
                  </a:lnTo>
                  <a:lnTo>
                    <a:pt x="8571" y="14100"/>
                  </a:lnTo>
                  <a:lnTo>
                    <a:pt x="9227" y="13927"/>
                  </a:lnTo>
                  <a:lnTo>
                    <a:pt x="9884" y="13685"/>
                  </a:lnTo>
                  <a:lnTo>
                    <a:pt x="10506" y="13374"/>
                  </a:lnTo>
                  <a:lnTo>
                    <a:pt x="11093" y="13029"/>
                  </a:lnTo>
                  <a:lnTo>
                    <a:pt x="11646" y="12614"/>
                  </a:lnTo>
                  <a:lnTo>
                    <a:pt x="12165" y="12165"/>
                  </a:lnTo>
                  <a:lnTo>
                    <a:pt x="12614" y="11646"/>
                  </a:lnTo>
                  <a:lnTo>
                    <a:pt x="13029" y="11093"/>
                  </a:lnTo>
                  <a:lnTo>
                    <a:pt x="13374" y="10506"/>
                  </a:lnTo>
                  <a:lnTo>
                    <a:pt x="13685" y="9884"/>
                  </a:lnTo>
                  <a:lnTo>
                    <a:pt x="13927" y="9227"/>
                  </a:lnTo>
                  <a:lnTo>
                    <a:pt x="14100" y="8571"/>
                  </a:lnTo>
                  <a:lnTo>
                    <a:pt x="14204" y="7845"/>
                  </a:lnTo>
                  <a:lnTo>
                    <a:pt x="14238" y="7119"/>
                  </a:lnTo>
                  <a:lnTo>
                    <a:pt x="14204" y="6394"/>
                  </a:lnTo>
                  <a:lnTo>
                    <a:pt x="14100" y="5668"/>
                  </a:lnTo>
                  <a:lnTo>
                    <a:pt x="13927" y="5011"/>
                  </a:lnTo>
                  <a:lnTo>
                    <a:pt x="13685" y="4355"/>
                  </a:lnTo>
                  <a:lnTo>
                    <a:pt x="13374" y="3733"/>
                  </a:lnTo>
                  <a:lnTo>
                    <a:pt x="13029" y="3145"/>
                  </a:lnTo>
                  <a:lnTo>
                    <a:pt x="12614" y="2592"/>
                  </a:lnTo>
                  <a:lnTo>
                    <a:pt x="12165" y="2074"/>
                  </a:lnTo>
                  <a:lnTo>
                    <a:pt x="11646" y="1625"/>
                  </a:lnTo>
                  <a:lnTo>
                    <a:pt x="11093" y="1210"/>
                  </a:lnTo>
                  <a:lnTo>
                    <a:pt x="10506" y="865"/>
                  </a:lnTo>
                  <a:lnTo>
                    <a:pt x="9884" y="554"/>
                  </a:lnTo>
                  <a:lnTo>
                    <a:pt x="9227" y="312"/>
                  </a:lnTo>
                  <a:lnTo>
                    <a:pt x="8571" y="139"/>
                  </a:lnTo>
                  <a:lnTo>
                    <a:pt x="7845" y="35"/>
                  </a:lnTo>
                  <a:lnTo>
                    <a:pt x="7119" y="1"/>
                  </a:lnTo>
                  <a:close/>
                </a:path>
              </a:pathLst>
            </a:custGeom>
            <a:solidFill>
              <a:srgbClr val="E0301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97" name="Google Shape;2326;p11">
              <a:extLst>
                <a:ext uri="{FF2B5EF4-FFF2-40B4-BE49-F238E27FC236}">
                  <a16:creationId xmlns:a16="http://schemas.microsoft.com/office/drawing/2014/main" id="{514DD39F-EDB7-1C42-B3C6-B33D01BDF101}"/>
                </a:ext>
              </a:extLst>
            </p:cNvPr>
            <p:cNvSpPr/>
            <p:nvPr/>
          </p:nvSpPr>
          <p:spPr>
            <a:xfrm>
              <a:off x="3809125" y="1077825"/>
              <a:ext cx="246250" cy="247100"/>
            </a:xfrm>
            <a:custGeom>
              <a:avLst/>
              <a:gdLst/>
              <a:ahLst/>
              <a:cxnLst/>
              <a:rect l="l" t="t" r="r" b="b"/>
              <a:pathLst>
                <a:path w="9850" h="9884" extrusionOk="0">
                  <a:moveTo>
                    <a:pt x="4907" y="1"/>
                  </a:moveTo>
                  <a:lnTo>
                    <a:pt x="4424" y="35"/>
                  </a:lnTo>
                  <a:lnTo>
                    <a:pt x="3940" y="104"/>
                  </a:lnTo>
                  <a:lnTo>
                    <a:pt x="3456" y="243"/>
                  </a:lnTo>
                  <a:lnTo>
                    <a:pt x="3007" y="415"/>
                  </a:lnTo>
                  <a:lnTo>
                    <a:pt x="2558" y="623"/>
                  </a:lnTo>
                  <a:lnTo>
                    <a:pt x="2178" y="865"/>
                  </a:lnTo>
                  <a:lnTo>
                    <a:pt x="1797" y="1141"/>
                  </a:lnTo>
                  <a:lnTo>
                    <a:pt x="1452" y="1452"/>
                  </a:lnTo>
                  <a:lnTo>
                    <a:pt x="1106" y="1798"/>
                  </a:lnTo>
                  <a:lnTo>
                    <a:pt x="830" y="2178"/>
                  </a:lnTo>
                  <a:lnTo>
                    <a:pt x="588" y="2593"/>
                  </a:lnTo>
                  <a:lnTo>
                    <a:pt x="381" y="3042"/>
                  </a:lnTo>
                  <a:lnTo>
                    <a:pt x="208" y="3491"/>
                  </a:lnTo>
                  <a:lnTo>
                    <a:pt x="104" y="3940"/>
                  </a:lnTo>
                  <a:lnTo>
                    <a:pt x="35" y="4424"/>
                  </a:lnTo>
                  <a:lnTo>
                    <a:pt x="0" y="4942"/>
                  </a:lnTo>
                  <a:lnTo>
                    <a:pt x="35" y="5461"/>
                  </a:lnTo>
                  <a:lnTo>
                    <a:pt x="104" y="5945"/>
                  </a:lnTo>
                  <a:lnTo>
                    <a:pt x="208" y="6394"/>
                  </a:lnTo>
                  <a:lnTo>
                    <a:pt x="381" y="6878"/>
                  </a:lnTo>
                  <a:lnTo>
                    <a:pt x="588" y="7292"/>
                  </a:lnTo>
                  <a:lnTo>
                    <a:pt x="830" y="7707"/>
                  </a:lnTo>
                  <a:lnTo>
                    <a:pt x="1106" y="8087"/>
                  </a:lnTo>
                  <a:lnTo>
                    <a:pt x="1452" y="8433"/>
                  </a:lnTo>
                  <a:lnTo>
                    <a:pt x="1797" y="8744"/>
                  </a:lnTo>
                  <a:lnTo>
                    <a:pt x="2178" y="9020"/>
                  </a:lnTo>
                  <a:lnTo>
                    <a:pt x="2558" y="9262"/>
                  </a:lnTo>
                  <a:lnTo>
                    <a:pt x="3007" y="9504"/>
                  </a:lnTo>
                  <a:lnTo>
                    <a:pt x="3456" y="9642"/>
                  </a:lnTo>
                  <a:lnTo>
                    <a:pt x="3940" y="9780"/>
                  </a:lnTo>
                  <a:lnTo>
                    <a:pt x="4424" y="9849"/>
                  </a:lnTo>
                  <a:lnTo>
                    <a:pt x="4907" y="9884"/>
                  </a:lnTo>
                  <a:lnTo>
                    <a:pt x="5426" y="9849"/>
                  </a:lnTo>
                  <a:lnTo>
                    <a:pt x="5910" y="9780"/>
                  </a:lnTo>
                  <a:lnTo>
                    <a:pt x="6393" y="9642"/>
                  </a:lnTo>
                  <a:lnTo>
                    <a:pt x="6843" y="9504"/>
                  </a:lnTo>
                  <a:lnTo>
                    <a:pt x="7257" y="9262"/>
                  </a:lnTo>
                  <a:lnTo>
                    <a:pt x="7672" y="9020"/>
                  </a:lnTo>
                  <a:lnTo>
                    <a:pt x="8052" y="8744"/>
                  </a:lnTo>
                  <a:lnTo>
                    <a:pt x="8398" y="8433"/>
                  </a:lnTo>
                  <a:lnTo>
                    <a:pt x="8709" y="8087"/>
                  </a:lnTo>
                  <a:lnTo>
                    <a:pt x="8985" y="7707"/>
                  </a:lnTo>
                  <a:lnTo>
                    <a:pt x="9227" y="7292"/>
                  </a:lnTo>
                  <a:lnTo>
                    <a:pt x="9434" y="6878"/>
                  </a:lnTo>
                  <a:lnTo>
                    <a:pt x="9607" y="6394"/>
                  </a:lnTo>
                  <a:lnTo>
                    <a:pt x="9745" y="5945"/>
                  </a:lnTo>
                  <a:lnTo>
                    <a:pt x="9814" y="5461"/>
                  </a:lnTo>
                  <a:lnTo>
                    <a:pt x="9849" y="4942"/>
                  </a:lnTo>
                  <a:lnTo>
                    <a:pt x="9814" y="4424"/>
                  </a:lnTo>
                  <a:lnTo>
                    <a:pt x="9745" y="3940"/>
                  </a:lnTo>
                  <a:lnTo>
                    <a:pt x="9607" y="3491"/>
                  </a:lnTo>
                  <a:lnTo>
                    <a:pt x="9434" y="3042"/>
                  </a:lnTo>
                  <a:lnTo>
                    <a:pt x="9227" y="2593"/>
                  </a:lnTo>
                  <a:lnTo>
                    <a:pt x="8985" y="2178"/>
                  </a:lnTo>
                  <a:lnTo>
                    <a:pt x="8709" y="1798"/>
                  </a:lnTo>
                  <a:lnTo>
                    <a:pt x="8398" y="1452"/>
                  </a:lnTo>
                  <a:lnTo>
                    <a:pt x="8052" y="1141"/>
                  </a:lnTo>
                  <a:lnTo>
                    <a:pt x="7672" y="865"/>
                  </a:lnTo>
                  <a:lnTo>
                    <a:pt x="7257" y="623"/>
                  </a:lnTo>
                  <a:lnTo>
                    <a:pt x="6843" y="415"/>
                  </a:lnTo>
                  <a:lnTo>
                    <a:pt x="6393" y="243"/>
                  </a:lnTo>
                  <a:lnTo>
                    <a:pt x="5910" y="104"/>
                  </a:lnTo>
                  <a:lnTo>
                    <a:pt x="5426" y="35"/>
                  </a:lnTo>
                  <a:lnTo>
                    <a:pt x="4907" y="1"/>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98" name="Google Shape;2327;p11">
              <a:extLst>
                <a:ext uri="{FF2B5EF4-FFF2-40B4-BE49-F238E27FC236}">
                  <a16:creationId xmlns:a16="http://schemas.microsoft.com/office/drawing/2014/main" id="{5E3EE7B8-21A1-273F-9DD2-1796789F5618}"/>
                </a:ext>
              </a:extLst>
            </p:cNvPr>
            <p:cNvSpPr/>
            <p:nvPr/>
          </p:nvSpPr>
          <p:spPr>
            <a:xfrm>
              <a:off x="3867875" y="1137450"/>
              <a:ext cx="127875" cy="127875"/>
            </a:xfrm>
            <a:custGeom>
              <a:avLst/>
              <a:gdLst/>
              <a:ahLst/>
              <a:cxnLst/>
              <a:rect l="l" t="t" r="r" b="b"/>
              <a:pathLst>
                <a:path w="5115" h="5115" extrusionOk="0">
                  <a:moveTo>
                    <a:pt x="2316" y="0"/>
                  </a:moveTo>
                  <a:lnTo>
                    <a:pt x="2039" y="35"/>
                  </a:lnTo>
                  <a:lnTo>
                    <a:pt x="1797" y="104"/>
                  </a:lnTo>
                  <a:lnTo>
                    <a:pt x="1555" y="208"/>
                  </a:lnTo>
                  <a:lnTo>
                    <a:pt x="1348" y="311"/>
                  </a:lnTo>
                  <a:lnTo>
                    <a:pt x="1141" y="449"/>
                  </a:lnTo>
                  <a:lnTo>
                    <a:pt x="933" y="588"/>
                  </a:lnTo>
                  <a:lnTo>
                    <a:pt x="761" y="760"/>
                  </a:lnTo>
                  <a:lnTo>
                    <a:pt x="588" y="933"/>
                  </a:lnTo>
                  <a:lnTo>
                    <a:pt x="450" y="1141"/>
                  </a:lnTo>
                  <a:lnTo>
                    <a:pt x="311" y="1348"/>
                  </a:lnTo>
                  <a:lnTo>
                    <a:pt x="208" y="1555"/>
                  </a:lnTo>
                  <a:lnTo>
                    <a:pt x="139" y="1797"/>
                  </a:lnTo>
                  <a:lnTo>
                    <a:pt x="69" y="2039"/>
                  </a:lnTo>
                  <a:lnTo>
                    <a:pt x="35" y="2281"/>
                  </a:lnTo>
                  <a:lnTo>
                    <a:pt x="0" y="2557"/>
                  </a:lnTo>
                  <a:lnTo>
                    <a:pt x="35" y="2834"/>
                  </a:lnTo>
                  <a:lnTo>
                    <a:pt x="69" y="3076"/>
                  </a:lnTo>
                  <a:lnTo>
                    <a:pt x="139" y="3318"/>
                  </a:lnTo>
                  <a:lnTo>
                    <a:pt x="208" y="3560"/>
                  </a:lnTo>
                  <a:lnTo>
                    <a:pt x="311" y="3767"/>
                  </a:lnTo>
                  <a:lnTo>
                    <a:pt x="450" y="4009"/>
                  </a:lnTo>
                  <a:lnTo>
                    <a:pt x="588" y="4182"/>
                  </a:lnTo>
                  <a:lnTo>
                    <a:pt x="761" y="4389"/>
                  </a:lnTo>
                  <a:lnTo>
                    <a:pt x="933" y="4527"/>
                  </a:lnTo>
                  <a:lnTo>
                    <a:pt x="1141" y="4700"/>
                  </a:lnTo>
                  <a:lnTo>
                    <a:pt x="1348" y="4804"/>
                  </a:lnTo>
                  <a:lnTo>
                    <a:pt x="1555" y="4907"/>
                  </a:lnTo>
                  <a:lnTo>
                    <a:pt x="1797" y="5011"/>
                  </a:lnTo>
                  <a:lnTo>
                    <a:pt x="2039" y="5080"/>
                  </a:lnTo>
                  <a:lnTo>
                    <a:pt x="2316" y="5115"/>
                  </a:lnTo>
                  <a:lnTo>
                    <a:pt x="2834" y="5115"/>
                  </a:lnTo>
                  <a:lnTo>
                    <a:pt x="3076" y="5080"/>
                  </a:lnTo>
                  <a:lnTo>
                    <a:pt x="3318" y="5011"/>
                  </a:lnTo>
                  <a:lnTo>
                    <a:pt x="3560" y="4907"/>
                  </a:lnTo>
                  <a:lnTo>
                    <a:pt x="3801" y="4804"/>
                  </a:lnTo>
                  <a:lnTo>
                    <a:pt x="4009" y="4700"/>
                  </a:lnTo>
                  <a:lnTo>
                    <a:pt x="4182" y="4527"/>
                  </a:lnTo>
                  <a:lnTo>
                    <a:pt x="4389" y="4389"/>
                  </a:lnTo>
                  <a:lnTo>
                    <a:pt x="4527" y="4182"/>
                  </a:lnTo>
                  <a:lnTo>
                    <a:pt x="4700" y="4009"/>
                  </a:lnTo>
                  <a:lnTo>
                    <a:pt x="4804" y="3767"/>
                  </a:lnTo>
                  <a:lnTo>
                    <a:pt x="4907" y="3560"/>
                  </a:lnTo>
                  <a:lnTo>
                    <a:pt x="5011" y="3318"/>
                  </a:lnTo>
                  <a:lnTo>
                    <a:pt x="5080" y="3076"/>
                  </a:lnTo>
                  <a:lnTo>
                    <a:pt x="5115" y="2834"/>
                  </a:lnTo>
                  <a:lnTo>
                    <a:pt x="5115" y="2557"/>
                  </a:lnTo>
                  <a:lnTo>
                    <a:pt x="5115" y="2281"/>
                  </a:lnTo>
                  <a:lnTo>
                    <a:pt x="5080" y="2039"/>
                  </a:lnTo>
                  <a:lnTo>
                    <a:pt x="5011" y="1797"/>
                  </a:lnTo>
                  <a:lnTo>
                    <a:pt x="4907" y="1555"/>
                  </a:lnTo>
                  <a:lnTo>
                    <a:pt x="4804" y="1348"/>
                  </a:lnTo>
                  <a:lnTo>
                    <a:pt x="4700" y="1141"/>
                  </a:lnTo>
                  <a:lnTo>
                    <a:pt x="4527" y="933"/>
                  </a:lnTo>
                  <a:lnTo>
                    <a:pt x="4389" y="760"/>
                  </a:lnTo>
                  <a:lnTo>
                    <a:pt x="4182" y="588"/>
                  </a:lnTo>
                  <a:lnTo>
                    <a:pt x="4009" y="449"/>
                  </a:lnTo>
                  <a:lnTo>
                    <a:pt x="3801" y="311"/>
                  </a:lnTo>
                  <a:lnTo>
                    <a:pt x="3560" y="208"/>
                  </a:lnTo>
                  <a:lnTo>
                    <a:pt x="3318" y="104"/>
                  </a:lnTo>
                  <a:lnTo>
                    <a:pt x="3076" y="35"/>
                  </a:lnTo>
                  <a:lnTo>
                    <a:pt x="2834" y="0"/>
                  </a:lnTo>
                  <a:close/>
                </a:path>
              </a:pathLst>
            </a:custGeom>
            <a:solidFill>
              <a:srgbClr val="E0301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99" name="Google Shape;2328;p11">
              <a:extLst>
                <a:ext uri="{FF2B5EF4-FFF2-40B4-BE49-F238E27FC236}">
                  <a16:creationId xmlns:a16="http://schemas.microsoft.com/office/drawing/2014/main" id="{89E26F09-A5EC-371F-51C3-8D48CE3436F8}"/>
                </a:ext>
              </a:extLst>
            </p:cNvPr>
            <p:cNvSpPr/>
            <p:nvPr/>
          </p:nvSpPr>
          <p:spPr>
            <a:xfrm>
              <a:off x="2563375" y="2316675"/>
              <a:ext cx="334350" cy="120125"/>
            </a:xfrm>
            <a:custGeom>
              <a:avLst/>
              <a:gdLst/>
              <a:ahLst/>
              <a:cxnLst/>
              <a:rect l="l" t="t" r="r" b="b"/>
              <a:pathLst>
                <a:path w="13374" h="4805" extrusionOk="0">
                  <a:moveTo>
                    <a:pt x="13132" y="1"/>
                  </a:moveTo>
                  <a:lnTo>
                    <a:pt x="13062" y="35"/>
                  </a:lnTo>
                  <a:lnTo>
                    <a:pt x="12337" y="484"/>
                  </a:lnTo>
                  <a:lnTo>
                    <a:pt x="11266" y="1072"/>
                  </a:lnTo>
                  <a:lnTo>
                    <a:pt x="8570" y="2420"/>
                  </a:lnTo>
                  <a:lnTo>
                    <a:pt x="5978" y="3698"/>
                  </a:lnTo>
                  <a:lnTo>
                    <a:pt x="4596" y="4355"/>
                  </a:lnTo>
                  <a:lnTo>
                    <a:pt x="207" y="4355"/>
                  </a:lnTo>
                  <a:lnTo>
                    <a:pt x="104" y="4389"/>
                  </a:lnTo>
                  <a:lnTo>
                    <a:pt x="35" y="4424"/>
                  </a:lnTo>
                  <a:lnTo>
                    <a:pt x="0" y="4493"/>
                  </a:lnTo>
                  <a:lnTo>
                    <a:pt x="0" y="4597"/>
                  </a:lnTo>
                  <a:lnTo>
                    <a:pt x="0" y="4666"/>
                  </a:lnTo>
                  <a:lnTo>
                    <a:pt x="35" y="4735"/>
                  </a:lnTo>
                  <a:lnTo>
                    <a:pt x="104" y="4769"/>
                  </a:lnTo>
                  <a:lnTo>
                    <a:pt x="207" y="4804"/>
                  </a:lnTo>
                  <a:lnTo>
                    <a:pt x="4631" y="4804"/>
                  </a:lnTo>
                  <a:lnTo>
                    <a:pt x="4734" y="4769"/>
                  </a:lnTo>
                  <a:lnTo>
                    <a:pt x="5978" y="4182"/>
                  </a:lnTo>
                  <a:lnTo>
                    <a:pt x="8605" y="2903"/>
                  </a:lnTo>
                  <a:lnTo>
                    <a:pt x="11404" y="1452"/>
                  </a:lnTo>
                  <a:lnTo>
                    <a:pt x="12544" y="865"/>
                  </a:lnTo>
                  <a:lnTo>
                    <a:pt x="13304" y="381"/>
                  </a:lnTo>
                  <a:lnTo>
                    <a:pt x="13339" y="312"/>
                  </a:lnTo>
                  <a:lnTo>
                    <a:pt x="13373" y="243"/>
                  </a:lnTo>
                  <a:lnTo>
                    <a:pt x="13373" y="173"/>
                  </a:lnTo>
                  <a:lnTo>
                    <a:pt x="13339" y="104"/>
                  </a:lnTo>
                  <a:lnTo>
                    <a:pt x="13270" y="35"/>
                  </a:lnTo>
                  <a:lnTo>
                    <a:pt x="13201"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00" name="Google Shape;2329;p11">
              <a:extLst>
                <a:ext uri="{FF2B5EF4-FFF2-40B4-BE49-F238E27FC236}">
                  <a16:creationId xmlns:a16="http://schemas.microsoft.com/office/drawing/2014/main" id="{627C0E64-A613-BFFE-26F4-49ECAC63F96A}"/>
                </a:ext>
              </a:extLst>
            </p:cNvPr>
            <p:cNvSpPr/>
            <p:nvPr/>
          </p:nvSpPr>
          <p:spPr>
            <a:xfrm>
              <a:off x="2347400" y="2406525"/>
              <a:ext cx="179700" cy="49275"/>
            </a:xfrm>
            <a:custGeom>
              <a:avLst/>
              <a:gdLst/>
              <a:ahLst/>
              <a:cxnLst/>
              <a:rect l="l" t="t" r="r" b="b"/>
              <a:pathLst>
                <a:path w="7188" h="1971" extrusionOk="0">
                  <a:moveTo>
                    <a:pt x="415" y="1"/>
                  </a:moveTo>
                  <a:lnTo>
                    <a:pt x="242" y="35"/>
                  </a:lnTo>
                  <a:lnTo>
                    <a:pt x="104" y="104"/>
                  </a:lnTo>
                  <a:lnTo>
                    <a:pt x="35" y="242"/>
                  </a:lnTo>
                  <a:lnTo>
                    <a:pt x="0" y="415"/>
                  </a:lnTo>
                  <a:lnTo>
                    <a:pt x="0" y="1590"/>
                  </a:lnTo>
                  <a:lnTo>
                    <a:pt x="35" y="1728"/>
                  </a:lnTo>
                  <a:lnTo>
                    <a:pt x="104" y="1867"/>
                  </a:lnTo>
                  <a:lnTo>
                    <a:pt x="242" y="1936"/>
                  </a:lnTo>
                  <a:lnTo>
                    <a:pt x="415" y="1970"/>
                  </a:lnTo>
                  <a:lnTo>
                    <a:pt x="6773" y="1970"/>
                  </a:lnTo>
                  <a:lnTo>
                    <a:pt x="6946" y="1936"/>
                  </a:lnTo>
                  <a:lnTo>
                    <a:pt x="7084" y="1867"/>
                  </a:lnTo>
                  <a:lnTo>
                    <a:pt x="7153" y="1728"/>
                  </a:lnTo>
                  <a:lnTo>
                    <a:pt x="7188" y="1590"/>
                  </a:lnTo>
                  <a:lnTo>
                    <a:pt x="7188" y="415"/>
                  </a:lnTo>
                  <a:lnTo>
                    <a:pt x="7153" y="242"/>
                  </a:lnTo>
                  <a:lnTo>
                    <a:pt x="7084" y="104"/>
                  </a:lnTo>
                  <a:lnTo>
                    <a:pt x="6946" y="35"/>
                  </a:lnTo>
                  <a:lnTo>
                    <a:pt x="6773" y="1"/>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01" name="Google Shape;2330;p11">
              <a:extLst>
                <a:ext uri="{FF2B5EF4-FFF2-40B4-BE49-F238E27FC236}">
                  <a16:creationId xmlns:a16="http://schemas.microsoft.com/office/drawing/2014/main" id="{D3E3A13C-F122-8A25-16DC-141BC96C1376}"/>
                </a:ext>
              </a:extLst>
            </p:cNvPr>
            <p:cNvSpPr/>
            <p:nvPr/>
          </p:nvSpPr>
          <p:spPr>
            <a:xfrm>
              <a:off x="2347400" y="2406525"/>
              <a:ext cx="179700" cy="49275"/>
            </a:xfrm>
            <a:custGeom>
              <a:avLst/>
              <a:gdLst/>
              <a:ahLst/>
              <a:cxnLst/>
              <a:rect l="l" t="t" r="r" b="b"/>
              <a:pathLst>
                <a:path w="7188" h="1971" fill="none" extrusionOk="0">
                  <a:moveTo>
                    <a:pt x="6773" y="1"/>
                  </a:moveTo>
                  <a:lnTo>
                    <a:pt x="415" y="1"/>
                  </a:lnTo>
                  <a:lnTo>
                    <a:pt x="415" y="1"/>
                  </a:lnTo>
                  <a:lnTo>
                    <a:pt x="242" y="35"/>
                  </a:lnTo>
                  <a:lnTo>
                    <a:pt x="104" y="104"/>
                  </a:lnTo>
                  <a:lnTo>
                    <a:pt x="35" y="242"/>
                  </a:lnTo>
                  <a:lnTo>
                    <a:pt x="0" y="415"/>
                  </a:lnTo>
                  <a:lnTo>
                    <a:pt x="0" y="1590"/>
                  </a:lnTo>
                  <a:lnTo>
                    <a:pt x="0" y="1590"/>
                  </a:lnTo>
                  <a:lnTo>
                    <a:pt x="35" y="1728"/>
                  </a:lnTo>
                  <a:lnTo>
                    <a:pt x="104" y="1867"/>
                  </a:lnTo>
                  <a:lnTo>
                    <a:pt x="242" y="1936"/>
                  </a:lnTo>
                  <a:lnTo>
                    <a:pt x="415" y="1970"/>
                  </a:lnTo>
                  <a:lnTo>
                    <a:pt x="6773" y="1970"/>
                  </a:lnTo>
                  <a:lnTo>
                    <a:pt x="6773" y="1970"/>
                  </a:lnTo>
                  <a:lnTo>
                    <a:pt x="6946" y="1936"/>
                  </a:lnTo>
                  <a:lnTo>
                    <a:pt x="7084" y="1867"/>
                  </a:lnTo>
                  <a:lnTo>
                    <a:pt x="7153" y="1728"/>
                  </a:lnTo>
                  <a:lnTo>
                    <a:pt x="7188" y="1590"/>
                  </a:lnTo>
                  <a:lnTo>
                    <a:pt x="7188" y="415"/>
                  </a:lnTo>
                  <a:lnTo>
                    <a:pt x="7188" y="415"/>
                  </a:lnTo>
                  <a:lnTo>
                    <a:pt x="7153" y="242"/>
                  </a:lnTo>
                  <a:lnTo>
                    <a:pt x="7084" y="104"/>
                  </a:lnTo>
                  <a:lnTo>
                    <a:pt x="6946" y="35"/>
                  </a:lnTo>
                  <a:lnTo>
                    <a:pt x="6773"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02" name="Google Shape;2331;p11">
              <a:extLst>
                <a:ext uri="{FF2B5EF4-FFF2-40B4-BE49-F238E27FC236}">
                  <a16:creationId xmlns:a16="http://schemas.microsoft.com/office/drawing/2014/main" id="{8C475CE7-8C95-B954-C7E5-2F0838785505}"/>
                </a:ext>
              </a:extLst>
            </p:cNvPr>
            <p:cNvSpPr/>
            <p:nvPr/>
          </p:nvSpPr>
          <p:spPr>
            <a:xfrm>
              <a:off x="2078725" y="2406525"/>
              <a:ext cx="109725" cy="49275"/>
            </a:xfrm>
            <a:custGeom>
              <a:avLst/>
              <a:gdLst/>
              <a:ahLst/>
              <a:cxnLst/>
              <a:rect l="l" t="t" r="r" b="b"/>
              <a:pathLst>
                <a:path w="4389" h="1971" extrusionOk="0">
                  <a:moveTo>
                    <a:pt x="242" y="1"/>
                  </a:moveTo>
                  <a:lnTo>
                    <a:pt x="138" y="35"/>
                  </a:lnTo>
                  <a:lnTo>
                    <a:pt x="69" y="104"/>
                  </a:lnTo>
                  <a:lnTo>
                    <a:pt x="35" y="208"/>
                  </a:lnTo>
                  <a:lnTo>
                    <a:pt x="0" y="346"/>
                  </a:lnTo>
                  <a:lnTo>
                    <a:pt x="0" y="1625"/>
                  </a:lnTo>
                  <a:lnTo>
                    <a:pt x="35" y="1763"/>
                  </a:lnTo>
                  <a:lnTo>
                    <a:pt x="69" y="1867"/>
                  </a:lnTo>
                  <a:lnTo>
                    <a:pt x="138" y="1970"/>
                  </a:lnTo>
                  <a:lnTo>
                    <a:pt x="4250" y="1970"/>
                  </a:lnTo>
                  <a:lnTo>
                    <a:pt x="4320" y="1867"/>
                  </a:lnTo>
                  <a:lnTo>
                    <a:pt x="4354" y="1763"/>
                  </a:lnTo>
                  <a:lnTo>
                    <a:pt x="4389" y="1625"/>
                  </a:lnTo>
                  <a:lnTo>
                    <a:pt x="4389" y="346"/>
                  </a:lnTo>
                  <a:lnTo>
                    <a:pt x="4354" y="208"/>
                  </a:lnTo>
                  <a:lnTo>
                    <a:pt x="4320" y="104"/>
                  </a:lnTo>
                  <a:lnTo>
                    <a:pt x="4250" y="35"/>
                  </a:lnTo>
                  <a:lnTo>
                    <a:pt x="4147" y="1"/>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03" name="Google Shape;2332;p11">
              <a:extLst>
                <a:ext uri="{FF2B5EF4-FFF2-40B4-BE49-F238E27FC236}">
                  <a16:creationId xmlns:a16="http://schemas.microsoft.com/office/drawing/2014/main" id="{5DED39A1-816C-590F-4ABD-395C6886D5E5}"/>
                </a:ext>
              </a:extLst>
            </p:cNvPr>
            <p:cNvSpPr/>
            <p:nvPr/>
          </p:nvSpPr>
          <p:spPr>
            <a:xfrm>
              <a:off x="2078725" y="2406525"/>
              <a:ext cx="109725" cy="49275"/>
            </a:xfrm>
            <a:custGeom>
              <a:avLst/>
              <a:gdLst/>
              <a:ahLst/>
              <a:cxnLst/>
              <a:rect l="l" t="t" r="r" b="b"/>
              <a:pathLst>
                <a:path w="4389" h="1971" fill="none" extrusionOk="0">
                  <a:moveTo>
                    <a:pt x="4147" y="1"/>
                  </a:moveTo>
                  <a:lnTo>
                    <a:pt x="242" y="1"/>
                  </a:lnTo>
                  <a:lnTo>
                    <a:pt x="242" y="1"/>
                  </a:lnTo>
                  <a:lnTo>
                    <a:pt x="138" y="35"/>
                  </a:lnTo>
                  <a:lnTo>
                    <a:pt x="69" y="104"/>
                  </a:lnTo>
                  <a:lnTo>
                    <a:pt x="35" y="208"/>
                  </a:lnTo>
                  <a:lnTo>
                    <a:pt x="0" y="346"/>
                  </a:lnTo>
                  <a:lnTo>
                    <a:pt x="0" y="1625"/>
                  </a:lnTo>
                  <a:lnTo>
                    <a:pt x="0" y="1625"/>
                  </a:lnTo>
                  <a:lnTo>
                    <a:pt x="35" y="1763"/>
                  </a:lnTo>
                  <a:lnTo>
                    <a:pt x="69" y="1867"/>
                  </a:lnTo>
                  <a:lnTo>
                    <a:pt x="138" y="1970"/>
                  </a:lnTo>
                  <a:lnTo>
                    <a:pt x="242" y="1970"/>
                  </a:lnTo>
                  <a:lnTo>
                    <a:pt x="4147" y="1970"/>
                  </a:lnTo>
                  <a:lnTo>
                    <a:pt x="4147" y="1970"/>
                  </a:lnTo>
                  <a:lnTo>
                    <a:pt x="4250" y="1970"/>
                  </a:lnTo>
                  <a:lnTo>
                    <a:pt x="4320" y="1867"/>
                  </a:lnTo>
                  <a:lnTo>
                    <a:pt x="4354" y="1763"/>
                  </a:lnTo>
                  <a:lnTo>
                    <a:pt x="4389" y="1625"/>
                  </a:lnTo>
                  <a:lnTo>
                    <a:pt x="4389" y="346"/>
                  </a:lnTo>
                  <a:lnTo>
                    <a:pt x="4389" y="346"/>
                  </a:lnTo>
                  <a:lnTo>
                    <a:pt x="4354" y="208"/>
                  </a:lnTo>
                  <a:lnTo>
                    <a:pt x="4320" y="104"/>
                  </a:lnTo>
                  <a:lnTo>
                    <a:pt x="4250" y="35"/>
                  </a:lnTo>
                  <a:lnTo>
                    <a:pt x="4147"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04" name="Google Shape;2333;p11">
              <a:extLst>
                <a:ext uri="{FF2B5EF4-FFF2-40B4-BE49-F238E27FC236}">
                  <a16:creationId xmlns:a16="http://schemas.microsoft.com/office/drawing/2014/main" id="{4AEDB4DF-EBB4-BE1F-707D-2E1BC0C21B77}"/>
                </a:ext>
              </a:extLst>
            </p:cNvPr>
            <p:cNvSpPr/>
            <p:nvPr/>
          </p:nvSpPr>
          <p:spPr>
            <a:xfrm>
              <a:off x="2210900" y="2406525"/>
              <a:ext cx="102825" cy="49275"/>
            </a:xfrm>
            <a:custGeom>
              <a:avLst/>
              <a:gdLst/>
              <a:ahLst/>
              <a:cxnLst/>
              <a:rect l="l" t="t" r="r" b="b"/>
              <a:pathLst>
                <a:path w="4113" h="1971" extrusionOk="0">
                  <a:moveTo>
                    <a:pt x="380" y="1"/>
                  </a:moveTo>
                  <a:lnTo>
                    <a:pt x="242" y="35"/>
                  </a:lnTo>
                  <a:lnTo>
                    <a:pt x="104" y="104"/>
                  </a:lnTo>
                  <a:lnTo>
                    <a:pt x="35" y="208"/>
                  </a:lnTo>
                  <a:lnTo>
                    <a:pt x="0" y="346"/>
                  </a:lnTo>
                  <a:lnTo>
                    <a:pt x="0" y="1625"/>
                  </a:lnTo>
                  <a:lnTo>
                    <a:pt x="35" y="1763"/>
                  </a:lnTo>
                  <a:lnTo>
                    <a:pt x="104" y="1867"/>
                  </a:lnTo>
                  <a:lnTo>
                    <a:pt x="242" y="1970"/>
                  </a:lnTo>
                  <a:lnTo>
                    <a:pt x="3905" y="1970"/>
                  </a:lnTo>
                  <a:lnTo>
                    <a:pt x="4009" y="1867"/>
                  </a:lnTo>
                  <a:lnTo>
                    <a:pt x="4078" y="1763"/>
                  </a:lnTo>
                  <a:lnTo>
                    <a:pt x="4112" y="1625"/>
                  </a:lnTo>
                  <a:lnTo>
                    <a:pt x="4112" y="346"/>
                  </a:lnTo>
                  <a:lnTo>
                    <a:pt x="4078" y="208"/>
                  </a:lnTo>
                  <a:lnTo>
                    <a:pt x="4009" y="104"/>
                  </a:lnTo>
                  <a:lnTo>
                    <a:pt x="3905" y="35"/>
                  </a:lnTo>
                  <a:lnTo>
                    <a:pt x="3767" y="1"/>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05" name="Google Shape;2334;p11">
              <a:extLst>
                <a:ext uri="{FF2B5EF4-FFF2-40B4-BE49-F238E27FC236}">
                  <a16:creationId xmlns:a16="http://schemas.microsoft.com/office/drawing/2014/main" id="{AC921599-AEB7-DAC0-9DBD-88EB59C021C5}"/>
                </a:ext>
              </a:extLst>
            </p:cNvPr>
            <p:cNvSpPr/>
            <p:nvPr/>
          </p:nvSpPr>
          <p:spPr>
            <a:xfrm>
              <a:off x="2210900" y="2406525"/>
              <a:ext cx="102825" cy="49275"/>
            </a:xfrm>
            <a:custGeom>
              <a:avLst/>
              <a:gdLst/>
              <a:ahLst/>
              <a:cxnLst/>
              <a:rect l="l" t="t" r="r" b="b"/>
              <a:pathLst>
                <a:path w="4113" h="1971" fill="none" extrusionOk="0">
                  <a:moveTo>
                    <a:pt x="3767" y="1"/>
                  </a:moveTo>
                  <a:lnTo>
                    <a:pt x="380" y="1"/>
                  </a:lnTo>
                  <a:lnTo>
                    <a:pt x="380" y="1"/>
                  </a:lnTo>
                  <a:lnTo>
                    <a:pt x="242" y="35"/>
                  </a:lnTo>
                  <a:lnTo>
                    <a:pt x="104" y="104"/>
                  </a:lnTo>
                  <a:lnTo>
                    <a:pt x="35" y="208"/>
                  </a:lnTo>
                  <a:lnTo>
                    <a:pt x="0" y="346"/>
                  </a:lnTo>
                  <a:lnTo>
                    <a:pt x="0" y="1625"/>
                  </a:lnTo>
                  <a:lnTo>
                    <a:pt x="0" y="1625"/>
                  </a:lnTo>
                  <a:lnTo>
                    <a:pt x="35" y="1763"/>
                  </a:lnTo>
                  <a:lnTo>
                    <a:pt x="104" y="1867"/>
                  </a:lnTo>
                  <a:lnTo>
                    <a:pt x="242" y="1970"/>
                  </a:lnTo>
                  <a:lnTo>
                    <a:pt x="380" y="1970"/>
                  </a:lnTo>
                  <a:lnTo>
                    <a:pt x="3767" y="1970"/>
                  </a:lnTo>
                  <a:lnTo>
                    <a:pt x="3767" y="1970"/>
                  </a:lnTo>
                  <a:lnTo>
                    <a:pt x="3905" y="1970"/>
                  </a:lnTo>
                  <a:lnTo>
                    <a:pt x="4009" y="1867"/>
                  </a:lnTo>
                  <a:lnTo>
                    <a:pt x="4078" y="1763"/>
                  </a:lnTo>
                  <a:lnTo>
                    <a:pt x="4112" y="1625"/>
                  </a:lnTo>
                  <a:lnTo>
                    <a:pt x="4112" y="346"/>
                  </a:lnTo>
                  <a:lnTo>
                    <a:pt x="4112" y="346"/>
                  </a:lnTo>
                  <a:lnTo>
                    <a:pt x="4078" y="208"/>
                  </a:lnTo>
                  <a:lnTo>
                    <a:pt x="4009" y="104"/>
                  </a:lnTo>
                  <a:lnTo>
                    <a:pt x="3905" y="35"/>
                  </a:lnTo>
                  <a:lnTo>
                    <a:pt x="3767"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06" name="Google Shape;2335;p11">
              <a:extLst>
                <a:ext uri="{FF2B5EF4-FFF2-40B4-BE49-F238E27FC236}">
                  <a16:creationId xmlns:a16="http://schemas.microsoft.com/office/drawing/2014/main" id="{977D8C76-8FF5-C4CD-8CF2-BBB8B57544D2}"/>
                </a:ext>
              </a:extLst>
            </p:cNvPr>
            <p:cNvSpPr/>
            <p:nvPr/>
          </p:nvSpPr>
          <p:spPr>
            <a:xfrm>
              <a:off x="3308050" y="1624700"/>
              <a:ext cx="127900" cy="193525"/>
            </a:xfrm>
            <a:custGeom>
              <a:avLst/>
              <a:gdLst/>
              <a:ahLst/>
              <a:cxnLst/>
              <a:rect l="l" t="t" r="r" b="b"/>
              <a:pathLst>
                <a:path w="5116" h="7741" extrusionOk="0">
                  <a:moveTo>
                    <a:pt x="243" y="0"/>
                  </a:moveTo>
                  <a:lnTo>
                    <a:pt x="139" y="35"/>
                  </a:lnTo>
                  <a:lnTo>
                    <a:pt x="70" y="69"/>
                  </a:lnTo>
                  <a:lnTo>
                    <a:pt x="35" y="138"/>
                  </a:lnTo>
                  <a:lnTo>
                    <a:pt x="1" y="207"/>
                  </a:lnTo>
                  <a:lnTo>
                    <a:pt x="35" y="276"/>
                  </a:lnTo>
                  <a:lnTo>
                    <a:pt x="70" y="346"/>
                  </a:lnTo>
                  <a:lnTo>
                    <a:pt x="139" y="415"/>
                  </a:lnTo>
                  <a:lnTo>
                    <a:pt x="208" y="415"/>
                  </a:lnTo>
                  <a:lnTo>
                    <a:pt x="2696" y="587"/>
                  </a:lnTo>
                  <a:lnTo>
                    <a:pt x="3249" y="2488"/>
                  </a:lnTo>
                  <a:lnTo>
                    <a:pt x="3906" y="4769"/>
                  </a:lnTo>
                  <a:lnTo>
                    <a:pt x="4700" y="7568"/>
                  </a:lnTo>
                  <a:lnTo>
                    <a:pt x="4735" y="7637"/>
                  </a:lnTo>
                  <a:lnTo>
                    <a:pt x="4770" y="7706"/>
                  </a:lnTo>
                  <a:lnTo>
                    <a:pt x="4839" y="7741"/>
                  </a:lnTo>
                  <a:lnTo>
                    <a:pt x="4942" y="7741"/>
                  </a:lnTo>
                  <a:lnTo>
                    <a:pt x="5046" y="7706"/>
                  </a:lnTo>
                  <a:lnTo>
                    <a:pt x="5081" y="7637"/>
                  </a:lnTo>
                  <a:lnTo>
                    <a:pt x="5115" y="7568"/>
                  </a:lnTo>
                  <a:lnTo>
                    <a:pt x="5115" y="7464"/>
                  </a:lnTo>
                  <a:lnTo>
                    <a:pt x="4286" y="4561"/>
                  </a:lnTo>
                  <a:lnTo>
                    <a:pt x="3595" y="2177"/>
                  </a:lnTo>
                  <a:lnTo>
                    <a:pt x="3042" y="311"/>
                  </a:lnTo>
                  <a:lnTo>
                    <a:pt x="2973" y="207"/>
                  </a:lnTo>
                  <a:lnTo>
                    <a:pt x="2834" y="173"/>
                  </a:lnTo>
                  <a:lnTo>
                    <a:pt x="243" y="0"/>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07" name="Google Shape;2336;p11">
              <a:extLst>
                <a:ext uri="{FF2B5EF4-FFF2-40B4-BE49-F238E27FC236}">
                  <a16:creationId xmlns:a16="http://schemas.microsoft.com/office/drawing/2014/main" id="{0F427B09-7443-AAAD-EEFB-E092D2F6DD64}"/>
                </a:ext>
              </a:extLst>
            </p:cNvPr>
            <p:cNvSpPr/>
            <p:nvPr/>
          </p:nvSpPr>
          <p:spPr>
            <a:xfrm>
              <a:off x="3462700" y="1795750"/>
              <a:ext cx="85550" cy="41475"/>
            </a:xfrm>
            <a:custGeom>
              <a:avLst/>
              <a:gdLst/>
              <a:ahLst/>
              <a:cxnLst/>
              <a:rect l="l" t="t" r="r" b="b"/>
              <a:pathLst>
                <a:path w="3422" h="1659" extrusionOk="0">
                  <a:moveTo>
                    <a:pt x="208" y="0"/>
                  </a:moveTo>
                  <a:lnTo>
                    <a:pt x="104" y="69"/>
                  </a:lnTo>
                  <a:lnTo>
                    <a:pt x="35" y="173"/>
                  </a:lnTo>
                  <a:lnTo>
                    <a:pt x="0" y="311"/>
                  </a:lnTo>
                  <a:lnTo>
                    <a:pt x="0" y="1348"/>
                  </a:lnTo>
                  <a:lnTo>
                    <a:pt x="35" y="1452"/>
                  </a:lnTo>
                  <a:lnTo>
                    <a:pt x="104" y="1555"/>
                  </a:lnTo>
                  <a:lnTo>
                    <a:pt x="208" y="1624"/>
                  </a:lnTo>
                  <a:lnTo>
                    <a:pt x="311" y="1659"/>
                  </a:lnTo>
                  <a:lnTo>
                    <a:pt x="3145" y="1659"/>
                  </a:lnTo>
                  <a:lnTo>
                    <a:pt x="3249" y="1624"/>
                  </a:lnTo>
                  <a:lnTo>
                    <a:pt x="3352" y="1555"/>
                  </a:lnTo>
                  <a:lnTo>
                    <a:pt x="3421" y="1452"/>
                  </a:lnTo>
                  <a:lnTo>
                    <a:pt x="3421" y="1348"/>
                  </a:lnTo>
                  <a:lnTo>
                    <a:pt x="3421" y="311"/>
                  </a:lnTo>
                  <a:lnTo>
                    <a:pt x="3421" y="173"/>
                  </a:lnTo>
                  <a:lnTo>
                    <a:pt x="3352" y="69"/>
                  </a:lnTo>
                  <a:lnTo>
                    <a:pt x="3249"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08" name="Google Shape;2337;p11">
              <a:extLst>
                <a:ext uri="{FF2B5EF4-FFF2-40B4-BE49-F238E27FC236}">
                  <a16:creationId xmlns:a16="http://schemas.microsoft.com/office/drawing/2014/main" id="{D3C74D92-34F4-1488-72D2-946B95373493}"/>
                </a:ext>
              </a:extLst>
            </p:cNvPr>
            <p:cNvSpPr/>
            <p:nvPr/>
          </p:nvSpPr>
          <p:spPr>
            <a:xfrm>
              <a:off x="3462700" y="1795750"/>
              <a:ext cx="85550" cy="41475"/>
            </a:xfrm>
            <a:custGeom>
              <a:avLst/>
              <a:gdLst/>
              <a:ahLst/>
              <a:cxnLst/>
              <a:rect l="l" t="t" r="r" b="b"/>
              <a:pathLst>
                <a:path w="3422" h="1659" fill="none" extrusionOk="0">
                  <a:moveTo>
                    <a:pt x="3145" y="0"/>
                  </a:moveTo>
                  <a:lnTo>
                    <a:pt x="311" y="0"/>
                  </a:lnTo>
                  <a:lnTo>
                    <a:pt x="311" y="0"/>
                  </a:lnTo>
                  <a:lnTo>
                    <a:pt x="208" y="0"/>
                  </a:lnTo>
                  <a:lnTo>
                    <a:pt x="104" y="69"/>
                  </a:lnTo>
                  <a:lnTo>
                    <a:pt x="35" y="173"/>
                  </a:lnTo>
                  <a:lnTo>
                    <a:pt x="0" y="311"/>
                  </a:lnTo>
                  <a:lnTo>
                    <a:pt x="0" y="1348"/>
                  </a:lnTo>
                  <a:lnTo>
                    <a:pt x="0" y="1348"/>
                  </a:lnTo>
                  <a:lnTo>
                    <a:pt x="35" y="1452"/>
                  </a:lnTo>
                  <a:lnTo>
                    <a:pt x="104" y="1555"/>
                  </a:lnTo>
                  <a:lnTo>
                    <a:pt x="208" y="1624"/>
                  </a:lnTo>
                  <a:lnTo>
                    <a:pt x="311" y="1659"/>
                  </a:lnTo>
                  <a:lnTo>
                    <a:pt x="3145" y="1659"/>
                  </a:lnTo>
                  <a:lnTo>
                    <a:pt x="3145" y="1659"/>
                  </a:lnTo>
                  <a:lnTo>
                    <a:pt x="3249" y="1624"/>
                  </a:lnTo>
                  <a:lnTo>
                    <a:pt x="3352" y="1555"/>
                  </a:lnTo>
                  <a:lnTo>
                    <a:pt x="3421" y="1452"/>
                  </a:lnTo>
                  <a:lnTo>
                    <a:pt x="3421" y="1348"/>
                  </a:lnTo>
                  <a:lnTo>
                    <a:pt x="3421" y="311"/>
                  </a:lnTo>
                  <a:lnTo>
                    <a:pt x="3421" y="311"/>
                  </a:lnTo>
                  <a:lnTo>
                    <a:pt x="3421" y="173"/>
                  </a:lnTo>
                  <a:lnTo>
                    <a:pt x="3352" y="69"/>
                  </a:lnTo>
                  <a:lnTo>
                    <a:pt x="3249" y="0"/>
                  </a:lnTo>
                  <a:lnTo>
                    <a:pt x="3145"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09" name="Google Shape;2338;p11">
              <a:extLst>
                <a:ext uri="{FF2B5EF4-FFF2-40B4-BE49-F238E27FC236}">
                  <a16:creationId xmlns:a16="http://schemas.microsoft.com/office/drawing/2014/main" id="{9EEB2AA3-30AC-A61D-832F-D7026642F76A}"/>
                </a:ext>
              </a:extLst>
            </p:cNvPr>
            <p:cNvSpPr/>
            <p:nvPr/>
          </p:nvSpPr>
          <p:spPr>
            <a:xfrm>
              <a:off x="3576725" y="1794025"/>
              <a:ext cx="149500" cy="41475"/>
            </a:xfrm>
            <a:custGeom>
              <a:avLst/>
              <a:gdLst/>
              <a:ahLst/>
              <a:cxnLst/>
              <a:rect l="l" t="t" r="r" b="b"/>
              <a:pathLst>
                <a:path w="5980" h="1659" extrusionOk="0">
                  <a:moveTo>
                    <a:pt x="346" y="0"/>
                  </a:moveTo>
                  <a:lnTo>
                    <a:pt x="208" y="35"/>
                  </a:lnTo>
                  <a:lnTo>
                    <a:pt x="104" y="104"/>
                  </a:lnTo>
                  <a:lnTo>
                    <a:pt x="35" y="207"/>
                  </a:lnTo>
                  <a:lnTo>
                    <a:pt x="1" y="346"/>
                  </a:lnTo>
                  <a:lnTo>
                    <a:pt x="1" y="1313"/>
                  </a:lnTo>
                  <a:lnTo>
                    <a:pt x="35" y="1451"/>
                  </a:lnTo>
                  <a:lnTo>
                    <a:pt x="104" y="1555"/>
                  </a:lnTo>
                  <a:lnTo>
                    <a:pt x="208" y="1624"/>
                  </a:lnTo>
                  <a:lnTo>
                    <a:pt x="346" y="1659"/>
                  </a:lnTo>
                  <a:lnTo>
                    <a:pt x="5633" y="1659"/>
                  </a:lnTo>
                  <a:lnTo>
                    <a:pt x="5772" y="1624"/>
                  </a:lnTo>
                  <a:lnTo>
                    <a:pt x="5875" y="1555"/>
                  </a:lnTo>
                  <a:lnTo>
                    <a:pt x="5944" y="1451"/>
                  </a:lnTo>
                  <a:lnTo>
                    <a:pt x="5979" y="1313"/>
                  </a:lnTo>
                  <a:lnTo>
                    <a:pt x="5979" y="346"/>
                  </a:lnTo>
                  <a:lnTo>
                    <a:pt x="5944" y="207"/>
                  </a:lnTo>
                  <a:lnTo>
                    <a:pt x="5875" y="104"/>
                  </a:lnTo>
                  <a:lnTo>
                    <a:pt x="5772" y="35"/>
                  </a:lnTo>
                  <a:lnTo>
                    <a:pt x="5633"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10" name="Google Shape;2339;p11">
              <a:extLst>
                <a:ext uri="{FF2B5EF4-FFF2-40B4-BE49-F238E27FC236}">
                  <a16:creationId xmlns:a16="http://schemas.microsoft.com/office/drawing/2014/main" id="{310AA25E-B5CE-3ECA-9956-5B36A6D07372}"/>
                </a:ext>
              </a:extLst>
            </p:cNvPr>
            <p:cNvSpPr/>
            <p:nvPr/>
          </p:nvSpPr>
          <p:spPr>
            <a:xfrm>
              <a:off x="3576725" y="1794025"/>
              <a:ext cx="149500" cy="41475"/>
            </a:xfrm>
            <a:custGeom>
              <a:avLst/>
              <a:gdLst/>
              <a:ahLst/>
              <a:cxnLst/>
              <a:rect l="l" t="t" r="r" b="b"/>
              <a:pathLst>
                <a:path w="5980" h="1659" fill="none" extrusionOk="0">
                  <a:moveTo>
                    <a:pt x="5633" y="0"/>
                  </a:moveTo>
                  <a:lnTo>
                    <a:pt x="346" y="0"/>
                  </a:lnTo>
                  <a:lnTo>
                    <a:pt x="346" y="0"/>
                  </a:lnTo>
                  <a:lnTo>
                    <a:pt x="208" y="35"/>
                  </a:lnTo>
                  <a:lnTo>
                    <a:pt x="104" y="104"/>
                  </a:lnTo>
                  <a:lnTo>
                    <a:pt x="35" y="207"/>
                  </a:lnTo>
                  <a:lnTo>
                    <a:pt x="1" y="346"/>
                  </a:lnTo>
                  <a:lnTo>
                    <a:pt x="1" y="1313"/>
                  </a:lnTo>
                  <a:lnTo>
                    <a:pt x="1" y="1313"/>
                  </a:lnTo>
                  <a:lnTo>
                    <a:pt x="35" y="1451"/>
                  </a:lnTo>
                  <a:lnTo>
                    <a:pt x="104" y="1555"/>
                  </a:lnTo>
                  <a:lnTo>
                    <a:pt x="208" y="1624"/>
                  </a:lnTo>
                  <a:lnTo>
                    <a:pt x="346" y="1659"/>
                  </a:lnTo>
                  <a:lnTo>
                    <a:pt x="5633" y="1659"/>
                  </a:lnTo>
                  <a:lnTo>
                    <a:pt x="5633" y="1659"/>
                  </a:lnTo>
                  <a:lnTo>
                    <a:pt x="5772" y="1624"/>
                  </a:lnTo>
                  <a:lnTo>
                    <a:pt x="5875" y="1555"/>
                  </a:lnTo>
                  <a:lnTo>
                    <a:pt x="5944" y="1451"/>
                  </a:lnTo>
                  <a:lnTo>
                    <a:pt x="5979" y="1313"/>
                  </a:lnTo>
                  <a:lnTo>
                    <a:pt x="5979" y="346"/>
                  </a:lnTo>
                  <a:lnTo>
                    <a:pt x="5979" y="346"/>
                  </a:lnTo>
                  <a:lnTo>
                    <a:pt x="5944" y="207"/>
                  </a:lnTo>
                  <a:lnTo>
                    <a:pt x="5875" y="104"/>
                  </a:lnTo>
                  <a:lnTo>
                    <a:pt x="5772" y="35"/>
                  </a:lnTo>
                  <a:lnTo>
                    <a:pt x="5633"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11" name="Google Shape;2340;p11">
              <a:extLst>
                <a:ext uri="{FF2B5EF4-FFF2-40B4-BE49-F238E27FC236}">
                  <a16:creationId xmlns:a16="http://schemas.microsoft.com/office/drawing/2014/main" id="{80C7D2DE-7E91-78A1-2D5F-6321541D0737}"/>
                </a:ext>
              </a:extLst>
            </p:cNvPr>
            <p:cNvSpPr/>
            <p:nvPr/>
          </p:nvSpPr>
          <p:spPr>
            <a:xfrm>
              <a:off x="3784075" y="1794025"/>
              <a:ext cx="137375" cy="41475"/>
            </a:xfrm>
            <a:custGeom>
              <a:avLst/>
              <a:gdLst/>
              <a:ahLst/>
              <a:cxnLst/>
              <a:rect l="l" t="t" r="r" b="b"/>
              <a:pathLst>
                <a:path w="5495" h="1659" extrusionOk="0">
                  <a:moveTo>
                    <a:pt x="311" y="0"/>
                  </a:moveTo>
                  <a:lnTo>
                    <a:pt x="173" y="35"/>
                  </a:lnTo>
                  <a:lnTo>
                    <a:pt x="69" y="104"/>
                  </a:lnTo>
                  <a:lnTo>
                    <a:pt x="35" y="207"/>
                  </a:lnTo>
                  <a:lnTo>
                    <a:pt x="0" y="311"/>
                  </a:lnTo>
                  <a:lnTo>
                    <a:pt x="0" y="1348"/>
                  </a:lnTo>
                  <a:lnTo>
                    <a:pt x="35" y="1486"/>
                  </a:lnTo>
                  <a:lnTo>
                    <a:pt x="69" y="1590"/>
                  </a:lnTo>
                  <a:lnTo>
                    <a:pt x="173" y="1624"/>
                  </a:lnTo>
                  <a:lnTo>
                    <a:pt x="311" y="1659"/>
                  </a:lnTo>
                  <a:lnTo>
                    <a:pt x="5218" y="1659"/>
                  </a:lnTo>
                  <a:lnTo>
                    <a:pt x="5322" y="1624"/>
                  </a:lnTo>
                  <a:lnTo>
                    <a:pt x="5426" y="1590"/>
                  </a:lnTo>
                  <a:lnTo>
                    <a:pt x="5495" y="1486"/>
                  </a:lnTo>
                  <a:lnTo>
                    <a:pt x="5495" y="1348"/>
                  </a:lnTo>
                  <a:lnTo>
                    <a:pt x="5495" y="311"/>
                  </a:lnTo>
                  <a:lnTo>
                    <a:pt x="5495" y="207"/>
                  </a:lnTo>
                  <a:lnTo>
                    <a:pt x="5426" y="104"/>
                  </a:lnTo>
                  <a:lnTo>
                    <a:pt x="5322" y="35"/>
                  </a:lnTo>
                  <a:lnTo>
                    <a:pt x="5218"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12" name="Google Shape;2341;p11">
              <a:extLst>
                <a:ext uri="{FF2B5EF4-FFF2-40B4-BE49-F238E27FC236}">
                  <a16:creationId xmlns:a16="http://schemas.microsoft.com/office/drawing/2014/main" id="{845CC00A-AC82-D48E-4EB7-5B80114C7328}"/>
                </a:ext>
              </a:extLst>
            </p:cNvPr>
            <p:cNvSpPr/>
            <p:nvPr/>
          </p:nvSpPr>
          <p:spPr>
            <a:xfrm>
              <a:off x="3784075" y="1794025"/>
              <a:ext cx="137375" cy="41475"/>
            </a:xfrm>
            <a:custGeom>
              <a:avLst/>
              <a:gdLst/>
              <a:ahLst/>
              <a:cxnLst/>
              <a:rect l="l" t="t" r="r" b="b"/>
              <a:pathLst>
                <a:path w="5495" h="1659" fill="none" extrusionOk="0">
                  <a:moveTo>
                    <a:pt x="5218" y="0"/>
                  </a:moveTo>
                  <a:lnTo>
                    <a:pt x="311" y="0"/>
                  </a:lnTo>
                  <a:lnTo>
                    <a:pt x="311" y="0"/>
                  </a:lnTo>
                  <a:lnTo>
                    <a:pt x="173" y="35"/>
                  </a:lnTo>
                  <a:lnTo>
                    <a:pt x="69" y="104"/>
                  </a:lnTo>
                  <a:lnTo>
                    <a:pt x="35" y="207"/>
                  </a:lnTo>
                  <a:lnTo>
                    <a:pt x="0" y="311"/>
                  </a:lnTo>
                  <a:lnTo>
                    <a:pt x="0" y="1348"/>
                  </a:lnTo>
                  <a:lnTo>
                    <a:pt x="0" y="1348"/>
                  </a:lnTo>
                  <a:lnTo>
                    <a:pt x="35" y="1486"/>
                  </a:lnTo>
                  <a:lnTo>
                    <a:pt x="69" y="1590"/>
                  </a:lnTo>
                  <a:lnTo>
                    <a:pt x="173" y="1624"/>
                  </a:lnTo>
                  <a:lnTo>
                    <a:pt x="311" y="1659"/>
                  </a:lnTo>
                  <a:lnTo>
                    <a:pt x="5218" y="1659"/>
                  </a:lnTo>
                  <a:lnTo>
                    <a:pt x="5218" y="1659"/>
                  </a:lnTo>
                  <a:lnTo>
                    <a:pt x="5322" y="1624"/>
                  </a:lnTo>
                  <a:lnTo>
                    <a:pt x="5426" y="1590"/>
                  </a:lnTo>
                  <a:lnTo>
                    <a:pt x="5495" y="1486"/>
                  </a:lnTo>
                  <a:lnTo>
                    <a:pt x="5495" y="1348"/>
                  </a:lnTo>
                  <a:lnTo>
                    <a:pt x="5495" y="311"/>
                  </a:lnTo>
                  <a:lnTo>
                    <a:pt x="5495" y="311"/>
                  </a:lnTo>
                  <a:lnTo>
                    <a:pt x="5495" y="207"/>
                  </a:lnTo>
                  <a:lnTo>
                    <a:pt x="5426" y="104"/>
                  </a:lnTo>
                  <a:lnTo>
                    <a:pt x="5322" y="35"/>
                  </a:lnTo>
                  <a:lnTo>
                    <a:pt x="5218"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13" name="Google Shape;2342;p11">
              <a:extLst>
                <a:ext uri="{FF2B5EF4-FFF2-40B4-BE49-F238E27FC236}">
                  <a16:creationId xmlns:a16="http://schemas.microsoft.com/office/drawing/2014/main" id="{6FA8F9BE-247B-2D55-58EE-E2397D89939A}"/>
                </a:ext>
              </a:extLst>
            </p:cNvPr>
            <p:cNvSpPr/>
            <p:nvPr/>
          </p:nvSpPr>
          <p:spPr>
            <a:xfrm>
              <a:off x="2479575" y="3152075"/>
              <a:ext cx="228950" cy="151225"/>
            </a:xfrm>
            <a:custGeom>
              <a:avLst/>
              <a:gdLst/>
              <a:ahLst/>
              <a:cxnLst/>
              <a:rect l="l" t="t" r="r" b="b"/>
              <a:pathLst>
                <a:path w="9158" h="6049" extrusionOk="0">
                  <a:moveTo>
                    <a:pt x="208" y="1"/>
                  </a:moveTo>
                  <a:lnTo>
                    <a:pt x="104" y="35"/>
                  </a:lnTo>
                  <a:lnTo>
                    <a:pt x="35" y="70"/>
                  </a:lnTo>
                  <a:lnTo>
                    <a:pt x="0" y="139"/>
                  </a:lnTo>
                  <a:lnTo>
                    <a:pt x="0" y="208"/>
                  </a:lnTo>
                  <a:lnTo>
                    <a:pt x="0" y="312"/>
                  </a:lnTo>
                  <a:lnTo>
                    <a:pt x="35" y="381"/>
                  </a:lnTo>
                  <a:lnTo>
                    <a:pt x="104" y="415"/>
                  </a:lnTo>
                  <a:lnTo>
                    <a:pt x="5045" y="415"/>
                  </a:lnTo>
                  <a:lnTo>
                    <a:pt x="8778" y="5944"/>
                  </a:lnTo>
                  <a:lnTo>
                    <a:pt x="8881" y="6014"/>
                  </a:lnTo>
                  <a:lnTo>
                    <a:pt x="8950" y="6048"/>
                  </a:lnTo>
                  <a:lnTo>
                    <a:pt x="9089" y="6014"/>
                  </a:lnTo>
                  <a:lnTo>
                    <a:pt x="9158" y="5944"/>
                  </a:lnTo>
                  <a:lnTo>
                    <a:pt x="9158" y="5875"/>
                  </a:lnTo>
                  <a:lnTo>
                    <a:pt x="9158" y="5806"/>
                  </a:lnTo>
                  <a:lnTo>
                    <a:pt x="9158" y="5703"/>
                  </a:lnTo>
                  <a:lnTo>
                    <a:pt x="5356" y="104"/>
                  </a:lnTo>
                  <a:lnTo>
                    <a:pt x="5287" y="35"/>
                  </a:lnTo>
                  <a:lnTo>
                    <a:pt x="5184"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14" name="Google Shape;2343;p11">
              <a:extLst>
                <a:ext uri="{FF2B5EF4-FFF2-40B4-BE49-F238E27FC236}">
                  <a16:creationId xmlns:a16="http://schemas.microsoft.com/office/drawing/2014/main" id="{B3A45F35-B6AF-C628-690B-5B4F402E4C57}"/>
                </a:ext>
              </a:extLst>
            </p:cNvPr>
            <p:cNvSpPr/>
            <p:nvPr/>
          </p:nvSpPr>
          <p:spPr>
            <a:xfrm>
              <a:off x="2011325" y="3137400"/>
              <a:ext cx="144300" cy="39750"/>
            </a:xfrm>
            <a:custGeom>
              <a:avLst/>
              <a:gdLst/>
              <a:ahLst/>
              <a:cxnLst/>
              <a:rect l="l" t="t" r="r" b="b"/>
              <a:pathLst>
                <a:path w="5772" h="1590" extrusionOk="0">
                  <a:moveTo>
                    <a:pt x="346" y="0"/>
                  </a:moveTo>
                  <a:lnTo>
                    <a:pt x="208" y="35"/>
                  </a:lnTo>
                  <a:lnTo>
                    <a:pt x="104" y="104"/>
                  </a:lnTo>
                  <a:lnTo>
                    <a:pt x="35" y="208"/>
                  </a:lnTo>
                  <a:lnTo>
                    <a:pt x="1" y="346"/>
                  </a:lnTo>
                  <a:lnTo>
                    <a:pt x="1" y="1279"/>
                  </a:lnTo>
                  <a:lnTo>
                    <a:pt x="35" y="1417"/>
                  </a:lnTo>
                  <a:lnTo>
                    <a:pt x="104" y="1521"/>
                  </a:lnTo>
                  <a:lnTo>
                    <a:pt x="208" y="1590"/>
                  </a:lnTo>
                  <a:lnTo>
                    <a:pt x="5564" y="1590"/>
                  </a:lnTo>
                  <a:lnTo>
                    <a:pt x="5668" y="1521"/>
                  </a:lnTo>
                  <a:lnTo>
                    <a:pt x="5737" y="1417"/>
                  </a:lnTo>
                  <a:lnTo>
                    <a:pt x="5772" y="1279"/>
                  </a:lnTo>
                  <a:lnTo>
                    <a:pt x="5772" y="346"/>
                  </a:lnTo>
                  <a:lnTo>
                    <a:pt x="5737" y="208"/>
                  </a:lnTo>
                  <a:lnTo>
                    <a:pt x="5668" y="104"/>
                  </a:lnTo>
                  <a:lnTo>
                    <a:pt x="5564" y="35"/>
                  </a:lnTo>
                  <a:lnTo>
                    <a:pt x="5461"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15" name="Google Shape;2344;p11">
              <a:extLst>
                <a:ext uri="{FF2B5EF4-FFF2-40B4-BE49-F238E27FC236}">
                  <a16:creationId xmlns:a16="http://schemas.microsoft.com/office/drawing/2014/main" id="{FCF771B6-68D6-8976-9141-D0542082FE42}"/>
                </a:ext>
              </a:extLst>
            </p:cNvPr>
            <p:cNvSpPr/>
            <p:nvPr/>
          </p:nvSpPr>
          <p:spPr>
            <a:xfrm>
              <a:off x="2011325" y="3137400"/>
              <a:ext cx="144300" cy="39750"/>
            </a:xfrm>
            <a:custGeom>
              <a:avLst/>
              <a:gdLst/>
              <a:ahLst/>
              <a:cxnLst/>
              <a:rect l="l" t="t" r="r" b="b"/>
              <a:pathLst>
                <a:path w="5772" h="1590" fill="none" extrusionOk="0">
                  <a:moveTo>
                    <a:pt x="5461" y="0"/>
                  </a:moveTo>
                  <a:lnTo>
                    <a:pt x="346" y="0"/>
                  </a:lnTo>
                  <a:lnTo>
                    <a:pt x="346" y="0"/>
                  </a:lnTo>
                  <a:lnTo>
                    <a:pt x="208" y="35"/>
                  </a:lnTo>
                  <a:lnTo>
                    <a:pt x="104" y="104"/>
                  </a:lnTo>
                  <a:lnTo>
                    <a:pt x="35" y="208"/>
                  </a:lnTo>
                  <a:lnTo>
                    <a:pt x="1" y="346"/>
                  </a:lnTo>
                  <a:lnTo>
                    <a:pt x="1" y="1279"/>
                  </a:lnTo>
                  <a:lnTo>
                    <a:pt x="1" y="1279"/>
                  </a:lnTo>
                  <a:lnTo>
                    <a:pt x="35" y="1417"/>
                  </a:lnTo>
                  <a:lnTo>
                    <a:pt x="104" y="1521"/>
                  </a:lnTo>
                  <a:lnTo>
                    <a:pt x="208" y="1590"/>
                  </a:lnTo>
                  <a:lnTo>
                    <a:pt x="346" y="1590"/>
                  </a:lnTo>
                  <a:lnTo>
                    <a:pt x="5461" y="1590"/>
                  </a:lnTo>
                  <a:lnTo>
                    <a:pt x="5461" y="1590"/>
                  </a:lnTo>
                  <a:lnTo>
                    <a:pt x="5564" y="1590"/>
                  </a:lnTo>
                  <a:lnTo>
                    <a:pt x="5668" y="1521"/>
                  </a:lnTo>
                  <a:lnTo>
                    <a:pt x="5737" y="1417"/>
                  </a:lnTo>
                  <a:lnTo>
                    <a:pt x="5772" y="1279"/>
                  </a:lnTo>
                  <a:lnTo>
                    <a:pt x="5772" y="346"/>
                  </a:lnTo>
                  <a:lnTo>
                    <a:pt x="5772" y="346"/>
                  </a:lnTo>
                  <a:lnTo>
                    <a:pt x="5737" y="208"/>
                  </a:lnTo>
                  <a:lnTo>
                    <a:pt x="5668" y="104"/>
                  </a:lnTo>
                  <a:lnTo>
                    <a:pt x="5564" y="35"/>
                  </a:lnTo>
                  <a:lnTo>
                    <a:pt x="546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16" name="Google Shape;2345;p11">
              <a:extLst>
                <a:ext uri="{FF2B5EF4-FFF2-40B4-BE49-F238E27FC236}">
                  <a16:creationId xmlns:a16="http://schemas.microsoft.com/office/drawing/2014/main" id="{3591BA3C-25AE-005E-4F8E-3E9EE32819DF}"/>
                </a:ext>
              </a:extLst>
            </p:cNvPr>
            <p:cNvSpPr/>
            <p:nvPr/>
          </p:nvSpPr>
          <p:spPr>
            <a:xfrm>
              <a:off x="2207425" y="3137400"/>
              <a:ext cx="132225" cy="39750"/>
            </a:xfrm>
            <a:custGeom>
              <a:avLst/>
              <a:gdLst/>
              <a:ahLst/>
              <a:cxnLst/>
              <a:rect l="l" t="t" r="r" b="b"/>
              <a:pathLst>
                <a:path w="5289" h="1590" extrusionOk="0">
                  <a:moveTo>
                    <a:pt x="277" y="0"/>
                  </a:moveTo>
                  <a:lnTo>
                    <a:pt x="174" y="35"/>
                  </a:lnTo>
                  <a:lnTo>
                    <a:pt x="70" y="104"/>
                  </a:lnTo>
                  <a:lnTo>
                    <a:pt x="1" y="173"/>
                  </a:lnTo>
                  <a:lnTo>
                    <a:pt x="1" y="311"/>
                  </a:lnTo>
                  <a:lnTo>
                    <a:pt x="1" y="1313"/>
                  </a:lnTo>
                  <a:lnTo>
                    <a:pt x="1" y="1417"/>
                  </a:lnTo>
                  <a:lnTo>
                    <a:pt x="70" y="1521"/>
                  </a:lnTo>
                  <a:lnTo>
                    <a:pt x="174" y="1590"/>
                  </a:lnTo>
                  <a:lnTo>
                    <a:pt x="5115" y="1590"/>
                  </a:lnTo>
                  <a:lnTo>
                    <a:pt x="5219" y="1521"/>
                  </a:lnTo>
                  <a:lnTo>
                    <a:pt x="5288" y="1417"/>
                  </a:lnTo>
                  <a:lnTo>
                    <a:pt x="5288" y="1313"/>
                  </a:lnTo>
                  <a:lnTo>
                    <a:pt x="5288" y="311"/>
                  </a:lnTo>
                  <a:lnTo>
                    <a:pt x="5288" y="173"/>
                  </a:lnTo>
                  <a:lnTo>
                    <a:pt x="5219" y="104"/>
                  </a:lnTo>
                  <a:lnTo>
                    <a:pt x="5115" y="35"/>
                  </a:lnTo>
                  <a:lnTo>
                    <a:pt x="5012"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17" name="Google Shape;2346;p11">
              <a:extLst>
                <a:ext uri="{FF2B5EF4-FFF2-40B4-BE49-F238E27FC236}">
                  <a16:creationId xmlns:a16="http://schemas.microsoft.com/office/drawing/2014/main" id="{D22F983C-B19E-4124-E8A3-5E179A9505A8}"/>
                </a:ext>
              </a:extLst>
            </p:cNvPr>
            <p:cNvSpPr/>
            <p:nvPr/>
          </p:nvSpPr>
          <p:spPr>
            <a:xfrm>
              <a:off x="2207425" y="3137400"/>
              <a:ext cx="132225" cy="39750"/>
            </a:xfrm>
            <a:custGeom>
              <a:avLst/>
              <a:gdLst/>
              <a:ahLst/>
              <a:cxnLst/>
              <a:rect l="l" t="t" r="r" b="b"/>
              <a:pathLst>
                <a:path w="5289" h="1590" fill="none" extrusionOk="0">
                  <a:moveTo>
                    <a:pt x="5012" y="0"/>
                  </a:moveTo>
                  <a:lnTo>
                    <a:pt x="277" y="0"/>
                  </a:lnTo>
                  <a:lnTo>
                    <a:pt x="277" y="0"/>
                  </a:lnTo>
                  <a:lnTo>
                    <a:pt x="174" y="35"/>
                  </a:lnTo>
                  <a:lnTo>
                    <a:pt x="70" y="104"/>
                  </a:lnTo>
                  <a:lnTo>
                    <a:pt x="1" y="173"/>
                  </a:lnTo>
                  <a:lnTo>
                    <a:pt x="1" y="311"/>
                  </a:lnTo>
                  <a:lnTo>
                    <a:pt x="1" y="1313"/>
                  </a:lnTo>
                  <a:lnTo>
                    <a:pt x="1" y="1313"/>
                  </a:lnTo>
                  <a:lnTo>
                    <a:pt x="1" y="1417"/>
                  </a:lnTo>
                  <a:lnTo>
                    <a:pt x="70" y="1521"/>
                  </a:lnTo>
                  <a:lnTo>
                    <a:pt x="174" y="1590"/>
                  </a:lnTo>
                  <a:lnTo>
                    <a:pt x="277" y="1590"/>
                  </a:lnTo>
                  <a:lnTo>
                    <a:pt x="5012" y="1590"/>
                  </a:lnTo>
                  <a:lnTo>
                    <a:pt x="5012" y="1590"/>
                  </a:lnTo>
                  <a:lnTo>
                    <a:pt x="5115" y="1590"/>
                  </a:lnTo>
                  <a:lnTo>
                    <a:pt x="5219" y="1521"/>
                  </a:lnTo>
                  <a:lnTo>
                    <a:pt x="5288" y="1417"/>
                  </a:lnTo>
                  <a:lnTo>
                    <a:pt x="5288" y="1313"/>
                  </a:lnTo>
                  <a:lnTo>
                    <a:pt x="5288" y="311"/>
                  </a:lnTo>
                  <a:lnTo>
                    <a:pt x="5288" y="311"/>
                  </a:lnTo>
                  <a:lnTo>
                    <a:pt x="5288" y="173"/>
                  </a:lnTo>
                  <a:lnTo>
                    <a:pt x="5219" y="104"/>
                  </a:lnTo>
                  <a:lnTo>
                    <a:pt x="5115" y="35"/>
                  </a:lnTo>
                  <a:lnTo>
                    <a:pt x="5012"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18" name="Google Shape;2347;p11">
              <a:extLst>
                <a:ext uri="{FF2B5EF4-FFF2-40B4-BE49-F238E27FC236}">
                  <a16:creationId xmlns:a16="http://schemas.microsoft.com/office/drawing/2014/main" id="{3A101338-DE2C-8738-6BCF-2DB8912B5B06}"/>
                </a:ext>
              </a:extLst>
            </p:cNvPr>
            <p:cNvSpPr/>
            <p:nvPr/>
          </p:nvSpPr>
          <p:spPr>
            <a:xfrm>
              <a:off x="2354300" y="3137400"/>
              <a:ext cx="82950" cy="39750"/>
            </a:xfrm>
            <a:custGeom>
              <a:avLst/>
              <a:gdLst/>
              <a:ahLst/>
              <a:cxnLst/>
              <a:rect l="l" t="t" r="r" b="b"/>
              <a:pathLst>
                <a:path w="3318" h="1590" extrusionOk="0">
                  <a:moveTo>
                    <a:pt x="312" y="0"/>
                  </a:moveTo>
                  <a:lnTo>
                    <a:pt x="173" y="35"/>
                  </a:lnTo>
                  <a:lnTo>
                    <a:pt x="104" y="104"/>
                  </a:lnTo>
                  <a:lnTo>
                    <a:pt x="35" y="173"/>
                  </a:lnTo>
                  <a:lnTo>
                    <a:pt x="1" y="311"/>
                  </a:lnTo>
                  <a:lnTo>
                    <a:pt x="1" y="1313"/>
                  </a:lnTo>
                  <a:lnTo>
                    <a:pt x="35" y="1417"/>
                  </a:lnTo>
                  <a:lnTo>
                    <a:pt x="104" y="1521"/>
                  </a:lnTo>
                  <a:lnTo>
                    <a:pt x="173" y="1590"/>
                  </a:lnTo>
                  <a:lnTo>
                    <a:pt x="3111" y="1590"/>
                  </a:lnTo>
                  <a:lnTo>
                    <a:pt x="3214" y="1521"/>
                  </a:lnTo>
                  <a:lnTo>
                    <a:pt x="3283" y="1417"/>
                  </a:lnTo>
                  <a:lnTo>
                    <a:pt x="3318" y="1313"/>
                  </a:lnTo>
                  <a:lnTo>
                    <a:pt x="3318" y="311"/>
                  </a:lnTo>
                  <a:lnTo>
                    <a:pt x="3283" y="173"/>
                  </a:lnTo>
                  <a:lnTo>
                    <a:pt x="3214" y="104"/>
                  </a:lnTo>
                  <a:lnTo>
                    <a:pt x="3111" y="35"/>
                  </a:lnTo>
                  <a:lnTo>
                    <a:pt x="3007"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19" name="Google Shape;2348;p11">
              <a:extLst>
                <a:ext uri="{FF2B5EF4-FFF2-40B4-BE49-F238E27FC236}">
                  <a16:creationId xmlns:a16="http://schemas.microsoft.com/office/drawing/2014/main" id="{A23811C3-A1EA-5DC6-30A3-1394CBC0389F}"/>
                </a:ext>
              </a:extLst>
            </p:cNvPr>
            <p:cNvSpPr/>
            <p:nvPr/>
          </p:nvSpPr>
          <p:spPr>
            <a:xfrm>
              <a:off x="2354300" y="3137400"/>
              <a:ext cx="82950" cy="39750"/>
            </a:xfrm>
            <a:custGeom>
              <a:avLst/>
              <a:gdLst/>
              <a:ahLst/>
              <a:cxnLst/>
              <a:rect l="l" t="t" r="r" b="b"/>
              <a:pathLst>
                <a:path w="3318" h="1590" fill="none" extrusionOk="0">
                  <a:moveTo>
                    <a:pt x="3007" y="0"/>
                  </a:moveTo>
                  <a:lnTo>
                    <a:pt x="312" y="0"/>
                  </a:lnTo>
                  <a:lnTo>
                    <a:pt x="312" y="0"/>
                  </a:lnTo>
                  <a:lnTo>
                    <a:pt x="173" y="35"/>
                  </a:lnTo>
                  <a:lnTo>
                    <a:pt x="104" y="104"/>
                  </a:lnTo>
                  <a:lnTo>
                    <a:pt x="35" y="173"/>
                  </a:lnTo>
                  <a:lnTo>
                    <a:pt x="1" y="311"/>
                  </a:lnTo>
                  <a:lnTo>
                    <a:pt x="1" y="1313"/>
                  </a:lnTo>
                  <a:lnTo>
                    <a:pt x="1" y="1313"/>
                  </a:lnTo>
                  <a:lnTo>
                    <a:pt x="35" y="1417"/>
                  </a:lnTo>
                  <a:lnTo>
                    <a:pt x="104" y="1521"/>
                  </a:lnTo>
                  <a:lnTo>
                    <a:pt x="173" y="1590"/>
                  </a:lnTo>
                  <a:lnTo>
                    <a:pt x="312" y="1590"/>
                  </a:lnTo>
                  <a:lnTo>
                    <a:pt x="3007" y="1590"/>
                  </a:lnTo>
                  <a:lnTo>
                    <a:pt x="3007" y="1590"/>
                  </a:lnTo>
                  <a:lnTo>
                    <a:pt x="3111" y="1590"/>
                  </a:lnTo>
                  <a:lnTo>
                    <a:pt x="3214" y="1521"/>
                  </a:lnTo>
                  <a:lnTo>
                    <a:pt x="3283" y="1417"/>
                  </a:lnTo>
                  <a:lnTo>
                    <a:pt x="3318" y="1313"/>
                  </a:lnTo>
                  <a:lnTo>
                    <a:pt x="3318" y="311"/>
                  </a:lnTo>
                  <a:lnTo>
                    <a:pt x="3318" y="311"/>
                  </a:lnTo>
                  <a:lnTo>
                    <a:pt x="3283" y="173"/>
                  </a:lnTo>
                  <a:lnTo>
                    <a:pt x="3214" y="104"/>
                  </a:lnTo>
                  <a:lnTo>
                    <a:pt x="3111" y="35"/>
                  </a:lnTo>
                  <a:lnTo>
                    <a:pt x="3007"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20" name="Google Shape;2349;p11">
              <a:extLst>
                <a:ext uri="{FF2B5EF4-FFF2-40B4-BE49-F238E27FC236}">
                  <a16:creationId xmlns:a16="http://schemas.microsoft.com/office/drawing/2014/main" id="{C1E1A776-57A1-7D78-C05A-9827FBBA6E5D}"/>
                </a:ext>
              </a:extLst>
            </p:cNvPr>
            <p:cNvSpPr/>
            <p:nvPr/>
          </p:nvSpPr>
          <p:spPr>
            <a:xfrm>
              <a:off x="3341750" y="3169350"/>
              <a:ext cx="82950" cy="254875"/>
            </a:xfrm>
            <a:custGeom>
              <a:avLst/>
              <a:gdLst/>
              <a:ahLst/>
              <a:cxnLst/>
              <a:rect l="l" t="t" r="r" b="b"/>
              <a:pathLst>
                <a:path w="3318" h="10195" extrusionOk="0">
                  <a:moveTo>
                    <a:pt x="208" y="1"/>
                  </a:moveTo>
                  <a:lnTo>
                    <a:pt x="139" y="35"/>
                  </a:lnTo>
                  <a:lnTo>
                    <a:pt x="70" y="70"/>
                  </a:lnTo>
                  <a:lnTo>
                    <a:pt x="35" y="139"/>
                  </a:lnTo>
                  <a:lnTo>
                    <a:pt x="0" y="243"/>
                  </a:lnTo>
                  <a:lnTo>
                    <a:pt x="70" y="3145"/>
                  </a:lnTo>
                  <a:lnTo>
                    <a:pt x="173" y="6325"/>
                  </a:lnTo>
                  <a:lnTo>
                    <a:pt x="277" y="9988"/>
                  </a:lnTo>
                  <a:lnTo>
                    <a:pt x="311" y="10057"/>
                  </a:lnTo>
                  <a:lnTo>
                    <a:pt x="346" y="10126"/>
                  </a:lnTo>
                  <a:lnTo>
                    <a:pt x="415" y="10160"/>
                  </a:lnTo>
                  <a:lnTo>
                    <a:pt x="519" y="10195"/>
                  </a:lnTo>
                  <a:lnTo>
                    <a:pt x="3111" y="10195"/>
                  </a:lnTo>
                  <a:lnTo>
                    <a:pt x="3180" y="10160"/>
                  </a:lnTo>
                  <a:lnTo>
                    <a:pt x="3249" y="10126"/>
                  </a:lnTo>
                  <a:lnTo>
                    <a:pt x="3318" y="10057"/>
                  </a:lnTo>
                  <a:lnTo>
                    <a:pt x="3318" y="9953"/>
                  </a:lnTo>
                  <a:lnTo>
                    <a:pt x="3318" y="9884"/>
                  </a:lnTo>
                  <a:lnTo>
                    <a:pt x="3249" y="9815"/>
                  </a:lnTo>
                  <a:lnTo>
                    <a:pt x="3180" y="9780"/>
                  </a:lnTo>
                  <a:lnTo>
                    <a:pt x="3111" y="9746"/>
                  </a:lnTo>
                  <a:lnTo>
                    <a:pt x="692" y="9746"/>
                  </a:lnTo>
                  <a:lnTo>
                    <a:pt x="588" y="5703"/>
                  </a:lnTo>
                  <a:lnTo>
                    <a:pt x="450" y="208"/>
                  </a:lnTo>
                  <a:lnTo>
                    <a:pt x="415" y="139"/>
                  </a:lnTo>
                  <a:lnTo>
                    <a:pt x="381" y="70"/>
                  </a:lnTo>
                  <a:lnTo>
                    <a:pt x="311" y="35"/>
                  </a:lnTo>
                  <a:lnTo>
                    <a:pt x="208"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21" name="Google Shape;2350;p11">
              <a:extLst>
                <a:ext uri="{FF2B5EF4-FFF2-40B4-BE49-F238E27FC236}">
                  <a16:creationId xmlns:a16="http://schemas.microsoft.com/office/drawing/2014/main" id="{A8FF0624-AEF8-8F0F-45C0-4A4AE06031AE}"/>
                </a:ext>
              </a:extLst>
            </p:cNvPr>
            <p:cNvSpPr/>
            <p:nvPr/>
          </p:nvSpPr>
          <p:spPr>
            <a:xfrm>
              <a:off x="3703725" y="3394850"/>
              <a:ext cx="141700" cy="43200"/>
            </a:xfrm>
            <a:custGeom>
              <a:avLst/>
              <a:gdLst/>
              <a:ahLst/>
              <a:cxnLst/>
              <a:rect l="l" t="t" r="r" b="b"/>
              <a:pathLst>
                <a:path w="5668" h="1728" extrusionOk="0">
                  <a:moveTo>
                    <a:pt x="242" y="0"/>
                  </a:moveTo>
                  <a:lnTo>
                    <a:pt x="104" y="104"/>
                  </a:lnTo>
                  <a:lnTo>
                    <a:pt x="35" y="207"/>
                  </a:lnTo>
                  <a:lnTo>
                    <a:pt x="1" y="346"/>
                  </a:lnTo>
                  <a:lnTo>
                    <a:pt x="1" y="1348"/>
                  </a:lnTo>
                  <a:lnTo>
                    <a:pt x="35" y="1486"/>
                  </a:lnTo>
                  <a:lnTo>
                    <a:pt x="104" y="1624"/>
                  </a:lnTo>
                  <a:lnTo>
                    <a:pt x="242" y="1693"/>
                  </a:lnTo>
                  <a:lnTo>
                    <a:pt x="381" y="1728"/>
                  </a:lnTo>
                  <a:lnTo>
                    <a:pt x="5668" y="1728"/>
                  </a:lnTo>
                  <a:lnTo>
                    <a:pt x="5322" y="1313"/>
                  </a:lnTo>
                  <a:lnTo>
                    <a:pt x="5011" y="899"/>
                  </a:lnTo>
                  <a:lnTo>
                    <a:pt x="4424"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22" name="Google Shape;2351;p11">
              <a:extLst>
                <a:ext uri="{FF2B5EF4-FFF2-40B4-BE49-F238E27FC236}">
                  <a16:creationId xmlns:a16="http://schemas.microsoft.com/office/drawing/2014/main" id="{F324336C-8082-127B-1427-1FF9096259D8}"/>
                </a:ext>
              </a:extLst>
            </p:cNvPr>
            <p:cNvSpPr/>
            <p:nvPr/>
          </p:nvSpPr>
          <p:spPr>
            <a:xfrm>
              <a:off x="3703725" y="3394850"/>
              <a:ext cx="141700" cy="43200"/>
            </a:xfrm>
            <a:custGeom>
              <a:avLst/>
              <a:gdLst/>
              <a:ahLst/>
              <a:cxnLst/>
              <a:rect l="l" t="t" r="r" b="b"/>
              <a:pathLst>
                <a:path w="5668" h="1728" fill="none" extrusionOk="0">
                  <a:moveTo>
                    <a:pt x="4424" y="0"/>
                  </a:moveTo>
                  <a:lnTo>
                    <a:pt x="381" y="0"/>
                  </a:lnTo>
                  <a:lnTo>
                    <a:pt x="381" y="0"/>
                  </a:lnTo>
                  <a:lnTo>
                    <a:pt x="242" y="0"/>
                  </a:lnTo>
                  <a:lnTo>
                    <a:pt x="104" y="104"/>
                  </a:lnTo>
                  <a:lnTo>
                    <a:pt x="35" y="207"/>
                  </a:lnTo>
                  <a:lnTo>
                    <a:pt x="1" y="346"/>
                  </a:lnTo>
                  <a:lnTo>
                    <a:pt x="1" y="1348"/>
                  </a:lnTo>
                  <a:lnTo>
                    <a:pt x="1" y="1348"/>
                  </a:lnTo>
                  <a:lnTo>
                    <a:pt x="35" y="1486"/>
                  </a:lnTo>
                  <a:lnTo>
                    <a:pt x="104" y="1624"/>
                  </a:lnTo>
                  <a:lnTo>
                    <a:pt x="242" y="1693"/>
                  </a:lnTo>
                  <a:lnTo>
                    <a:pt x="381" y="1728"/>
                  </a:lnTo>
                  <a:lnTo>
                    <a:pt x="5668" y="1728"/>
                  </a:lnTo>
                  <a:lnTo>
                    <a:pt x="5668" y="1728"/>
                  </a:lnTo>
                  <a:lnTo>
                    <a:pt x="5322" y="1313"/>
                  </a:lnTo>
                  <a:lnTo>
                    <a:pt x="5011" y="899"/>
                  </a:lnTo>
                  <a:lnTo>
                    <a:pt x="4424"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23" name="Google Shape;2352;p11">
              <a:extLst>
                <a:ext uri="{FF2B5EF4-FFF2-40B4-BE49-F238E27FC236}">
                  <a16:creationId xmlns:a16="http://schemas.microsoft.com/office/drawing/2014/main" id="{CBAEECBB-51D4-433E-0FC7-850D2E15C8A0}"/>
                </a:ext>
              </a:extLst>
            </p:cNvPr>
            <p:cNvSpPr/>
            <p:nvPr/>
          </p:nvSpPr>
          <p:spPr>
            <a:xfrm>
              <a:off x="3470475" y="3394850"/>
              <a:ext cx="95050" cy="43200"/>
            </a:xfrm>
            <a:custGeom>
              <a:avLst/>
              <a:gdLst/>
              <a:ahLst/>
              <a:cxnLst/>
              <a:rect l="l" t="t" r="r" b="b"/>
              <a:pathLst>
                <a:path w="3802" h="1728" extrusionOk="0">
                  <a:moveTo>
                    <a:pt x="104" y="0"/>
                  </a:moveTo>
                  <a:lnTo>
                    <a:pt x="35" y="69"/>
                  </a:lnTo>
                  <a:lnTo>
                    <a:pt x="0" y="173"/>
                  </a:lnTo>
                  <a:lnTo>
                    <a:pt x="0" y="311"/>
                  </a:lnTo>
                  <a:lnTo>
                    <a:pt x="0" y="1417"/>
                  </a:lnTo>
                  <a:lnTo>
                    <a:pt x="0" y="1521"/>
                  </a:lnTo>
                  <a:lnTo>
                    <a:pt x="35" y="1624"/>
                  </a:lnTo>
                  <a:lnTo>
                    <a:pt x="104" y="1693"/>
                  </a:lnTo>
                  <a:lnTo>
                    <a:pt x="208" y="1728"/>
                  </a:lnTo>
                  <a:lnTo>
                    <a:pt x="3594" y="1728"/>
                  </a:lnTo>
                  <a:lnTo>
                    <a:pt x="3663" y="1693"/>
                  </a:lnTo>
                  <a:lnTo>
                    <a:pt x="3732" y="1624"/>
                  </a:lnTo>
                  <a:lnTo>
                    <a:pt x="3802" y="1521"/>
                  </a:lnTo>
                  <a:lnTo>
                    <a:pt x="3802" y="1417"/>
                  </a:lnTo>
                  <a:lnTo>
                    <a:pt x="3802" y="311"/>
                  </a:lnTo>
                  <a:lnTo>
                    <a:pt x="3802" y="173"/>
                  </a:lnTo>
                  <a:lnTo>
                    <a:pt x="3732" y="69"/>
                  </a:lnTo>
                  <a:lnTo>
                    <a:pt x="3663"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24" name="Google Shape;2353;p11">
              <a:extLst>
                <a:ext uri="{FF2B5EF4-FFF2-40B4-BE49-F238E27FC236}">
                  <a16:creationId xmlns:a16="http://schemas.microsoft.com/office/drawing/2014/main" id="{A5A6E625-1C69-82E1-ED76-0DE7A36CF069}"/>
                </a:ext>
              </a:extLst>
            </p:cNvPr>
            <p:cNvSpPr/>
            <p:nvPr/>
          </p:nvSpPr>
          <p:spPr>
            <a:xfrm>
              <a:off x="3470475" y="3394850"/>
              <a:ext cx="95050" cy="43200"/>
            </a:xfrm>
            <a:custGeom>
              <a:avLst/>
              <a:gdLst/>
              <a:ahLst/>
              <a:cxnLst/>
              <a:rect l="l" t="t" r="r" b="b"/>
              <a:pathLst>
                <a:path w="3802" h="1728" fill="none" extrusionOk="0">
                  <a:moveTo>
                    <a:pt x="3594" y="0"/>
                  </a:moveTo>
                  <a:lnTo>
                    <a:pt x="208" y="0"/>
                  </a:lnTo>
                  <a:lnTo>
                    <a:pt x="208" y="0"/>
                  </a:lnTo>
                  <a:lnTo>
                    <a:pt x="104" y="0"/>
                  </a:lnTo>
                  <a:lnTo>
                    <a:pt x="35" y="69"/>
                  </a:lnTo>
                  <a:lnTo>
                    <a:pt x="0" y="173"/>
                  </a:lnTo>
                  <a:lnTo>
                    <a:pt x="0" y="311"/>
                  </a:lnTo>
                  <a:lnTo>
                    <a:pt x="0" y="1417"/>
                  </a:lnTo>
                  <a:lnTo>
                    <a:pt x="0" y="1417"/>
                  </a:lnTo>
                  <a:lnTo>
                    <a:pt x="0" y="1521"/>
                  </a:lnTo>
                  <a:lnTo>
                    <a:pt x="35" y="1624"/>
                  </a:lnTo>
                  <a:lnTo>
                    <a:pt x="104" y="1693"/>
                  </a:lnTo>
                  <a:lnTo>
                    <a:pt x="208" y="1728"/>
                  </a:lnTo>
                  <a:lnTo>
                    <a:pt x="3594" y="1728"/>
                  </a:lnTo>
                  <a:lnTo>
                    <a:pt x="3594" y="1728"/>
                  </a:lnTo>
                  <a:lnTo>
                    <a:pt x="3663" y="1693"/>
                  </a:lnTo>
                  <a:lnTo>
                    <a:pt x="3732" y="1624"/>
                  </a:lnTo>
                  <a:lnTo>
                    <a:pt x="3802" y="1521"/>
                  </a:lnTo>
                  <a:lnTo>
                    <a:pt x="3802" y="1417"/>
                  </a:lnTo>
                  <a:lnTo>
                    <a:pt x="3802" y="311"/>
                  </a:lnTo>
                  <a:lnTo>
                    <a:pt x="3802" y="311"/>
                  </a:lnTo>
                  <a:lnTo>
                    <a:pt x="3802" y="173"/>
                  </a:lnTo>
                  <a:lnTo>
                    <a:pt x="3732" y="69"/>
                  </a:lnTo>
                  <a:lnTo>
                    <a:pt x="3663" y="0"/>
                  </a:lnTo>
                  <a:lnTo>
                    <a:pt x="3594"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25" name="Google Shape;2354;p11">
              <a:extLst>
                <a:ext uri="{FF2B5EF4-FFF2-40B4-BE49-F238E27FC236}">
                  <a16:creationId xmlns:a16="http://schemas.microsoft.com/office/drawing/2014/main" id="{4D949872-B240-85CB-C021-2A23D9B46B4F}"/>
                </a:ext>
              </a:extLst>
            </p:cNvPr>
            <p:cNvSpPr/>
            <p:nvPr/>
          </p:nvSpPr>
          <p:spPr>
            <a:xfrm>
              <a:off x="3585375" y="3394850"/>
              <a:ext cx="89875" cy="43200"/>
            </a:xfrm>
            <a:custGeom>
              <a:avLst/>
              <a:gdLst/>
              <a:ahLst/>
              <a:cxnLst/>
              <a:rect l="l" t="t" r="r" b="b"/>
              <a:pathLst>
                <a:path w="3595" h="1728" extrusionOk="0">
                  <a:moveTo>
                    <a:pt x="208" y="0"/>
                  </a:moveTo>
                  <a:lnTo>
                    <a:pt x="104" y="69"/>
                  </a:lnTo>
                  <a:lnTo>
                    <a:pt x="35" y="173"/>
                  </a:lnTo>
                  <a:lnTo>
                    <a:pt x="0" y="311"/>
                  </a:lnTo>
                  <a:lnTo>
                    <a:pt x="0" y="1382"/>
                  </a:lnTo>
                  <a:lnTo>
                    <a:pt x="35" y="1521"/>
                  </a:lnTo>
                  <a:lnTo>
                    <a:pt x="104" y="1624"/>
                  </a:lnTo>
                  <a:lnTo>
                    <a:pt x="208" y="1693"/>
                  </a:lnTo>
                  <a:lnTo>
                    <a:pt x="311" y="1728"/>
                  </a:lnTo>
                  <a:lnTo>
                    <a:pt x="3249" y="1728"/>
                  </a:lnTo>
                  <a:lnTo>
                    <a:pt x="3387" y="1693"/>
                  </a:lnTo>
                  <a:lnTo>
                    <a:pt x="3491" y="1624"/>
                  </a:lnTo>
                  <a:lnTo>
                    <a:pt x="3560" y="1521"/>
                  </a:lnTo>
                  <a:lnTo>
                    <a:pt x="3594" y="1382"/>
                  </a:lnTo>
                  <a:lnTo>
                    <a:pt x="3594" y="311"/>
                  </a:lnTo>
                  <a:lnTo>
                    <a:pt x="3560" y="173"/>
                  </a:lnTo>
                  <a:lnTo>
                    <a:pt x="3491" y="69"/>
                  </a:lnTo>
                  <a:lnTo>
                    <a:pt x="3387"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26" name="Google Shape;2355;p11">
              <a:extLst>
                <a:ext uri="{FF2B5EF4-FFF2-40B4-BE49-F238E27FC236}">
                  <a16:creationId xmlns:a16="http://schemas.microsoft.com/office/drawing/2014/main" id="{5BC1BF11-A107-4BC6-96D6-7C062C7FBAF0}"/>
                </a:ext>
              </a:extLst>
            </p:cNvPr>
            <p:cNvSpPr/>
            <p:nvPr/>
          </p:nvSpPr>
          <p:spPr>
            <a:xfrm>
              <a:off x="3585375" y="3394850"/>
              <a:ext cx="89875" cy="43200"/>
            </a:xfrm>
            <a:custGeom>
              <a:avLst/>
              <a:gdLst/>
              <a:ahLst/>
              <a:cxnLst/>
              <a:rect l="l" t="t" r="r" b="b"/>
              <a:pathLst>
                <a:path w="3595" h="1728" fill="none" extrusionOk="0">
                  <a:moveTo>
                    <a:pt x="3249" y="0"/>
                  </a:moveTo>
                  <a:lnTo>
                    <a:pt x="311" y="0"/>
                  </a:lnTo>
                  <a:lnTo>
                    <a:pt x="311" y="0"/>
                  </a:lnTo>
                  <a:lnTo>
                    <a:pt x="208" y="0"/>
                  </a:lnTo>
                  <a:lnTo>
                    <a:pt x="104" y="69"/>
                  </a:lnTo>
                  <a:lnTo>
                    <a:pt x="35" y="173"/>
                  </a:lnTo>
                  <a:lnTo>
                    <a:pt x="0" y="311"/>
                  </a:lnTo>
                  <a:lnTo>
                    <a:pt x="0" y="1382"/>
                  </a:lnTo>
                  <a:lnTo>
                    <a:pt x="0" y="1382"/>
                  </a:lnTo>
                  <a:lnTo>
                    <a:pt x="35" y="1521"/>
                  </a:lnTo>
                  <a:lnTo>
                    <a:pt x="104" y="1624"/>
                  </a:lnTo>
                  <a:lnTo>
                    <a:pt x="208" y="1693"/>
                  </a:lnTo>
                  <a:lnTo>
                    <a:pt x="311" y="1728"/>
                  </a:lnTo>
                  <a:lnTo>
                    <a:pt x="3249" y="1728"/>
                  </a:lnTo>
                  <a:lnTo>
                    <a:pt x="3249" y="1728"/>
                  </a:lnTo>
                  <a:lnTo>
                    <a:pt x="3387" y="1693"/>
                  </a:lnTo>
                  <a:lnTo>
                    <a:pt x="3491" y="1624"/>
                  </a:lnTo>
                  <a:lnTo>
                    <a:pt x="3560" y="1521"/>
                  </a:lnTo>
                  <a:lnTo>
                    <a:pt x="3594" y="1382"/>
                  </a:lnTo>
                  <a:lnTo>
                    <a:pt x="3594" y="311"/>
                  </a:lnTo>
                  <a:lnTo>
                    <a:pt x="3594" y="311"/>
                  </a:lnTo>
                  <a:lnTo>
                    <a:pt x="3560" y="173"/>
                  </a:lnTo>
                  <a:lnTo>
                    <a:pt x="3491" y="69"/>
                  </a:lnTo>
                  <a:lnTo>
                    <a:pt x="3387" y="0"/>
                  </a:lnTo>
                  <a:lnTo>
                    <a:pt x="3249"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27" name="Google Shape;2356;p11">
              <a:extLst>
                <a:ext uri="{FF2B5EF4-FFF2-40B4-BE49-F238E27FC236}">
                  <a16:creationId xmlns:a16="http://schemas.microsoft.com/office/drawing/2014/main" id="{7793AEF3-5DDB-2DCC-298D-BE9E6E3F0B6E}"/>
                </a:ext>
              </a:extLst>
            </p:cNvPr>
            <p:cNvSpPr/>
            <p:nvPr/>
          </p:nvSpPr>
          <p:spPr>
            <a:xfrm>
              <a:off x="2139175" y="3630675"/>
              <a:ext cx="415575" cy="415575"/>
            </a:xfrm>
            <a:custGeom>
              <a:avLst/>
              <a:gdLst/>
              <a:ahLst/>
              <a:cxnLst/>
              <a:rect l="l" t="t" r="r" b="b"/>
              <a:pathLst>
                <a:path w="16623" h="16623" extrusionOk="0">
                  <a:moveTo>
                    <a:pt x="8294" y="2489"/>
                  </a:moveTo>
                  <a:lnTo>
                    <a:pt x="8882" y="2524"/>
                  </a:lnTo>
                  <a:lnTo>
                    <a:pt x="9469" y="2627"/>
                  </a:lnTo>
                  <a:lnTo>
                    <a:pt x="10022" y="2765"/>
                  </a:lnTo>
                  <a:lnTo>
                    <a:pt x="10575" y="2973"/>
                  </a:lnTo>
                  <a:lnTo>
                    <a:pt x="11059" y="3215"/>
                  </a:lnTo>
                  <a:lnTo>
                    <a:pt x="11543" y="3491"/>
                  </a:lnTo>
                  <a:lnTo>
                    <a:pt x="11992" y="3837"/>
                  </a:lnTo>
                  <a:lnTo>
                    <a:pt x="12407" y="4217"/>
                  </a:lnTo>
                  <a:lnTo>
                    <a:pt x="12787" y="4632"/>
                  </a:lnTo>
                  <a:lnTo>
                    <a:pt x="13132" y="5081"/>
                  </a:lnTo>
                  <a:lnTo>
                    <a:pt x="13409" y="5565"/>
                  </a:lnTo>
                  <a:lnTo>
                    <a:pt x="13651" y="6048"/>
                  </a:lnTo>
                  <a:lnTo>
                    <a:pt x="13858" y="6601"/>
                  </a:lnTo>
                  <a:lnTo>
                    <a:pt x="13996" y="7154"/>
                  </a:lnTo>
                  <a:lnTo>
                    <a:pt x="14065" y="7707"/>
                  </a:lnTo>
                  <a:lnTo>
                    <a:pt x="14100" y="8329"/>
                  </a:lnTo>
                  <a:lnTo>
                    <a:pt x="14065" y="8917"/>
                  </a:lnTo>
                  <a:lnTo>
                    <a:pt x="13996" y="9469"/>
                  </a:lnTo>
                  <a:lnTo>
                    <a:pt x="13858" y="10057"/>
                  </a:lnTo>
                  <a:lnTo>
                    <a:pt x="13651" y="10575"/>
                  </a:lnTo>
                  <a:lnTo>
                    <a:pt x="13409" y="11094"/>
                  </a:lnTo>
                  <a:lnTo>
                    <a:pt x="13132" y="11577"/>
                  </a:lnTo>
                  <a:lnTo>
                    <a:pt x="12787" y="11992"/>
                  </a:lnTo>
                  <a:lnTo>
                    <a:pt x="12407" y="12407"/>
                  </a:lnTo>
                  <a:lnTo>
                    <a:pt x="11992" y="12787"/>
                  </a:lnTo>
                  <a:lnTo>
                    <a:pt x="11543" y="13132"/>
                  </a:lnTo>
                  <a:lnTo>
                    <a:pt x="11059" y="13409"/>
                  </a:lnTo>
                  <a:lnTo>
                    <a:pt x="10575" y="13651"/>
                  </a:lnTo>
                  <a:lnTo>
                    <a:pt x="10022" y="13858"/>
                  </a:lnTo>
                  <a:lnTo>
                    <a:pt x="9469" y="13996"/>
                  </a:lnTo>
                  <a:lnTo>
                    <a:pt x="8882" y="14100"/>
                  </a:lnTo>
                  <a:lnTo>
                    <a:pt x="8294" y="14135"/>
                  </a:lnTo>
                  <a:lnTo>
                    <a:pt x="7707" y="14100"/>
                  </a:lnTo>
                  <a:lnTo>
                    <a:pt x="7120" y="13996"/>
                  </a:lnTo>
                  <a:lnTo>
                    <a:pt x="6567" y="13858"/>
                  </a:lnTo>
                  <a:lnTo>
                    <a:pt x="6048" y="13651"/>
                  </a:lnTo>
                  <a:lnTo>
                    <a:pt x="5530" y="13409"/>
                  </a:lnTo>
                  <a:lnTo>
                    <a:pt x="5046" y="13132"/>
                  </a:lnTo>
                  <a:lnTo>
                    <a:pt x="4597" y="12787"/>
                  </a:lnTo>
                  <a:lnTo>
                    <a:pt x="4182" y="12407"/>
                  </a:lnTo>
                  <a:lnTo>
                    <a:pt x="3837" y="11992"/>
                  </a:lnTo>
                  <a:lnTo>
                    <a:pt x="3491" y="11577"/>
                  </a:lnTo>
                  <a:lnTo>
                    <a:pt x="3180" y="11094"/>
                  </a:lnTo>
                  <a:lnTo>
                    <a:pt x="2938" y="10575"/>
                  </a:lnTo>
                  <a:lnTo>
                    <a:pt x="2765" y="10057"/>
                  </a:lnTo>
                  <a:lnTo>
                    <a:pt x="2627" y="9469"/>
                  </a:lnTo>
                  <a:lnTo>
                    <a:pt x="2524" y="8917"/>
                  </a:lnTo>
                  <a:lnTo>
                    <a:pt x="2489" y="8329"/>
                  </a:lnTo>
                  <a:lnTo>
                    <a:pt x="2524" y="7707"/>
                  </a:lnTo>
                  <a:lnTo>
                    <a:pt x="2627" y="7154"/>
                  </a:lnTo>
                  <a:lnTo>
                    <a:pt x="2765" y="6601"/>
                  </a:lnTo>
                  <a:lnTo>
                    <a:pt x="2938" y="6048"/>
                  </a:lnTo>
                  <a:lnTo>
                    <a:pt x="3180" y="5565"/>
                  </a:lnTo>
                  <a:lnTo>
                    <a:pt x="3491" y="5081"/>
                  </a:lnTo>
                  <a:lnTo>
                    <a:pt x="3837" y="4632"/>
                  </a:lnTo>
                  <a:lnTo>
                    <a:pt x="4182" y="4217"/>
                  </a:lnTo>
                  <a:lnTo>
                    <a:pt x="4597" y="3837"/>
                  </a:lnTo>
                  <a:lnTo>
                    <a:pt x="5046" y="3491"/>
                  </a:lnTo>
                  <a:lnTo>
                    <a:pt x="5530" y="3215"/>
                  </a:lnTo>
                  <a:lnTo>
                    <a:pt x="6048" y="2973"/>
                  </a:lnTo>
                  <a:lnTo>
                    <a:pt x="6567" y="2765"/>
                  </a:lnTo>
                  <a:lnTo>
                    <a:pt x="7120" y="2627"/>
                  </a:lnTo>
                  <a:lnTo>
                    <a:pt x="7707" y="2524"/>
                  </a:lnTo>
                  <a:lnTo>
                    <a:pt x="8294" y="2489"/>
                  </a:lnTo>
                  <a:close/>
                  <a:moveTo>
                    <a:pt x="7880" y="1"/>
                  </a:moveTo>
                  <a:lnTo>
                    <a:pt x="7465" y="36"/>
                  </a:lnTo>
                  <a:lnTo>
                    <a:pt x="7050" y="105"/>
                  </a:lnTo>
                  <a:lnTo>
                    <a:pt x="6636" y="174"/>
                  </a:lnTo>
                  <a:lnTo>
                    <a:pt x="5841" y="381"/>
                  </a:lnTo>
                  <a:lnTo>
                    <a:pt x="5081" y="658"/>
                  </a:lnTo>
                  <a:lnTo>
                    <a:pt x="4355" y="1003"/>
                  </a:lnTo>
                  <a:lnTo>
                    <a:pt x="3664" y="1418"/>
                  </a:lnTo>
                  <a:lnTo>
                    <a:pt x="3007" y="1902"/>
                  </a:lnTo>
                  <a:lnTo>
                    <a:pt x="2420" y="2454"/>
                  </a:lnTo>
                  <a:lnTo>
                    <a:pt x="1902" y="3042"/>
                  </a:lnTo>
                  <a:lnTo>
                    <a:pt x="1418" y="3664"/>
                  </a:lnTo>
                  <a:lnTo>
                    <a:pt x="1003" y="4355"/>
                  </a:lnTo>
                  <a:lnTo>
                    <a:pt x="658" y="5081"/>
                  </a:lnTo>
                  <a:lnTo>
                    <a:pt x="381" y="5841"/>
                  </a:lnTo>
                  <a:lnTo>
                    <a:pt x="174" y="6636"/>
                  </a:lnTo>
                  <a:lnTo>
                    <a:pt x="105" y="7050"/>
                  </a:lnTo>
                  <a:lnTo>
                    <a:pt x="36" y="7465"/>
                  </a:lnTo>
                  <a:lnTo>
                    <a:pt x="1" y="7880"/>
                  </a:lnTo>
                  <a:lnTo>
                    <a:pt x="1" y="8329"/>
                  </a:lnTo>
                  <a:lnTo>
                    <a:pt x="1" y="8744"/>
                  </a:lnTo>
                  <a:lnTo>
                    <a:pt x="36" y="9158"/>
                  </a:lnTo>
                  <a:lnTo>
                    <a:pt x="105" y="9573"/>
                  </a:lnTo>
                  <a:lnTo>
                    <a:pt x="174" y="9988"/>
                  </a:lnTo>
                  <a:lnTo>
                    <a:pt x="381" y="10783"/>
                  </a:lnTo>
                  <a:lnTo>
                    <a:pt x="658" y="11543"/>
                  </a:lnTo>
                  <a:lnTo>
                    <a:pt x="1003" y="12269"/>
                  </a:lnTo>
                  <a:lnTo>
                    <a:pt x="1418" y="12960"/>
                  </a:lnTo>
                  <a:lnTo>
                    <a:pt x="1902" y="13582"/>
                  </a:lnTo>
                  <a:lnTo>
                    <a:pt x="2420" y="14204"/>
                  </a:lnTo>
                  <a:lnTo>
                    <a:pt x="3007" y="14722"/>
                  </a:lnTo>
                  <a:lnTo>
                    <a:pt x="3664" y="15206"/>
                  </a:lnTo>
                  <a:lnTo>
                    <a:pt x="4355" y="15620"/>
                  </a:lnTo>
                  <a:lnTo>
                    <a:pt x="5081" y="15966"/>
                  </a:lnTo>
                  <a:lnTo>
                    <a:pt x="5841" y="16242"/>
                  </a:lnTo>
                  <a:lnTo>
                    <a:pt x="6636" y="16450"/>
                  </a:lnTo>
                  <a:lnTo>
                    <a:pt x="7050" y="16519"/>
                  </a:lnTo>
                  <a:lnTo>
                    <a:pt x="7465" y="16588"/>
                  </a:lnTo>
                  <a:lnTo>
                    <a:pt x="7880" y="16623"/>
                  </a:lnTo>
                  <a:lnTo>
                    <a:pt x="8744" y="16623"/>
                  </a:lnTo>
                  <a:lnTo>
                    <a:pt x="9158" y="16588"/>
                  </a:lnTo>
                  <a:lnTo>
                    <a:pt x="9573" y="16519"/>
                  </a:lnTo>
                  <a:lnTo>
                    <a:pt x="9988" y="16450"/>
                  </a:lnTo>
                  <a:lnTo>
                    <a:pt x="10783" y="16242"/>
                  </a:lnTo>
                  <a:lnTo>
                    <a:pt x="11543" y="15966"/>
                  </a:lnTo>
                  <a:lnTo>
                    <a:pt x="12268" y="15620"/>
                  </a:lnTo>
                  <a:lnTo>
                    <a:pt x="12960" y="15206"/>
                  </a:lnTo>
                  <a:lnTo>
                    <a:pt x="13582" y="14722"/>
                  </a:lnTo>
                  <a:lnTo>
                    <a:pt x="14169" y="14204"/>
                  </a:lnTo>
                  <a:lnTo>
                    <a:pt x="14722" y="13582"/>
                  </a:lnTo>
                  <a:lnTo>
                    <a:pt x="15206" y="12960"/>
                  </a:lnTo>
                  <a:lnTo>
                    <a:pt x="15620" y="12269"/>
                  </a:lnTo>
                  <a:lnTo>
                    <a:pt x="15966" y="11543"/>
                  </a:lnTo>
                  <a:lnTo>
                    <a:pt x="16242" y="10783"/>
                  </a:lnTo>
                  <a:lnTo>
                    <a:pt x="16450" y="9988"/>
                  </a:lnTo>
                  <a:lnTo>
                    <a:pt x="16519" y="9573"/>
                  </a:lnTo>
                  <a:lnTo>
                    <a:pt x="16553" y="9158"/>
                  </a:lnTo>
                  <a:lnTo>
                    <a:pt x="16588" y="8744"/>
                  </a:lnTo>
                  <a:lnTo>
                    <a:pt x="16623" y="8329"/>
                  </a:lnTo>
                  <a:lnTo>
                    <a:pt x="16588" y="7880"/>
                  </a:lnTo>
                  <a:lnTo>
                    <a:pt x="16553" y="7465"/>
                  </a:lnTo>
                  <a:lnTo>
                    <a:pt x="16519" y="7050"/>
                  </a:lnTo>
                  <a:lnTo>
                    <a:pt x="16450" y="6636"/>
                  </a:lnTo>
                  <a:lnTo>
                    <a:pt x="16242" y="5841"/>
                  </a:lnTo>
                  <a:lnTo>
                    <a:pt x="15966" y="5081"/>
                  </a:lnTo>
                  <a:lnTo>
                    <a:pt x="15620" y="4355"/>
                  </a:lnTo>
                  <a:lnTo>
                    <a:pt x="15206" y="3664"/>
                  </a:lnTo>
                  <a:lnTo>
                    <a:pt x="14722" y="3042"/>
                  </a:lnTo>
                  <a:lnTo>
                    <a:pt x="14169" y="2454"/>
                  </a:lnTo>
                  <a:lnTo>
                    <a:pt x="13582" y="1902"/>
                  </a:lnTo>
                  <a:lnTo>
                    <a:pt x="12960" y="1418"/>
                  </a:lnTo>
                  <a:lnTo>
                    <a:pt x="12268" y="1003"/>
                  </a:lnTo>
                  <a:lnTo>
                    <a:pt x="11543" y="658"/>
                  </a:lnTo>
                  <a:lnTo>
                    <a:pt x="10783" y="381"/>
                  </a:lnTo>
                  <a:lnTo>
                    <a:pt x="9988" y="174"/>
                  </a:lnTo>
                  <a:lnTo>
                    <a:pt x="9573" y="105"/>
                  </a:lnTo>
                  <a:lnTo>
                    <a:pt x="9158" y="36"/>
                  </a:lnTo>
                  <a:lnTo>
                    <a:pt x="8744" y="1"/>
                  </a:lnTo>
                  <a:close/>
                </a:path>
              </a:pathLst>
            </a:custGeom>
            <a:solidFill>
              <a:srgbClr val="EB8C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28" name="Google Shape;2357;p11">
              <a:extLst>
                <a:ext uri="{FF2B5EF4-FFF2-40B4-BE49-F238E27FC236}">
                  <a16:creationId xmlns:a16="http://schemas.microsoft.com/office/drawing/2014/main" id="{0E3E64D9-AEB0-5F25-7885-C57CC69E9C72}"/>
                </a:ext>
              </a:extLst>
            </p:cNvPr>
            <p:cNvSpPr/>
            <p:nvPr/>
          </p:nvSpPr>
          <p:spPr>
            <a:xfrm>
              <a:off x="2614325" y="1158175"/>
              <a:ext cx="958100" cy="2681600"/>
            </a:xfrm>
            <a:custGeom>
              <a:avLst/>
              <a:gdLst/>
              <a:ahLst/>
              <a:cxnLst/>
              <a:rect l="l" t="t" r="r" b="b"/>
              <a:pathLst>
                <a:path w="38324" h="107264" extrusionOk="0">
                  <a:moveTo>
                    <a:pt x="29996" y="1"/>
                  </a:moveTo>
                  <a:lnTo>
                    <a:pt x="28026" y="70"/>
                  </a:lnTo>
                  <a:lnTo>
                    <a:pt x="26195" y="208"/>
                  </a:lnTo>
                  <a:lnTo>
                    <a:pt x="24467" y="381"/>
                  </a:lnTo>
                  <a:lnTo>
                    <a:pt x="22808" y="588"/>
                  </a:lnTo>
                  <a:lnTo>
                    <a:pt x="21288" y="899"/>
                  </a:lnTo>
                  <a:lnTo>
                    <a:pt x="19836" y="1245"/>
                  </a:lnTo>
                  <a:lnTo>
                    <a:pt x="18489" y="1659"/>
                  </a:lnTo>
                  <a:lnTo>
                    <a:pt x="17832" y="1867"/>
                  </a:lnTo>
                  <a:lnTo>
                    <a:pt x="17210" y="2109"/>
                  </a:lnTo>
                  <a:lnTo>
                    <a:pt x="16623" y="2350"/>
                  </a:lnTo>
                  <a:lnTo>
                    <a:pt x="16035" y="2627"/>
                  </a:lnTo>
                  <a:lnTo>
                    <a:pt x="15482" y="2903"/>
                  </a:lnTo>
                  <a:lnTo>
                    <a:pt x="14964" y="3214"/>
                  </a:lnTo>
                  <a:lnTo>
                    <a:pt x="14446" y="3525"/>
                  </a:lnTo>
                  <a:lnTo>
                    <a:pt x="13927" y="3871"/>
                  </a:lnTo>
                  <a:lnTo>
                    <a:pt x="13478" y="4216"/>
                  </a:lnTo>
                  <a:lnTo>
                    <a:pt x="13029" y="4562"/>
                  </a:lnTo>
                  <a:lnTo>
                    <a:pt x="12579" y="4942"/>
                  </a:lnTo>
                  <a:lnTo>
                    <a:pt x="12165" y="5322"/>
                  </a:lnTo>
                  <a:lnTo>
                    <a:pt x="11577" y="5910"/>
                  </a:lnTo>
                  <a:lnTo>
                    <a:pt x="11059" y="6532"/>
                  </a:lnTo>
                  <a:lnTo>
                    <a:pt x="10575" y="7188"/>
                  </a:lnTo>
                  <a:lnTo>
                    <a:pt x="10126" y="7879"/>
                  </a:lnTo>
                  <a:lnTo>
                    <a:pt x="9711" y="8605"/>
                  </a:lnTo>
                  <a:lnTo>
                    <a:pt x="9331" y="9365"/>
                  </a:lnTo>
                  <a:lnTo>
                    <a:pt x="8986" y="10160"/>
                  </a:lnTo>
                  <a:lnTo>
                    <a:pt x="8709" y="10990"/>
                  </a:lnTo>
                  <a:lnTo>
                    <a:pt x="8433" y="11853"/>
                  </a:lnTo>
                  <a:lnTo>
                    <a:pt x="8225" y="12752"/>
                  </a:lnTo>
                  <a:lnTo>
                    <a:pt x="8053" y="13685"/>
                  </a:lnTo>
                  <a:lnTo>
                    <a:pt x="7914" y="14652"/>
                  </a:lnTo>
                  <a:lnTo>
                    <a:pt x="7811" y="15655"/>
                  </a:lnTo>
                  <a:lnTo>
                    <a:pt x="7742" y="16691"/>
                  </a:lnTo>
                  <a:lnTo>
                    <a:pt x="7707" y="17763"/>
                  </a:lnTo>
                  <a:lnTo>
                    <a:pt x="7742" y="18868"/>
                  </a:lnTo>
                  <a:lnTo>
                    <a:pt x="7776" y="19559"/>
                  </a:lnTo>
                  <a:lnTo>
                    <a:pt x="7845" y="20216"/>
                  </a:lnTo>
                  <a:lnTo>
                    <a:pt x="7983" y="20873"/>
                  </a:lnTo>
                  <a:lnTo>
                    <a:pt x="8122" y="21495"/>
                  </a:lnTo>
                  <a:lnTo>
                    <a:pt x="8329" y="22117"/>
                  </a:lnTo>
                  <a:lnTo>
                    <a:pt x="8536" y="22704"/>
                  </a:lnTo>
                  <a:lnTo>
                    <a:pt x="8813" y="23292"/>
                  </a:lnTo>
                  <a:lnTo>
                    <a:pt x="9089" y="23879"/>
                  </a:lnTo>
                  <a:lnTo>
                    <a:pt x="9435" y="24432"/>
                  </a:lnTo>
                  <a:lnTo>
                    <a:pt x="9780" y="24950"/>
                  </a:lnTo>
                  <a:lnTo>
                    <a:pt x="10161" y="25503"/>
                  </a:lnTo>
                  <a:lnTo>
                    <a:pt x="10575" y="25987"/>
                  </a:lnTo>
                  <a:lnTo>
                    <a:pt x="11024" y="26505"/>
                  </a:lnTo>
                  <a:lnTo>
                    <a:pt x="11474" y="26989"/>
                  </a:lnTo>
                  <a:lnTo>
                    <a:pt x="11957" y="27473"/>
                  </a:lnTo>
                  <a:lnTo>
                    <a:pt x="12476" y="27922"/>
                  </a:lnTo>
                  <a:lnTo>
                    <a:pt x="13547" y="28855"/>
                  </a:lnTo>
                  <a:lnTo>
                    <a:pt x="14687" y="29719"/>
                  </a:lnTo>
                  <a:lnTo>
                    <a:pt x="15897" y="30548"/>
                  </a:lnTo>
                  <a:lnTo>
                    <a:pt x="17141" y="31378"/>
                  </a:lnTo>
                  <a:lnTo>
                    <a:pt x="18420" y="32138"/>
                  </a:lnTo>
                  <a:lnTo>
                    <a:pt x="19733" y="32933"/>
                  </a:lnTo>
                  <a:lnTo>
                    <a:pt x="22394" y="34453"/>
                  </a:lnTo>
                  <a:lnTo>
                    <a:pt x="25193" y="36043"/>
                  </a:lnTo>
                  <a:lnTo>
                    <a:pt x="26540" y="36838"/>
                  </a:lnTo>
                  <a:lnTo>
                    <a:pt x="27853" y="37667"/>
                  </a:lnTo>
                  <a:lnTo>
                    <a:pt x="29132" y="38496"/>
                  </a:lnTo>
                  <a:lnTo>
                    <a:pt x="30307" y="39326"/>
                  </a:lnTo>
                  <a:lnTo>
                    <a:pt x="31413" y="40224"/>
                  </a:lnTo>
                  <a:lnTo>
                    <a:pt x="31897" y="40673"/>
                  </a:lnTo>
                  <a:lnTo>
                    <a:pt x="32415" y="41123"/>
                  </a:lnTo>
                  <a:lnTo>
                    <a:pt x="32864" y="41572"/>
                  </a:lnTo>
                  <a:lnTo>
                    <a:pt x="33313" y="42056"/>
                  </a:lnTo>
                  <a:lnTo>
                    <a:pt x="33728" y="42539"/>
                  </a:lnTo>
                  <a:lnTo>
                    <a:pt x="34074" y="43058"/>
                  </a:lnTo>
                  <a:lnTo>
                    <a:pt x="34419" y="43542"/>
                  </a:lnTo>
                  <a:lnTo>
                    <a:pt x="34730" y="44095"/>
                  </a:lnTo>
                  <a:lnTo>
                    <a:pt x="35007" y="44613"/>
                  </a:lnTo>
                  <a:lnTo>
                    <a:pt x="35248" y="45166"/>
                  </a:lnTo>
                  <a:lnTo>
                    <a:pt x="35456" y="45719"/>
                  </a:lnTo>
                  <a:lnTo>
                    <a:pt x="35594" y="46306"/>
                  </a:lnTo>
                  <a:lnTo>
                    <a:pt x="35732" y="46928"/>
                  </a:lnTo>
                  <a:lnTo>
                    <a:pt x="35801" y="47516"/>
                  </a:lnTo>
                  <a:lnTo>
                    <a:pt x="35836" y="48138"/>
                  </a:lnTo>
                  <a:lnTo>
                    <a:pt x="35801" y="48794"/>
                  </a:lnTo>
                  <a:lnTo>
                    <a:pt x="35767" y="49485"/>
                  </a:lnTo>
                  <a:lnTo>
                    <a:pt x="35629" y="50142"/>
                  </a:lnTo>
                  <a:lnTo>
                    <a:pt x="35525" y="50591"/>
                  </a:lnTo>
                  <a:lnTo>
                    <a:pt x="35387" y="50971"/>
                  </a:lnTo>
                  <a:lnTo>
                    <a:pt x="35248" y="51386"/>
                  </a:lnTo>
                  <a:lnTo>
                    <a:pt x="35041" y="51731"/>
                  </a:lnTo>
                  <a:lnTo>
                    <a:pt x="34834" y="52112"/>
                  </a:lnTo>
                  <a:lnTo>
                    <a:pt x="34557" y="52457"/>
                  </a:lnTo>
                  <a:lnTo>
                    <a:pt x="34281" y="52768"/>
                  </a:lnTo>
                  <a:lnTo>
                    <a:pt x="34004" y="53114"/>
                  </a:lnTo>
                  <a:lnTo>
                    <a:pt x="33659" y="53390"/>
                  </a:lnTo>
                  <a:lnTo>
                    <a:pt x="33313" y="53701"/>
                  </a:lnTo>
                  <a:lnTo>
                    <a:pt x="32933" y="53978"/>
                  </a:lnTo>
                  <a:lnTo>
                    <a:pt x="32519" y="54254"/>
                  </a:lnTo>
                  <a:lnTo>
                    <a:pt x="31655" y="54772"/>
                  </a:lnTo>
                  <a:lnTo>
                    <a:pt x="30722" y="55222"/>
                  </a:lnTo>
                  <a:lnTo>
                    <a:pt x="29719" y="55671"/>
                  </a:lnTo>
                  <a:lnTo>
                    <a:pt x="28648" y="56086"/>
                  </a:lnTo>
                  <a:lnTo>
                    <a:pt x="27508" y="56466"/>
                  </a:lnTo>
                  <a:lnTo>
                    <a:pt x="26333" y="56811"/>
                  </a:lnTo>
                  <a:lnTo>
                    <a:pt x="25123" y="57157"/>
                  </a:lnTo>
                  <a:lnTo>
                    <a:pt x="23879" y="57502"/>
                  </a:lnTo>
                  <a:lnTo>
                    <a:pt x="21322" y="58159"/>
                  </a:lnTo>
                  <a:lnTo>
                    <a:pt x="18454" y="58919"/>
                  </a:lnTo>
                  <a:lnTo>
                    <a:pt x="17037" y="59299"/>
                  </a:lnTo>
                  <a:lnTo>
                    <a:pt x="15620" y="59714"/>
                  </a:lnTo>
                  <a:lnTo>
                    <a:pt x="14273" y="60163"/>
                  </a:lnTo>
                  <a:lnTo>
                    <a:pt x="12925" y="60647"/>
                  </a:lnTo>
                  <a:lnTo>
                    <a:pt x="11646" y="61165"/>
                  </a:lnTo>
                  <a:lnTo>
                    <a:pt x="10437" y="61718"/>
                  </a:lnTo>
                  <a:lnTo>
                    <a:pt x="9746" y="62098"/>
                  </a:lnTo>
                  <a:lnTo>
                    <a:pt x="9089" y="62479"/>
                  </a:lnTo>
                  <a:lnTo>
                    <a:pt x="8502" y="62859"/>
                  </a:lnTo>
                  <a:lnTo>
                    <a:pt x="7914" y="63273"/>
                  </a:lnTo>
                  <a:lnTo>
                    <a:pt x="7396" y="63688"/>
                  </a:lnTo>
                  <a:lnTo>
                    <a:pt x="6878" y="64137"/>
                  </a:lnTo>
                  <a:lnTo>
                    <a:pt x="6428" y="64586"/>
                  </a:lnTo>
                  <a:lnTo>
                    <a:pt x="6014" y="65070"/>
                  </a:lnTo>
                  <a:lnTo>
                    <a:pt x="5634" y="65554"/>
                  </a:lnTo>
                  <a:lnTo>
                    <a:pt x="5288" y="66038"/>
                  </a:lnTo>
                  <a:lnTo>
                    <a:pt x="4977" y="66556"/>
                  </a:lnTo>
                  <a:lnTo>
                    <a:pt x="4701" y="67075"/>
                  </a:lnTo>
                  <a:lnTo>
                    <a:pt x="4459" y="67627"/>
                  </a:lnTo>
                  <a:lnTo>
                    <a:pt x="4286" y="68215"/>
                  </a:lnTo>
                  <a:lnTo>
                    <a:pt x="4113" y="68768"/>
                  </a:lnTo>
                  <a:lnTo>
                    <a:pt x="3975" y="69390"/>
                  </a:lnTo>
                  <a:lnTo>
                    <a:pt x="3906" y="69908"/>
                  </a:lnTo>
                  <a:lnTo>
                    <a:pt x="3871" y="70461"/>
                  </a:lnTo>
                  <a:lnTo>
                    <a:pt x="3837" y="70979"/>
                  </a:lnTo>
                  <a:lnTo>
                    <a:pt x="3837" y="71498"/>
                  </a:lnTo>
                  <a:lnTo>
                    <a:pt x="3871" y="72051"/>
                  </a:lnTo>
                  <a:lnTo>
                    <a:pt x="3940" y="72569"/>
                  </a:lnTo>
                  <a:lnTo>
                    <a:pt x="4044" y="73053"/>
                  </a:lnTo>
                  <a:lnTo>
                    <a:pt x="4148" y="73571"/>
                  </a:lnTo>
                  <a:lnTo>
                    <a:pt x="4321" y="74089"/>
                  </a:lnTo>
                  <a:lnTo>
                    <a:pt x="4493" y="74608"/>
                  </a:lnTo>
                  <a:lnTo>
                    <a:pt x="4701" y="75092"/>
                  </a:lnTo>
                  <a:lnTo>
                    <a:pt x="4943" y="75610"/>
                  </a:lnTo>
                  <a:lnTo>
                    <a:pt x="5219" y="76094"/>
                  </a:lnTo>
                  <a:lnTo>
                    <a:pt x="5530" y="76578"/>
                  </a:lnTo>
                  <a:lnTo>
                    <a:pt x="5841" y="77096"/>
                  </a:lnTo>
                  <a:lnTo>
                    <a:pt x="6221" y="77580"/>
                  </a:lnTo>
                  <a:lnTo>
                    <a:pt x="6878" y="78374"/>
                  </a:lnTo>
                  <a:lnTo>
                    <a:pt x="7569" y="79169"/>
                  </a:lnTo>
                  <a:lnTo>
                    <a:pt x="8329" y="79930"/>
                  </a:lnTo>
                  <a:lnTo>
                    <a:pt x="9124" y="80690"/>
                  </a:lnTo>
                  <a:lnTo>
                    <a:pt x="9953" y="81415"/>
                  </a:lnTo>
                  <a:lnTo>
                    <a:pt x="10817" y="82107"/>
                  </a:lnTo>
                  <a:lnTo>
                    <a:pt x="12510" y="83523"/>
                  </a:lnTo>
                  <a:lnTo>
                    <a:pt x="13962" y="84698"/>
                  </a:lnTo>
                  <a:lnTo>
                    <a:pt x="15344" y="85839"/>
                  </a:lnTo>
                  <a:lnTo>
                    <a:pt x="16001" y="86426"/>
                  </a:lnTo>
                  <a:lnTo>
                    <a:pt x="16623" y="87014"/>
                  </a:lnTo>
                  <a:lnTo>
                    <a:pt x="17210" y="87636"/>
                  </a:lnTo>
                  <a:lnTo>
                    <a:pt x="17763" y="88223"/>
                  </a:lnTo>
                  <a:lnTo>
                    <a:pt x="18281" y="88845"/>
                  </a:lnTo>
                  <a:lnTo>
                    <a:pt x="18731" y="89467"/>
                  </a:lnTo>
                  <a:lnTo>
                    <a:pt x="19111" y="90124"/>
                  </a:lnTo>
                  <a:lnTo>
                    <a:pt x="19456" y="90780"/>
                  </a:lnTo>
                  <a:lnTo>
                    <a:pt x="19733" y="91437"/>
                  </a:lnTo>
                  <a:lnTo>
                    <a:pt x="19940" y="92162"/>
                  </a:lnTo>
                  <a:lnTo>
                    <a:pt x="20044" y="92854"/>
                  </a:lnTo>
                  <a:lnTo>
                    <a:pt x="20078" y="93234"/>
                  </a:lnTo>
                  <a:lnTo>
                    <a:pt x="20078" y="93579"/>
                  </a:lnTo>
                  <a:lnTo>
                    <a:pt x="20078" y="94063"/>
                  </a:lnTo>
                  <a:lnTo>
                    <a:pt x="20044" y="94547"/>
                  </a:lnTo>
                  <a:lnTo>
                    <a:pt x="19975" y="94996"/>
                  </a:lnTo>
                  <a:lnTo>
                    <a:pt x="19905" y="95445"/>
                  </a:lnTo>
                  <a:lnTo>
                    <a:pt x="19802" y="95895"/>
                  </a:lnTo>
                  <a:lnTo>
                    <a:pt x="19664" y="96344"/>
                  </a:lnTo>
                  <a:lnTo>
                    <a:pt x="19491" y="96758"/>
                  </a:lnTo>
                  <a:lnTo>
                    <a:pt x="19318" y="97173"/>
                  </a:lnTo>
                  <a:lnTo>
                    <a:pt x="19111" y="97588"/>
                  </a:lnTo>
                  <a:lnTo>
                    <a:pt x="18869" y="97968"/>
                  </a:lnTo>
                  <a:lnTo>
                    <a:pt x="18627" y="98383"/>
                  </a:lnTo>
                  <a:lnTo>
                    <a:pt x="18350" y="98763"/>
                  </a:lnTo>
                  <a:lnTo>
                    <a:pt x="18039" y="99143"/>
                  </a:lnTo>
                  <a:lnTo>
                    <a:pt x="17728" y="99488"/>
                  </a:lnTo>
                  <a:lnTo>
                    <a:pt x="17383" y="99869"/>
                  </a:lnTo>
                  <a:lnTo>
                    <a:pt x="17003" y="100214"/>
                  </a:lnTo>
                  <a:lnTo>
                    <a:pt x="16208" y="100871"/>
                  </a:lnTo>
                  <a:lnTo>
                    <a:pt x="15379" y="101458"/>
                  </a:lnTo>
                  <a:lnTo>
                    <a:pt x="14480" y="102011"/>
                  </a:lnTo>
                  <a:lnTo>
                    <a:pt x="13513" y="102495"/>
                  </a:lnTo>
                  <a:lnTo>
                    <a:pt x="12545" y="102944"/>
                  </a:lnTo>
                  <a:lnTo>
                    <a:pt x="11508" y="103324"/>
                  </a:lnTo>
                  <a:lnTo>
                    <a:pt x="10472" y="103670"/>
                  </a:lnTo>
                  <a:lnTo>
                    <a:pt x="9400" y="103981"/>
                  </a:lnTo>
                  <a:lnTo>
                    <a:pt x="8364" y="104223"/>
                  </a:lnTo>
                  <a:lnTo>
                    <a:pt x="7292" y="104430"/>
                  </a:lnTo>
                  <a:lnTo>
                    <a:pt x="6256" y="104568"/>
                  </a:lnTo>
                  <a:lnTo>
                    <a:pt x="5219" y="104706"/>
                  </a:lnTo>
                  <a:lnTo>
                    <a:pt x="4182" y="104741"/>
                  </a:lnTo>
                  <a:lnTo>
                    <a:pt x="3215" y="104776"/>
                  </a:lnTo>
                  <a:lnTo>
                    <a:pt x="2282" y="104741"/>
                  </a:lnTo>
                  <a:lnTo>
                    <a:pt x="1383" y="104672"/>
                  </a:lnTo>
                  <a:lnTo>
                    <a:pt x="1141" y="104672"/>
                  </a:lnTo>
                  <a:lnTo>
                    <a:pt x="899" y="104706"/>
                  </a:lnTo>
                  <a:lnTo>
                    <a:pt x="692" y="104810"/>
                  </a:lnTo>
                  <a:lnTo>
                    <a:pt x="485" y="104948"/>
                  </a:lnTo>
                  <a:lnTo>
                    <a:pt x="312" y="105121"/>
                  </a:lnTo>
                  <a:lnTo>
                    <a:pt x="174" y="105294"/>
                  </a:lnTo>
                  <a:lnTo>
                    <a:pt x="70" y="105536"/>
                  </a:lnTo>
                  <a:lnTo>
                    <a:pt x="1" y="105778"/>
                  </a:lnTo>
                  <a:lnTo>
                    <a:pt x="1" y="106020"/>
                  </a:lnTo>
                  <a:lnTo>
                    <a:pt x="70" y="106261"/>
                  </a:lnTo>
                  <a:lnTo>
                    <a:pt x="139" y="106503"/>
                  </a:lnTo>
                  <a:lnTo>
                    <a:pt x="277" y="106711"/>
                  </a:lnTo>
                  <a:lnTo>
                    <a:pt x="450" y="106884"/>
                  </a:lnTo>
                  <a:lnTo>
                    <a:pt x="658" y="107022"/>
                  </a:lnTo>
                  <a:lnTo>
                    <a:pt x="865" y="107091"/>
                  </a:lnTo>
                  <a:lnTo>
                    <a:pt x="1107" y="107160"/>
                  </a:lnTo>
                  <a:lnTo>
                    <a:pt x="2213" y="107229"/>
                  </a:lnTo>
                  <a:lnTo>
                    <a:pt x="3353" y="107264"/>
                  </a:lnTo>
                  <a:lnTo>
                    <a:pt x="4321" y="107264"/>
                  </a:lnTo>
                  <a:lnTo>
                    <a:pt x="5288" y="107195"/>
                  </a:lnTo>
                  <a:lnTo>
                    <a:pt x="6290" y="107091"/>
                  </a:lnTo>
                  <a:lnTo>
                    <a:pt x="7327" y="106953"/>
                  </a:lnTo>
                  <a:lnTo>
                    <a:pt x="8329" y="106780"/>
                  </a:lnTo>
                  <a:lnTo>
                    <a:pt x="9366" y="106573"/>
                  </a:lnTo>
                  <a:lnTo>
                    <a:pt x="10402" y="106296"/>
                  </a:lnTo>
                  <a:lnTo>
                    <a:pt x="11405" y="106020"/>
                  </a:lnTo>
                  <a:lnTo>
                    <a:pt x="12407" y="105674"/>
                  </a:lnTo>
                  <a:lnTo>
                    <a:pt x="13409" y="105294"/>
                  </a:lnTo>
                  <a:lnTo>
                    <a:pt x="14376" y="104845"/>
                  </a:lnTo>
                  <a:lnTo>
                    <a:pt x="15309" y="104395"/>
                  </a:lnTo>
                  <a:lnTo>
                    <a:pt x="16208" y="103877"/>
                  </a:lnTo>
                  <a:lnTo>
                    <a:pt x="17072" y="103324"/>
                  </a:lnTo>
                  <a:lnTo>
                    <a:pt x="17901" y="102702"/>
                  </a:lnTo>
                  <a:lnTo>
                    <a:pt x="18661" y="102080"/>
                  </a:lnTo>
                  <a:lnTo>
                    <a:pt x="19145" y="101631"/>
                  </a:lnTo>
                  <a:lnTo>
                    <a:pt x="19594" y="101182"/>
                  </a:lnTo>
                  <a:lnTo>
                    <a:pt x="20009" y="100698"/>
                  </a:lnTo>
                  <a:lnTo>
                    <a:pt x="20389" y="100214"/>
                  </a:lnTo>
                  <a:lnTo>
                    <a:pt x="20735" y="99730"/>
                  </a:lnTo>
                  <a:lnTo>
                    <a:pt x="21046" y="99247"/>
                  </a:lnTo>
                  <a:lnTo>
                    <a:pt x="21357" y="98728"/>
                  </a:lnTo>
                  <a:lnTo>
                    <a:pt x="21599" y="98210"/>
                  </a:lnTo>
                  <a:lnTo>
                    <a:pt x="21841" y="97657"/>
                  </a:lnTo>
                  <a:lnTo>
                    <a:pt x="22048" y="97104"/>
                  </a:lnTo>
                  <a:lnTo>
                    <a:pt x="22221" y="96551"/>
                  </a:lnTo>
                  <a:lnTo>
                    <a:pt x="22359" y="95998"/>
                  </a:lnTo>
                  <a:lnTo>
                    <a:pt x="22463" y="95411"/>
                  </a:lnTo>
                  <a:lnTo>
                    <a:pt x="22532" y="94823"/>
                  </a:lnTo>
                  <a:lnTo>
                    <a:pt x="22566" y="94201"/>
                  </a:lnTo>
                  <a:lnTo>
                    <a:pt x="22601" y="93579"/>
                  </a:lnTo>
                  <a:lnTo>
                    <a:pt x="22566" y="93130"/>
                  </a:lnTo>
                  <a:lnTo>
                    <a:pt x="22532" y="92646"/>
                  </a:lnTo>
                  <a:lnTo>
                    <a:pt x="22463" y="92197"/>
                  </a:lnTo>
                  <a:lnTo>
                    <a:pt x="22394" y="91713"/>
                  </a:lnTo>
                  <a:lnTo>
                    <a:pt x="22290" y="91299"/>
                  </a:lnTo>
                  <a:lnTo>
                    <a:pt x="22152" y="90849"/>
                  </a:lnTo>
                  <a:lnTo>
                    <a:pt x="22013" y="90435"/>
                  </a:lnTo>
                  <a:lnTo>
                    <a:pt x="21841" y="89985"/>
                  </a:lnTo>
                  <a:lnTo>
                    <a:pt x="21460" y="89191"/>
                  </a:lnTo>
                  <a:lnTo>
                    <a:pt x="21011" y="88396"/>
                  </a:lnTo>
                  <a:lnTo>
                    <a:pt x="20493" y="87636"/>
                  </a:lnTo>
                  <a:lnTo>
                    <a:pt x="19905" y="86910"/>
                  </a:lnTo>
                  <a:lnTo>
                    <a:pt x="19283" y="86184"/>
                  </a:lnTo>
                  <a:lnTo>
                    <a:pt x="18627" y="85493"/>
                  </a:lnTo>
                  <a:lnTo>
                    <a:pt x="17901" y="84802"/>
                  </a:lnTo>
                  <a:lnTo>
                    <a:pt x="17175" y="84145"/>
                  </a:lnTo>
                  <a:lnTo>
                    <a:pt x="15655" y="82832"/>
                  </a:lnTo>
                  <a:lnTo>
                    <a:pt x="14100" y="81554"/>
                  </a:lnTo>
                  <a:lnTo>
                    <a:pt x="12476" y="80241"/>
                  </a:lnTo>
                  <a:lnTo>
                    <a:pt x="11681" y="79584"/>
                  </a:lnTo>
                  <a:lnTo>
                    <a:pt x="10921" y="78927"/>
                  </a:lnTo>
                  <a:lnTo>
                    <a:pt x="10195" y="78271"/>
                  </a:lnTo>
                  <a:lnTo>
                    <a:pt x="9539" y="77614"/>
                  </a:lnTo>
                  <a:lnTo>
                    <a:pt x="8882" y="76923"/>
                  </a:lnTo>
                  <a:lnTo>
                    <a:pt x="8329" y="76197"/>
                  </a:lnTo>
                  <a:lnTo>
                    <a:pt x="7811" y="75506"/>
                  </a:lnTo>
                  <a:lnTo>
                    <a:pt x="7327" y="74781"/>
                  </a:lnTo>
                  <a:lnTo>
                    <a:pt x="6981" y="74020"/>
                  </a:lnTo>
                  <a:lnTo>
                    <a:pt x="6809" y="73606"/>
                  </a:lnTo>
                  <a:lnTo>
                    <a:pt x="6670" y="73226"/>
                  </a:lnTo>
                  <a:lnTo>
                    <a:pt x="6567" y="72811"/>
                  </a:lnTo>
                  <a:lnTo>
                    <a:pt x="6463" y="72431"/>
                  </a:lnTo>
                  <a:lnTo>
                    <a:pt x="6394" y="72016"/>
                  </a:lnTo>
                  <a:lnTo>
                    <a:pt x="6359" y="71567"/>
                  </a:lnTo>
                  <a:lnTo>
                    <a:pt x="6325" y="71152"/>
                  </a:lnTo>
                  <a:lnTo>
                    <a:pt x="6359" y="70703"/>
                  </a:lnTo>
                  <a:lnTo>
                    <a:pt x="6394" y="70254"/>
                  </a:lnTo>
                  <a:lnTo>
                    <a:pt x="6463" y="69804"/>
                  </a:lnTo>
                  <a:lnTo>
                    <a:pt x="6532" y="69355"/>
                  </a:lnTo>
                  <a:lnTo>
                    <a:pt x="6670" y="68906"/>
                  </a:lnTo>
                  <a:lnTo>
                    <a:pt x="6809" y="68491"/>
                  </a:lnTo>
                  <a:lnTo>
                    <a:pt x="7016" y="68077"/>
                  </a:lnTo>
                  <a:lnTo>
                    <a:pt x="7223" y="67697"/>
                  </a:lnTo>
                  <a:lnTo>
                    <a:pt x="7465" y="67282"/>
                  </a:lnTo>
                  <a:lnTo>
                    <a:pt x="7707" y="66902"/>
                  </a:lnTo>
                  <a:lnTo>
                    <a:pt x="8018" y="66556"/>
                  </a:lnTo>
                  <a:lnTo>
                    <a:pt x="8364" y="66211"/>
                  </a:lnTo>
                  <a:lnTo>
                    <a:pt x="8709" y="65865"/>
                  </a:lnTo>
                  <a:lnTo>
                    <a:pt x="9124" y="65519"/>
                  </a:lnTo>
                  <a:lnTo>
                    <a:pt x="9539" y="65174"/>
                  </a:lnTo>
                  <a:lnTo>
                    <a:pt x="9988" y="64863"/>
                  </a:lnTo>
                  <a:lnTo>
                    <a:pt x="10472" y="64552"/>
                  </a:lnTo>
                  <a:lnTo>
                    <a:pt x="11024" y="64275"/>
                  </a:lnTo>
                  <a:lnTo>
                    <a:pt x="11577" y="63964"/>
                  </a:lnTo>
                  <a:lnTo>
                    <a:pt x="12683" y="63446"/>
                  </a:lnTo>
                  <a:lnTo>
                    <a:pt x="13893" y="62962"/>
                  </a:lnTo>
                  <a:lnTo>
                    <a:pt x="15137" y="62513"/>
                  </a:lnTo>
                  <a:lnTo>
                    <a:pt x="16450" y="62098"/>
                  </a:lnTo>
                  <a:lnTo>
                    <a:pt x="17798" y="61684"/>
                  </a:lnTo>
                  <a:lnTo>
                    <a:pt x="19180" y="61304"/>
                  </a:lnTo>
                  <a:lnTo>
                    <a:pt x="21944" y="60578"/>
                  </a:lnTo>
                  <a:lnTo>
                    <a:pt x="24709" y="59887"/>
                  </a:lnTo>
                  <a:lnTo>
                    <a:pt x="26056" y="59507"/>
                  </a:lnTo>
                  <a:lnTo>
                    <a:pt x="27404" y="59127"/>
                  </a:lnTo>
                  <a:lnTo>
                    <a:pt x="28683" y="58677"/>
                  </a:lnTo>
                  <a:lnTo>
                    <a:pt x="29961" y="58228"/>
                  </a:lnTo>
                  <a:lnTo>
                    <a:pt x="31171" y="57744"/>
                  </a:lnTo>
                  <a:lnTo>
                    <a:pt x="32311" y="57226"/>
                  </a:lnTo>
                  <a:lnTo>
                    <a:pt x="32864" y="56950"/>
                  </a:lnTo>
                  <a:lnTo>
                    <a:pt x="33382" y="56639"/>
                  </a:lnTo>
                  <a:lnTo>
                    <a:pt x="33901" y="56327"/>
                  </a:lnTo>
                  <a:lnTo>
                    <a:pt x="34385" y="55982"/>
                  </a:lnTo>
                  <a:lnTo>
                    <a:pt x="34834" y="55636"/>
                  </a:lnTo>
                  <a:lnTo>
                    <a:pt x="35283" y="55291"/>
                  </a:lnTo>
                  <a:lnTo>
                    <a:pt x="35698" y="54911"/>
                  </a:lnTo>
                  <a:lnTo>
                    <a:pt x="36078" y="54531"/>
                  </a:lnTo>
                  <a:lnTo>
                    <a:pt x="36458" y="54116"/>
                  </a:lnTo>
                  <a:lnTo>
                    <a:pt x="36769" y="53667"/>
                  </a:lnTo>
                  <a:lnTo>
                    <a:pt x="37080" y="53217"/>
                  </a:lnTo>
                  <a:lnTo>
                    <a:pt x="37356" y="52768"/>
                  </a:lnTo>
                  <a:lnTo>
                    <a:pt x="37598" y="52250"/>
                  </a:lnTo>
                  <a:lnTo>
                    <a:pt x="37806" y="51731"/>
                  </a:lnTo>
                  <a:lnTo>
                    <a:pt x="37944" y="51213"/>
                  </a:lnTo>
                  <a:lnTo>
                    <a:pt x="38082" y="50626"/>
                  </a:lnTo>
                  <a:lnTo>
                    <a:pt x="38220" y="49865"/>
                  </a:lnTo>
                  <a:lnTo>
                    <a:pt x="38289" y="49105"/>
                  </a:lnTo>
                  <a:lnTo>
                    <a:pt x="38324" y="48345"/>
                  </a:lnTo>
                  <a:lnTo>
                    <a:pt x="38324" y="47619"/>
                  </a:lnTo>
                  <a:lnTo>
                    <a:pt x="38255" y="46894"/>
                  </a:lnTo>
                  <a:lnTo>
                    <a:pt x="38151" y="46168"/>
                  </a:lnTo>
                  <a:lnTo>
                    <a:pt x="37978" y="45442"/>
                  </a:lnTo>
                  <a:lnTo>
                    <a:pt x="37771" y="44751"/>
                  </a:lnTo>
                  <a:lnTo>
                    <a:pt x="37529" y="44060"/>
                  </a:lnTo>
                  <a:lnTo>
                    <a:pt x="37218" y="43403"/>
                  </a:lnTo>
                  <a:lnTo>
                    <a:pt x="36873" y="42712"/>
                  </a:lnTo>
                  <a:lnTo>
                    <a:pt x="36458" y="42056"/>
                  </a:lnTo>
                  <a:lnTo>
                    <a:pt x="36009" y="41399"/>
                  </a:lnTo>
                  <a:lnTo>
                    <a:pt x="35490" y="40777"/>
                  </a:lnTo>
                  <a:lnTo>
                    <a:pt x="34937" y="40121"/>
                  </a:lnTo>
                  <a:lnTo>
                    <a:pt x="34350" y="39499"/>
                  </a:lnTo>
                  <a:lnTo>
                    <a:pt x="33797" y="38980"/>
                  </a:lnTo>
                  <a:lnTo>
                    <a:pt x="33210" y="38496"/>
                  </a:lnTo>
                  <a:lnTo>
                    <a:pt x="32622" y="37978"/>
                  </a:lnTo>
                  <a:lnTo>
                    <a:pt x="32035" y="37494"/>
                  </a:lnTo>
                  <a:lnTo>
                    <a:pt x="30722" y="36561"/>
                  </a:lnTo>
                  <a:lnTo>
                    <a:pt x="29374" y="35663"/>
                  </a:lnTo>
                  <a:lnTo>
                    <a:pt x="27992" y="34764"/>
                  </a:lnTo>
                  <a:lnTo>
                    <a:pt x="26540" y="33935"/>
                  </a:lnTo>
                  <a:lnTo>
                    <a:pt x="23638" y="32276"/>
                  </a:lnTo>
                  <a:lnTo>
                    <a:pt x="21115" y="30825"/>
                  </a:lnTo>
                  <a:lnTo>
                    <a:pt x="19871" y="30099"/>
                  </a:lnTo>
                  <a:lnTo>
                    <a:pt x="18696" y="29374"/>
                  </a:lnTo>
                  <a:lnTo>
                    <a:pt x="17521" y="28648"/>
                  </a:lnTo>
                  <a:lnTo>
                    <a:pt x="16450" y="27888"/>
                  </a:lnTo>
                  <a:lnTo>
                    <a:pt x="15413" y="27127"/>
                  </a:lnTo>
                  <a:lnTo>
                    <a:pt x="14446" y="26333"/>
                  </a:lnTo>
                  <a:lnTo>
                    <a:pt x="13547" y="25538"/>
                  </a:lnTo>
                  <a:lnTo>
                    <a:pt x="13132" y="25123"/>
                  </a:lnTo>
                  <a:lnTo>
                    <a:pt x="12752" y="24674"/>
                  </a:lnTo>
                  <a:lnTo>
                    <a:pt x="12372" y="24259"/>
                  </a:lnTo>
                  <a:lnTo>
                    <a:pt x="12027" y="23810"/>
                  </a:lnTo>
                  <a:lnTo>
                    <a:pt x="11716" y="23361"/>
                  </a:lnTo>
                  <a:lnTo>
                    <a:pt x="11439" y="22911"/>
                  </a:lnTo>
                  <a:lnTo>
                    <a:pt x="11163" y="22428"/>
                  </a:lnTo>
                  <a:lnTo>
                    <a:pt x="10955" y="21944"/>
                  </a:lnTo>
                  <a:lnTo>
                    <a:pt x="10748" y="21460"/>
                  </a:lnTo>
                  <a:lnTo>
                    <a:pt x="10575" y="20942"/>
                  </a:lnTo>
                  <a:lnTo>
                    <a:pt x="10437" y="20423"/>
                  </a:lnTo>
                  <a:lnTo>
                    <a:pt x="10333" y="19905"/>
                  </a:lnTo>
                  <a:lnTo>
                    <a:pt x="10264" y="19352"/>
                  </a:lnTo>
                  <a:lnTo>
                    <a:pt x="10230" y="18799"/>
                  </a:lnTo>
                  <a:lnTo>
                    <a:pt x="10230" y="17832"/>
                  </a:lnTo>
                  <a:lnTo>
                    <a:pt x="10230" y="16899"/>
                  </a:lnTo>
                  <a:lnTo>
                    <a:pt x="10299" y="15966"/>
                  </a:lnTo>
                  <a:lnTo>
                    <a:pt x="10368" y="15102"/>
                  </a:lnTo>
                  <a:lnTo>
                    <a:pt x="10472" y="14272"/>
                  </a:lnTo>
                  <a:lnTo>
                    <a:pt x="10644" y="13443"/>
                  </a:lnTo>
                  <a:lnTo>
                    <a:pt x="10817" y="12683"/>
                  </a:lnTo>
                  <a:lnTo>
                    <a:pt x="11024" y="11923"/>
                  </a:lnTo>
                  <a:lnTo>
                    <a:pt x="11266" y="11231"/>
                  </a:lnTo>
                  <a:lnTo>
                    <a:pt x="11543" y="10540"/>
                  </a:lnTo>
                  <a:lnTo>
                    <a:pt x="11854" y="9884"/>
                  </a:lnTo>
                  <a:lnTo>
                    <a:pt x="12199" y="9262"/>
                  </a:lnTo>
                  <a:lnTo>
                    <a:pt x="12579" y="8674"/>
                  </a:lnTo>
                  <a:lnTo>
                    <a:pt x="12994" y="8121"/>
                  </a:lnTo>
                  <a:lnTo>
                    <a:pt x="13443" y="7603"/>
                  </a:lnTo>
                  <a:lnTo>
                    <a:pt x="13893" y="7119"/>
                  </a:lnTo>
                  <a:lnTo>
                    <a:pt x="14273" y="6774"/>
                  </a:lnTo>
                  <a:lnTo>
                    <a:pt x="14653" y="6428"/>
                  </a:lnTo>
                  <a:lnTo>
                    <a:pt x="15068" y="6117"/>
                  </a:lnTo>
                  <a:lnTo>
                    <a:pt x="15482" y="5841"/>
                  </a:lnTo>
                  <a:lnTo>
                    <a:pt x="15931" y="5530"/>
                  </a:lnTo>
                  <a:lnTo>
                    <a:pt x="16381" y="5253"/>
                  </a:lnTo>
                  <a:lnTo>
                    <a:pt x="16864" y="5011"/>
                  </a:lnTo>
                  <a:lnTo>
                    <a:pt x="17383" y="4769"/>
                  </a:lnTo>
                  <a:lnTo>
                    <a:pt x="18454" y="4320"/>
                  </a:lnTo>
                  <a:lnTo>
                    <a:pt x="19594" y="3905"/>
                  </a:lnTo>
                  <a:lnTo>
                    <a:pt x="20838" y="3560"/>
                  </a:lnTo>
                  <a:lnTo>
                    <a:pt x="22152" y="3249"/>
                  </a:lnTo>
                  <a:lnTo>
                    <a:pt x="23603" y="3007"/>
                  </a:lnTo>
                  <a:lnTo>
                    <a:pt x="25089" y="2800"/>
                  </a:lnTo>
                  <a:lnTo>
                    <a:pt x="26713" y="2661"/>
                  </a:lnTo>
                  <a:lnTo>
                    <a:pt x="28441" y="2558"/>
                  </a:lnTo>
                  <a:lnTo>
                    <a:pt x="30238" y="2489"/>
                  </a:lnTo>
                  <a:lnTo>
                    <a:pt x="32173" y="2489"/>
                  </a:lnTo>
                  <a:lnTo>
                    <a:pt x="34212" y="2558"/>
                  </a:lnTo>
                  <a:lnTo>
                    <a:pt x="36354" y="2627"/>
                  </a:lnTo>
                  <a:lnTo>
                    <a:pt x="36596" y="2627"/>
                  </a:lnTo>
                  <a:lnTo>
                    <a:pt x="36838" y="2558"/>
                  </a:lnTo>
                  <a:lnTo>
                    <a:pt x="37045" y="2454"/>
                  </a:lnTo>
                  <a:lnTo>
                    <a:pt x="37253" y="2316"/>
                  </a:lnTo>
                  <a:lnTo>
                    <a:pt x="37426" y="2143"/>
                  </a:lnTo>
                  <a:lnTo>
                    <a:pt x="37529" y="1936"/>
                  </a:lnTo>
                  <a:lnTo>
                    <a:pt x="37633" y="1694"/>
                  </a:lnTo>
                  <a:lnTo>
                    <a:pt x="37667" y="1452"/>
                  </a:lnTo>
                  <a:lnTo>
                    <a:pt x="37667" y="1210"/>
                  </a:lnTo>
                  <a:lnTo>
                    <a:pt x="37598" y="968"/>
                  </a:lnTo>
                  <a:lnTo>
                    <a:pt x="37495" y="726"/>
                  </a:lnTo>
                  <a:lnTo>
                    <a:pt x="37356" y="553"/>
                  </a:lnTo>
                  <a:lnTo>
                    <a:pt x="37184" y="381"/>
                  </a:lnTo>
                  <a:lnTo>
                    <a:pt x="36976" y="277"/>
                  </a:lnTo>
                  <a:lnTo>
                    <a:pt x="36734" y="173"/>
                  </a:lnTo>
                  <a:lnTo>
                    <a:pt x="36493" y="139"/>
                  </a:lnTo>
                  <a:lnTo>
                    <a:pt x="34212" y="35"/>
                  </a:lnTo>
                  <a:lnTo>
                    <a:pt x="32035" y="1"/>
                  </a:lnTo>
                  <a:close/>
                </a:path>
              </a:pathLst>
            </a:custGeom>
            <a:solidFill>
              <a:srgbClr val="EB8C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29" name="Google Shape;2358;p11">
              <a:extLst>
                <a:ext uri="{FF2B5EF4-FFF2-40B4-BE49-F238E27FC236}">
                  <a16:creationId xmlns:a16="http://schemas.microsoft.com/office/drawing/2014/main" id="{DC03898D-3825-662C-7EA8-C26295D42BBF}"/>
                </a:ext>
              </a:extLst>
            </p:cNvPr>
            <p:cNvSpPr/>
            <p:nvPr/>
          </p:nvSpPr>
          <p:spPr>
            <a:xfrm>
              <a:off x="2582375" y="3288575"/>
              <a:ext cx="286850" cy="267850"/>
            </a:xfrm>
            <a:custGeom>
              <a:avLst/>
              <a:gdLst/>
              <a:ahLst/>
              <a:cxnLst/>
              <a:rect l="l" t="t" r="r" b="b"/>
              <a:pathLst>
                <a:path w="11474" h="10714" extrusionOk="0">
                  <a:moveTo>
                    <a:pt x="1279" y="1"/>
                  </a:moveTo>
                  <a:lnTo>
                    <a:pt x="1037" y="35"/>
                  </a:lnTo>
                  <a:lnTo>
                    <a:pt x="795" y="104"/>
                  </a:lnTo>
                  <a:lnTo>
                    <a:pt x="553" y="208"/>
                  </a:lnTo>
                  <a:lnTo>
                    <a:pt x="346" y="381"/>
                  </a:lnTo>
                  <a:lnTo>
                    <a:pt x="208" y="588"/>
                  </a:lnTo>
                  <a:lnTo>
                    <a:pt x="70" y="795"/>
                  </a:lnTo>
                  <a:lnTo>
                    <a:pt x="0" y="1037"/>
                  </a:lnTo>
                  <a:lnTo>
                    <a:pt x="0" y="1279"/>
                  </a:lnTo>
                  <a:lnTo>
                    <a:pt x="0" y="1521"/>
                  </a:lnTo>
                  <a:lnTo>
                    <a:pt x="70" y="1763"/>
                  </a:lnTo>
                  <a:lnTo>
                    <a:pt x="208" y="2005"/>
                  </a:lnTo>
                  <a:lnTo>
                    <a:pt x="346" y="2178"/>
                  </a:lnTo>
                  <a:lnTo>
                    <a:pt x="1590" y="3422"/>
                  </a:lnTo>
                  <a:lnTo>
                    <a:pt x="4354" y="6083"/>
                  </a:lnTo>
                  <a:lnTo>
                    <a:pt x="5806" y="7465"/>
                  </a:lnTo>
                  <a:lnTo>
                    <a:pt x="6946" y="8502"/>
                  </a:lnTo>
                  <a:lnTo>
                    <a:pt x="7845" y="9296"/>
                  </a:lnTo>
                  <a:lnTo>
                    <a:pt x="8501" y="9849"/>
                  </a:lnTo>
                  <a:lnTo>
                    <a:pt x="8985" y="10195"/>
                  </a:lnTo>
                  <a:lnTo>
                    <a:pt x="9331" y="10437"/>
                  </a:lnTo>
                  <a:lnTo>
                    <a:pt x="9538" y="10540"/>
                  </a:lnTo>
                  <a:lnTo>
                    <a:pt x="9711" y="10609"/>
                  </a:lnTo>
                  <a:lnTo>
                    <a:pt x="9953" y="10679"/>
                  </a:lnTo>
                  <a:lnTo>
                    <a:pt x="10195" y="10713"/>
                  </a:lnTo>
                  <a:lnTo>
                    <a:pt x="10367" y="10679"/>
                  </a:lnTo>
                  <a:lnTo>
                    <a:pt x="10575" y="10644"/>
                  </a:lnTo>
                  <a:lnTo>
                    <a:pt x="10747" y="10575"/>
                  </a:lnTo>
                  <a:lnTo>
                    <a:pt x="10886" y="10506"/>
                  </a:lnTo>
                  <a:lnTo>
                    <a:pt x="11058" y="10368"/>
                  </a:lnTo>
                  <a:lnTo>
                    <a:pt x="11162" y="10229"/>
                  </a:lnTo>
                  <a:lnTo>
                    <a:pt x="11300" y="10091"/>
                  </a:lnTo>
                  <a:lnTo>
                    <a:pt x="11369" y="9884"/>
                  </a:lnTo>
                  <a:lnTo>
                    <a:pt x="11439" y="9642"/>
                  </a:lnTo>
                  <a:lnTo>
                    <a:pt x="11473" y="9400"/>
                  </a:lnTo>
                  <a:lnTo>
                    <a:pt x="11439" y="9158"/>
                  </a:lnTo>
                  <a:lnTo>
                    <a:pt x="11369" y="8916"/>
                  </a:lnTo>
                  <a:lnTo>
                    <a:pt x="11266" y="8709"/>
                  </a:lnTo>
                  <a:lnTo>
                    <a:pt x="11093" y="8536"/>
                  </a:lnTo>
                  <a:lnTo>
                    <a:pt x="10920" y="8363"/>
                  </a:lnTo>
                  <a:lnTo>
                    <a:pt x="10678" y="8260"/>
                  </a:lnTo>
                  <a:lnTo>
                    <a:pt x="10471" y="8121"/>
                  </a:lnTo>
                  <a:lnTo>
                    <a:pt x="10229" y="7914"/>
                  </a:lnTo>
                  <a:lnTo>
                    <a:pt x="9503" y="7327"/>
                  </a:lnTo>
                  <a:lnTo>
                    <a:pt x="8536" y="6497"/>
                  </a:lnTo>
                  <a:lnTo>
                    <a:pt x="7430" y="5495"/>
                  </a:lnTo>
                  <a:lnTo>
                    <a:pt x="4873" y="3042"/>
                  </a:lnTo>
                  <a:lnTo>
                    <a:pt x="2177" y="381"/>
                  </a:lnTo>
                  <a:lnTo>
                    <a:pt x="1970" y="208"/>
                  </a:lnTo>
                  <a:lnTo>
                    <a:pt x="1763" y="104"/>
                  </a:lnTo>
                  <a:lnTo>
                    <a:pt x="1521" y="35"/>
                  </a:lnTo>
                  <a:lnTo>
                    <a:pt x="1279"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30" name="Google Shape;2359;p11">
              <a:extLst>
                <a:ext uri="{FF2B5EF4-FFF2-40B4-BE49-F238E27FC236}">
                  <a16:creationId xmlns:a16="http://schemas.microsoft.com/office/drawing/2014/main" id="{4AEFCF83-D108-BD8A-3316-41732B317C82}"/>
                </a:ext>
              </a:extLst>
            </p:cNvPr>
            <p:cNvSpPr/>
            <p:nvPr/>
          </p:nvSpPr>
          <p:spPr>
            <a:xfrm>
              <a:off x="2575450" y="3304125"/>
              <a:ext cx="307600" cy="245375"/>
            </a:xfrm>
            <a:custGeom>
              <a:avLst/>
              <a:gdLst/>
              <a:ahLst/>
              <a:cxnLst/>
              <a:rect l="l" t="t" r="r" b="b"/>
              <a:pathLst>
                <a:path w="12304" h="9815" extrusionOk="0">
                  <a:moveTo>
                    <a:pt x="10921" y="1"/>
                  </a:moveTo>
                  <a:lnTo>
                    <a:pt x="10506" y="70"/>
                  </a:lnTo>
                  <a:lnTo>
                    <a:pt x="10091" y="139"/>
                  </a:lnTo>
                  <a:lnTo>
                    <a:pt x="9677" y="243"/>
                  </a:lnTo>
                  <a:lnTo>
                    <a:pt x="9262" y="346"/>
                  </a:lnTo>
                  <a:lnTo>
                    <a:pt x="8467" y="657"/>
                  </a:lnTo>
                  <a:lnTo>
                    <a:pt x="7672" y="1037"/>
                  </a:lnTo>
                  <a:lnTo>
                    <a:pt x="6878" y="1452"/>
                  </a:lnTo>
                  <a:lnTo>
                    <a:pt x="6152" y="1970"/>
                  </a:lnTo>
                  <a:lnTo>
                    <a:pt x="5426" y="2489"/>
                  </a:lnTo>
                  <a:lnTo>
                    <a:pt x="4735" y="3076"/>
                  </a:lnTo>
                  <a:lnTo>
                    <a:pt x="4044" y="3664"/>
                  </a:lnTo>
                  <a:lnTo>
                    <a:pt x="3422" y="4251"/>
                  </a:lnTo>
                  <a:lnTo>
                    <a:pt x="2800" y="4873"/>
                  </a:lnTo>
                  <a:lnTo>
                    <a:pt x="2213" y="5495"/>
                  </a:lnTo>
                  <a:lnTo>
                    <a:pt x="1176" y="6670"/>
                  </a:lnTo>
                  <a:lnTo>
                    <a:pt x="312" y="7707"/>
                  </a:lnTo>
                  <a:lnTo>
                    <a:pt x="139" y="7949"/>
                  </a:lnTo>
                  <a:lnTo>
                    <a:pt x="70" y="8156"/>
                  </a:lnTo>
                  <a:lnTo>
                    <a:pt x="1" y="8398"/>
                  </a:lnTo>
                  <a:lnTo>
                    <a:pt x="1" y="8640"/>
                  </a:lnTo>
                  <a:lnTo>
                    <a:pt x="35" y="8882"/>
                  </a:lnTo>
                  <a:lnTo>
                    <a:pt x="139" y="9124"/>
                  </a:lnTo>
                  <a:lnTo>
                    <a:pt x="277" y="9331"/>
                  </a:lnTo>
                  <a:lnTo>
                    <a:pt x="450" y="9504"/>
                  </a:lnTo>
                  <a:lnTo>
                    <a:pt x="658" y="9642"/>
                  </a:lnTo>
                  <a:lnTo>
                    <a:pt x="865" y="9746"/>
                  </a:lnTo>
                  <a:lnTo>
                    <a:pt x="1072" y="9815"/>
                  </a:lnTo>
                  <a:lnTo>
                    <a:pt x="1280" y="9815"/>
                  </a:lnTo>
                  <a:lnTo>
                    <a:pt x="1556" y="9780"/>
                  </a:lnTo>
                  <a:lnTo>
                    <a:pt x="1798" y="9711"/>
                  </a:lnTo>
                  <a:lnTo>
                    <a:pt x="2040" y="9573"/>
                  </a:lnTo>
                  <a:lnTo>
                    <a:pt x="2247" y="9365"/>
                  </a:lnTo>
                  <a:lnTo>
                    <a:pt x="3042" y="8432"/>
                  </a:lnTo>
                  <a:lnTo>
                    <a:pt x="3975" y="7396"/>
                  </a:lnTo>
                  <a:lnTo>
                    <a:pt x="5012" y="6290"/>
                  </a:lnTo>
                  <a:lnTo>
                    <a:pt x="5565" y="5737"/>
                  </a:lnTo>
                  <a:lnTo>
                    <a:pt x="6117" y="5219"/>
                  </a:lnTo>
                  <a:lnTo>
                    <a:pt x="6705" y="4735"/>
                  </a:lnTo>
                  <a:lnTo>
                    <a:pt x="7327" y="4251"/>
                  </a:lnTo>
                  <a:lnTo>
                    <a:pt x="7949" y="3802"/>
                  </a:lnTo>
                  <a:lnTo>
                    <a:pt x="8571" y="3422"/>
                  </a:lnTo>
                  <a:lnTo>
                    <a:pt x="9227" y="3111"/>
                  </a:lnTo>
                  <a:lnTo>
                    <a:pt x="9850" y="2834"/>
                  </a:lnTo>
                  <a:lnTo>
                    <a:pt x="10506" y="2662"/>
                  </a:lnTo>
                  <a:lnTo>
                    <a:pt x="10852" y="2592"/>
                  </a:lnTo>
                  <a:lnTo>
                    <a:pt x="11163" y="2558"/>
                  </a:lnTo>
                  <a:lnTo>
                    <a:pt x="11405" y="2489"/>
                  </a:lnTo>
                  <a:lnTo>
                    <a:pt x="11646" y="2420"/>
                  </a:lnTo>
                  <a:lnTo>
                    <a:pt x="11854" y="2281"/>
                  </a:lnTo>
                  <a:lnTo>
                    <a:pt x="12027" y="2109"/>
                  </a:lnTo>
                  <a:lnTo>
                    <a:pt x="12165" y="1901"/>
                  </a:lnTo>
                  <a:lnTo>
                    <a:pt x="12268" y="1659"/>
                  </a:lnTo>
                  <a:lnTo>
                    <a:pt x="12303" y="1417"/>
                  </a:lnTo>
                  <a:lnTo>
                    <a:pt x="12303" y="1176"/>
                  </a:lnTo>
                  <a:lnTo>
                    <a:pt x="12268" y="899"/>
                  </a:lnTo>
                  <a:lnTo>
                    <a:pt x="12165" y="692"/>
                  </a:lnTo>
                  <a:lnTo>
                    <a:pt x="12027" y="484"/>
                  </a:lnTo>
                  <a:lnTo>
                    <a:pt x="11854" y="312"/>
                  </a:lnTo>
                  <a:lnTo>
                    <a:pt x="11646" y="173"/>
                  </a:lnTo>
                  <a:lnTo>
                    <a:pt x="11439" y="70"/>
                  </a:lnTo>
                  <a:lnTo>
                    <a:pt x="11197"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31" name="Google Shape;2360;p11">
              <a:extLst>
                <a:ext uri="{FF2B5EF4-FFF2-40B4-BE49-F238E27FC236}">
                  <a16:creationId xmlns:a16="http://schemas.microsoft.com/office/drawing/2014/main" id="{A5B5F19F-293F-CE2F-9064-4EA169259127}"/>
                </a:ext>
              </a:extLst>
            </p:cNvPr>
            <p:cNvSpPr/>
            <p:nvPr/>
          </p:nvSpPr>
          <p:spPr>
            <a:xfrm>
              <a:off x="2291225" y="1164225"/>
              <a:ext cx="229825" cy="150350"/>
            </a:xfrm>
            <a:custGeom>
              <a:avLst/>
              <a:gdLst/>
              <a:ahLst/>
              <a:cxnLst/>
              <a:rect l="l" t="t" r="r" b="b"/>
              <a:pathLst>
                <a:path w="9193" h="6014" extrusionOk="0">
                  <a:moveTo>
                    <a:pt x="139" y="0"/>
                  </a:moveTo>
                  <a:lnTo>
                    <a:pt x="70" y="35"/>
                  </a:lnTo>
                  <a:lnTo>
                    <a:pt x="1" y="104"/>
                  </a:lnTo>
                  <a:lnTo>
                    <a:pt x="1" y="208"/>
                  </a:lnTo>
                  <a:lnTo>
                    <a:pt x="1" y="277"/>
                  </a:lnTo>
                  <a:lnTo>
                    <a:pt x="70" y="346"/>
                  </a:lnTo>
                  <a:lnTo>
                    <a:pt x="139" y="381"/>
                  </a:lnTo>
                  <a:lnTo>
                    <a:pt x="208" y="415"/>
                  </a:lnTo>
                  <a:lnTo>
                    <a:pt x="5081" y="415"/>
                  </a:lnTo>
                  <a:lnTo>
                    <a:pt x="8813" y="5944"/>
                  </a:lnTo>
                  <a:lnTo>
                    <a:pt x="8882" y="6013"/>
                  </a:lnTo>
                  <a:lnTo>
                    <a:pt x="8986" y="6013"/>
                  </a:lnTo>
                  <a:lnTo>
                    <a:pt x="9089" y="5979"/>
                  </a:lnTo>
                  <a:lnTo>
                    <a:pt x="9158" y="5944"/>
                  </a:lnTo>
                  <a:lnTo>
                    <a:pt x="9193" y="5840"/>
                  </a:lnTo>
                  <a:lnTo>
                    <a:pt x="9193" y="5771"/>
                  </a:lnTo>
                  <a:lnTo>
                    <a:pt x="9158" y="5702"/>
                  </a:lnTo>
                  <a:lnTo>
                    <a:pt x="5357" y="70"/>
                  </a:lnTo>
                  <a:lnTo>
                    <a:pt x="5288" y="0"/>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32" name="Google Shape;2361;p11">
              <a:extLst>
                <a:ext uri="{FF2B5EF4-FFF2-40B4-BE49-F238E27FC236}">
                  <a16:creationId xmlns:a16="http://schemas.microsoft.com/office/drawing/2014/main" id="{30123E79-69D9-D360-26B3-888B389E6773}"/>
                </a:ext>
              </a:extLst>
            </p:cNvPr>
            <p:cNvSpPr/>
            <p:nvPr/>
          </p:nvSpPr>
          <p:spPr>
            <a:xfrm>
              <a:off x="1823850" y="1149550"/>
              <a:ext cx="143450" cy="39750"/>
            </a:xfrm>
            <a:custGeom>
              <a:avLst/>
              <a:gdLst/>
              <a:ahLst/>
              <a:cxnLst/>
              <a:rect l="l" t="t" r="r" b="b"/>
              <a:pathLst>
                <a:path w="5738" h="1590" extrusionOk="0">
                  <a:moveTo>
                    <a:pt x="174" y="0"/>
                  </a:moveTo>
                  <a:lnTo>
                    <a:pt x="70" y="69"/>
                  </a:lnTo>
                  <a:lnTo>
                    <a:pt x="1" y="173"/>
                  </a:lnTo>
                  <a:lnTo>
                    <a:pt x="1" y="311"/>
                  </a:lnTo>
                  <a:lnTo>
                    <a:pt x="1" y="1244"/>
                  </a:lnTo>
                  <a:lnTo>
                    <a:pt x="1" y="1382"/>
                  </a:lnTo>
                  <a:lnTo>
                    <a:pt x="70" y="1486"/>
                  </a:lnTo>
                  <a:lnTo>
                    <a:pt x="174" y="1555"/>
                  </a:lnTo>
                  <a:lnTo>
                    <a:pt x="312" y="1590"/>
                  </a:lnTo>
                  <a:lnTo>
                    <a:pt x="5426" y="1590"/>
                  </a:lnTo>
                  <a:lnTo>
                    <a:pt x="5564" y="1555"/>
                  </a:lnTo>
                  <a:lnTo>
                    <a:pt x="5668" y="1486"/>
                  </a:lnTo>
                  <a:lnTo>
                    <a:pt x="5737" y="1382"/>
                  </a:lnTo>
                  <a:lnTo>
                    <a:pt x="5737" y="1244"/>
                  </a:lnTo>
                  <a:lnTo>
                    <a:pt x="5737" y="311"/>
                  </a:lnTo>
                  <a:lnTo>
                    <a:pt x="5737" y="173"/>
                  </a:lnTo>
                  <a:lnTo>
                    <a:pt x="5668" y="69"/>
                  </a:lnTo>
                  <a:lnTo>
                    <a:pt x="5564"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33" name="Google Shape;2362;p11">
              <a:extLst>
                <a:ext uri="{FF2B5EF4-FFF2-40B4-BE49-F238E27FC236}">
                  <a16:creationId xmlns:a16="http://schemas.microsoft.com/office/drawing/2014/main" id="{53A558DE-65DC-61A8-1C78-DF1B4E210B54}"/>
                </a:ext>
              </a:extLst>
            </p:cNvPr>
            <p:cNvSpPr/>
            <p:nvPr/>
          </p:nvSpPr>
          <p:spPr>
            <a:xfrm>
              <a:off x="1823850" y="1149550"/>
              <a:ext cx="143450" cy="39750"/>
            </a:xfrm>
            <a:custGeom>
              <a:avLst/>
              <a:gdLst/>
              <a:ahLst/>
              <a:cxnLst/>
              <a:rect l="l" t="t" r="r" b="b"/>
              <a:pathLst>
                <a:path w="5738" h="1590" fill="none" extrusionOk="0">
                  <a:moveTo>
                    <a:pt x="5426" y="0"/>
                  </a:moveTo>
                  <a:lnTo>
                    <a:pt x="312" y="0"/>
                  </a:lnTo>
                  <a:lnTo>
                    <a:pt x="312" y="0"/>
                  </a:lnTo>
                  <a:lnTo>
                    <a:pt x="174" y="0"/>
                  </a:lnTo>
                  <a:lnTo>
                    <a:pt x="70" y="69"/>
                  </a:lnTo>
                  <a:lnTo>
                    <a:pt x="1" y="173"/>
                  </a:lnTo>
                  <a:lnTo>
                    <a:pt x="1" y="311"/>
                  </a:lnTo>
                  <a:lnTo>
                    <a:pt x="1" y="1244"/>
                  </a:lnTo>
                  <a:lnTo>
                    <a:pt x="1" y="1244"/>
                  </a:lnTo>
                  <a:lnTo>
                    <a:pt x="1" y="1382"/>
                  </a:lnTo>
                  <a:lnTo>
                    <a:pt x="70" y="1486"/>
                  </a:lnTo>
                  <a:lnTo>
                    <a:pt x="174" y="1555"/>
                  </a:lnTo>
                  <a:lnTo>
                    <a:pt x="312" y="1590"/>
                  </a:lnTo>
                  <a:lnTo>
                    <a:pt x="5426" y="1590"/>
                  </a:lnTo>
                  <a:lnTo>
                    <a:pt x="5426" y="1590"/>
                  </a:lnTo>
                  <a:lnTo>
                    <a:pt x="5564" y="1555"/>
                  </a:lnTo>
                  <a:lnTo>
                    <a:pt x="5668" y="1486"/>
                  </a:lnTo>
                  <a:lnTo>
                    <a:pt x="5737" y="1382"/>
                  </a:lnTo>
                  <a:lnTo>
                    <a:pt x="5737" y="1244"/>
                  </a:lnTo>
                  <a:lnTo>
                    <a:pt x="5737" y="311"/>
                  </a:lnTo>
                  <a:lnTo>
                    <a:pt x="5737" y="311"/>
                  </a:lnTo>
                  <a:lnTo>
                    <a:pt x="5737" y="173"/>
                  </a:lnTo>
                  <a:lnTo>
                    <a:pt x="5668" y="69"/>
                  </a:lnTo>
                  <a:lnTo>
                    <a:pt x="5564" y="0"/>
                  </a:lnTo>
                  <a:lnTo>
                    <a:pt x="5426"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34" name="Google Shape;2363;p11">
              <a:extLst>
                <a:ext uri="{FF2B5EF4-FFF2-40B4-BE49-F238E27FC236}">
                  <a16:creationId xmlns:a16="http://schemas.microsoft.com/office/drawing/2014/main" id="{65B19528-597F-7A63-A38B-B815D712A4E0}"/>
                </a:ext>
              </a:extLst>
            </p:cNvPr>
            <p:cNvSpPr/>
            <p:nvPr/>
          </p:nvSpPr>
          <p:spPr>
            <a:xfrm>
              <a:off x="2019100" y="1149550"/>
              <a:ext cx="133075" cy="39750"/>
            </a:xfrm>
            <a:custGeom>
              <a:avLst/>
              <a:gdLst/>
              <a:ahLst/>
              <a:cxnLst/>
              <a:rect l="l" t="t" r="r" b="b"/>
              <a:pathLst>
                <a:path w="5323" h="1590" extrusionOk="0">
                  <a:moveTo>
                    <a:pt x="173" y="0"/>
                  </a:moveTo>
                  <a:lnTo>
                    <a:pt x="70" y="69"/>
                  </a:lnTo>
                  <a:lnTo>
                    <a:pt x="1" y="173"/>
                  </a:lnTo>
                  <a:lnTo>
                    <a:pt x="1" y="276"/>
                  </a:lnTo>
                  <a:lnTo>
                    <a:pt x="1" y="1279"/>
                  </a:lnTo>
                  <a:lnTo>
                    <a:pt x="1" y="1417"/>
                  </a:lnTo>
                  <a:lnTo>
                    <a:pt x="70" y="1486"/>
                  </a:lnTo>
                  <a:lnTo>
                    <a:pt x="173" y="1555"/>
                  </a:lnTo>
                  <a:lnTo>
                    <a:pt x="277" y="1590"/>
                  </a:lnTo>
                  <a:lnTo>
                    <a:pt x="5011" y="1590"/>
                  </a:lnTo>
                  <a:lnTo>
                    <a:pt x="5115" y="1555"/>
                  </a:lnTo>
                  <a:lnTo>
                    <a:pt x="5219" y="1486"/>
                  </a:lnTo>
                  <a:lnTo>
                    <a:pt x="5288" y="1417"/>
                  </a:lnTo>
                  <a:lnTo>
                    <a:pt x="5322" y="1279"/>
                  </a:lnTo>
                  <a:lnTo>
                    <a:pt x="5322" y="276"/>
                  </a:lnTo>
                  <a:lnTo>
                    <a:pt x="5288" y="173"/>
                  </a:lnTo>
                  <a:lnTo>
                    <a:pt x="5219" y="69"/>
                  </a:lnTo>
                  <a:lnTo>
                    <a:pt x="5115"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35" name="Google Shape;2364;p11">
              <a:extLst>
                <a:ext uri="{FF2B5EF4-FFF2-40B4-BE49-F238E27FC236}">
                  <a16:creationId xmlns:a16="http://schemas.microsoft.com/office/drawing/2014/main" id="{BE4DADE3-99A0-23C4-E609-074BE154D4A4}"/>
                </a:ext>
              </a:extLst>
            </p:cNvPr>
            <p:cNvSpPr/>
            <p:nvPr/>
          </p:nvSpPr>
          <p:spPr>
            <a:xfrm>
              <a:off x="2019100" y="1149550"/>
              <a:ext cx="133075" cy="39750"/>
            </a:xfrm>
            <a:custGeom>
              <a:avLst/>
              <a:gdLst/>
              <a:ahLst/>
              <a:cxnLst/>
              <a:rect l="l" t="t" r="r" b="b"/>
              <a:pathLst>
                <a:path w="5323" h="1590" fill="none" extrusionOk="0">
                  <a:moveTo>
                    <a:pt x="5011" y="0"/>
                  </a:moveTo>
                  <a:lnTo>
                    <a:pt x="277" y="0"/>
                  </a:lnTo>
                  <a:lnTo>
                    <a:pt x="277" y="0"/>
                  </a:lnTo>
                  <a:lnTo>
                    <a:pt x="173" y="0"/>
                  </a:lnTo>
                  <a:lnTo>
                    <a:pt x="70" y="69"/>
                  </a:lnTo>
                  <a:lnTo>
                    <a:pt x="1" y="173"/>
                  </a:lnTo>
                  <a:lnTo>
                    <a:pt x="1" y="276"/>
                  </a:lnTo>
                  <a:lnTo>
                    <a:pt x="1" y="1279"/>
                  </a:lnTo>
                  <a:lnTo>
                    <a:pt x="1" y="1279"/>
                  </a:lnTo>
                  <a:lnTo>
                    <a:pt x="1" y="1417"/>
                  </a:lnTo>
                  <a:lnTo>
                    <a:pt x="70" y="1486"/>
                  </a:lnTo>
                  <a:lnTo>
                    <a:pt x="173" y="1555"/>
                  </a:lnTo>
                  <a:lnTo>
                    <a:pt x="277" y="1590"/>
                  </a:lnTo>
                  <a:lnTo>
                    <a:pt x="5011" y="1590"/>
                  </a:lnTo>
                  <a:lnTo>
                    <a:pt x="5011" y="1590"/>
                  </a:lnTo>
                  <a:lnTo>
                    <a:pt x="5115" y="1555"/>
                  </a:lnTo>
                  <a:lnTo>
                    <a:pt x="5219" y="1486"/>
                  </a:lnTo>
                  <a:lnTo>
                    <a:pt x="5288" y="1417"/>
                  </a:lnTo>
                  <a:lnTo>
                    <a:pt x="5322" y="1279"/>
                  </a:lnTo>
                  <a:lnTo>
                    <a:pt x="5322" y="276"/>
                  </a:lnTo>
                  <a:lnTo>
                    <a:pt x="5322" y="276"/>
                  </a:lnTo>
                  <a:lnTo>
                    <a:pt x="5288" y="173"/>
                  </a:lnTo>
                  <a:lnTo>
                    <a:pt x="5219" y="69"/>
                  </a:lnTo>
                  <a:lnTo>
                    <a:pt x="5115" y="0"/>
                  </a:lnTo>
                  <a:lnTo>
                    <a:pt x="501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36" name="Google Shape;2365;p11">
              <a:extLst>
                <a:ext uri="{FF2B5EF4-FFF2-40B4-BE49-F238E27FC236}">
                  <a16:creationId xmlns:a16="http://schemas.microsoft.com/office/drawing/2014/main" id="{5A66EE4B-B8F9-35F3-8ACD-8FD30ED77268}"/>
                </a:ext>
              </a:extLst>
            </p:cNvPr>
            <p:cNvSpPr/>
            <p:nvPr/>
          </p:nvSpPr>
          <p:spPr>
            <a:xfrm>
              <a:off x="2165975" y="1149550"/>
              <a:ext cx="82950" cy="39750"/>
            </a:xfrm>
            <a:custGeom>
              <a:avLst/>
              <a:gdLst/>
              <a:ahLst/>
              <a:cxnLst/>
              <a:rect l="l" t="t" r="r" b="b"/>
              <a:pathLst>
                <a:path w="3318" h="1590" extrusionOk="0">
                  <a:moveTo>
                    <a:pt x="208" y="0"/>
                  </a:moveTo>
                  <a:lnTo>
                    <a:pt x="104" y="69"/>
                  </a:lnTo>
                  <a:lnTo>
                    <a:pt x="35" y="173"/>
                  </a:lnTo>
                  <a:lnTo>
                    <a:pt x="0" y="276"/>
                  </a:lnTo>
                  <a:lnTo>
                    <a:pt x="0" y="1279"/>
                  </a:lnTo>
                  <a:lnTo>
                    <a:pt x="35" y="1417"/>
                  </a:lnTo>
                  <a:lnTo>
                    <a:pt x="104" y="1486"/>
                  </a:lnTo>
                  <a:lnTo>
                    <a:pt x="208" y="1555"/>
                  </a:lnTo>
                  <a:lnTo>
                    <a:pt x="311" y="1590"/>
                  </a:lnTo>
                  <a:lnTo>
                    <a:pt x="3007" y="1590"/>
                  </a:lnTo>
                  <a:lnTo>
                    <a:pt x="3145" y="1555"/>
                  </a:lnTo>
                  <a:lnTo>
                    <a:pt x="3214" y="1486"/>
                  </a:lnTo>
                  <a:lnTo>
                    <a:pt x="3283" y="1417"/>
                  </a:lnTo>
                  <a:lnTo>
                    <a:pt x="3318" y="1279"/>
                  </a:lnTo>
                  <a:lnTo>
                    <a:pt x="3318" y="276"/>
                  </a:lnTo>
                  <a:lnTo>
                    <a:pt x="3283" y="173"/>
                  </a:lnTo>
                  <a:lnTo>
                    <a:pt x="3214" y="69"/>
                  </a:lnTo>
                  <a:lnTo>
                    <a:pt x="3145"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37" name="Google Shape;2366;p11">
              <a:extLst>
                <a:ext uri="{FF2B5EF4-FFF2-40B4-BE49-F238E27FC236}">
                  <a16:creationId xmlns:a16="http://schemas.microsoft.com/office/drawing/2014/main" id="{FE5C0585-A49D-0759-F776-C6715C8DED76}"/>
                </a:ext>
              </a:extLst>
            </p:cNvPr>
            <p:cNvSpPr/>
            <p:nvPr/>
          </p:nvSpPr>
          <p:spPr>
            <a:xfrm>
              <a:off x="2165975" y="1149550"/>
              <a:ext cx="82950" cy="39750"/>
            </a:xfrm>
            <a:custGeom>
              <a:avLst/>
              <a:gdLst/>
              <a:ahLst/>
              <a:cxnLst/>
              <a:rect l="l" t="t" r="r" b="b"/>
              <a:pathLst>
                <a:path w="3318" h="1590" fill="none" extrusionOk="0">
                  <a:moveTo>
                    <a:pt x="3007" y="0"/>
                  </a:moveTo>
                  <a:lnTo>
                    <a:pt x="311" y="0"/>
                  </a:lnTo>
                  <a:lnTo>
                    <a:pt x="311" y="0"/>
                  </a:lnTo>
                  <a:lnTo>
                    <a:pt x="208" y="0"/>
                  </a:lnTo>
                  <a:lnTo>
                    <a:pt x="104" y="69"/>
                  </a:lnTo>
                  <a:lnTo>
                    <a:pt x="35" y="173"/>
                  </a:lnTo>
                  <a:lnTo>
                    <a:pt x="0" y="276"/>
                  </a:lnTo>
                  <a:lnTo>
                    <a:pt x="0" y="1279"/>
                  </a:lnTo>
                  <a:lnTo>
                    <a:pt x="0" y="1279"/>
                  </a:lnTo>
                  <a:lnTo>
                    <a:pt x="35" y="1417"/>
                  </a:lnTo>
                  <a:lnTo>
                    <a:pt x="104" y="1486"/>
                  </a:lnTo>
                  <a:lnTo>
                    <a:pt x="208" y="1555"/>
                  </a:lnTo>
                  <a:lnTo>
                    <a:pt x="311" y="1590"/>
                  </a:lnTo>
                  <a:lnTo>
                    <a:pt x="3007" y="1590"/>
                  </a:lnTo>
                  <a:lnTo>
                    <a:pt x="3007" y="1590"/>
                  </a:lnTo>
                  <a:lnTo>
                    <a:pt x="3145" y="1555"/>
                  </a:lnTo>
                  <a:lnTo>
                    <a:pt x="3214" y="1486"/>
                  </a:lnTo>
                  <a:lnTo>
                    <a:pt x="3283" y="1417"/>
                  </a:lnTo>
                  <a:lnTo>
                    <a:pt x="3318" y="1279"/>
                  </a:lnTo>
                  <a:lnTo>
                    <a:pt x="3318" y="276"/>
                  </a:lnTo>
                  <a:lnTo>
                    <a:pt x="3318" y="276"/>
                  </a:lnTo>
                  <a:lnTo>
                    <a:pt x="3283" y="173"/>
                  </a:lnTo>
                  <a:lnTo>
                    <a:pt x="3214" y="69"/>
                  </a:lnTo>
                  <a:lnTo>
                    <a:pt x="3145" y="0"/>
                  </a:lnTo>
                  <a:lnTo>
                    <a:pt x="3007"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38" name="Google Shape;2367;p11">
              <a:extLst>
                <a:ext uri="{FF2B5EF4-FFF2-40B4-BE49-F238E27FC236}">
                  <a16:creationId xmlns:a16="http://schemas.microsoft.com/office/drawing/2014/main" id="{BDD6421E-A928-921D-0359-EEC383EC88FB}"/>
                </a:ext>
              </a:extLst>
            </p:cNvPr>
            <p:cNvSpPr/>
            <p:nvPr/>
          </p:nvSpPr>
          <p:spPr>
            <a:xfrm>
              <a:off x="2394050" y="1300725"/>
              <a:ext cx="286825" cy="266975"/>
            </a:xfrm>
            <a:custGeom>
              <a:avLst/>
              <a:gdLst/>
              <a:ahLst/>
              <a:cxnLst/>
              <a:rect l="l" t="t" r="r" b="b"/>
              <a:pathLst>
                <a:path w="11473" h="10679" extrusionOk="0">
                  <a:moveTo>
                    <a:pt x="1037" y="0"/>
                  </a:moveTo>
                  <a:lnTo>
                    <a:pt x="795" y="69"/>
                  </a:lnTo>
                  <a:lnTo>
                    <a:pt x="588" y="208"/>
                  </a:lnTo>
                  <a:lnTo>
                    <a:pt x="380" y="380"/>
                  </a:lnTo>
                  <a:lnTo>
                    <a:pt x="207" y="553"/>
                  </a:lnTo>
                  <a:lnTo>
                    <a:pt x="104" y="795"/>
                  </a:lnTo>
                  <a:lnTo>
                    <a:pt x="35" y="1037"/>
                  </a:lnTo>
                  <a:lnTo>
                    <a:pt x="0" y="1279"/>
                  </a:lnTo>
                  <a:lnTo>
                    <a:pt x="35" y="1521"/>
                  </a:lnTo>
                  <a:lnTo>
                    <a:pt x="104" y="1763"/>
                  </a:lnTo>
                  <a:lnTo>
                    <a:pt x="207" y="1970"/>
                  </a:lnTo>
                  <a:lnTo>
                    <a:pt x="380" y="2177"/>
                  </a:lnTo>
                  <a:lnTo>
                    <a:pt x="1590" y="3387"/>
                  </a:lnTo>
                  <a:lnTo>
                    <a:pt x="4354" y="6048"/>
                  </a:lnTo>
                  <a:lnTo>
                    <a:pt x="5806" y="7430"/>
                  </a:lnTo>
                  <a:lnTo>
                    <a:pt x="6980" y="8467"/>
                  </a:lnTo>
                  <a:lnTo>
                    <a:pt x="7844" y="9261"/>
                  </a:lnTo>
                  <a:lnTo>
                    <a:pt x="8536" y="9814"/>
                  </a:lnTo>
                  <a:lnTo>
                    <a:pt x="8985" y="10160"/>
                  </a:lnTo>
                  <a:lnTo>
                    <a:pt x="9330" y="10402"/>
                  </a:lnTo>
                  <a:lnTo>
                    <a:pt x="9572" y="10506"/>
                  </a:lnTo>
                  <a:lnTo>
                    <a:pt x="9710" y="10575"/>
                  </a:lnTo>
                  <a:lnTo>
                    <a:pt x="9952" y="10644"/>
                  </a:lnTo>
                  <a:lnTo>
                    <a:pt x="10194" y="10678"/>
                  </a:lnTo>
                  <a:lnTo>
                    <a:pt x="10402" y="10678"/>
                  </a:lnTo>
                  <a:lnTo>
                    <a:pt x="10574" y="10644"/>
                  </a:lnTo>
                  <a:lnTo>
                    <a:pt x="10747" y="10575"/>
                  </a:lnTo>
                  <a:lnTo>
                    <a:pt x="10920" y="10471"/>
                  </a:lnTo>
                  <a:lnTo>
                    <a:pt x="11058" y="10367"/>
                  </a:lnTo>
                  <a:lnTo>
                    <a:pt x="11196" y="10229"/>
                  </a:lnTo>
                  <a:lnTo>
                    <a:pt x="11300" y="10056"/>
                  </a:lnTo>
                  <a:lnTo>
                    <a:pt x="11369" y="9884"/>
                  </a:lnTo>
                  <a:lnTo>
                    <a:pt x="11473" y="9642"/>
                  </a:lnTo>
                  <a:lnTo>
                    <a:pt x="11473" y="9400"/>
                  </a:lnTo>
                  <a:lnTo>
                    <a:pt x="11438" y="9123"/>
                  </a:lnTo>
                  <a:lnTo>
                    <a:pt x="11369" y="8916"/>
                  </a:lnTo>
                  <a:lnTo>
                    <a:pt x="11265" y="8709"/>
                  </a:lnTo>
                  <a:lnTo>
                    <a:pt x="11093" y="8501"/>
                  </a:lnTo>
                  <a:lnTo>
                    <a:pt x="10920" y="8328"/>
                  </a:lnTo>
                  <a:lnTo>
                    <a:pt x="10678" y="8225"/>
                  </a:lnTo>
                  <a:lnTo>
                    <a:pt x="10505" y="8087"/>
                  </a:lnTo>
                  <a:lnTo>
                    <a:pt x="10229" y="7914"/>
                  </a:lnTo>
                  <a:lnTo>
                    <a:pt x="9503" y="7326"/>
                  </a:lnTo>
                  <a:lnTo>
                    <a:pt x="8570" y="6462"/>
                  </a:lnTo>
                  <a:lnTo>
                    <a:pt x="7430" y="5460"/>
                  </a:lnTo>
                  <a:lnTo>
                    <a:pt x="4873" y="3007"/>
                  </a:lnTo>
                  <a:lnTo>
                    <a:pt x="2177" y="380"/>
                  </a:lnTo>
                  <a:lnTo>
                    <a:pt x="1970" y="208"/>
                  </a:lnTo>
                  <a:lnTo>
                    <a:pt x="1762" y="69"/>
                  </a:lnTo>
                  <a:lnTo>
                    <a:pt x="1521" y="0"/>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39" name="Google Shape;2368;p11">
              <a:extLst>
                <a:ext uri="{FF2B5EF4-FFF2-40B4-BE49-F238E27FC236}">
                  <a16:creationId xmlns:a16="http://schemas.microsoft.com/office/drawing/2014/main" id="{EC70109C-D1CD-4A2B-3BE6-D5ED8EAF3C30}"/>
                </a:ext>
              </a:extLst>
            </p:cNvPr>
            <p:cNvSpPr/>
            <p:nvPr/>
          </p:nvSpPr>
          <p:spPr>
            <a:xfrm>
              <a:off x="2387125" y="1316275"/>
              <a:ext cx="308450" cy="245375"/>
            </a:xfrm>
            <a:custGeom>
              <a:avLst/>
              <a:gdLst/>
              <a:ahLst/>
              <a:cxnLst/>
              <a:rect l="l" t="t" r="r" b="b"/>
              <a:pathLst>
                <a:path w="12338" h="9815" extrusionOk="0">
                  <a:moveTo>
                    <a:pt x="10920" y="0"/>
                  </a:moveTo>
                  <a:lnTo>
                    <a:pt x="10506" y="35"/>
                  </a:lnTo>
                  <a:lnTo>
                    <a:pt x="10091" y="104"/>
                  </a:lnTo>
                  <a:lnTo>
                    <a:pt x="9676" y="208"/>
                  </a:lnTo>
                  <a:lnTo>
                    <a:pt x="9262" y="346"/>
                  </a:lnTo>
                  <a:lnTo>
                    <a:pt x="8467" y="622"/>
                  </a:lnTo>
                  <a:lnTo>
                    <a:pt x="7672" y="1003"/>
                  </a:lnTo>
                  <a:lnTo>
                    <a:pt x="6912" y="1452"/>
                  </a:lnTo>
                  <a:lnTo>
                    <a:pt x="6152" y="1936"/>
                  </a:lnTo>
                  <a:lnTo>
                    <a:pt x="5426" y="2454"/>
                  </a:lnTo>
                  <a:lnTo>
                    <a:pt x="4735" y="3041"/>
                  </a:lnTo>
                  <a:lnTo>
                    <a:pt x="4044" y="3629"/>
                  </a:lnTo>
                  <a:lnTo>
                    <a:pt x="3422" y="4251"/>
                  </a:lnTo>
                  <a:lnTo>
                    <a:pt x="2800" y="4873"/>
                  </a:lnTo>
                  <a:lnTo>
                    <a:pt x="2247" y="5460"/>
                  </a:lnTo>
                  <a:lnTo>
                    <a:pt x="1210" y="6635"/>
                  </a:lnTo>
                  <a:lnTo>
                    <a:pt x="312" y="7706"/>
                  </a:lnTo>
                  <a:lnTo>
                    <a:pt x="173" y="7914"/>
                  </a:lnTo>
                  <a:lnTo>
                    <a:pt x="70" y="8156"/>
                  </a:lnTo>
                  <a:lnTo>
                    <a:pt x="1" y="8398"/>
                  </a:lnTo>
                  <a:lnTo>
                    <a:pt x="1" y="8639"/>
                  </a:lnTo>
                  <a:lnTo>
                    <a:pt x="70" y="8881"/>
                  </a:lnTo>
                  <a:lnTo>
                    <a:pt x="139" y="9089"/>
                  </a:lnTo>
                  <a:lnTo>
                    <a:pt x="277" y="9331"/>
                  </a:lnTo>
                  <a:lnTo>
                    <a:pt x="484" y="9503"/>
                  </a:lnTo>
                  <a:lnTo>
                    <a:pt x="657" y="9642"/>
                  </a:lnTo>
                  <a:lnTo>
                    <a:pt x="865" y="9711"/>
                  </a:lnTo>
                  <a:lnTo>
                    <a:pt x="1072" y="9780"/>
                  </a:lnTo>
                  <a:lnTo>
                    <a:pt x="1279" y="9814"/>
                  </a:lnTo>
                  <a:lnTo>
                    <a:pt x="1556" y="9780"/>
                  </a:lnTo>
                  <a:lnTo>
                    <a:pt x="1832" y="9676"/>
                  </a:lnTo>
                  <a:lnTo>
                    <a:pt x="2074" y="9538"/>
                  </a:lnTo>
                  <a:lnTo>
                    <a:pt x="2281" y="9331"/>
                  </a:lnTo>
                  <a:lnTo>
                    <a:pt x="3042" y="8398"/>
                  </a:lnTo>
                  <a:lnTo>
                    <a:pt x="3975" y="7361"/>
                  </a:lnTo>
                  <a:lnTo>
                    <a:pt x="5011" y="6290"/>
                  </a:lnTo>
                  <a:lnTo>
                    <a:pt x="5564" y="5737"/>
                  </a:lnTo>
                  <a:lnTo>
                    <a:pt x="6117" y="5218"/>
                  </a:lnTo>
                  <a:lnTo>
                    <a:pt x="6739" y="4700"/>
                  </a:lnTo>
                  <a:lnTo>
                    <a:pt x="7327" y="4216"/>
                  </a:lnTo>
                  <a:lnTo>
                    <a:pt x="7949" y="3802"/>
                  </a:lnTo>
                  <a:lnTo>
                    <a:pt x="8571" y="3421"/>
                  </a:lnTo>
                  <a:lnTo>
                    <a:pt x="9227" y="3076"/>
                  </a:lnTo>
                  <a:lnTo>
                    <a:pt x="9884" y="2834"/>
                  </a:lnTo>
                  <a:lnTo>
                    <a:pt x="10506" y="2627"/>
                  </a:lnTo>
                  <a:lnTo>
                    <a:pt x="10851" y="2558"/>
                  </a:lnTo>
                  <a:lnTo>
                    <a:pt x="11162" y="2523"/>
                  </a:lnTo>
                  <a:lnTo>
                    <a:pt x="11439" y="2488"/>
                  </a:lnTo>
                  <a:lnTo>
                    <a:pt x="11646" y="2385"/>
                  </a:lnTo>
                  <a:lnTo>
                    <a:pt x="11853" y="2247"/>
                  </a:lnTo>
                  <a:lnTo>
                    <a:pt x="12026" y="2074"/>
                  </a:lnTo>
                  <a:lnTo>
                    <a:pt x="12164" y="1866"/>
                  </a:lnTo>
                  <a:lnTo>
                    <a:pt x="12268" y="1659"/>
                  </a:lnTo>
                  <a:lnTo>
                    <a:pt x="12337" y="1417"/>
                  </a:lnTo>
                  <a:lnTo>
                    <a:pt x="12337" y="1141"/>
                  </a:lnTo>
                  <a:lnTo>
                    <a:pt x="12268" y="899"/>
                  </a:lnTo>
                  <a:lnTo>
                    <a:pt x="12164" y="657"/>
                  </a:lnTo>
                  <a:lnTo>
                    <a:pt x="12061" y="450"/>
                  </a:lnTo>
                  <a:lnTo>
                    <a:pt x="11888" y="277"/>
                  </a:lnTo>
                  <a:lnTo>
                    <a:pt x="11681" y="139"/>
                  </a:lnTo>
                  <a:lnTo>
                    <a:pt x="11439" y="35"/>
                  </a:lnTo>
                  <a:lnTo>
                    <a:pt x="11197" y="0"/>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40" name="Google Shape;2369;p11">
              <a:extLst>
                <a:ext uri="{FF2B5EF4-FFF2-40B4-BE49-F238E27FC236}">
                  <a16:creationId xmlns:a16="http://schemas.microsoft.com/office/drawing/2014/main" id="{F9C5EDD0-2F67-5D5B-CFBF-42A415FBA02C}"/>
                </a:ext>
              </a:extLst>
            </p:cNvPr>
            <p:cNvSpPr/>
            <p:nvPr/>
          </p:nvSpPr>
          <p:spPr>
            <a:xfrm>
              <a:off x="3095525" y="2814300"/>
              <a:ext cx="353375" cy="327450"/>
            </a:xfrm>
            <a:custGeom>
              <a:avLst/>
              <a:gdLst/>
              <a:ahLst/>
              <a:cxnLst/>
              <a:rect l="l" t="t" r="r" b="b"/>
              <a:pathLst>
                <a:path w="14135" h="13098" extrusionOk="0">
                  <a:moveTo>
                    <a:pt x="1279" y="0"/>
                  </a:moveTo>
                  <a:lnTo>
                    <a:pt x="1038" y="35"/>
                  </a:lnTo>
                  <a:lnTo>
                    <a:pt x="830" y="104"/>
                  </a:lnTo>
                  <a:lnTo>
                    <a:pt x="588" y="208"/>
                  </a:lnTo>
                  <a:lnTo>
                    <a:pt x="381" y="380"/>
                  </a:lnTo>
                  <a:lnTo>
                    <a:pt x="243" y="588"/>
                  </a:lnTo>
                  <a:lnTo>
                    <a:pt x="105" y="795"/>
                  </a:lnTo>
                  <a:lnTo>
                    <a:pt x="35" y="1037"/>
                  </a:lnTo>
                  <a:lnTo>
                    <a:pt x="1" y="1279"/>
                  </a:lnTo>
                  <a:lnTo>
                    <a:pt x="35" y="1521"/>
                  </a:lnTo>
                  <a:lnTo>
                    <a:pt x="105" y="1763"/>
                  </a:lnTo>
                  <a:lnTo>
                    <a:pt x="243" y="1970"/>
                  </a:lnTo>
                  <a:lnTo>
                    <a:pt x="381" y="2177"/>
                  </a:lnTo>
                  <a:lnTo>
                    <a:pt x="1971" y="3767"/>
                  </a:lnTo>
                  <a:lnTo>
                    <a:pt x="3629" y="5356"/>
                  </a:lnTo>
                  <a:lnTo>
                    <a:pt x="5564" y="7222"/>
                  </a:lnTo>
                  <a:lnTo>
                    <a:pt x="7396" y="8950"/>
                  </a:lnTo>
                  <a:lnTo>
                    <a:pt x="8882" y="10298"/>
                  </a:lnTo>
                  <a:lnTo>
                    <a:pt x="10022" y="11300"/>
                  </a:lnTo>
                  <a:lnTo>
                    <a:pt x="10886" y="12026"/>
                  </a:lnTo>
                  <a:lnTo>
                    <a:pt x="11474" y="12475"/>
                  </a:lnTo>
                  <a:lnTo>
                    <a:pt x="11888" y="12751"/>
                  </a:lnTo>
                  <a:lnTo>
                    <a:pt x="12165" y="12924"/>
                  </a:lnTo>
                  <a:lnTo>
                    <a:pt x="12372" y="12993"/>
                  </a:lnTo>
                  <a:lnTo>
                    <a:pt x="12614" y="13063"/>
                  </a:lnTo>
                  <a:lnTo>
                    <a:pt x="12856" y="13097"/>
                  </a:lnTo>
                  <a:lnTo>
                    <a:pt x="13029" y="13063"/>
                  </a:lnTo>
                  <a:lnTo>
                    <a:pt x="13201" y="13028"/>
                  </a:lnTo>
                  <a:lnTo>
                    <a:pt x="13374" y="12959"/>
                  </a:lnTo>
                  <a:lnTo>
                    <a:pt x="13547" y="12855"/>
                  </a:lnTo>
                  <a:lnTo>
                    <a:pt x="13685" y="12751"/>
                  </a:lnTo>
                  <a:lnTo>
                    <a:pt x="13823" y="12613"/>
                  </a:lnTo>
                  <a:lnTo>
                    <a:pt x="13962" y="12475"/>
                  </a:lnTo>
                  <a:lnTo>
                    <a:pt x="14031" y="12268"/>
                  </a:lnTo>
                  <a:lnTo>
                    <a:pt x="14100" y="12026"/>
                  </a:lnTo>
                  <a:lnTo>
                    <a:pt x="14134" y="11784"/>
                  </a:lnTo>
                  <a:lnTo>
                    <a:pt x="14100" y="11542"/>
                  </a:lnTo>
                  <a:lnTo>
                    <a:pt x="14031" y="11300"/>
                  </a:lnTo>
                  <a:lnTo>
                    <a:pt x="13893" y="11093"/>
                  </a:lnTo>
                  <a:lnTo>
                    <a:pt x="13754" y="10885"/>
                  </a:lnTo>
                  <a:lnTo>
                    <a:pt x="13547" y="10747"/>
                  </a:lnTo>
                  <a:lnTo>
                    <a:pt x="13340" y="10609"/>
                  </a:lnTo>
                  <a:lnTo>
                    <a:pt x="13098" y="10471"/>
                  </a:lnTo>
                  <a:lnTo>
                    <a:pt x="12752" y="10229"/>
                  </a:lnTo>
                  <a:lnTo>
                    <a:pt x="11819" y="9469"/>
                  </a:lnTo>
                  <a:lnTo>
                    <a:pt x="10575" y="8397"/>
                  </a:lnTo>
                  <a:lnTo>
                    <a:pt x="9124" y="7084"/>
                  </a:lnTo>
                  <a:lnTo>
                    <a:pt x="7500" y="5529"/>
                  </a:lnTo>
                  <a:lnTo>
                    <a:pt x="5772" y="3871"/>
                  </a:lnTo>
                  <a:lnTo>
                    <a:pt x="3975" y="2143"/>
                  </a:lnTo>
                  <a:lnTo>
                    <a:pt x="2212" y="380"/>
                  </a:lnTo>
                  <a:lnTo>
                    <a:pt x="2005" y="208"/>
                  </a:lnTo>
                  <a:lnTo>
                    <a:pt x="1763" y="104"/>
                  </a:lnTo>
                  <a:lnTo>
                    <a:pt x="1556" y="35"/>
                  </a:lnTo>
                  <a:lnTo>
                    <a:pt x="1279" y="0"/>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41" name="Google Shape;2370;p11">
              <a:extLst>
                <a:ext uri="{FF2B5EF4-FFF2-40B4-BE49-F238E27FC236}">
                  <a16:creationId xmlns:a16="http://schemas.microsoft.com/office/drawing/2014/main" id="{EA2AD559-A5C1-D820-51C6-48A079DA2178}"/>
                </a:ext>
              </a:extLst>
            </p:cNvPr>
            <p:cNvSpPr/>
            <p:nvPr/>
          </p:nvSpPr>
          <p:spPr>
            <a:xfrm>
              <a:off x="3087750" y="2834150"/>
              <a:ext cx="379300" cy="298950"/>
            </a:xfrm>
            <a:custGeom>
              <a:avLst/>
              <a:gdLst/>
              <a:ahLst/>
              <a:cxnLst/>
              <a:rect l="l" t="t" r="r" b="b"/>
              <a:pathLst>
                <a:path w="15172" h="11958" extrusionOk="0">
                  <a:moveTo>
                    <a:pt x="13789" y="1"/>
                  </a:moveTo>
                  <a:lnTo>
                    <a:pt x="13236" y="70"/>
                  </a:lnTo>
                  <a:lnTo>
                    <a:pt x="12718" y="174"/>
                  </a:lnTo>
                  <a:lnTo>
                    <a:pt x="12199" y="277"/>
                  </a:lnTo>
                  <a:lnTo>
                    <a:pt x="11681" y="450"/>
                  </a:lnTo>
                  <a:lnTo>
                    <a:pt x="11163" y="623"/>
                  </a:lnTo>
                  <a:lnTo>
                    <a:pt x="10644" y="830"/>
                  </a:lnTo>
                  <a:lnTo>
                    <a:pt x="10160" y="1038"/>
                  </a:lnTo>
                  <a:lnTo>
                    <a:pt x="9642" y="1314"/>
                  </a:lnTo>
                  <a:lnTo>
                    <a:pt x="8675" y="1867"/>
                  </a:lnTo>
                  <a:lnTo>
                    <a:pt x="7742" y="2489"/>
                  </a:lnTo>
                  <a:lnTo>
                    <a:pt x="6808" y="3180"/>
                  </a:lnTo>
                  <a:lnTo>
                    <a:pt x="5910" y="3906"/>
                  </a:lnTo>
                  <a:lnTo>
                    <a:pt x="5081" y="4666"/>
                  </a:lnTo>
                  <a:lnTo>
                    <a:pt x="4251" y="5426"/>
                  </a:lnTo>
                  <a:lnTo>
                    <a:pt x="3491" y="6221"/>
                  </a:lnTo>
                  <a:lnTo>
                    <a:pt x="2731" y="7016"/>
                  </a:lnTo>
                  <a:lnTo>
                    <a:pt x="1418" y="8502"/>
                  </a:lnTo>
                  <a:lnTo>
                    <a:pt x="277" y="9850"/>
                  </a:lnTo>
                  <a:lnTo>
                    <a:pt x="139" y="10057"/>
                  </a:lnTo>
                  <a:lnTo>
                    <a:pt x="35" y="10299"/>
                  </a:lnTo>
                  <a:lnTo>
                    <a:pt x="1" y="10541"/>
                  </a:lnTo>
                  <a:lnTo>
                    <a:pt x="1" y="10783"/>
                  </a:lnTo>
                  <a:lnTo>
                    <a:pt x="35" y="11024"/>
                  </a:lnTo>
                  <a:lnTo>
                    <a:pt x="139" y="11266"/>
                  </a:lnTo>
                  <a:lnTo>
                    <a:pt x="277" y="11474"/>
                  </a:lnTo>
                  <a:lnTo>
                    <a:pt x="450" y="11646"/>
                  </a:lnTo>
                  <a:lnTo>
                    <a:pt x="623" y="11785"/>
                  </a:lnTo>
                  <a:lnTo>
                    <a:pt x="830" y="11888"/>
                  </a:lnTo>
                  <a:lnTo>
                    <a:pt x="1038" y="11923"/>
                  </a:lnTo>
                  <a:lnTo>
                    <a:pt x="1279" y="11957"/>
                  </a:lnTo>
                  <a:lnTo>
                    <a:pt x="1556" y="11923"/>
                  </a:lnTo>
                  <a:lnTo>
                    <a:pt x="1798" y="11819"/>
                  </a:lnTo>
                  <a:lnTo>
                    <a:pt x="2040" y="11681"/>
                  </a:lnTo>
                  <a:lnTo>
                    <a:pt x="2247" y="11474"/>
                  </a:lnTo>
                  <a:lnTo>
                    <a:pt x="3284" y="10264"/>
                  </a:lnTo>
                  <a:lnTo>
                    <a:pt x="4493" y="8882"/>
                  </a:lnTo>
                  <a:lnTo>
                    <a:pt x="5150" y="8191"/>
                  </a:lnTo>
                  <a:lnTo>
                    <a:pt x="5841" y="7465"/>
                  </a:lnTo>
                  <a:lnTo>
                    <a:pt x="6567" y="6739"/>
                  </a:lnTo>
                  <a:lnTo>
                    <a:pt x="7327" y="6048"/>
                  </a:lnTo>
                  <a:lnTo>
                    <a:pt x="8122" y="5392"/>
                  </a:lnTo>
                  <a:lnTo>
                    <a:pt x="8916" y="4770"/>
                  </a:lnTo>
                  <a:lnTo>
                    <a:pt x="9746" y="4217"/>
                  </a:lnTo>
                  <a:lnTo>
                    <a:pt x="10575" y="3699"/>
                  </a:lnTo>
                  <a:lnTo>
                    <a:pt x="11439" y="3284"/>
                  </a:lnTo>
                  <a:lnTo>
                    <a:pt x="11854" y="3111"/>
                  </a:lnTo>
                  <a:lnTo>
                    <a:pt x="12268" y="2938"/>
                  </a:lnTo>
                  <a:lnTo>
                    <a:pt x="12718" y="2800"/>
                  </a:lnTo>
                  <a:lnTo>
                    <a:pt x="13132" y="2696"/>
                  </a:lnTo>
                  <a:lnTo>
                    <a:pt x="13582" y="2593"/>
                  </a:lnTo>
                  <a:lnTo>
                    <a:pt x="14031" y="2558"/>
                  </a:lnTo>
                  <a:lnTo>
                    <a:pt x="14273" y="2489"/>
                  </a:lnTo>
                  <a:lnTo>
                    <a:pt x="14515" y="2420"/>
                  </a:lnTo>
                  <a:lnTo>
                    <a:pt x="14722" y="2282"/>
                  </a:lnTo>
                  <a:lnTo>
                    <a:pt x="14895" y="2109"/>
                  </a:lnTo>
                  <a:lnTo>
                    <a:pt x="15033" y="1902"/>
                  </a:lnTo>
                  <a:lnTo>
                    <a:pt x="15137" y="1660"/>
                  </a:lnTo>
                  <a:lnTo>
                    <a:pt x="15171" y="1418"/>
                  </a:lnTo>
                  <a:lnTo>
                    <a:pt x="15171" y="1176"/>
                  </a:lnTo>
                  <a:lnTo>
                    <a:pt x="15137" y="899"/>
                  </a:lnTo>
                  <a:lnTo>
                    <a:pt x="15033" y="658"/>
                  </a:lnTo>
                  <a:lnTo>
                    <a:pt x="14895" y="485"/>
                  </a:lnTo>
                  <a:lnTo>
                    <a:pt x="14722" y="277"/>
                  </a:lnTo>
                  <a:lnTo>
                    <a:pt x="14515" y="139"/>
                  </a:lnTo>
                  <a:lnTo>
                    <a:pt x="14273" y="70"/>
                  </a:lnTo>
                  <a:lnTo>
                    <a:pt x="14031"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42" name="Google Shape;2371;p11">
              <a:extLst>
                <a:ext uri="{FF2B5EF4-FFF2-40B4-BE49-F238E27FC236}">
                  <a16:creationId xmlns:a16="http://schemas.microsoft.com/office/drawing/2014/main" id="{0F094048-F8EA-1C9E-2CD1-3B2A016A9CB2}"/>
                </a:ext>
              </a:extLst>
            </p:cNvPr>
            <p:cNvSpPr/>
            <p:nvPr/>
          </p:nvSpPr>
          <p:spPr>
            <a:xfrm>
              <a:off x="2876975" y="2150800"/>
              <a:ext cx="352500" cy="326600"/>
            </a:xfrm>
            <a:custGeom>
              <a:avLst/>
              <a:gdLst/>
              <a:ahLst/>
              <a:cxnLst/>
              <a:rect l="l" t="t" r="r" b="b"/>
              <a:pathLst>
                <a:path w="14100" h="13064" extrusionOk="0">
                  <a:moveTo>
                    <a:pt x="1037" y="1"/>
                  </a:moveTo>
                  <a:lnTo>
                    <a:pt x="795" y="70"/>
                  </a:lnTo>
                  <a:lnTo>
                    <a:pt x="553" y="208"/>
                  </a:lnTo>
                  <a:lnTo>
                    <a:pt x="380" y="381"/>
                  </a:lnTo>
                  <a:lnTo>
                    <a:pt x="207" y="554"/>
                  </a:lnTo>
                  <a:lnTo>
                    <a:pt x="69" y="796"/>
                  </a:lnTo>
                  <a:lnTo>
                    <a:pt x="0" y="1038"/>
                  </a:lnTo>
                  <a:lnTo>
                    <a:pt x="0" y="1279"/>
                  </a:lnTo>
                  <a:lnTo>
                    <a:pt x="0" y="1521"/>
                  </a:lnTo>
                  <a:lnTo>
                    <a:pt x="69" y="1763"/>
                  </a:lnTo>
                  <a:lnTo>
                    <a:pt x="207" y="1971"/>
                  </a:lnTo>
                  <a:lnTo>
                    <a:pt x="380" y="2178"/>
                  </a:lnTo>
                  <a:lnTo>
                    <a:pt x="1970" y="3768"/>
                  </a:lnTo>
                  <a:lnTo>
                    <a:pt x="3594" y="5357"/>
                  </a:lnTo>
                  <a:lnTo>
                    <a:pt x="5529" y="7189"/>
                  </a:lnTo>
                  <a:lnTo>
                    <a:pt x="7395" y="8951"/>
                  </a:lnTo>
                  <a:lnTo>
                    <a:pt x="8847" y="10299"/>
                  </a:lnTo>
                  <a:lnTo>
                    <a:pt x="9987" y="11301"/>
                  </a:lnTo>
                  <a:lnTo>
                    <a:pt x="10851" y="11992"/>
                  </a:lnTo>
                  <a:lnTo>
                    <a:pt x="11438" y="12476"/>
                  </a:lnTo>
                  <a:lnTo>
                    <a:pt x="11888" y="12752"/>
                  </a:lnTo>
                  <a:lnTo>
                    <a:pt x="12164" y="12890"/>
                  </a:lnTo>
                  <a:lnTo>
                    <a:pt x="12337" y="12994"/>
                  </a:lnTo>
                  <a:lnTo>
                    <a:pt x="12579" y="13063"/>
                  </a:lnTo>
                  <a:lnTo>
                    <a:pt x="12993" y="13063"/>
                  </a:lnTo>
                  <a:lnTo>
                    <a:pt x="13201" y="13029"/>
                  </a:lnTo>
                  <a:lnTo>
                    <a:pt x="13373" y="12960"/>
                  </a:lnTo>
                  <a:lnTo>
                    <a:pt x="13512" y="12856"/>
                  </a:lnTo>
                  <a:lnTo>
                    <a:pt x="13684" y="12752"/>
                  </a:lnTo>
                  <a:lnTo>
                    <a:pt x="13823" y="12614"/>
                  </a:lnTo>
                  <a:lnTo>
                    <a:pt x="13926" y="12441"/>
                  </a:lnTo>
                  <a:lnTo>
                    <a:pt x="13995" y="12268"/>
                  </a:lnTo>
                  <a:lnTo>
                    <a:pt x="14065" y="12026"/>
                  </a:lnTo>
                  <a:lnTo>
                    <a:pt x="14099" y="11785"/>
                  </a:lnTo>
                  <a:lnTo>
                    <a:pt x="14065" y="11543"/>
                  </a:lnTo>
                  <a:lnTo>
                    <a:pt x="13995" y="11301"/>
                  </a:lnTo>
                  <a:lnTo>
                    <a:pt x="13892" y="11093"/>
                  </a:lnTo>
                  <a:lnTo>
                    <a:pt x="13719" y="10886"/>
                  </a:lnTo>
                  <a:lnTo>
                    <a:pt x="13512" y="10748"/>
                  </a:lnTo>
                  <a:lnTo>
                    <a:pt x="13304" y="10610"/>
                  </a:lnTo>
                  <a:lnTo>
                    <a:pt x="13062" y="10471"/>
                  </a:lnTo>
                  <a:lnTo>
                    <a:pt x="12717" y="10230"/>
                  </a:lnTo>
                  <a:lnTo>
                    <a:pt x="11784" y="9469"/>
                  </a:lnTo>
                  <a:lnTo>
                    <a:pt x="10574" y="8398"/>
                  </a:lnTo>
                  <a:lnTo>
                    <a:pt x="9123" y="7050"/>
                  </a:lnTo>
                  <a:lnTo>
                    <a:pt x="7464" y="5530"/>
                  </a:lnTo>
                  <a:lnTo>
                    <a:pt x="5736" y="3871"/>
                  </a:lnTo>
                  <a:lnTo>
                    <a:pt x="3940" y="2143"/>
                  </a:lnTo>
                  <a:lnTo>
                    <a:pt x="2177" y="381"/>
                  </a:lnTo>
                  <a:lnTo>
                    <a:pt x="1970" y="208"/>
                  </a:lnTo>
                  <a:lnTo>
                    <a:pt x="1762" y="70"/>
                  </a:lnTo>
                  <a:lnTo>
                    <a:pt x="1521"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43" name="Google Shape;2372;p11">
              <a:extLst>
                <a:ext uri="{FF2B5EF4-FFF2-40B4-BE49-F238E27FC236}">
                  <a16:creationId xmlns:a16="http://schemas.microsoft.com/office/drawing/2014/main" id="{6811D485-9B12-6496-51EE-8992B891C9F4}"/>
                </a:ext>
              </a:extLst>
            </p:cNvPr>
            <p:cNvSpPr/>
            <p:nvPr/>
          </p:nvSpPr>
          <p:spPr>
            <a:xfrm>
              <a:off x="2868325" y="2170675"/>
              <a:ext cx="379275" cy="298950"/>
            </a:xfrm>
            <a:custGeom>
              <a:avLst/>
              <a:gdLst/>
              <a:ahLst/>
              <a:cxnLst/>
              <a:rect l="l" t="t" r="r" b="b"/>
              <a:pathLst>
                <a:path w="15171" h="11958" extrusionOk="0">
                  <a:moveTo>
                    <a:pt x="13789" y="1"/>
                  </a:moveTo>
                  <a:lnTo>
                    <a:pt x="13270" y="70"/>
                  </a:lnTo>
                  <a:lnTo>
                    <a:pt x="12717" y="139"/>
                  </a:lnTo>
                  <a:lnTo>
                    <a:pt x="12199" y="277"/>
                  </a:lnTo>
                  <a:lnTo>
                    <a:pt x="11681" y="450"/>
                  </a:lnTo>
                  <a:lnTo>
                    <a:pt x="11162" y="623"/>
                  </a:lnTo>
                  <a:lnTo>
                    <a:pt x="10678" y="830"/>
                  </a:lnTo>
                  <a:lnTo>
                    <a:pt x="10160" y="1037"/>
                  </a:lnTo>
                  <a:lnTo>
                    <a:pt x="9676" y="1279"/>
                  </a:lnTo>
                  <a:lnTo>
                    <a:pt x="8674" y="1867"/>
                  </a:lnTo>
                  <a:lnTo>
                    <a:pt x="7741" y="2489"/>
                  </a:lnTo>
                  <a:lnTo>
                    <a:pt x="6808" y="3180"/>
                  </a:lnTo>
                  <a:lnTo>
                    <a:pt x="5944" y="3906"/>
                  </a:lnTo>
                  <a:lnTo>
                    <a:pt x="5080" y="4666"/>
                  </a:lnTo>
                  <a:lnTo>
                    <a:pt x="4251" y="5426"/>
                  </a:lnTo>
                  <a:lnTo>
                    <a:pt x="3491" y="6221"/>
                  </a:lnTo>
                  <a:lnTo>
                    <a:pt x="2765" y="7016"/>
                  </a:lnTo>
                  <a:lnTo>
                    <a:pt x="1417" y="8502"/>
                  </a:lnTo>
                  <a:lnTo>
                    <a:pt x="277" y="9849"/>
                  </a:lnTo>
                  <a:lnTo>
                    <a:pt x="139" y="10057"/>
                  </a:lnTo>
                  <a:lnTo>
                    <a:pt x="35" y="10298"/>
                  </a:lnTo>
                  <a:lnTo>
                    <a:pt x="1" y="10540"/>
                  </a:lnTo>
                  <a:lnTo>
                    <a:pt x="1" y="10782"/>
                  </a:lnTo>
                  <a:lnTo>
                    <a:pt x="35" y="11024"/>
                  </a:lnTo>
                  <a:lnTo>
                    <a:pt x="139" y="11231"/>
                  </a:lnTo>
                  <a:lnTo>
                    <a:pt x="277" y="11473"/>
                  </a:lnTo>
                  <a:lnTo>
                    <a:pt x="450" y="11646"/>
                  </a:lnTo>
                  <a:lnTo>
                    <a:pt x="657" y="11784"/>
                  </a:lnTo>
                  <a:lnTo>
                    <a:pt x="830" y="11854"/>
                  </a:lnTo>
                  <a:lnTo>
                    <a:pt x="1072" y="11923"/>
                  </a:lnTo>
                  <a:lnTo>
                    <a:pt x="1279" y="11957"/>
                  </a:lnTo>
                  <a:lnTo>
                    <a:pt x="1556" y="11923"/>
                  </a:lnTo>
                  <a:lnTo>
                    <a:pt x="1797" y="11819"/>
                  </a:lnTo>
                  <a:lnTo>
                    <a:pt x="2039" y="11681"/>
                  </a:lnTo>
                  <a:lnTo>
                    <a:pt x="2247" y="11473"/>
                  </a:lnTo>
                  <a:lnTo>
                    <a:pt x="3283" y="10264"/>
                  </a:lnTo>
                  <a:lnTo>
                    <a:pt x="4493" y="8882"/>
                  </a:lnTo>
                  <a:lnTo>
                    <a:pt x="5149" y="8191"/>
                  </a:lnTo>
                  <a:lnTo>
                    <a:pt x="5841" y="7465"/>
                  </a:lnTo>
                  <a:lnTo>
                    <a:pt x="6566" y="6739"/>
                  </a:lnTo>
                  <a:lnTo>
                    <a:pt x="7327" y="6048"/>
                  </a:lnTo>
                  <a:lnTo>
                    <a:pt x="8121" y="5391"/>
                  </a:lnTo>
                  <a:lnTo>
                    <a:pt x="8916" y="4769"/>
                  </a:lnTo>
                  <a:lnTo>
                    <a:pt x="9745" y="4217"/>
                  </a:lnTo>
                  <a:lnTo>
                    <a:pt x="10575" y="3698"/>
                  </a:lnTo>
                  <a:lnTo>
                    <a:pt x="11439" y="3284"/>
                  </a:lnTo>
                  <a:lnTo>
                    <a:pt x="11853" y="3076"/>
                  </a:lnTo>
                  <a:lnTo>
                    <a:pt x="12303" y="2938"/>
                  </a:lnTo>
                  <a:lnTo>
                    <a:pt x="12717" y="2800"/>
                  </a:lnTo>
                  <a:lnTo>
                    <a:pt x="13167" y="2696"/>
                  </a:lnTo>
                  <a:lnTo>
                    <a:pt x="13581" y="2592"/>
                  </a:lnTo>
                  <a:lnTo>
                    <a:pt x="14030" y="2558"/>
                  </a:lnTo>
                  <a:lnTo>
                    <a:pt x="14272" y="2489"/>
                  </a:lnTo>
                  <a:lnTo>
                    <a:pt x="14514" y="2385"/>
                  </a:lnTo>
                  <a:lnTo>
                    <a:pt x="14722" y="2247"/>
                  </a:lnTo>
                  <a:lnTo>
                    <a:pt x="14894" y="2074"/>
                  </a:lnTo>
                  <a:lnTo>
                    <a:pt x="15033" y="1901"/>
                  </a:lnTo>
                  <a:lnTo>
                    <a:pt x="15136" y="1659"/>
                  </a:lnTo>
                  <a:lnTo>
                    <a:pt x="15171" y="1417"/>
                  </a:lnTo>
                  <a:lnTo>
                    <a:pt x="15171" y="1141"/>
                  </a:lnTo>
                  <a:lnTo>
                    <a:pt x="15136" y="899"/>
                  </a:lnTo>
                  <a:lnTo>
                    <a:pt x="15033" y="657"/>
                  </a:lnTo>
                  <a:lnTo>
                    <a:pt x="14894" y="450"/>
                  </a:lnTo>
                  <a:lnTo>
                    <a:pt x="14722" y="277"/>
                  </a:lnTo>
                  <a:lnTo>
                    <a:pt x="14514" y="139"/>
                  </a:lnTo>
                  <a:lnTo>
                    <a:pt x="14307" y="35"/>
                  </a:lnTo>
                  <a:lnTo>
                    <a:pt x="14065"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44" name="Google Shape;2373;p11">
              <a:extLst>
                <a:ext uri="{FF2B5EF4-FFF2-40B4-BE49-F238E27FC236}">
                  <a16:creationId xmlns:a16="http://schemas.microsoft.com/office/drawing/2014/main" id="{58D2E8E4-7399-9142-9A0F-FC5C0B12A8EF}"/>
                </a:ext>
              </a:extLst>
            </p:cNvPr>
            <p:cNvSpPr/>
            <p:nvPr/>
          </p:nvSpPr>
          <p:spPr>
            <a:xfrm>
              <a:off x="3008275" y="1469175"/>
              <a:ext cx="309300" cy="287725"/>
            </a:xfrm>
            <a:custGeom>
              <a:avLst/>
              <a:gdLst/>
              <a:ahLst/>
              <a:cxnLst/>
              <a:rect l="l" t="t" r="r" b="b"/>
              <a:pathLst>
                <a:path w="12372" h="11509" extrusionOk="0">
                  <a:moveTo>
                    <a:pt x="1210" y="1"/>
                  </a:moveTo>
                  <a:lnTo>
                    <a:pt x="968" y="35"/>
                  </a:lnTo>
                  <a:lnTo>
                    <a:pt x="761" y="105"/>
                  </a:lnTo>
                  <a:lnTo>
                    <a:pt x="554" y="208"/>
                  </a:lnTo>
                  <a:lnTo>
                    <a:pt x="381" y="346"/>
                  </a:lnTo>
                  <a:lnTo>
                    <a:pt x="208" y="554"/>
                  </a:lnTo>
                  <a:lnTo>
                    <a:pt x="104" y="761"/>
                  </a:lnTo>
                  <a:lnTo>
                    <a:pt x="35" y="968"/>
                  </a:lnTo>
                  <a:lnTo>
                    <a:pt x="1" y="1210"/>
                  </a:lnTo>
                  <a:lnTo>
                    <a:pt x="35" y="1452"/>
                  </a:lnTo>
                  <a:lnTo>
                    <a:pt x="104" y="1660"/>
                  </a:lnTo>
                  <a:lnTo>
                    <a:pt x="208" y="1867"/>
                  </a:lnTo>
                  <a:lnTo>
                    <a:pt x="381" y="2040"/>
                  </a:lnTo>
                  <a:lnTo>
                    <a:pt x="2869" y="4528"/>
                  </a:lnTo>
                  <a:lnTo>
                    <a:pt x="4389" y="6014"/>
                  </a:lnTo>
                  <a:lnTo>
                    <a:pt x="5944" y="7465"/>
                  </a:lnTo>
                  <a:lnTo>
                    <a:pt x="7465" y="8882"/>
                  </a:lnTo>
                  <a:lnTo>
                    <a:pt x="8847" y="10057"/>
                  </a:lnTo>
                  <a:lnTo>
                    <a:pt x="9435" y="10541"/>
                  </a:lnTo>
                  <a:lnTo>
                    <a:pt x="9953" y="10921"/>
                  </a:lnTo>
                  <a:lnTo>
                    <a:pt x="10402" y="11232"/>
                  </a:lnTo>
                  <a:lnTo>
                    <a:pt x="10748" y="11404"/>
                  </a:lnTo>
                  <a:lnTo>
                    <a:pt x="10955" y="11474"/>
                  </a:lnTo>
                  <a:lnTo>
                    <a:pt x="11197" y="11508"/>
                  </a:lnTo>
                  <a:lnTo>
                    <a:pt x="11370" y="11474"/>
                  </a:lnTo>
                  <a:lnTo>
                    <a:pt x="11543" y="11439"/>
                  </a:lnTo>
                  <a:lnTo>
                    <a:pt x="11681" y="11370"/>
                  </a:lnTo>
                  <a:lnTo>
                    <a:pt x="11854" y="11301"/>
                  </a:lnTo>
                  <a:lnTo>
                    <a:pt x="11992" y="11197"/>
                  </a:lnTo>
                  <a:lnTo>
                    <a:pt x="12095" y="11059"/>
                  </a:lnTo>
                  <a:lnTo>
                    <a:pt x="12199" y="10921"/>
                  </a:lnTo>
                  <a:lnTo>
                    <a:pt x="12303" y="10748"/>
                  </a:lnTo>
                  <a:lnTo>
                    <a:pt x="12372" y="10506"/>
                  </a:lnTo>
                  <a:lnTo>
                    <a:pt x="12372" y="10264"/>
                  </a:lnTo>
                  <a:lnTo>
                    <a:pt x="12372" y="10057"/>
                  </a:lnTo>
                  <a:lnTo>
                    <a:pt x="12303" y="9815"/>
                  </a:lnTo>
                  <a:lnTo>
                    <a:pt x="12165" y="9642"/>
                  </a:lnTo>
                  <a:lnTo>
                    <a:pt x="12026" y="9469"/>
                  </a:lnTo>
                  <a:lnTo>
                    <a:pt x="11854" y="9297"/>
                  </a:lnTo>
                  <a:lnTo>
                    <a:pt x="11646" y="9193"/>
                  </a:lnTo>
                  <a:lnTo>
                    <a:pt x="11439" y="9055"/>
                  </a:lnTo>
                  <a:lnTo>
                    <a:pt x="11128" y="8847"/>
                  </a:lnTo>
                  <a:lnTo>
                    <a:pt x="10333" y="8191"/>
                  </a:lnTo>
                  <a:lnTo>
                    <a:pt x="9262" y="7258"/>
                  </a:lnTo>
                  <a:lnTo>
                    <a:pt x="8018" y="6117"/>
                  </a:lnTo>
                  <a:lnTo>
                    <a:pt x="5115" y="3387"/>
                  </a:lnTo>
                  <a:lnTo>
                    <a:pt x="2040" y="346"/>
                  </a:lnTo>
                  <a:lnTo>
                    <a:pt x="1867" y="208"/>
                  </a:lnTo>
                  <a:lnTo>
                    <a:pt x="1659" y="105"/>
                  </a:lnTo>
                  <a:lnTo>
                    <a:pt x="1452" y="35"/>
                  </a:lnTo>
                  <a:lnTo>
                    <a:pt x="1210"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45" name="Google Shape;2374;p11">
              <a:extLst>
                <a:ext uri="{FF2B5EF4-FFF2-40B4-BE49-F238E27FC236}">
                  <a16:creationId xmlns:a16="http://schemas.microsoft.com/office/drawing/2014/main" id="{69D4AE32-CDA6-32E7-BE62-3E2EEB448412}"/>
                </a:ext>
              </a:extLst>
            </p:cNvPr>
            <p:cNvSpPr/>
            <p:nvPr/>
          </p:nvSpPr>
          <p:spPr>
            <a:xfrm>
              <a:off x="3001375" y="1486450"/>
              <a:ext cx="332625" cy="262675"/>
            </a:xfrm>
            <a:custGeom>
              <a:avLst/>
              <a:gdLst/>
              <a:ahLst/>
              <a:cxnLst/>
              <a:rect l="l" t="t" r="r" b="b"/>
              <a:pathLst>
                <a:path w="13305" h="10507" extrusionOk="0">
                  <a:moveTo>
                    <a:pt x="11991" y="1"/>
                  </a:moveTo>
                  <a:lnTo>
                    <a:pt x="11542" y="70"/>
                  </a:lnTo>
                  <a:lnTo>
                    <a:pt x="11058" y="139"/>
                  </a:lnTo>
                  <a:lnTo>
                    <a:pt x="10609" y="277"/>
                  </a:lnTo>
                  <a:lnTo>
                    <a:pt x="10160" y="381"/>
                  </a:lnTo>
                  <a:lnTo>
                    <a:pt x="9711" y="554"/>
                  </a:lnTo>
                  <a:lnTo>
                    <a:pt x="9261" y="727"/>
                  </a:lnTo>
                  <a:lnTo>
                    <a:pt x="8397" y="1141"/>
                  </a:lnTo>
                  <a:lnTo>
                    <a:pt x="7568" y="1625"/>
                  </a:lnTo>
                  <a:lnTo>
                    <a:pt x="6739" y="2178"/>
                  </a:lnTo>
                  <a:lnTo>
                    <a:pt x="5944" y="2766"/>
                  </a:lnTo>
                  <a:lnTo>
                    <a:pt x="5149" y="3388"/>
                  </a:lnTo>
                  <a:lnTo>
                    <a:pt x="4423" y="4044"/>
                  </a:lnTo>
                  <a:lnTo>
                    <a:pt x="3732" y="4735"/>
                  </a:lnTo>
                  <a:lnTo>
                    <a:pt x="3041" y="5392"/>
                  </a:lnTo>
                  <a:lnTo>
                    <a:pt x="2419" y="6083"/>
                  </a:lnTo>
                  <a:lnTo>
                    <a:pt x="1244" y="7396"/>
                  </a:lnTo>
                  <a:lnTo>
                    <a:pt x="277" y="8536"/>
                  </a:lnTo>
                  <a:lnTo>
                    <a:pt x="138" y="8744"/>
                  </a:lnTo>
                  <a:lnTo>
                    <a:pt x="35" y="8951"/>
                  </a:lnTo>
                  <a:lnTo>
                    <a:pt x="0" y="9193"/>
                  </a:lnTo>
                  <a:lnTo>
                    <a:pt x="0" y="9435"/>
                  </a:lnTo>
                  <a:lnTo>
                    <a:pt x="35" y="9642"/>
                  </a:lnTo>
                  <a:lnTo>
                    <a:pt x="138" y="9850"/>
                  </a:lnTo>
                  <a:lnTo>
                    <a:pt x="242" y="10057"/>
                  </a:lnTo>
                  <a:lnTo>
                    <a:pt x="415" y="10230"/>
                  </a:lnTo>
                  <a:lnTo>
                    <a:pt x="588" y="10368"/>
                  </a:lnTo>
                  <a:lnTo>
                    <a:pt x="795" y="10437"/>
                  </a:lnTo>
                  <a:lnTo>
                    <a:pt x="1002" y="10506"/>
                  </a:lnTo>
                  <a:lnTo>
                    <a:pt x="1175" y="10506"/>
                  </a:lnTo>
                  <a:lnTo>
                    <a:pt x="1452" y="10472"/>
                  </a:lnTo>
                  <a:lnTo>
                    <a:pt x="1693" y="10402"/>
                  </a:lnTo>
                  <a:lnTo>
                    <a:pt x="1901" y="10264"/>
                  </a:lnTo>
                  <a:lnTo>
                    <a:pt x="2108" y="10091"/>
                  </a:lnTo>
                  <a:lnTo>
                    <a:pt x="3007" y="9020"/>
                  </a:lnTo>
                  <a:lnTo>
                    <a:pt x="4043" y="7845"/>
                  </a:lnTo>
                  <a:lnTo>
                    <a:pt x="4596" y="7223"/>
                  </a:lnTo>
                  <a:lnTo>
                    <a:pt x="5184" y="6636"/>
                  </a:lnTo>
                  <a:lnTo>
                    <a:pt x="5840" y="6014"/>
                  </a:lnTo>
                  <a:lnTo>
                    <a:pt x="6462" y="5426"/>
                  </a:lnTo>
                  <a:lnTo>
                    <a:pt x="7153" y="4839"/>
                  </a:lnTo>
                  <a:lnTo>
                    <a:pt x="7845" y="4321"/>
                  </a:lnTo>
                  <a:lnTo>
                    <a:pt x="8536" y="3837"/>
                  </a:lnTo>
                  <a:lnTo>
                    <a:pt x="9261" y="3388"/>
                  </a:lnTo>
                  <a:lnTo>
                    <a:pt x="9987" y="3007"/>
                  </a:lnTo>
                  <a:lnTo>
                    <a:pt x="10713" y="2731"/>
                  </a:lnTo>
                  <a:lnTo>
                    <a:pt x="11093" y="2593"/>
                  </a:lnTo>
                  <a:lnTo>
                    <a:pt x="11473" y="2524"/>
                  </a:lnTo>
                  <a:lnTo>
                    <a:pt x="11853" y="2455"/>
                  </a:lnTo>
                  <a:lnTo>
                    <a:pt x="12199" y="2385"/>
                  </a:lnTo>
                  <a:lnTo>
                    <a:pt x="12441" y="2351"/>
                  </a:lnTo>
                  <a:lnTo>
                    <a:pt x="12682" y="2247"/>
                  </a:lnTo>
                  <a:lnTo>
                    <a:pt x="12855" y="2143"/>
                  </a:lnTo>
                  <a:lnTo>
                    <a:pt x="13028" y="1971"/>
                  </a:lnTo>
                  <a:lnTo>
                    <a:pt x="13166" y="1763"/>
                  </a:lnTo>
                  <a:lnTo>
                    <a:pt x="13235" y="1556"/>
                  </a:lnTo>
                  <a:lnTo>
                    <a:pt x="13304" y="1349"/>
                  </a:lnTo>
                  <a:lnTo>
                    <a:pt x="13304" y="1107"/>
                  </a:lnTo>
                  <a:lnTo>
                    <a:pt x="13235" y="865"/>
                  </a:lnTo>
                  <a:lnTo>
                    <a:pt x="13166" y="623"/>
                  </a:lnTo>
                  <a:lnTo>
                    <a:pt x="13028" y="450"/>
                  </a:lnTo>
                  <a:lnTo>
                    <a:pt x="12855" y="277"/>
                  </a:lnTo>
                  <a:lnTo>
                    <a:pt x="12682" y="139"/>
                  </a:lnTo>
                  <a:lnTo>
                    <a:pt x="12475" y="70"/>
                  </a:lnTo>
                  <a:lnTo>
                    <a:pt x="12233"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46" name="Google Shape;2375;p11">
              <a:extLst>
                <a:ext uri="{FF2B5EF4-FFF2-40B4-BE49-F238E27FC236}">
                  <a16:creationId xmlns:a16="http://schemas.microsoft.com/office/drawing/2014/main" id="{550ACA33-6DCE-D575-9DC4-17224873C2B9}"/>
                </a:ext>
              </a:extLst>
            </p:cNvPr>
            <p:cNvSpPr/>
            <p:nvPr/>
          </p:nvSpPr>
          <p:spPr>
            <a:xfrm>
              <a:off x="3994875" y="2391850"/>
              <a:ext cx="120100" cy="181425"/>
            </a:xfrm>
            <a:custGeom>
              <a:avLst/>
              <a:gdLst/>
              <a:ahLst/>
              <a:cxnLst/>
              <a:rect l="l" t="t" r="r" b="b"/>
              <a:pathLst>
                <a:path w="4804" h="7257" extrusionOk="0">
                  <a:moveTo>
                    <a:pt x="207" y="0"/>
                  </a:moveTo>
                  <a:lnTo>
                    <a:pt x="138" y="35"/>
                  </a:lnTo>
                  <a:lnTo>
                    <a:pt x="69" y="69"/>
                  </a:lnTo>
                  <a:lnTo>
                    <a:pt x="35" y="104"/>
                  </a:lnTo>
                  <a:lnTo>
                    <a:pt x="0" y="207"/>
                  </a:lnTo>
                  <a:lnTo>
                    <a:pt x="35" y="277"/>
                  </a:lnTo>
                  <a:lnTo>
                    <a:pt x="69" y="346"/>
                  </a:lnTo>
                  <a:lnTo>
                    <a:pt x="104" y="380"/>
                  </a:lnTo>
                  <a:lnTo>
                    <a:pt x="207" y="415"/>
                  </a:lnTo>
                  <a:lnTo>
                    <a:pt x="2523" y="553"/>
                  </a:lnTo>
                  <a:lnTo>
                    <a:pt x="3041" y="2315"/>
                  </a:lnTo>
                  <a:lnTo>
                    <a:pt x="3663" y="4492"/>
                  </a:lnTo>
                  <a:lnTo>
                    <a:pt x="4389" y="7119"/>
                  </a:lnTo>
                  <a:lnTo>
                    <a:pt x="4423" y="7188"/>
                  </a:lnTo>
                  <a:lnTo>
                    <a:pt x="4492" y="7222"/>
                  </a:lnTo>
                  <a:lnTo>
                    <a:pt x="4527" y="7257"/>
                  </a:lnTo>
                  <a:lnTo>
                    <a:pt x="4665" y="7257"/>
                  </a:lnTo>
                  <a:lnTo>
                    <a:pt x="4734" y="7222"/>
                  </a:lnTo>
                  <a:lnTo>
                    <a:pt x="4769" y="7153"/>
                  </a:lnTo>
                  <a:lnTo>
                    <a:pt x="4803" y="7084"/>
                  </a:lnTo>
                  <a:lnTo>
                    <a:pt x="4803" y="7015"/>
                  </a:lnTo>
                  <a:lnTo>
                    <a:pt x="4009" y="4251"/>
                  </a:lnTo>
                  <a:lnTo>
                    <a:pt x="3387" y="2039"/>
                  </a:lnTo>
                  <a:lnTo>
                    <a:pt x="2868" y="311"/>
                  </a:lnTo>
                  <a:lnTo>
                    <a:pt x="2799" y="207"/>
                  </a:lnTo>
                  <a:lnTo>
                    <a:pt x="2661" y="173"/>
                  </a:lnTo>
                  <a:lnTo>
                    <a:pt x="207" y="0"/>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47" name="Google Shape;2376;p11">
              <a:extLst>
                <a:ext uri="{FF2B5EF4-FFF2-40B4-BE49-F238E27FC236}">
                  <a16:creationId xmlns:a16="http://schemas.microsoft.com/office/drawing/2014/main" id="{8AC70D32-3D6E-7D6C-1F96-E5BC7AF2499D}"/>
                </a:ext>
              </a:extLst>
            </p:cNvPr>
            <p:cNvSpPr/>
            <p:nvPr/>
          </p:nvSpPr>
          <p:spPr>
            <a:xfrm>
              <a:off x="4140000" y="2552525"/>
              <a:ext cx="80375" cy="38900"/>
            </a:xfrm>
            <a:custGeom>
              <a:avLst/>
              <a:gdLst/>
              <a:ahLst/>
              <a:cxnLst/>
              <a:rect l="l" t="t" r="r" b="b"/>
              <a:pathLst>
                <a:path w="3215" h="1556" extrusionOk="0">
                  <a:moveTo>
                    <a:pt x="173" y="1"/>
                  </a:moveTo>
                  <a:lnTo>
                    <a:pt x="104" y="70"/>
                  </a:lnTo>
                  <a:lnTo>
                    <a:pt x="35" y="173"/>
                  </a:lnTo>
                  <a:lnTo>
                    <a:pt x="1" y="277"/>
                  </a:lnTo>
                  <a:lnTo>
                    <a:pt x="1" y="1245"/>
                  </a:lnTo>
                  <a:lnTo>
                    <a:pt x="35" y="1348"/>
                  </a:lnTo>
                  <a:lnTo>
                    <a:pt x="104" y="1452"/>
                  </a:lnTo>
                  <a:lnTo>
                    <a:pt x="173" y="1521"/>
                  </a:lnTo>
                  <a:lnTo>
                    <a:pt x="277" y="1556"/>
                  </a:lnTo>
                  <a:lnTo>
                    <a:pt x="2938" y="1556"/>
                  </a:lnTo>
                  <a:lnTo>
                    <a:pt x="3042" y="1521"/>
                  </a:lnTo>
                  <a:lnTo>
                    <a:pt x="3145" y="1452"/>
                  </a:lnTo>
                  <a:lnTo>
                    <a:pt x="3180" y="1348"/>
                  </a:lnTo>
                  <a:lnTo>
                    <a:pt x="3214" y="1245"/>
                  </a:lnTo>
                  <a:lnTo>
                    <a:pt x="3214" y="277"/>
                  </a:lnTo>
                  <a:lnTo>
                    <a:pt x="3180" y="173"/>
                  </a:lnTo>
                  <a:lnTo>
                    <a:pt x="3145" y="70"/>
                  </a:lnTo>
                  <a:lnTo>
                    <a:pt x="3042" y="1"/>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48" name="Google Shape;2377;p11">
              <a:extLst>
                <a:ext uri="{FF2B5EF4-FFF2-40B4-BE49-F238E27FC236}">
                  <a16:creationId xmlns:a16="http://schemas.microsoft.com/office/drawing/2014/main" id="{461D2C15-466E-C575-F14C-069AD72FD199}"/>
                </a:ext>
              </a:extLst>
            </p:cNvPr>
            <p:cNvSpPr/>
            <p:nvPr/>
          </p:nvSpPr>
          <p:spPr>
            <a:xfrm>
              <a:off x="4140000" y="2552525"/>
              <a:ext cx="80375" cy="38900"/>
            </a:xfrm>
            <a:custGeom>
              <a:avLst/>
              <a:gdLst/>
              <a:ahLst/>
              <a:cxnLst/>
              <a:rect l="l" t="t" r="r" b="b"/>
              <a:pathLst>
                <a:path w="3215" h="1556" fill="none" extrusionOk="0">
                  <a:moveTo>
                    <a:pt x="2938" y="1"/>
                  </a:moveTo>
                  <a:lnTo>
                    <a:pt x="277" y="1"/>
                  </a:lnTo>
                  <a:lnTo>
                    <a:pt x="277" y="1"/>
                  </a:lnTo>
                  <a:lnTo>
                    <a:pt x="173" y="1"/>
                  </a:lnTo>
                  <a:lnTo>
                    <a:pt x="104" y="70"/>
                  </a:lnTo>
                  <a:lnTo>
                    <a:pt x="35" y="173"/>
                  </a:lnTo>
                  <a:lnTo>
                    <a:pt x="1" y="277"/>
                  </a:lnTo>
                  <a:lnTo>
                    <a:pt x="1" y="1245"/>
                  </a:lnTo>
                  <a:lnTo>
                    <a:pt x="1" y="1245"/>
                  </a:lnTo>
                  <a:lnTo>
                    <a:pt x="35" y="1348"/>
                  </a:lnTo>
                  <a:lnTo>
                    <a:pt x="104" y="1452"/>
                  </a:lnTo>
                  <a:lnTo>
                    <a:pt x="173" y="1521"/>
                  </a:lnTo>
                  <a:lnTo>
                    <a:pt x="277" y="1556"/>
                  </a:lnTo>
                  <a:lnTo>
                    <a:pt x="2938" y="1556"/>
                  </a:lnTo>
                  <a:lnTo>
                    <a:pt x="2938" y="1556"/>
                  </a:lnTo>
                  <a:lnTo>
                    <a:pt x="3042" y="1521"/>
                  </a:lnTo>
                  <a:lnTo>
                    <a:pt x="3145" y="1452"/>
                  </a:lnTo>
                  <a:lnTo>
                    <a:pt x="3180" y="1348"/>
                  </a:lnTo>
                  <a:lnTo>
                    <a:pt x="3214" y="1245"/>
                  </a:lnTo>
                  <a:lnTo>
                    <a:pt x="3214" y="277"/>
                  </a:lnTo>
                  <a:lnTo>
                    <a:pt x="3214" y="277"/>
                  </a:lnTo>
                  <a:lnTo>
                    <a:pt x="3180" y="173"/>
                  </a:lnTo>
                  <a:lnTo>
                    <a:pt x="3145" y="70"/>
                  </a:lnTo>
                  <a:lnTo>
                    <a:pt x="3042" y="1"/>
                  </a:lnTo>
                  <a:lnTo>
                    <a:pt x="2938"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49" name="Google Shape;2378;p11">
              <a:extLst>
                <a:ext uri="{FF2B5EF4-FFF2-40B4-BE49-F238E27FC236}">
                  <a16:creationId xmlns:a16="http://schemas.microsoft.com/office/drawing/2014/main" id="{ADAC6AE4-4D0F-D391-D867-2E18A5B37151}"/>
                </a:ext>
              </a:extLst>
            </p:cNvPr>
            <p:cNvSpPr/>
            <p:nvPr/>
          </p:nvSpPr>
          <p:spPr>
            <a:xfrm>
              <a:off x="4247125" y="2550800"/>
              <a:ext cx="139975" cy="38900"/>
            </a:xfrm>
            <a:custGeom>
              <a:avLst/>
              <a:gdLst/>
              <a:ahLst/>
              <a:cxnLst/>
              <a:rect l="l" t="t" r="r" b="b"/>
              <a:pathLst>
                <a:path w="5599" h="1556" extrusionOk="0">
                  <a:moveTo>
                    <a:pt x="312" y="0"/>
                  </a:moveTo>
                  <a:lnTo>
                    <a:pt x="173" y="35"/>
                  </a:lnTo>
                  <a:lnTo>
                    <a:pt x="70" y="104"/>
                  </a:lnTo>
                  <a:lnTo>
                    <a:pt x="35" y="208"/>
                  </a:lnTo>
                  <a:lnTo>
                    <a:pt x="1" y="311"/>
                  </a:lnTo>
                  <a:lnTo>
                    <a:pt x="1" y="1245"/>
                  </a:lnTo>
                  <a:lnTo>
                    <a:pt x="35" y="1348"/>
                  </a:lnTo>
                  <a:lnTo>
                    <a:pt x="70" y="1452"/>
                  </a:lnTo>
                  <a:lnTo>
                    <a:pt x="173" y="1521"/>
                  </a:lnTo>
                  <a:lnTo>
                    <a:pt x="312" y="1556"/>
                  </a:lnTo>
                  <a:lnTo>
                    <a:pt x="5288" y="1556"/>
                  </a:lnTo>
                  <a:lnTo>
                    <a:pt x="5426" y="1521"/>
                  </a:lnTo>
                  <a:lnTo>
                    <a:pt x="5530" y="1452"/>
                  </a:lnTo>
                  <a:lnTo>
                    <a:pt x="5599" y="1348"/>
                  </a:lnTo>
                  <a:lnTo>
                    <a:pt x="5599" y="1245"/>
                  </a:lnTo>
                  <a:lnTo>
                    <a:pt x="5599" y="311"/>
                  </a:lnTo>
                  <a:lnTo>
                    <a:pt x="5599" y="208"/>
                  </a:lnTo>
                  <a:lnTo>
                    <a:pt x="5530" y="104"/>
                  </a:lnTo>
                  <a:lnTo>
                    <a:pt x="5426" y="35"/>
                  </a:lnTo>
                  <a:lnTo>
                    <a:pt x="5288"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50" name="Google Shape;2379;p11">
              <a:extLst>
                <a:ext uri="{FF2B5EF4-FFF2-40B4-BE49-F238E27FC236}">
                  <a16:creationId xmlns:a16="http://schemas.microsoft.com/office/drawing/2014/main" id="{1AADA7F3-96AE-F85A-22D0-F45CF9BBABED}"/>
                </a:ext>
              </a:extLst>
            </p:cNvPr>
            <p:cNvSpPr/>
            <p:nvPr/>
          </p:nvSpPr>
          <p:spPr>
            <a:xfrm>
              <a:off x="4247125" y="2550800"/>
              <a:ext cx="139975" cy="38900"/>
            </a:xfrm>
            <a:custGeom>
              <a:avLst/>
              <a:gdLst/>
              <a:ahLst/>
              <a:cxnLst/>
              <a:rect l="l" t="t" r="r" b="b"/>
              <a:pathLst>
                <a:path w="5599" h="1556" fill="none" extrusionOk="0">
                  <a:moveTo>
                    <a:pt x="5288" y="0"/>
                  </a:moveTo>
                  <a:lnTo>
                    <a:pt x="312" y="0"/>
                  </a:lnTo>
                  <a:lnTo>
                    <a:pt x="312" y="0"/>
                  </a:lnTo>
                  <a:lnTo>
                    <a:pt x="173" y="35"/>
                  </a:lnTo>
                  <a:lnTo>
                    <a:pt x="70" y="104"/>
                  </a:lnTo>
                  <a:lnTo>
                    <a:pt x="35" y="208"/>
                  </a:lnTo>
                  <a:lnTo>
                    <a:pt x="1" y="311"/>
                  </a:lnTo>
                  <a:lnTo>
                    <a:pt x="1" y="1245"/>
                  </a:lnTo>
                  <a:lnTo>
                    <a:pt x="1" y="1245"/>
                  </a:lnTo>
                  <a:lnTo>
                    <a:pt x="35" y="1348"/>
                  </a:lnTo>
                  <a:lnTo>
                    <a:pt x="70" y="1452"/>
                  </a:lnTo>
                  <a:lnTo>
                    <a:pt x="173" y="1521"/>
                  </a:lnTo>
                  <a:lnTo>
                    <a:pt x="312" y="1556"/>
                  </a:lnTo>
                  <a:lnTo>
                    <a:pt x="5288" y="1556"/>
                  </a:lnTo>
                  <a:lnTo>
                    <a:pt x="5288" y="1556"/>
                  </a:lnTo>
                  <a:lnTo>
                    <a:pt x="5426" y="1521"/>
                  </a:lnTo>
                  <a:lnTo>
                    <a:pt x="5530" y="1452"/>
                  </a:lnTo>
                  <a:lnTo>
                    <a:pt x="5599" y="1348"/>
                  </a:lnTo>
                  <a:lnTo>
                    <a:pt x="5599" y="1245"/>
                  </a:lnTo>
                  <a:lnTo>
                    <a:pt x="5599" y="311"/>
                  </a:lnTo>
                  <a:lnTo>
                    <a:pt x="5599" y="311"/>
                  </a:lnTo>
                  <a:lnTo>
                    <a:pt x="5599" y="208"/>
                  </a:lnTo>
                  <a:lnTo>
                    <a:pt x="5530" y="104"/>
                  </a:lnTo>
                  <a:lnTo>
                    <a:pt x="5426" y="35"/>
                  </a:lnTo>
                  <a:lnTo>
                    <a:pt x="5288"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51" name="Google Shape;2380;p11">
              <a:extLst>
                <a:ext uri="{FF2B5EF4-FFF2-40B4-BE49-F238E27FC236}">
                  <a16:creationId xmlns:a16="http://schemas.microsoft.com/office/drawing/2014/main" id="{0B87B6E8-ADCC-0319-865A-01CAE5B11688}"/>
                </a:ext>
              </a:extLst>
            </p:cNvPr>
            <p:cNvSpPr/>
            <p:nvPr/>
          </p:nvSpPr>
          <p:spPr>
            <a:xfrm>
              <a:off x="4441500" y="2550800"/>
              <a:ext cx="129625" cy="38900"/>
            </a:xfrm>
            <a:custGeom>
              <a:avLst/>
              <a:gdLst/>
              <a:ahLst/>
              <a:cxnLst/>
              <a:rect l="l" t="t" r="r" b="b"/>
              <a:pathLst>
                <a:path w="5185" h="1556" extrusionOk="0">
                  <a:moveTo>
                    <a:pt x="277" y="0"/>
                  </a:moveTo>
                  <a:lnTo>
                    <a:pt x="174" y="35"/>
                  </a:lnTo>
                  <a:lnTo>
                    <a:pt x="70" y="70"/>
                  </a:lnTo>
                  <a:lnTo>
                    <a:pt x="35" y="173"/>
                  </a:lnTo>
                  <a:lnTo>
                    <a:pt x="1" y="277"/>
                  </a:lnTo>
                  <a:lnTo>
                    <a:pt x="1" y="1279"/>
                  </a:lnTo>
                  <a:lnTo>
                    <a:pt x="35" y="1383"/>
                  </a:lnTo>
                  <a:lnTo>
                    <a:pt x="70" y="1486"/>
                  </a:lnTo>
                  <a:lnTo>
                    <a:pt x="174" y="1521"/>
                  </a:lnTo>
                  <a:lnTo>
                    <a:pt x="277" y="1556"/>
                  </a:lnTo>
                  <a:lnTo>
                    <a:pt x="4873" y="1556"/>
                  </a:lnTo>
                  <a:lnTo>
                    <a:pt x="5011" y="1521"/>
                  </a:lnTo>
                  <a:lnTo>
                    <a:pt x="5081" y="1486"/>
                  </a:lnTo>
                  <a:lnTo>
                    <a:pt x="5150" y="1383"/>
                  </a:lnTo>
                  <a:lnTo>
                    <a:pt x="5184" y="1279"/>
                  </a:lnTo>
                  <a:lnTo>
                    <a:pt x="5184" y="277"/>
                  </a:lnTo>
                  <a:lnTo>
                    <a:pt x="5150" y="173"/>
                  </a:lnTo>
                  <a:lnTo>
                    <a:pt x="5081" y="70"/>
                  </a:lnTo>
                  <a:lnTo>
                    <a:pt x="5011" y="35"/>
                  </a:lnTo>
                  <a:lnTo>
                    <a:pt x="4873" y="0"/>
                  </a:lnTo>
                  <a:close/>
                </a:path>
              </a:pathLst>
            </a:custGeom>
            <a:solidFill>
              <a:srgbClr val="C3C3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52" name="Google Shape;2381;p11">
              <a:extLst>
                <a:ext uri="{FF2B5EF4-FFF2-40B4-BE49-F238E27FC236}">
                  <a16:creationId xmlns:a16="http://schemas.microsoft.com/office/drawing/2014/main" id="{178636CB-C11D-3992-960A-9C9DDEF464EB}"/>
                </a:ext>
              </a:extLst>
            </p:cNvPr>
            <p:cNvSpPr/>
            <p:nvPr/>
          </p:nvSpPr>
          <p:spPr>
            <a:xfrm>
              <a:off x="4441500" y="2550800"/>
              <a:ext cx="129625" cy="38900"/>
            </a:xfrm>
            <a:custGeom>
              <a:avLst/>
              <a:gdLst/>
              <a:ahLst/>
              <a:cxnLst/>
              <a:rect l="l" t="t" r="r" b="b"/>
              <a:pathLst>
                <a:path w="5185" h="1556" fill="none" extrusionOk="0">
                  <a:moveTo>
                    <a:pt x="4873" y="0"/>
                  </a:moveTo>
                  <a:lnTo>
                    <a:pt x="277" y="0"/>
                  </a:lnTo>
                  <a:lnTo>
                    <a:pt x="277" y="0"/>
                  </a:lnTo>
                  <a:lnTo>
                    <a:pt x="174" y="35"/>
                  </a:lnTo>
                  <a:lnTo>
                    <a:pt x="70" y="70"/>
                  </a:lnTo>
                  <a:lnTo>
                    <a:pt x="35" y="173"/>
                  </a:lnTo>
                  <a:lnTo>
                    <a:pt x="1" y="277"/>
                  </a:lnTo>
                  <a:lnTo>
                    <a:pt x="1" y="1279"/>
                  </a:lnTo>
                  <a:lnTo>
                    <a:pt x="1" y="1279"/>
                  </a:lnTo>
                  <a:lnTo>
                    <a:pt x="35" y="1383"/>
                  </a:lnTo>
                  <a:lnTo>
                    <a:pt x="70" y="1486"/>
                  </a:lnTo>
                  <a:lnTo>
                    <a:pt x="174" y="1521"/>
                  </a:lnTo>
                  <a:lnTo>
                    <a:pt x="277" y="1556"/>
                  </a:lnTo>
                  <a:lnTo>
                    <a:pt x="4873" y="1556"/>
                  </a:lnTo>
                  <a:lnTo>
                    <a:pt x="4873" y="1556"/>
                  </a:lnTo>
                  <a:lnTo>
                    <a:pt x="5011" y="1521"/>
                  </a:lnTo>
                  <a:lnTo>
                    <a:pt x="5081" y="1486"/>
                  </a:lnTo>
                  <a:lnTo>
                    <a:pt x="5150" y="1383"/>
                  </a:lnTo>
                  <a:lnTo>
                    <a:pt x="5184" y="1279"/>
                  </a:lnTo>
                  <a:lnTo>
                    <a:pt x="5184" y="277"/>
                  </a:lnTo>
                  <a:lnTo>
                    <a:pt x="5184" y="277"/>
                  </a:lnTo>
                  <a:lnTo>
                    <a:pt x="5150" y="173"/>
                  </a:lnTo>
                  <a:lnTo>
                    <a:pt x="5081" y="70"/>
                  </a:lnTo>
                  <a:lnTo>
                    <a:pt x="5011" y="35"/>
                  </a:lnTo>
                  <a:lnTo>
                    <a:pt x="4873"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53" name="Google Shape;2382;p11">
              <a:extLst>
                <a:ext uri="{FF2B5EF4-FFF2-40B4-BE49-F238E27FC236}">
                  <a16:creationId xmlns:a16="http://schemas.microsoft.com/office/drawing/2014/main" id="{22DC41B2-613B-5BEA-5918-4B560F39B3B7}"/>
                </a:ext>
              </a:extLst>
            </p:cNvPr>
            <p:cNvSpPr/>
            <p:nvPr/>
          </p:nvSpPr>
          <p:spPr>
            <a:xfrm>
              <a:off x="3714100" y="2246700"/>
              <a:ext cx="290300" cy="268700"/>
            </a:xfrm>
            <a:custGeom>
              <a:avLst/>
              <a:gdLst/>
              <a:ahLst/>
              <a:cxnLst/>
              <a:rect l="l" t="t" r="r" b="b"/>
              <a:pathLst>
                <a:path w="11612" h="10748" extrusionOk="0">
                  <a:moveTo>
                    <a:pt x="899" y="1"/>
                  </a:moveTo>
                  <a:lnTo>
                    <a:pt x="691" y="70"/>
                  </a:lnTo>
                  <a:lnTo>
                    <a:pt x="519" y="173"/>
                  </a:lnTo>
                  <a:lnTo>
                    <a:pt x="311" y="312"/>
                  </a:lnTo>
                  <a:lnTo>
                    <a:pt x="173" y="484"/>
                  </a:lnTo>
                  <a:lnTo>
                    <a:pt x="69" y="692"/>
                  </a:lnTo>
                  <a:lnTo>
                    <a:pt x="35" y="899"/>
                  </a:lnTo>
                  <a:lnTo>
                    <a:pt x="0" y="1106"/>
                  </a:lnTo>
                  <a:lnTo>
                    <a:pt x="35" y="1314"/>
                  </a:lnTo>
                  <a:lnTo>
                    <a:pt x="69" y="1521"/>
                  </a:lnTo>
                  <a:lnTo>
                    <a:pt x="173" y="1728"/>
                  </a:lnTo>
                  <a:lnTo>
                    <a:pt x="311" y="1901"/>
                  </a:lnTo>
                  <a:lnTo>
                    <a:pt x="2661" y="4217"/>
                  </a:lnTo>
                  <a:lnTo>
                    <a:pt x="4112" y="5599"/>
                  </a:lnTo>
                  <a:lnTo>
                    <a:pt x="5564" y="6981"/>
                  </a:lnTo>
                  <a:lnTo>
                    <a:pt x="6981" y="8294"/>
                  </a:lnTo>
                  <a:lnTo>
                    <a:pt x="8259" y="9400"/>
                  </a:lnTo>
                  <a:lnTo>
                    <a:pt x="8847" y="9849"/>
                  </a:lnTo>
                  <a:lnTo>
                    <a:pt x="9330" y="10229"/>
                  </a:lnTo>
                  <a:lnTo>
                    <a:pt x="9745" y="10506"/>
                  </a:lnTo>
                  <a:lnTo>
                    <a:pt x="10056" y="10679"/>
                  </a:lnTo>
                  <a:lnTo>
                    <a:pt x="10263" y="10748"/>
                  </a:lnTo>
                  <a:lnTo>
                    <a:pt x="10644" y="10748"/>
                  </a:lnTo>
                  <a:lnTo>
                    <a:pt x="10816" y="10713"/>
                  </a:lnTo>
                  <a:lnTo>
                    <a:pt x="10955" y="10644"/>
                  </a:lnTo>
                  <a:lnTo>
                    <a:pt x="11093" y="10575"/>
                  </a:lnTo>
                  <a:lnTo>
                    <a:pt x="11231" y="10471"/>
                  </a:lnTo>
                  <a:lnTo>
                    <a:pt x="11335" y="10333"/>
                  </a:lnTo>
                  <a:lnTo>
                    <a:pt x="11438" y="10195"/>
                  </a:lnTo>
                  <a:lnTo>
                    <a:pt x="11508" y="10057"/>
                  </a:lnTo>
                  <a:lnTo>
                    <a:pt x="11577" y="9849"/>
                  </a:lnTo>
                  <a:lnTo>
                    <a:pt x="11611" y="9607"/>
                  </a:lnTo>
                  <a:lnTo>
                    <a:pt x="11577" y="9400"/>
                  </a:lnTo>
                  <a:lnTo>
                    <a:pt x="11508" y="9193"/>
                  </a:lnTo>
                  <a:lnTo>
                    <a:pt x="11404" y="9020"/>
                  </a:lnTo>
                  <a:lnTo>
                    <a:pt x="11266" y="8847"/>
                  </a:lnTo>
                  <a:lnTo>
                    <a:pt x="11093" y="8709"/>
                  </a:lnTo>
                  <a:lnTo>
                    <a:pt x="10886" y="8605"/>
                  </a:lnTo>
                  <a:lnTo>
                    <a:pt x="10713" y="8467"/>
                  </a:lnTo>
                  <a:lnTo>
                    <a:pt x="10436" y="8294"/>
                  </a:lnTo>
                  <a:lnTo>
                    <a:pt x="9676" y="7672"/>
                  </a:lnTo>
                  <a:lnTo>
                    <a:pt x="8674" y="6808"/>
                  </a:lnTo>
                  <a:lnTo>
                    <a:pt x="7499" y="5702"/>
                  </a:lnTo>
                  <a:lnTo>
                    <a:pt x="4804" y="3145"/>
                  </a:lnTo>
                  <a:lnTo>
                    <a:pt x="1901" y="312"/>
                  </a:lnTo>
                  <a:lnTo>
                    <a:pt x="1728" y="173"/>
                  </a:lnTo>
                  <a:lnTo>
                    <a:pt x="1555" y="70"/>
                  </a:lnTo>
                  <a:lnTo>
                    <a:pt x="1348"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54" name="Google Shape;2383;p11">
              <a:extLst>
                <a:ext uri="{FF2B5EF4-FFF2-40B4-BE49-F238E27FC236}">
                  <a16:creationId xmlns:a16="http://schemas.microsoft.com/office/drawing/2014/main" id="{6940A180-2732-8681-0D56-80BD8D41E57C}"/>
                </a:ext>
              </a:extLst>
            </p:cNvPr>
            <p:cNvSpPr/>
            <p:nvPr/>
          </p:nvSpPr>
          <p:spPr>
            <a:xfrm>
              <a:off x="3707175" y="2262250"/>
              <a:ext cx="311900" cy="246250"/>
            </a:xfrm>
            <a:custGeom>
              <a:avLst/>
              <a:gdLst/>
              <a:ahLst/>
              <a:cxnLst/>
              <a:rect l="l" t="t" r="r" b="b"/>
              <a:pathLst>
                <a:path w="12476" h="9850" extrusionOk="0">
                  <a:moveTo>
                    <a:pt x="11266" y="1"/>
                  </a:moveTo>
                  <a:lnTo>
                    <a:pt x="10817" y="70"/>
                  </a:lnTo>
                  <a:lnTo>
                    <a:pt x="10402" y="139"/>
                  </a:lnTo>
                  <a:lnTo>
                    <a:pt x="9953" y="243"/>
                  </a:lnTo>
                  <a:lnTo>
                    <a:pt x="9538" y="381"/>
                  </a:lnTo>
                  <a:lnTo>
                    <a:pt x="9124" y="519"/>
                  </a:lnTo>
                  <a:lnTo>
                    <a:pt x="8709" y="692"/>
                  </a:lnTo>
                  <a:lnTo>
                    <a:pt x="7880" y="1072"/>
                  </a:lnTo>
                  <a:lnTo>
                    <a:pt x="7085" y="1521"/>
                  </a:lnTo>
                  <a:lnTo>
                    <a:pt x="6325" y="2039"/>
                  </a:lnTo>
                  <a:lnTo>
                    <a:pt x="5564" y="2592"/>
                  </a:lnTo>
                  <a:lnTo>
                    <a:pt x="4839" y="3180"/>
                  </a:lnTo>
                  <a:lnTo>
                    <a:pt x="4148" y="3802"/>
                  </a:lnTo>
                  <a:lnTo>
                    <a:pt x="3491" y="4424"/>
                  </a:lnTo>
                  <a:lnTo>
                    <a:pt x="2869" y="5080"/>
                  </a:lnTo>
                  <a:lnTo>
                    <a:pt x="2247" y="5702"/>
                  </a:lnTo>
                  <a:lnTo>
                    <a:pt x="1176" y="6912"/>
                  </a:lnTo>
                  <a:lnTo>
                    <a:pt x="277" y="8018"/>
                  </a:lnTo>
                  <a:lnTo>
                    <a:pt x="139" y="8191"/>
                  </a:lnTo>
                  <a:lnTo>
                    <a:pt x="35" y="8398"/>
                  </a:lnTo>
                  <a:lnTo>
                    <a:pt x="1" y="8605"/>
                  </a:lnTo>
                  <a:lnTo>
                    <a:pt x="1" y="8847"/>
                  </a:lnTo>
                  <a:lnTo>
                    <a:pt x="35" y="9054"/>
                  </a:lnTo>
                  <a:lnTo>
                    <a:pt x="139" y="9262"/>
                  </a:lnTo>
                  <a:lnTo>
                    <a:pt x="243" y="9435"/>
                  </a:lnTo>
                  <a:lnTo>
                    <a:pt x="415" y="9607"/>
                  </a:lnTo>
                  <a:lnTo>
                    <a:pt x="554" y="9711"/>
                  </a:lnTo>
                  <a:lnTo>
                    <a:pt x="761" y="9780"/>
                  </a:lnTo>
                  <a:lnTo>
                    <a:pt x="934" y="9849"/>
                  </a:lnTo>
                  <a:lnTo>
                    <a:pt x="1107" y="9849"/>
                  </a:lnTo>
                  <a:lnTo>
                    <a:pt x="1348" y="9815"/>
                  </a:lnTo>
                  <a:lnTo>
                    <a:pt x="1590" y="9746"/>
                  </a:lnTo>
                  <a:lnTo>
                    <a:pt x="1798" y="9642"/>
                  </a:lnTo>
                  <a:lnTo>
                    <a:pt x="1971" y="9469"/>
                  </a:lnTo>
                  <a:lnTo>
                    <a:pt x="2800" y="8467"/>
                  </a:lnTo>
                  <a:lnTo>
                    <a:pt x="3802" y="7361"/>
                  </a:lnTo>
                  <a:lnTo>
                    <a:pt x="4873" y="6221"/>
                  </a:lnTo>
                  <a:lnTo>
                    <a:pt x="5461" y="5633"/>
                  </a:lnTo>
                  <a:lnTo>
                    <a:pt x="6083" y="5080"/>
                  </a:lnTo>
                  <a:lnTo>
                    <a:pt x="6705" y="4528"/>
                  </a:lnTo>
                  <a:lnTo>
                    <a:pt x="7361" y="4044"/>
                  </a:lnTo>
                  <a:lnTo>
                    <a:pt x="8018" y="3595"/>
                  </a:lnTo>
                  <a:lnTo>
                    <a:pt x="8674" y="3180"/>
                  </a:lnTo>
                  <a:lnTo>
                    <a:pt x="9366" y="2834"/>
                  </a:lnTo>
                  <a:lnTo>
                    <a:pt x="10057" y="2558"/>
                  </a:lnTo>
                  <a:lnTo>
                    <a:pt x="10748" y="2350"/>
                  </a:lnTo>
                  <a:lnTo>
                    <a:pt x="11093" y="2281"/>
                  </a:lnTo>
                  <a:lnTo>
                    <a:pt x="11474" y="2247"/>
                  </a:lnTo>
                  <a:lnTo>
                    <a:pt x="11681" y="2212"/>
                  </a:lnTo>
                  <a:lnTo>
                    <a:pt x="11888" y="2109"/>
                  </a:lnTo>
                  <a:lnTo>
                    <a:pt x="12061" y="2005"/>
                  </a:lnTo>
                  <a:lnTo>
                    <a:pt x="12234" y="1832"/>
                  </a:lnTo>
                  <a:lnTo>
                    <a:pt x="12337" y="1659"/>
                  </a:lnTo>
                  <a:lnTo>
                    <a:pt x="12441" y="1452"/>
                  </a:lnTo>
                  <a:lnTo>
                    <a:pt x="12476" y="1245"/>
                  </a:lnTo>
                  <a:lnTo>
                    <a:pt x="12476" y="1037"/>
                  </a:lnTo>
                  <a:lnTo>
                    <a:pt x="12441" y="795"/>
                  </a:lnTo>
                  <a:lnTo>
                    <a:pt x="12337" y="588"/>
                  </a:lnTo>
                  <a:lnTo>
                    <a:pt x="12234" y="415"/>
                  </a:lnTo>
                  <a:lnTo>
                    <a:pt x="12061" y="277"/>
                  </a:lnTo>
                  <a:lnTo>
                    <a:pt x="11888" y="139"/>
                  </a:lnTo>
                  <a:lnTo>
                    <a:pt x="11681" y="70"/>
                  </a:lnTo>
                  <a:lnTo>
                    <a:pt x="11474"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55" name="Google Shape;2384;p11">
              <a:extLst>
                <a:ext uri="{FF2B5EF4-FFF2-40B4-BE49-F238E27FC236}">
                  <a16:creationId xmlns:a16="http://schemas.microsoft.com/office/drawing/2014/main" id="{A52EE067-C5AB-FA10-92FE-6C87CFC82FDB}"/>
                </a:ext>
              </a:extLst>
            </p:cNvPr>
            <p:cNvSpPr/>
            <p:nvPr/>
          </p:nvSpPr>
          <p:spPr>
            <a:xfrm>
              <a:off x="3439375" y="1069200"/>
              <a:ext cx="171075" cy="244500"/>
            </a:xfrm>
            <a:custGeom>
              <a:avLst/>
              <a:gdLst/>
              <a:ahLst/>
              <a:cxnLst/>
              <a:rect l="l" t="t" r="r" b="b"/>
              <a:pathLst>
                <a:path w="6843" h="9780" extrusionOk="0">
                  <a:moveTo>
                    <a:pt x="1072" y="0"/>
                  </a:moveTo>
                  <a:lnTo>
                    <a:pt x="830" y="69"/>
                  </a:lnTo>
                  <a:lnTo>
                    <a:pt x="622" y="173"/>
                  </a:lnTo>
                  <a:lnTo>
                    <a:pt x="415" y="311"/>
                  </a:lnTo>
                  <a:lnTo>
                    <a:pt x="242" y="519"/>
                  </a:lnTo>
                  <a:lnTo>
                    <a:pt x="104" y="726"/>
                  </a:lnTo>
                  <a:lnTo>
                    <a:pt x="35" y="968"/>
                  </a:lnTo>
                  <a:lnTo>
                    <a:pt x="0" y="1210"/>
                  </a:lnTo>
                  <a:lnTo>
                    <a:pt x="35" y="1452"/>
                  </a:lnTo>
                  <a:lnTo>
                    <a:pt x="104" y="1659"/>
                  </a:lnTo>
                  <a:lnTo>
                    <a:pt x="208" y="1901"/>
                  </a:lnTo>
                  <a:lnTo>
                    <a:pt x="346" y="2074"/>
                  </a:lnTo>
                  <a:lnTo>
                    <a:pt x="519" y="2246"/>
                  </a:lnTo>
                  <a:lnTo>
                    <a:pt x="1037" y="2661"/>
                  </a:lnTo>
                  <a:lnTo>
                    <a:pt x="1797" y="3283"/>
                  </a:lnTo>
                  <a:lnTo>
                    <a:pt x="3698" y="4907"/>
                  </a:lnTo>
                  <a:lnTo>
                    <a:pt x="588" y="7603"/>
                  </a:lnTo>
                  <a:lnTo>
                    <a:pt x="415" y="7775"/>
                  </a:lnTo>
                  <a:lnTo>
                    <a:pt x="311" y="7983"/>
                  </a:lnTo>
                  <a:lnTo>
                    <a:pt x="208" y="8225"/>
                  </a:lnTo>
                  <a:lnTo>
                    <a:pt x="173" y="8467"/>
                  </a:lnTo>
                  <a:lnTo>
                    <a:pt x="173" y="8708"/>
                  </a:lnTo>
                  <a:lnTo>
                    <a:pt x="242" y="8950"/>
                  </a:lnTo>
                  <a:lnTo>
                    <a:pt x="346" y="9158"/>
                  </a:lnTo>
                  <a:lnTo>
                    <a:pt x="484" y="9365"/>
                  </a:lnTo>
                  <a:lnTo>
                    <a:pt x="691" y="9538"/>
                  </a:lnTo>
                  <a:lnTo>
                    <a:pt x="899" y="9676"/>
                  </a:lnTo>
                  <a:lnTo>
                    <a:pt x="1175" y="9780"/>
                  </a:lnTo>
                  <a:lnTo>
                    <a:pt x="1624" y="9780"/>
                  </a:lnTo>
                  <a:lnTo>
                    <a:pt x="1866" y="9711"/>
                  </a:lnTo>
                  <a:lnTo>
                    <a:pt x="2039" y="9641"/>
                  </a:lnTo>
                  <a:lnTo>
                    <a:pt x="2246" y="9503"/>
                  </a:lnTo>
                  <a:lnTo>
                    <a:pt x="6428" y="5840"/>
                  </a:lnTo>
                  <a:lnTo>
                    <a:pt x="6601" y="5668"/>
                  </a:lnTo>
                  <a:lnTo>
                    <a:pt x="6739" y="5426"/>
                  </a:lnTo>
                  <a:lnTo>
                    <a:pt x="6842" y="5184"/>
                  </a:lnTo>
                  <a:lnTo>
                    <a:pt x="6842" y="4907"/>
                  </a:lnTo>
                  <a:lnTo>
                    <a:pt x="6842" y="4665"/>
                  </a:lnTo>
                  <a:lnTo>
                    <a:pt x="6739" y="4389"/>
                  </a:lnTo>
                  <a:lnTo>
                    <a:pt x="6601" y="4182"/>
                  </a:lnTo>
                  <a:lnTo>
                    <a:pt x="6428" y="3974"/>
                  </a:lnTo>
                  <a:lnTo>
                    <a:pt x="4389" y="2212"/>
                  </a:lnTo>
                  <a:lnTo>
                    <a:pt x="3007" y="1037"/>
                  </a:lnTo>
                  <a:lnTo>
                    <a:pt x="2005" y="208"/>
                  </a:lnTo>
                  <a:lnTo>
                    <a:pt x="1763" y="104"/>
                  </a:lnTo>
                  <a:lnTo>
                    <a:pt x="1521" y="35"/>
                  </a:lnTo>
                  <a:lnTo>
                    <a:pt x="1279" y="0"/>
                  </a:lnTo>
                  <a:close/>
                </a:path>
              </a:pathLst>
            </a:custGeom>
            <a:solidFill>
              <a:srgbClr val="EB8C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56" name="Google Shape;2385;p11">
              <a:extLst>
                <a:ext uri="{FF2B5EF4-FFF2-40B4-BE49-F238E27FC236}">
                  <a16:creationId xmlns:a16="http://schemas.microsoft.com/office/drawing/2014/main" id="{A4197215-A1B3-8290-D10D-93599F0C685A}"/>
                </a:ext>
              </a:extLst>
            </p:cNvPr>
            <p:cNvSpPr/>
            <p:nvPr/>
          </p:nvSpPr>
          <p:spPr>
            <a:xfrm>
              <a:off x="5291600" y="4589625"/>
              <a:ext cx="1321800" cy="71725"/>
            </a:xfrm>
            <a:custGeom>
              <a:avLst/>
              <a:gdLst/>
              <a:ahLst/>
              <a:cxnLst/>
              <a:rect l="l" t="t" r="r" b="b"/>
              <a:pathLst>
                <a:path w="52872" h="2869" extrusionOk="0">
                  <a:moveTo>
                    <a:pt x="26021" y="1"/>
                  </a:moveTo>
                  <a:lnTo>
                    <a:pt x="20769" y="35"/>
                  </a:lnTo>
                  <a:lnTo>
                    <a:pt x="15896" y="104"/>
                  </a:lnTo>
                  <a:lnTo>
                    <a:pt x="11473" y="242"/>
                  </a:lnTo>
                  <a:lnTo>
                    <a:pt x="7603" y="415"/>
                  </a:lnTo>
                  <a:lnTo>
                    <a:pt x="5944" y="519"/>
                  </a:lnTo>
                  <a:lnTo>
                    <a:pt x="4423" y="623"/>
                  </a:lnTo>
                  <a:lnTo>
                    <a:pt x="3145" y="761"/>
                  </a:lnTo>
                  <a:lnTo>
                    <a:pt x="2039" y="864"/>
                  </a:lnTo>
                  <a:lnTo>
                    <a:pt x="1141" y="1003"/>
                  </a:lnTo>
                  <a:lnTo>
                    <a:pt x="519" y="1141"/>
                  </a:lnTo>
                  <a:lnTo>
                    <a:pt x="277" y="1210"/>
                  </a:lnTo>
                  <a:lnTo>
                    <a:pt x="138" y="1279"/>
                  </a:lnTo>
                  <a:lnTo>
                    <a:pt x="35" y="1348"/>
                  </a:lnTo>
                  <a:lnTo>
                    <a:pt x="0" y="1452"/>
                  </a:lnTo>
                  <a:lnTo>
                    <a:pt x="35" y="1521"/>
                  </a:lnTo>
                  <a:lnTo>
                    <a:pt x="138" y="1590"/>
                  </a:lnTo>
                  <a:lnTo>
                    <a:pt x="277" y="1659"/>
                  </a:lnTo>
                  <a:lnTo>
                    <a:pt x="519" y="1728"/>
                  </a:lnTo>
                  <a:lnTo>
                    <a:pt x="1141" y="1867"/>
                  </a:lnTo>
                  <a:lnTo>
                    <a:pt x="2039" y="2005"/>
                  </a:lnTo>
                  <a:lnTo>
                    <a:pt x="3145" y="2109"/>
                  </a:lnTo>
                  <a:lnTo>
                    <a:pt x="4423" y="2247"/>
                  </a:lnTo>
                  <a:lnTo>
                    <a:pt x="5944" y="2350"/>
                  </a:lnTo>
                  <a:lnTo>
                    <a:pt x="7603" y="2454"/>
                  </a:lnTo>
                  <a:lnTo>
                    <a:pt x="11473" y="2627"/>
                  </a:lnTo>
                  <a:lnTo>
                    <a:pt x="15896" y="2765"/>
                  </a:lnTo>
                  <a:lnTo>
                    <a:pt x="20769" y="2869"/>
                  </a:lnTo>
                  <a:lnTo>
                    <a:pt x="28682" y="2869"/>
                  </a:lnTo>
                  <a:lnTo>
                    <a:pt x="31308" y="2834"/>
                  </a:lnTo>
                  <a:lnTo>
                    <a:pt x="36284" y="2731"/>
                  </a:lnTo>
                  <a:lnTo>
                    <a:pt x="40846" y="2558"/>
                  </a:lnTo>
                  <a:lnTo>
                    <a:pt x="44854" y="2316"/>
                  </a:lnTo>
                  <a:lnTo>
                    <a:pt x="46582" y="2178"/>
                  </a:lnTo>
                  <a:lnTo>
                    <a:pt x="48172" y="2039"/>
                  </a:lnTo>
                  <a:lnTo>
                    <a:pt x="49554" y="1901"/>
                  </a:lnTo>
                  <a:lnTo>
                    <a:pt x="50694" y="1763"/>
                  </a:lnTo>
                  <a:lnTo>
                    <a:pt x="51627" y="1625"/>
                  </a:lnTo>
                  <a:lnTo>
                    <a:pt x="52319" y="1452"/>
                  </a:lnTo>
                  <a:lnTo>
                    <a:pt x="52560" y="1383"/>
                  </a:lnTo>
                  <a:lnTo>
                    <a:pt x="52733" y="1314"/>
                  </a:lnTo>
                  <a:lnTo>
                    <a:pt x="52837" y="1245"/>
                  </a:lnTo>
                  <a:lnTo>
                    <a:pt x="52871" y="1141"/>
                  </a:lnTo>
                  <a:lnTo>
                    <a:pt x="52837" y="1072"/>
                  </a:lnTo>
                  <a:lnTo>
                    <a:pt x="52733" y="1003"/>
                  </a:lnTo>
                  <a:lnTo>
                    <a:pt x="52560" y="934"/>
                  </a:lnTo>
                  <a:lnTo>
                    <a:pt x="52319" y="864"/>
                  </a:lnTo>
                  <a:lnTo>
                    <a:pt x="51627" y="761"/>
                  </a:lnTo>
                  <a:lnTo>
                    <a:pt x="50694" y="623"/>
                  </a:lnTo>
                  <a:lnTo>
                    <a:pt x="49554" y="519"/>
                  </a:lnTo>
                  <a:lnTo>
                    <a:pt x="48172" y="450"/>
                  </a:lnTo>
                  <a:lnTo>
                    <a:pt x="44854" y="277"/>
                  </a:lnTo>
                  <a:lnTo>
                    <a:pt x="40846" y="139"/>
                  </a:lnTo>
                  <a:lnTo>
                    <a:pt x="36284" y="70"/>
                  </a:lnTo>
                  <a:lnTo>
                    <a:pt x="31308" y="1"/>
                  </a:lnTo>
                  <a:close/>
                </a:path>
              </a:pathLst>
            </a:custGeom>
            <a:solidFill>
              <a:srgbClr val="E6E6E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57" name="Google Shape;2386;p11">
              <a:extLst>
                <a:ext uri="{FF2B5EF4-FFF2-40B4-BE49-F238E27FC236}">
                  <a16:creationId xmlns:a16="http://schemas.microsoft.com/office/drawing/2014/main" id="{E6361C32-BAFA-91A4-175E-40C4CFE70939}"/>
                </a:ext>
              </a:extLst>
            </p:cNvPr>
            <p:cNvSpPr/>
            <p:nvPr/>
          </p:nvSpPr>
          <p:spPr>
            <a:xfrm>
              <a:off x="5291600" y="4589625"/>
              <a:ext cx="1321800" cy="71725"/>
            </a:xfrm>
            <a:custGeom>
              <a:avLst/>
              <a:gdLst/>
              <a:ahLst/>
              <a:cxnLst/>
              <a:rect l="l" t="t" r="r" b="b"/>
              <a:pathLst>
                <a:path w="52872" h="2869" fill="none" extrusionOk="0">
                  <a:moveTo>
                    <a:pt x="26021" y="1"/>
                  </a:moveTo>
                  <a:lnTo>
                    <a:pt x="26021" y="1"/>
                  </a:lnTo>
                  <a:lnTo>
                    <a:pt x="20769" y="35"/>
                  </a:lnTo>
                  <a:lnTo>
                    <a:pt x="15896" y="104"/>
                  </a:lnTo>
                  <a:lnTo>
                    <a:pt x="11473" y="242"/>
                  </a:lnTo>
                  <a:lnTo>
                    <a:pt x="7603" y="415"/>
                  </a:lnTo>
                  <a:lnTo>
                    <a:pt x="5944" y="519"/>
                  </a:lnTo>
                  <a:lnTo>
                    <a:pt x="4423" y="623"/>
                  </a:lnTo>
                  <a:lnTo>
                    <a:pt x="3145" y="761"/>
                  </a:lnTo>
                  <a:lnTo>
                    <a:pt x="2039" y="864"/>
                  </a:lnTo>
                  <a:lnTo>
                    <a:pt x="1141" y="1003"/>
                  </a:lnTo>
                  <a:lnTo>
                    <a:pt x="519" y="1141"/>
                  </a:lnTo>
                  <a:lnTo>
                    <a:pt x="277" y="1210"/>
                  </a:lnTo>
                  <a:lnTo>
                    <a:pt x="138" y="1279"/>
                  </a:lnTo>
                  <a:lnTo>
                    <a:pt x="35" y="1348"/>
                  </a:lnTo>
                  <a:lnTo>
                    <a:pt x="0" y="1452"/>
                  </a:lnTo>
                  <a:lnTo>
                    <a:pt x="0" y="1452"/>
                  </a:lnTo>
                  <a:lnTo>
                    <a:pt x="35" y="1521"/>
                  </a:lnTo>
                  <a:lnTo>
                    <a:pt x="138" y="1590"/>
                  </a:lnTo>
                  <a:lnTo>
                    <a:pt x="277" y="1659"/>
                  </a:lnTo>
                  <a:lnTo>
                    <a:pt x="519" y="1728"/>
                  </a:lnTo>
                  <a:lnTo>
                    <a:pt x="1141" y="1867"/>
                  </a:lnTo>
                  <a:lnTo>
                    <a:pt x="2039" y="2005"/>
                  </a:lnTo>
                  <a:lnTo>
                    <a:pt x="3145" y="2109"/>
                  </a:lnTo>
                  <a:lnTo>
                    <a:pt x="4423" y="2247"/>
                  </a:lnTo>
                  <a:lnTo>
                    <a:pt x="5944" y="2350"/>
                  </a:lnTo>
                  <a:lnTo>
                    <a:pt x="7603" y="2454"/>
                  </a:lnTo>
                  <a:lnTo>
                    <a:pt x="11473" y="2627"/>
                  </a:lnTo>
                  <a:lnTo>
                    <a:pt x="15896" y="2765"/>
                  </a:lnTo>
                  <a:lnTo>
                    <a:pt x="20769" y="2869"/>
                  </a:lnTo>
                  <a:lnTo>
                    <a:pt x="26021" y="2869"/>
                  </a:lnTo>
                  <a:lnTo>
                    <a:pt x="26021" y="2869"/>
                  </a:lnTo>
                  <a:lnTo>
                    <a:pt x="28682" y="2869"/>
                  </a:lnTo>
                  <a:lnTo>
                    <a:pt x="31308" y="2834"/>
                  </a:lnTo>
                  <a:lnTo>
                    <a:pt x="36284" y="2731"/>
                  </a:lnTo>
                  <a:lnTo>
                    <a:pt x="40846" y="2558"/>
                  </a:lnTo>
                  <a:lnTo>
                    <a:pt x="44854" y="2316"/>
                  </a:lnTo>
                  <a:lnTo>
                    <a:pt x="46582" y="2178"/>
                  </a:lnTo>
                  <a:lnTo>
                    <a:pt x="48172" y="2039"/>
                  </a:lnTo>
                  <a:lnTo>
                    <a:pt x="49554" y="1901"/>
                  </a:lnTo>
                  <a:lnTo>
                    <a:pt x="50694" y="1763"/>
                  </a:lnTo>
                  <a:lnTo>
                    <a:pt x="51627" y="1625"/>
                  </a:lnTo>
                  <a:lnTo>
                    <a:pt x="52319" y="1452"/>
                  </a:lnTo>
                  <a:lnTo>
                    <a:pt x="52560" y="1383"/>
                  </a:lnTo>
                  <a:lnTo>
                    <a:pt x="52733" y="1314"/>
                  </a:lnTo>
                  <a:lnTo>
                    <a:pt x="52837" y="1245"/>
                  </a:lnTo>
                  <a:lnTo>
                    <a:pt x="52871" y="1141"/>
                  </a:lnTo>
                  <a:lnTo>
                    <a:pt x="52871" y="1141"/>
                  </a:lnTo>
                  <a:lnTo>
                    <a:pt x="52837" y="1072"/>
                  </a:lnTo>
                  <a:lnTo>
                    <a:pt x="52733" y="1003"/>
                  </a:lnTo>
                  <a:lnTo>
                    <a:pt x="52560" y="934"/>
                  </a:lnTo>
                  <a:lnTo>
                    <a:pt x="52319" y="864"/>
                  </a:lnTo>
                  <a:lnTo>
                    <a:pt x="51627" y="761"/>
                  </a:lnTo>
                  <a:lnTo>
                    <a:pt x="50694" y="623"/>
                  </a:lnTo>
                  <a:lnTo>
                    <a:pt x="49554" y="519"/>
                  </a:lnTo>
                  <a:lnTo>
                    <a:pt x="48172" y="450"/>
                  </a:lnTo>
                  <a:lnTo>
                    <a:pt x="44854" y="277"/>
                  </a:lnTo>
                  <a:lnTo>
                    <a:pt x="40846" y="139"/>
                  </a:lnTo>
                  <a:lnTo>
                    <a:pt x="36284" y="70"/>
                  </a:lnTo>
                  <a:lnTo>
                    <a:pt x="31308" y="1"/>
                  </a:lnTo>
                  <a:lnTo>
                    <a:pt x="26021"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58" name="Google Shape;2387;p11">
              <a:extLst>
                <a:ext uri="{FF2B5EF4-FFF2-40B4-BE49-F238E27FC236}">
                  <a16:creationId xmlns:a16="http://schemas.microsoft.com/office/drawing/2014/main" id="{DA1ECF95-251C-3DA4-CD2B-CAA054523D43}"/>
                </a:ext>
              </a:extLst>
            </p:cNvPr>
            <p:cNvSpPr/>
            <p:nvPr/>
          </p:nvSpPr>
          <p:spPr>
            <a:xfrm>
              <a:off x="5116225" y="1564225"/>
              <a:ext cx="209950" cy="269550"/>
            </a:xfrm>
            <a:custGeom>
              <a:avLst/>
              <a:gdLst/>
              <a:ahLst/>
              <a:cxnLst/>
              <a:rect l="l" t="t" r="r" b="b"/>
              <a:pathLst>
                <a:path w="8398" h="10782" extrusionOk="0">
                  <a:moveTo>
                    <a:pt x="311" y="0"/>
                  </a:moveTo>
                  <a:lnTo>
                    <a:pt x="208" y="35"/>
                  </a:lnTo>
                  <a:lnTo>
                    <a:pt x="138" y="69"/>
                  </a:lnTo>
                  <a:lnTo>
                    <a:pt x="69" y="138"/>
                  </a:lnTo>
                  <a:lnTo>
                    <a:pt x="35" y="207"/>
                  </a:lnTo>
                  <a:lnTo>
                    <a:pt x="0" y="277"/>
                  </a:lnTo>
                  <a:lnTo>
                    <a:pt x="35" y="415"/>
                  </a:lnTo>
                  <a:lnTo>
                    <a:pt x="138" y="622"/>
                  </a:lnTo>
                  <a:lnTo>
                    <a:pt x="311" y="829"/>
                  </a:lnTo>
                  <a:lnTo>
                    <a:pt x="726" y="1348"/>
                  </a:lnTo>
                  <a:lnTo>
                    <a:pt x="1210" y="1901"/>
                  </a:lnTo>
                  <a:lnTo>
                    <a:pt x="1728" y="2488"/>
                  </a:lnTo>
                  <a:lnTo>
                    <a:pt x="1935" y="2799"/>
                  </a:lnTo>
                  <a:lnTo>
                    <a:pt x="2108" y="3076"/>
                  </a:lnTo>
                  <a:lnTo>
                    <a:pt x="2246" y="3352"/>
                  </a:lnTo>
                  <a:lnTo>
                    <a:pt x="2350" y="3628"/>
                  </a:lnTo>
                  <a:lnTo>
                    <a:pt x="2350" y="3870"/>
                  </a:lnTo>
                  <a:lnTo>
                    <a:pt x="2350" y="3974"/>
                  </a:lnTo>
                  <a:lnTo>
                    <a:pt x="2281" y="4078"/>
                  </a:lnTo>
                  <a:lnTo>
                    <a:pt x="2143" y="4285"/>
                  </a:lnTo>
                  <a:lnTo>
                    <a:pt x="1832" y="4596"/>
                  </a:lnTo>
                  <a:lnTo>
                    <a:pt x="1452" y="5011"/>
                  </a:lnTo>
                  <a:lnTo>
                    <a:pt x="1106" y="5495"/>
                  </a:lnTo>
                  <a:lnTo>
                    <a:pt x="933" y="5736"/>
                  </a:lnTo>
                  <a:lnTo>
                    <a:pt x="795" y="5978"/>
                  </a:lnTo>
                  <a:lnTo>
                    <a:pt x="691" y="6220"/>
                  </a:lnTo>
                  <a:lnTo>
                    <a:pt x="657" y="6462"/>
                  </a:lnTo>
                  <a:lnTo>
                    <a:pt x="657" y="6704"/>
                  </a:lnTo>
                  <a:lnTo>
                    <a:pt x="691" y="6946"/>
                  </a:lnTo>
                  <a:lnTo>
                    <a:pt x="830" y="7153"/>
                  </a:lnTo>
                  <a:lnTo>
                    <a:pt x="1037" y="7326"/>
                  </a:lnTo>
                  <a:lnTo>
                    <a:pt x="1210" y="7464"/>
                  </a:lnTo>
                  <a:lnTo>
                    <a:pt x="1383" y="7568"/>
                  </a:lnTo>
                  <a:lnTo>
                    <a:pt x="1728" y="7706"/>
                  </a:lnTo>
                  <a:lnTo>
                    <a:pt x="2074" y="7775"/>
                  </a:lnTo>
                  <a:lnTo>
                    <a:pt x="2385" y="7844"/>
                  </a:lnTo>
                  <a:lnTo>
                    <a:pt x="2696" y="7913"/>
                  </a:lnTo>
                  <a:lnTo>
                    <a:pt x="3041" y="8017"/>
                  </a:lnTo>
                  <a:lnTo>
                    <a:pt x="3179" y="8121"/>
                  </a:lnTo>
                  <a:lnTo>
                    <a:pt x="3352" y="8259"/>
                  </a:lnTo>
                  <a:lnTo>
                    <a:pt x="3525" y="8397"/>
                  </a:lnTo>
                  <a:lnTo>
                    <a:pt x="3663" y="8570"/>
                  </a:lnTo>
                  <a:lnTo>
                    <a:pt x="4320" y="9296"/>
                  </a:lnTo>
                  <a:lnTo>
                    <a:pt x="4873" y="9814"/>
                  </a:lnTo>
                  <a:lnTo>
                    <a:pt x="6013" y="10782"/>
                  </a:lnTo>
                  <a:lnTo>
                    <a:pt x="6428" y="10436"/>
                  </a:lnTo>
                  <a:lnTo>
                    <a:pt x="6842" y="10056"/>
                  </a:lnTo>
                  <a:lnTo>
                    <a:pt x="7292" y="9607"/>
                  </a:lnTo>
                  <a:lnTo>
                    <a:pt x="7741" y="9123"/>
                  </a:lnTo>
                  <a:lnTo>
                    <a:pt x="8121" y="8639"/>
                  </a:lnTo>
                  <a:lnTo>
                    <a:pt x="8259" y="8432"/>
                  </a:lnTo>
                  <a:lnTo>
                    <a:pt x="8328" y="8259"/>
                  </a:lnTo>
                  <a:lnTo>
                    <a:pt x="8397" y="8086"/>
                  </a:lnTo>
                  <a:lnTo>
                    <a:pt x="8363" y="7983"/>
                  </a:lnTo>
                  <a:lnTo>
                    <a:pt x="8086" y="7533"/>
                  </a:lnTo>
                  <a:lnTo>
                    <a:pt x="7672" y="7050"/>
                  </a:lnTo>
                  <a:lnTo>
                    <a:pt x="7153" y="6531"/>
                  </a:lnTo>
                  <a:lnTo>
                    <a:pt x="6428" y="5875"/>
                  </a:lnTo>
                  <a:lnTo>
                    <a:pt x="5806" y="5322"/>
                  </a:lnTo>
                  <a:lnTo>
                    <a:pt x="5218" y="4769"/>
                  </a:lnTo>
                  <a:lnTo>
                    <a:pt x="4665" y="4181"/>
                  </a:lnTo>
                  <a:lnTo>
                    <a:pt x="4043" y="3628"/>
                  </a:lnTo>
                  <a:lnTo>
                    <a:pt x="3698" y="3248"/>
                  </a:lnTo>
                  <a:lnTo>
                    <a:pt x="3179" y="2661"/>
                  </a:lnTo>
                  <a:lnTo>
                    <a:pt x="2627" y="1970"/>
                  </a:lnTo>
                  <a:lnTo>
                    <a:pt x="2039" y="1279"/>
                  </a:lnTo>
                  <a:lnTo>
                    <a:pt x="1452" y="657"/>
                  </a:lnTo>
                  <a:lnTo>
                    <a:pt x="1175" y="415"/>
                  </a:lnTo>
                  <a:lnTo>
                    <a:pt x="899" y="207"/>
                  </a:lnTo>
                  <a:lnTo>
                    <a:pt x="657" y="69"/>
                  </a:lnTo>
                  <a:lnTo>
                    <a:pt x="415" y="0"/>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59" name="Google Shape;2388;p11">
              <a:extLst>
                <a:ext uri="{FF2B5EF4-FFF2-40B4-BE49-F238E27FC236}">
                  <a16:creationId xmlns:a16="http://schemas.microsoft.com/office/drawing/2014/main" id="{7F3A94D8-80FD-9B9C-FFD0-ECC5C0DB365E}"/>
                </a:ext>
              </a:extLst>
            </p:cNvPr>
            <p:cNvSpPr/>
            <p:nvPr/>
          </p:nvSpPr>
          <p:spPr>
            <a:xfrm>
              <a:off x="5966300" y="1826850"/>
              <a:ext cx="175400" cy="295475"/>
            </a:xfrm>
            <a:custGeom>
              <a:avLst/>
              <a:gdLst/>
              <a:ahLst/>
              <a:cxnLst/>
              <a:rect l="l" t="t" r="r" b="b"/>
              <a:pathLst>
                <a:path w="7016" h="11819" extrusionOk="0">
                  <a:moveTo>
                    <a:pt x="2489" y="0"/>
                  </a:moveTo>
                  <a:lnTo>
                    <a:pt x="1176" y="3594"/>
                  </a:lnTo>
                  <a:lnTo>
                    <a:pt x="1279" y="3905"/>
                  </a:lnTo>
                  <a:lnTo>
                    <a:pt x="1314" y="4389"/>
                  </a:lnTo>
                  <a:lnTo>
                    <a:pt x="1348" y="5564"/>
                  </a:lnTo>
                  <a:lnTo>
                    <a:pt x="1348" y="6289"/>
                  </a:lnTo>
                  <a:lnTo>
                    <a:pt x="1279" y="7015"/>
                  </a:lnTo>
                  <a:lnTo>
                    <a:pt x="1210" y="7706"/>
                  </a:lnTo>
                  <a:lnTo>
                    <a:pt x="1107" y="8017"/>
                  </a:lnTo>
                  <a:lnTo>
                    <a:pt x="1037" y="8294"/>
                  </a:lnTo>
                  <a:lnTo>
                    <a:pt x="934" y="8605"/>
                  </a:lnTo>
                  <a:lnTo>
                    <a:pt x="865" y="8950"/>
                  </a:lnTo>
                  <a:lnTo>
                    <a:pt x="761" y="9711"/>
                  </a:lnTo>
                  <a:lnTo>
                    <a:pt x="657" y="10125"/>
                  </a:lnTo>
                  <a:lnTo>
                    <a:pt x="519" y="10540"/>
                  </a:lnTo>
                  <a:lnTo>
                    <a:pt x="346" y="10989"/>
                  </a:lnTo>
                  <a:lnTo>
                    <a:pt x="70" y="11438"/>
                  </a:lnTo>
                  <a:lnTo>
                    <a:pt x="1" y="11577"/>
                  </a:lnTo>
                  <a:lnTo>
                    <a:pt x="1" y="11646"/>
                  </a:lnTo>
                  <a:lnTo>
                    <a:pt x="35" y="11680"/>
                  </a:lnTo>
                  <a:lnTo>
                    <a:pt x="139" y="11749"/>
                  </a:lnTo>
                  <a:lnTo>
                    <a:pt x="312" y="11784"/>
                  </a:lnTo>
                  <a:lnTo>
                    <a:pt x="519" y="11819"/>
                  </a:lnTo>
                  <a:lnTo>
                    <a:pt x="796" y="11819"/>
                  </a:lnTo>
                  <a:lnTo>
                    <a:pt x="1383" y="11715"/>
                  </a:lnTo>
                  <a:lnTo>
                    <a:pt x="2040" y="11611"/>
                  </a:lnTo>
                  <a:lnTo>
                    <a:pt x="2592" y="11473"/>
                  </a:lnTo>
                  <a:lnTo>
                    <a:pt x="3180" y="11335"/>
                  </a:lnTo>
                  <a:lnTo>
                    <a:pt x="7016" y="10263"/>
                  </a:lnTo>
                  <a:lnTo>
                    <a:pt x="6981" y="9918"/>
                  </a:lnTo>
                  <a:lnTo>
                    <a:pt x="6947" y="9538"/>
                  </a:lnTo>
                  <a:lnTo>
                    <a:pt x="6843" y="9123"/>
                  </a:lnTo>
                  <a:lnTo>
                    <a:pt x="6739" y="8674"/>
                  </a:lnTo>
                  <a:lnTo>
                    <a:pt x="6428" y="7706"/>
                  </a:lnTo>
                  <a:lnTo>
                    <a:pt x="6083" y="6704"/>
                  </a:lnTo>
                  <a:lnTo>
                    <a:pt x="5357" y="4804"/>
                  </a:lnTo>
                  <a:lnTo>
                    <a:pt x="5081" y="3974"/>
                  </a:lnTo>
                  <a:lnTo>
                    <a:pt x="4977" y="3594"/>
                  </a:lnTo>
                  <a:lnTo>
                    <a:pt x="4908" y="3283"/>
                  </a:lnTo>
                  <a:lnTo>
                    <a:pt x="4804" y="2972"/>
                  </a:lnTo>
                  <a:lnTo>
                    <a:pt x="4700" y="2661"/>
                  </a:lnTo>
                  <a:lnTo>
                    <a:pt x="4562" y="2350"/>
                  </a:lnTo>
                  <a:lnTo>
                    <a:pt x="4389" y="2039"/>
                  </a:lnTo>
                  <a:lnTo>
                    <a:pt x="4009" y="1486"/>
                  </a:lnTo>
                  <a:lnTo>
                    <a:pt x="3560" y="1002"/>
                  </a:lnTo>
                  <a:lnTo>
                    <a:pt x="3145" y="588"/>
                  </a:lnTo>
                  <a:lnTo>
                    <a:pt x="2800" y="277"/>
                  </a:lnTo>
                  <a:lnTo>
                    <a:pt x="2489" y="0"/>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60" name="Google Shape;2389;p11">
              <a:extLst>
                <a:ext uri="{FF2B5EF4-FFF2-40B4-BE49-F238E27FC236}">
                  <a16:creationId xmlns:a16="http://schemas.microsoft.com/office/drawing/2014/main" id="{41CFC331-28CE-6499-EF07-107314FB0CC8}"/>
                </a:ext>
              </a:extLst>
            </p:cNvPr>
            <p:cNvSpPr/>
            <p:nvPr/>
          </p:nvSpPr>
          <p:spPr>
            <a:xfrm>
              <a:off x="5966300" y="1826850"/>
              <a:ext cx="175400" cy="295475"/>
            </a:xfrm>
            <a:custGeom>
              <a:avLst/>
              <a:gdLst/>
              <a:ahLst/>
              <a:cxnLst/>
              <a:rect l="l" t="t" r="r" b="b"/>
              <a:pathLst>
                <a:path w="7016" h="11819" fill="none" extrusionOk="0">
                  <a:moveTo>
                    <a:pt x="3180" y="11335"/>
                  </a:moveTo>
                  <a:lnTo>
                    <a:pt x="7016" y="10263"/>
                  </a:lnTo>
                  <a:lnTo>
                    <a:pt x="7016" y="10263"/>
                  </a:lnTo>
                  <a:lnTo>
                    <a:pt x="6981" y="9918"/>
                  </a:lnTo>
                  <a:lnTo>
                    <a:pt x="6947" y="9538"/>
                  </a:lnTo>
                  <a:lnTo>
                    <a:pt x="6843" y="9123"/>
                  </a:lnTo>
                  <a:lnTo>
                    <a:pt x="6739" y="8674"/>
                  </a:lnTo>
                  <a:lnTo>
                    <a:pt x="6428" y="7706"/>
                  </a:lnTo>
                  <a:lnTo>
                    <a:pt x="6083" y="6704"/>
                  </a:lnTo>
                  <a:lnTo>
                    <a:pt x="5357" y="4804"/>
                  </a:lnTo>
                  <a:lnTo>
                    <a:pt x="5081" y="3974"/>
                  </a:lnTo>
                  <a:lnTo>
                    <a:pt x="4977" y="3594"/>
                  </a:lnTo>
                  <a:lnTo>
                    <a:pt x="4908" y="3283"/>
                  </a:lnTo>
                  <a:lnTo>
                    <a:pt x="4908" y="3283"/>
                  </a:lnTo>
                  <a:lnTo>
                    <a:pt x="4804" y="2972"/>
                  </a:lnTo>
                  <a:lnTo>
                    <a:pt x="4700" y="2661"/>
                  </a:lnTo>
                  <a:lnTo>
                    <a:pt x="4562" y="2350"/>
                  </a:lnTo>
                  <a:lnTo>
                    <a:pt x="4389" y="2039"/>
                  </a:lnTo>
                  <a:lnTo>
                    <a:pt x="4009" y="1486"/>
                  </a:lnTo>
                  <a:lnTo>
                    <a:pt x="3560" y="1002"/>
                  </a:lnTo>
                  <a:lnTo>
                    <a:pt x="3145" y="588"/>
                  </a:lnTo>
                  <a:lnTo>
                    <a:pt x="2800" y="277"/>
                  </a:lnTo>
                  <a:lnTo>
                    <a:pt x="2489" y="0"/>
                  </a:lnTo>
                  <a:lnTo>
                    <a:pt x="1176" y="3594"/>
                  </a:lnTo>
                  <a:lnTo>
                    <a:pt x="1279" y="3905"/>
                  </a:lnTo>
                  <a:lnTo>
                    <a:pt x="1279" y="3905"/>
                  </a:lnTo>
                  <a:lnTo>
                    <a:pt x="1314" y="4389"/>
                  </a:lnTo>
                  <a:lnTo>
                    <a:pt x="1348" y="5564"/>
                  </a:lnTo>
                  <a:lnTo>
                    <a:pt x="1348" y="6289"/>
                  </a:lnTo>
                  <a:lnTo>
                    <a:pt x="1279" y="7015"/>
                  </a:lnTo>
                  <a:lnTo>
                    <a:pt x="1210" y="7706"/>
                  </a:lnTo>
                  <a:lnTo>
                    <a:pt x="1107" y="8017"/>
                  </a:lnTo>
                  <a:lnTo>
                    <a:pt x="1037" y="8294"/>
                  </a:lnTo>
                  <a:lnTo>
                    <a:pt x="1037" y="8294"/>
                  </a:lnTo>
                  <a:lnTo>
                    <a:pt x="934" y="8605"/>
                  </a:lnTo>
                  <a:lnTo>
                    <a:pt x="865" y="8950"/>
                  </a:lnTo>
                  <a:lnTo>
                    <a:pt x="761" y="9711"/>
                  </a:lnTo>
                  <a:lnTo>
                    <a:pt x="657" y="10125"/>
                  </a:lnTo>
                  <a:lnTo>
                    <a:pt x="519" y="10540"/>
                  </a:lnTo>
                  <a:lnTo>
                    <a:pt x="346" y="10989"/>
                  </a:lnTo>
                  <a:lnTo>
                    <a:pt x="70" y="11438"/>
                  </a:lnTo>
                  <a:lnTo>
                    <a:pt x="70" y="11438"/>
                  </a:lnTo>
                  <a:lnTo>
                    <a:pt x="1" y="11577"/>
                  </a:lnTo>
                  <a:lnTo>
                    <a:pt x="1" y="11646"/>
                  </a:lnTo>
                  <a:lnTo>
                    <a:pt x="35" y="11680"/>
                  </a:lnTo>
                  <a:lnTo>
                    <a:pt x="139" y="11749"/>
                  </a:lnTo>
                  <a:lnTo>
                    <a:pt x="312" y="11784"/>
                  </a:lnTo>
                  <a:lnTo>
                    <a:pt x="519" y="11819"/>
                  </a:lnTo>
                  <a:lnTo>
                    <a:pt x="796" y="11819"/>
                  </a:lnTo>
                  <a:lnTo>
                    <a:pt x="1383" y="11715"/>
                  </a:lnTo>
                  <a:lnTo>
                    <a:pt x="2040" y="11611"/>
                  </a:lnTo>
                  <a:lnTo>
                    <a:pt x="2592" y="11473"/>
                  </a:lnTo>
                  <a:lnTo>
                    <a:pt x="3180" y="11335"/>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61" name="Google Shape;2390;p11">
              <a:extLst>
                <a:ext uri="{FF2B5EF4-FFF2-40B4-BE49-F238E27FC236}">
                  <a16:creationId xmlns:a16="http://schemas.microsoft.com/office/drawing/2014/main" id="{535628FD-02E8-EF39-96B4-6988B18E710B}"/>
                </a:ext>
              </a:extLst>
            </p:cNvPr>
            <p:cNvSpPr/>
            <p:nvPr/>
          </p:nvSpPr>
          <p:spPr>
            <a:xfrm>
              <a:off x="5999125" y="1940025"/>
              <a:ext cx="900" cy="25925"/>
            </a:xfrm>
            <a:custGeom>
              <a:avLst/>
              <a:gdLst/>
              <a:ahLst/>
              <a:cxnLst/>
              <a:rect l="l" t="t" r="r" b="b"/>
              <a:pathLst>
                <a:path w="36" h="1037" extrusionOk="0">
                  <a:moveTo>
                    <a:pt x="1" y="0"/>
                  </a:moveTo>
                  <a:lnTo>
                    <a:pt x="1" y="35"/>
                  </a:lnTo>
                  <a:lnTo>
                    <a:pt x="1" y="518"/>
                  </a:lnTo>
                  <a:lnTo>
                    <a:pt x="35" y="1037"/>
                  </a:lnTo>
                  <a:lnTo>
                    <a:pt x="35" y="760"/>
                  </a:lnTo>
                  <a:lnTo>
                    <a:pt x="1" y="0"/>
                  </a:lnTo>
                  <a:close/>
                </a:path>
              </a:pathLst>
            </a:custGeom>
            <a:solidFill>
              <a:srgbClr val="DFDFE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62" name="Google Shape;2391;p11">
              <a:extLst>
                <a:ext uri="{FF2B5EF4-FFF2-40B4-BE49-F238E27FC236}">
                  <a16:creationId xmlns:a16="http://schemas.microsoft.com/office/drawing/2014/main" id="{D2DEFF39-48F4-3661-5275-F7818F3AEB46}"/>
                </a:ext>
              </a:extLst>
            </p:cNvPr>
            <p:cNvSpPr/>
            <p:nvPr/>
          </p:nvSpPr>
          <p:spPr>
            <a:xfrm>
              <a:off x="5996550" y="2017775"/>
              <a:ext cx="25" cy="25"/>
            </a:xfrm>
            <a:custGeom>
              <a:avLst/>
              <a:gdLst/>
              <a:ahLst/>
              <a:cxnLst/>
              <a:rect l="l" t="t" r="r" b="b"/>
              <a:pathLst>
                <a:path w="1" h="1" fill="none" extrusionOk="0">
                  <a:moveTo>
                    <a:pt x="0" y="0"/>
                  </a:moveTo>
                  <a:lnTo>
                    <a:pt x="0" y="0"/>
                  </a:lnTo>
                  <a:lnTo>
                    <a:pt x="0" y="0"/>
                  </a:lnTo>
                  <a:lnTo>
                    <a:pt x="0" y="0"/>
                  </a:lnTo>
                  <a:lnTo>
                    <a:pt x="0" y="0"/>
                  </a:lnTo>
                  <a:lnTo>
                    <a:pt x="0"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63" name="Google Shape;2392;p11">
              <a:extLst>
                <a:ext uri="{FF2B5EF4-FFF2-40B4-BE49-F238E27FC236}">
                  <a16:creationId xmlns:a16="http://schemas.microsoft.com/office/drawing/2014/main" id="{A2B672BB-C4D7-125F-16E4-DC54BF11BA1A}"/>
                </a:ext>
              </a:extLst>
            </p:cNvPr>
            <p:cNvSpPr/>
            <p:nvPr/>
          </p:nvSpPr>
          <p:spPr>
            <a:xfrm>
              <a:off x="5999125" y="1940025"/>
              <a:ext cx="900" cy="40625"/>
            </a:xfrm>
            <a:custGeom>
              <a:avLst/>
              <a:gdLst/>
              <a:ahLst/>
              <a:cxnLst/>
              <a:rect l="l" t="t" r="r" b="b"/>
              <a:pathLst>
                <a:path w="36" h="1625" fill="none" extrusionOk="0">
                  <a:moveTo>
                    <a:pt x="1" y="0"/>
                  </a:moveTo>
                  <a:lnTo>
                    <a:pt x="1" y="35"/>
                  </a:lnTo>
                  <a:lnTo>
                    <a:pt x="1" y="35"/>
                  </a:lnTo>
                  <a:lnTo>
                    <a:pt x="1" y="518"/>
                  </a:lnTo>
                  <a:lnTo>
                    <a:pt x="35" y="1037"/>
                  </a:lnTo>
                  <a:lnTo>
                    <a:pt x="35" y="1624"/>
                  </a:lnTo>
                  <a:lnTo>
                    <a:pt x="35" y="1624"/>
                  </a:lnTo>
                  <a:lnTo>
                    <a:pt x="35" y="760"/>
                  </a:lnTo>
                  <a:lnTo>
                    <a:pt x="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64" name="Google Shape;2393;p11">
              <a:extLst>
                <a:ext uri="{FF2B5EF4-FFF2-40B4-BE49-F238E27FC236}">
                  <a16:creationId xmlns:a16="http://schemas.microsoft.com/office/drawing/2014/main" id="{451A939A-353A-9B50-B969-F8DB605104B5}"/>
                </a:ext>
              </a:extLst>
            </p:cNvPr>
            <p:cNvSpPr/>
            <p:nvPr/>
          </p:nvSpPr>
          <p:spPr>
            <a:xfrm>
              <a:off x="5996550" y="1925325"/>
              <a:ext cx="79500" cy="98525"/>
            </a:xfrm>
            <a:custGeom>
              <a:avLst/>
              <a:gdLst/>
              <a:ahLst/>
              <a:cxnLst/>
              <a:rect l="l" t="t" r="r" b="b"/>
              <a:pathLst>
                <a:path w="3180" h="3941" extrusionOk="0">
                  <a:moveTo>
                    <a:pt x="1313" y="1"/>
                  </a:moveTo>
                  <a:lnTo>
                    <a:pt x="104" y="588"/>
                  </a:lnTo>
                  <a:lnTo>
                    <a:pt x="138" y="1348"/>
                  </a:lnTo>
                  <a:lnTo>
                    <a:pt x="138" y="2212"/>
                  </a:lnTo>
                  <a:lnTo>
                    <a:pt x="104" y="2973"/>
                  </a:lnTo>
                  <a:lnTo>
                    <a:pt x="69" y="3353"/>
                  </a:lnTo>
                  <a:lnTo>
                    <a:pt x="0" y="3698"/>
                  </a:lnTo>
                  <a:lnTo>
                    <a:pt x="277" y="3802"/>
                  </a:lnTo>
                  <a:lnTo>
                    <a:pt x="553" y="3871"/>
                  </a:lnTo>
                  <a:lnTo>
                    <a:pt x="830" y="3940"/>
                  </a:lnTo>
                  <a:lnTo>
                    <a:pt x="1071" y="3940"/>
                  </a:lnTo>
                  <a:lnTo>
                    <a:pt x="1382" y="3906"/>
                  </a:lnTo>
                  <a:lnTo>
                    <a:pt x="1659" y="3871"/>
                  </a:lnTo>
                  <a:lnTo>
                    <a:pt x="1935" y="3767"/>
                  </a:lnTo>
                  <a:lnTo>
                    <a:pt x="2143" y="3629"/>
                  </a:lnTo>
                  <a:lnTo>
                    <a:pt x="2385" y="3456"/>
                  </a:lnTo>
                  <a:lnTo>
                    <a:pt x="2557" y="3284"/>
                  </a:lnTo>
                  <a:lnTo>
                    <a:pt x="2730" y="3076"/>
                  </a:lnTo>
                  <a:lnTo>
                    <a:pt x="2868" y="2869"/>
                  </a:lnTo>
                  <a:lnTo>
                    <a:pt x="2972" y="2661"/>
                  </a:lnTo>
                  <a:lnTo>
                    <a:pt x="3076" y="2454"/>
                  </a:lnTo>
                  <a:lnTo>
                    <a:pt x="3145" y="2247"/>
                  </a:lnTo>
                  <a:lnTo>
                    <a:pt x="3179" y="2039"/>
                  </a:lnTo>
                  <a:lnTo>
                    <a:pt x="3179" y="1832"/>
                  </a:lnTo>
                  <a:lnTo>
                    <a:pt x="3179" y="1659"/>
                  </a:lnTo>
                  <a:lnTo>
                    <a:pt x="3110" y="1521"/>
                  </a:lnTo>
                  <a:lnTo>
                    <a:pt x="3041" y="1383"/>
                  </a:lnTo>
                  <a:lnTo>
                    <a:pt x="2626" y="1003"/>
                  </a:lnTo>
                  <a:lnTo>
                    <a:pt x="2039" y="554"/>
                  </a:lnTo>
                  <a:lnTo>
                    <a:pt x="1313" y="1"/>
                  </a:lnTo>
                  <a:close/>
                </a:path>
              </a:pathLst>
            </a:custGeom>
            <a:solidFill>
              <a:srgbClr val="D29A9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65" name="Google Shape;2394;p11">
              <a:extLst>
                <a:ext uri="{FF2B5EF4-FFF2-40B4-BE49-F238E27FC236}">
                  <a16:creationId xmlns:a16="http://schemas.microsoft.com/office/drawing/2014/main" id="{775BFCC8-2FB2-5F41-2D3B-1953F49B562E}"/>
                </a:ext>
              </a:extLst>
            </p:cNvPr>
            <p:cNvSpPr/>
            <p:nvPr/>
          </p:nvSpPr>
          <p:spPr>
            <a:xfrm>
              <a:off x="5996550" y="1925325"/>
              <a:ext cx="79500" cy="98525"/>
            </a:xfrm>
            <a:custGeom>
              <a:avLst/>
              <a:gdLst/>
              <a:ahLst/>
              <a:cxnLst/>
              <a:rect l="l" t="t" r="r" b="b"/>
              <a:pathLst>
                <a:path w="3180" h="3941" fill="none" extrusionOk="0">
                  <a:moveTo>
                    <a:pt x="1313" y="1"/>
                  </a:moveTo>
                  <a:lnTo>
                    <a:pt x="104" y="588"/>
                  </a:lnTo>
                  <a:lnTo>
                    <a:pt x="104" y="588"/>
                  </a:lnTo>
                  <a:lnTo>
                    <a:pt x="138" y="1348"/>
                  </a:lnTo>
                  <a:lnTo>
                    <a:pt x="138" y="2212"/>
                  </a:lnTo>
                  <a:lnTo>
                    <a:pt x="138" y="2212"/>
                  </a:lnTo>
                  <a:lnTo>
                    <a:pt x="104" y="2973"/>
                  </a:lnTo>
                  <a:lnTo>
                    <a:pt x="69" y="3353"/>
                  </a:lnTo>
                  <a:lnTo>
                    <a:pt x="0" y="3698"/>
                  </a:lnTo>
                  <a:lnTo>
                    <a:pt x="0" y="3698"/>
                  </a:lnTo>
                  <a:lnTo>
                    <a:pt x="0" y="3698"/>
                  </a:lnTo>
                  <a:lnTo>
                    <a:pt x="0" y="3698"/>
                  </a:lnTo>
                  <a:lnTo>
                    <a:pt x="277" y="3802"/>
                  </a:lnTo>
                  <a:lnTo>
                    <a:pt x="553" y="3871"/>
                  </a:lnTo>
                  <a:lnTo>
                    <a:pt x="830" y="3940"/>
                  </a:lnTo>
                  <a:lnTo>
                    <a:pt x="1071" y="3940"/>
                  </a:lnTo>
                  <a:lnTo>
                    <a:pt x="1071" y="3940"/>
                  </a:lnTo>
                  <a:lnTo>
                    <a:pt x="1382" y="3906"/>
                  </a:lnTo>
                  <a:lnTo>
                    <a:pt x="1659" y="3871"/>
                  </a:lnTo>
                  <a:lnTo>
                    <a:pt x="1935" y="3767"/>
                  </a:lnTo>
                  <a:lnTo>
                    <a:pt x="2143" y="3629"/>
                  </a:lnTo>
                  <a:lnTo>
                    <a:pt x="2385" y="3456"/>
                  </a:lnTo>
                  <a:lnTo>
                    <a:pt x="2557" y="3284"/>
                  </a:lnTo>
                  <a:lnTo>
                    <a:pt x="2730" y="3076"/>
                  </a:lnTo>
                  <a:lnTo>
                    <a:pt x="2868" y="2869"/>
                  </a:lnTo>
                  <a:lnTo>
                    <a:pt x="2972" y="2661"/>
                  </a:lnTo>
                  <a:lnTo>
                    <a:pt x="3076" y="2454"/>
                  </a:lnTo>
                  <a:lnTo>
                    <a:pt x="3145" y="2247"/>
                  </a:lnTo>
                  <a:lnTo>
                    <a:pt x="3179" y="2039"/>
                  </a:lnTo>
                  <a:lnTo>
                    <a:pt x="3179" y="1832"/>
                  </a:lnTo>
                  <a:lnTo>
                    <a:pt x="3179" y="1659"/>
                  </a:lnTo>
                  <a:lnTo>
                    <a:pt x="3110" y="1521"/>
                  </a:lnTo>
                  <a:lnTo>
                    <a:pt x="3041" y="1383"/>
                  </a:lnTo>
                  <a:lnTo>
                    <a:pt x="3041" y="1383"/>
                  </a:lnTo>
                  <a:lnTo>
                    <a:pt x="2626" y="1003"/>
                  </a:lnTo>
                  <a:lnTo>
                    <a:pt x="2039" y="554"/>
                  </a:lnTo>
                  <a:lnTo>
                    <a:pt x="1313"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66" name="Google Shape;2395;p11">
              <a:extLst>
                <a:ext uri="{FF2B5EF4-FFF2-40B4-BE49-F238E27FC236}">
                  <a16:creationId xmlns:a16="http://schemas.microsoft.com/office/drawing/2014/main" id="{86579C24-E94F-0FF4-39EB-CB59544F43E4}"/>
                </a:ext>
              </a:extLst>
            </p:cNvPr>
            <p:cNvSpPr/>
            <p:nvPr/>
          </p:nvSpPr>
          <p:spPr>
            <a:xfrm>
              <a:off x="5921375" y="1789700"/>
              <a:ext cx="179725" cy="175400"/>
            </a:xfrm>
            <a:custGeom>
              <a:avLst/>
              <a:gdLst/>
              <a:ahLst/>
              <a:cxnLst/>
              <a:rect l="l" t="t" r="r" b="b"/>
              <a:pathLst>
                <a:path w="7189" h="7016" extrusionOk="0">
                  <a:moveTo>
                    <a:pt x="2040" y="0"/>
                  </a:moveTo>
                  <a:lnTo>
                    <a:pt x="1832" y="553"/>
                  </a:lnTo>
                  <a:lnTo>
                    <a:pt x="1590" y="1037"/>
                  </a:lnTo>
                  <a:lnTo>
                    <a:pt x="1348" y="1452"/>
                  </a:lnTo>
                  <a:lnTo>
                    <a:pt x="1141" y="1832"/>
                  </a:lnTo>
                  <a:lnTo>
                    <a:pt x="726" y="2419"/>
                  </a:lnTo>
                  <a:lnTo>
                    <a:pt x="415" y="2868"/>
                  </a:lnTo>
                  <a:lnTo>
                    <a:pt x="208" y="3145"/>
                  </a:lnTo>
                  <a:lnTo>
                    <a:pt x="139" y="3283"/>
                  </a:lnTo>
                  <a:lnTo>
                    <a:pt x="104" y="3387"/>
                  </a:lnTo>
                  <a:lnTo>
                    <a:pt x="139" y="3456"/>
                  </a:lnTo>
                  <a:lnTo>
                    <a:pt x="208" y="3560"/>
                  </a:lnTo>
                  <a:lnTo>
                    <a:pt x="312" y="3629"/>
                  </a:lnTo>
                  <a:lnTo>
                    <a:pt x="485" y="3698"/>
                  </a:lnTo>
                  <a:lnTo>
                    <a:pt x="623" y="3801"/>
                  </a:lnTo>
                  <a:lnTo>
                    <a:pt x="692" y="3905"/>
                  </a:lnTo>
                  <a:lnTo>
                    <a:pt x="692" y="4078"/>
                  </a:lnTo>
                  <a:lnTo>
                    <a:pt x="692" y="4251"/>
                  </a:lnTo>
                  <a:lnTo>
                    <a:pt x="554" y="4700"/>
                  </a:lnTo>
                  <a:lnTo>
                    <a:pt x="346" y="5184"/>
                  </a:lnTo>
                  <a:lnTo>
                    <a:pt x="139" y="5668"/>
                  </a:lnTo>
                  <a:lnTo>
                    <a:pt x="70" y="5909"/>
                  </a:lnTo>
                  <a:lnTo>
                    <a:pt x="1" y="6117"/>
                  </a:lnTo>
                  <a:lnTo>
                    <a:pt x="1" y="6290"/>
                  </a:lnTo>
                  <a:lnTo>
                    <a:pt x="35" y="6462"/>
                  </a:lnTo>
                  <a:lnTo>
                    <a:pt x="104" y="6566"/>
                  </a:lnTo>
                  <a:lnTo>
                    <a:pt x="243" y="6670"/>
                  </a:lnTo>
                  <a:lnTo>
                    <a:pt x="623" y="6773"/>
                  </a:lnTo>
                  <a:lnTo>
                    <a:pt x="1037" y="6877"/>
                  </a:lnTo>
                  <a:lnTo>
                    <a:pt x="1487" y="6946"/>
                  </a:lnTo>
                  <a:lnTo>
                    <a:pt x="1901" y="6981"/>
                  </a:lnTo>
                  <a:lnTo>
                    <a:pt x="2316" y="7015"/>
                  </a:lnTo>
                  <a:lnTo>
                    <a:pt x="2731" y="6981"/>
                  </a:lnTo>
                  <a:lnTo>
                    <a:pt x="3145" y="6946"/>
                  </a:lnTo>
                  <a:lnTo>
                    <a:pt x="3526" y="6877"/>
                  </a:lnTo>
                  <a:lnTo>
                    <a:pt x="3906" y="6808"/>
                  </a:lnTo>
                  <a:lnTo>
                    <a:pt x="4251" y="6704"/>
                  </a:lnTo>
                  <a:lnTo>
                    <a:pt x="4562" y="6566"/>
                  </a:lnTo>
                  <a:lnTo>
                    <a:pt x="4873" y="6428"/>
                  </a:lnTo>
                  <a:lnTo>
                    <a:pt x="5115" y="6290"/>
                  </a:lnTo>
                  <a:lnTo>
                    <a:pt x="5357" y="6117"/>
                  </a:lnTo>
                  <a:lnTo>
                    <a:pt x="5530" y="5944"/>
                  </a:lnTo>
                  <a:lnTo>
                    <a:pt x="5668" y="5771"/>
                  </a:lnTo>
                  <a:lnTo>
                    <a:pt x="5944" y="5322"/>
                  </a:lnTo>
                  <a:lnTo>
                    <a:pt x="6186" y="4700"/>
                  </a:lnTo>
                  <a:lnTo>
                    <a:pt x="6428" y="4043"/>
                  </a:lnTo>
                  <a:lnTo>
                    <a:pt x="6670" y="3352"/>
                  </a:lnTo>
                  <a:lnTo>
                    <a:pt x="7050" y="2177"/>
                  </a:lnTo>
                  <a:lnTo>
                    <a:pt x="7189" y="1694"/>
                  </a:lnTo>
                  <a:lnTo>
                    <a:pt x="2040" y="0"/>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67" name="Google Shape;2396;p11">
              <a:extLst>
                <a:ext uri="{FF2B5EF4-FFF2-40B4-BE49-F238E27FC236}">
                  <a16:creationId xmlns:a16="http://schemas.microsoft.com/office/drawing/2014/main" id="{84FF7BCC-7070-1441-12CE-A9BCFA30B83B}"/>
                </a:ext>
              </a:extLst>
            </p:cNvPr>
            <p:cNvSpPr/>
            <p:nvPr/>
          </p:nvSpPr>
          <p:spPr>
            <a:xfrm>
              <a:off x="5951625" y="1728350"/>
              <a:ext cx="200450" cy="213425"/>
            </a:xfrm>
            <a:custGeom>
              <a:avLst/>
              <a:gdLst/>
              <a:ahLst/>
              <a:cxnLst/>
              <a:rect l="l" t="t" r="r" b="b"/>
              <a:pathLst>
                <a:path w="8018" h="8537" extrusionOk="0">
                  <a:moveTo>
                    <a:pt x="933" y="1"/>
                  </a:moveTo>
                  <a:lnTo>
                    <a:pt x="761" y="35"/>
                  </a:lnTo>
                  <a:lnTo>
                    <a:pt x="622" y="104"/>
                  </a:lnTo>
                  <a:lnTo>
                    <a:pt x="484" y="208"/>
                  </a:lnTo>
                  <a:lnTo>
                    <a:pt x="346" y="346"/>
                  </a:lnTo>
                  <a:lnTo>
                    <a:pt x="242" y="519"/>
                  </a:lnTo>
                  <a:lnTo>
                    <a:pt x="138" y="726"/>
                  </a:lnTo>
                  <a:lnTo>
                    <a:pt x="35" y="1003"/>
                  </a:lnTo>
                  <a:lnTo>
                    <a:pt x="0" y="1210"/>
                  </a:lnTo>
                  <a:lnTo>
                    <a:pt x="0" y="1383"/>
                  </a:lnTo>
                  <a:lnTo>
                    <a:pt x="35" y="1556"/>
                  </a:lnTo>
                  <a:lnTo>
                    <a:pt x="69" y="1694"/>
                  </a:lnTo>
                  <a:lnTo>
                    <a:pt x="138" y="1832"/>
                  </a:lnTo>
                  <a:lnTo>
                    <a:pt x="208" y="1971"/>
                  </a:lnTo>
                  <a:lnTo>
                    <a:pt x="415" y="2212"/>
                  </a:lnTo>
                  <a:lnTo>
                    <a:pt x="657" y="2420"/>
                  </a:lnTo>
                  <a:lnTo>
                    <a:pt x="968" y="2593"/>
                  </a:lnTo>
                  <a:lnTo>
                    <a:pt x="1590" y="2938"/>
                  </a:lnTo>
                  <a:lnTo>
                    <a:pt x="1728" y="3007"/>
                  </a:lnTo>
                  <a:lnTo>
                    <a:pt x="1832" y="3111"/>
                  </a:lnTo>
                  <a:lnTo>
                    <a:pt x="1866" y="3180"/>
                  </a:lnTo>
                  <a:lnTo>
                    <a:pt x="1901" y="3249"/>
                  </a:lnTo>
                  <a:lnTo>
                    <a:pt x="1935" y="3353"/>
                  </a:lnTo>
                  <a:lnTo>
                    <a:pt x="1901" y="3422"/>
                  </a:lnTo>
                  <a:lnTo>
                    <a:pt x="1832" y="3595"/>
                  </a:lnTo>
                  <a:lnTo>
                    <a:pt x="1763" y="3733"/>
                  </a:lnTo>
                  <a:lnTo>
                    <a:pt x="1694" y="3906"/>
                  </a:lnTo>
                  <a:lnTo>
                    <a:pt x="1694" y="3975"/>
                  </a:lnTo>
                  <a:lnTo>
                    <a:pt x="1694" y="4044"/>
                  </a:lnTo>
                  <a:lnTo>
                    <a:pt x="1728" y="4113"/>
                  </a:lnTo>
                  <a:lnTo>
                    <a:pt x="1763" y="4182"/>
                  </a:lnTo>
                  <a:lnTo>
                    <a:pt x="1901" y="4320"/>
                  </a:lnTo>
                  <a:lnTo>
                    <a:pt x="2039" y="4389"/>
                  </a:lnTo>
                  <a:lnTo>
                    <a:pt x="2143" y="4459"/>
                  </a:lnTo>
                  <a:lnTo>
                    <a:pt x="2246" y="4493"/>
                  </a:lnTo>
                  <a:lnTo>
                    <a:pt x="2523" y="4528"/>
                  </a:lnTo>
                  <a:lnTo>
                    <a:pt x="2972" y="4562"/>
                  </a:lnTo>
                  <a:lnTo>
                    <a:pt x="3179" y="4631"/>
                  </a:lnTo>
                  <a:lnTo>
                    <a:pt x="3387" y="4700"/>
                  </a:lnTo>
                  <a:lnTo>
                    <a:pt x="3525" y="4804"/>
                  </a:lnTo>
                  <a:lnTo>
                    <a:pt x="3629" y="4942"/>
                  </a:lnTo>
                  <a:lnTo>
                    <a:pt x="3629" y="5011"/>
                  </a:lnTo>
                  <a:lnTo>
                    <a:pt x="3629" y="5115"/>
                  </a:lnTo>
                  <a:lnTo>
                    <a:pt x="3560" y="5288"/>
                  </a:lnTo>
                  <a:lnTo>
                    <a:pt x="3387" y="5530"/>
                  </a:lnTo>
                  <a:lnTo>
                    <a:pt x="3076" y="5806"/>
                  </a:lnTo>
                  <a:lnTo>
                    <a:pt x="2938" y="5944"/>
                  </a:lnTo>
                  <a:lnTo>
                    <a:pt x="2799" y="6083"/>
                  </a:lnTo>
                  <a:lnTo>
                    <a:pt x="2730" y="6186"/>
                  </a:lnTo>
                  <a:lnTo>
                    <a:pt x="2696" y="6290"/>
                  </a:lnTo>
                  <a:lnTo>
                    <a:pt x="2696" y="6394"/>
                  </a:lnTo>
                  <a:lnTo>
                    <a:pt x="2696" y="6497"/>
                  </a:lnTo>
                  <a:lnTo>
                    <a:pt x="2765" y="6567"/>
                  </a:lnTo>
                  <a:lnTo>
                    <a:pt x="2834" y="6601"/>
                  </a:lnTo>
                  <a:lnTo>
                    <a:pt x="3007" y="6670"/>
                  </a:lnTo>
                  <a:lnTo>
                    <a:pt x="3283" y="6705"/>
                  </a:lnTo>
                  <a:lnTo>
                    <a:pt x="3525" y="6636"/>
                  </a:lnTo>
                  <a:lnTo>
                    <a:pt x="3801" y="6567"/>
                  </a:lnTo>
                  <a:lnTo>
                    <a:pt x="4043" y="6428"/>
                  </a:lnTo>
                  <a:lnTo>
                    <a:pt x="4216" y="6290"/>
                  </a:lnTo>
                  <a:lnTo>
                    <a:pt x="4389" y="6186"/>
                  </a:lnTo>
                  <a:lnTo>
                    <a:pt x="4562" y="6117"/>
                  </a:lnTo>
                  <a:lnTo>
                    <a:pt x="4700" y="6083"/>
                  </a:lnTo>
                  <a:lnTo>
                    <a:pt x="4838" y="6083"/>
                  </a:lnTo>
                  <a:lnTo>
                    <a:pt x="4976" y="6186"/>
                  </a:lnTo>
                  <a:lnTo>
                    <a:pt x="5149" y="6394"/>
                  </a:lnTo>
                  <a:lnTo>
                    <a:pt x="5184" y="6497"/>
                  </a:lnTo>
                  <a:lnTo>
                    <a:pt x="5184" y="6601"/>
                  </a:lnTo>
                  <a:lnTo>
                    <a:pt x="5149" y="6843"/>
                  </a:lnTo>
                  <a:lnTo>
                    <a:pt x="5046" y="7119"/>
                  </a:lnTo>
                  <a:lnTo>
                    <a:pt x="4907" y="7396"/>
                  </a:lnTo>
                  <a:lnTo>
                    <a:pt x="4804" y="7707"/>
                  </a:lnTo>
                  <a:lnTo>
                    <a:pt x="4700" y="7983"/>
                  </a:lnTo>
                  <a:lnTo>
                    <a:pt x="4631" y="8260"/>
                  </a:lnTo>
                  <a:lnTo>
                    <a:pt x="4665" y="8363"/>
                  </a:lnTo>
                  <a:lnTo>
                    <a:pt x="4700" y="8467"/>
                  </a:lnTo>
                  <a:lnTo>
                    <a:pt x="4700" y="8502"/>
                  </a:lnTo>
                  <a:lnTo>
                    <a:pt x="4769" y="8536"/>
                  </a:lnTo>
                  <a:lnTo>
                    <a:pt x="4907" y="8536"/>
                  </a:lnTo>
                  <a:lnTo>
                    <a:pt x="5115" y="8502"/>
                  </a:lnTo>
                  <a:lnTo>
                    <a:pt x="5391" y="8433"/>
                  </a:lnTo>
                  <a:lnTo>
                    <a:pt x="5668" y="8329"/>
                  </a:lnTo>
                  <a:lnTo>
                    <a:pt x="5979" y="8156"/>
                  </a:lnTo>
                  <a:lnTo>
                    <a:pt x="6324" y="7983"/>
                  </a:lnTo>
                  <a:lnTo>
                    <a:pt x="6635" y="7776"/>
                  </a:lnTo>
                  <a:lnTo>
                    <a:pt x="6981" y="7534"/>
                  </a:lnTo>
                  <a:lnTo>
                    <a:pt x="7257" y="7292"/>
                  </a:lnTo>
                  <a:lnTo>
                    <a:pt x="7499" y="7016"/>
                  </a:lnTo>
                  <a:lnTo>
                    <a:pt x="7706" y="6705"/>
                  </a:lnTo>
                  <a:lnTo>
                    <a:pt x="7879" y="6394"/>
                  </a:lnTo>
                  <a:lnTo>
                    <a:pt x="7948" y="6117"/>
                  </a:lnTo>
                  <a:lnTo>
                    <a:pt x="7948" y="5944"/>
                  </a:lnTo>
                  <a:lnTo>
                    <a:pt x="7948" y="5772"/>
                  </a:lnTo>
                  <a:lnTo>
                    <a:pt x="7914" y="5633"/>
                  </a:lnTo>
                  <a:lnTo>
                    <a:pt x="7845" y="5461"/>
                  </a:lnTo>
                  <a:lnTo>
                    <a:pt x="7741" y="5219"/>
                  </a:lnTo>
                  <a:lnTo>
                    <a:pt x="7672" y="4942"/>
                  </a:lnTo>
                  <a:lnTo>
                    <a:pt x="7637" y="4700"/>
                  </a:lnTo>
                  <a:lnTo>
                    <a:pt x="7672" y="4459"/>
                  </a:lnTo>
                  <a:lnTo>
                    <a:pt x="7741" y="4009"/>
                  </a:lnTo>
                  <a:lnTo>
                    <a:pt x="7845" y="3560"/>
                  </a:lnTo>
                  <a:lnTo>
                    <a:pt x="7983" y="3145"/>
                  </a:lnTo>
                  <a:lnTo>
                    <a:pt x="8017" y="2904"/>
                  </a:lnTo>
                  <a:lnTo>
                    <a:pt x="8017" y="2696"/>
                  </a:lnTo>
                  <a:lnTo>
                    <a:pt x="7983" y="2454"/>
                  </a:lnTo>
                  <a:lnTo>
                    <a:pt x="7948" y="2212"/>
                  </a:lnTo>
                  <a:lnTo>
                    <a:pt x="7845" y="1936"/>
                  </a:lnTo>
                  <a:lnTo>
                    <a:pt x="7706" y="1694"/>
                  </a:lnTo>
                  <a:lnTo>
                    <a:pt x="7603" y="1556"/>
                  </a:lnTo>
                  <a:lnTo>
                    <a:pt x="7499" y="1452"/>
                  </a:lnTo>
                  <a:lnTo>
                    <a:pt x="7361" y="1348"/>
                  </a:lnTo>
                  <a:lnTo>
                    <a:pt x="7223" y="1314"/>
                  </a:lnTo>
                  <a:lnTo>
                    <a:pt x="6946" y="1245"/>
                  </a:lnTo>
                  <a:lnTo>
                    <a:pt x="6635" y="1210"/>
                  </a:lnTo>
                  <a:lnTo>
                    <a:pt x="5840" y="1210"/>
                  </a:lnTo>
                  <a:lnTo>
                    <a:pt x="5668" y="1176"/>
                  </a:lnTo>
                  <a:lnTo>
                    <a:pt x="5460" y="1072"/>
                  </a:lnTo>
                  <a:lnTo>
                    <a:pt x="5287" y="934"/>
                  </a:lnTo>
                  <a:lnTo>
                    <a:pt x="5184" y="796"/>
                  </a:lnTo>
                  <a:lnTo>
                    <a:pt x="5080" y="623"/>
                  </a:lnTo>
                  <a:lnTo>
                    <a:pt x="4976" y="485"/>
                  </a:lnTo>
                  <a:lnTo>
                    <a:pt x="4873" y="346"/>
                  </a:lnTo>
                  <a:lnTo>
                    <a:pt x="4665" y="208"/>
                  </a:lnTo>
                  <a:lnTo>
                    <a:pt x="4423" y="104"/>
                  </a:lnTo>
                  <a:lnTo>
                    <a:pt x="4251" y="35"/>
                  </a:lnTo>
                  <a:lnTo>
                    <a:pt x="4078" y="1"/>
                  </a:lnTo>
                  <a:lnTo>
                    <a:pt x="3905" y="1"/>
                  </a:lnTo>
                  <a:lnTo>
                    <a:pt x="3732" y="35"/>
                  </a:lnTo>
                  <a:lnTo>
                    <a:pt x="3456" y="139"/>
                  </a:lnTo>
                  <a:lnTo>
                    <a:pt x="3214" y="277"/>
                  </a:lnTo>
                  <a:lnTo>
                    <a:pt x="2972" y="415"/>
                  </a:lnTo>
                  <a:lnTo>
                    <a:pt x="2765" y="519"/>
                  </a:lnTo>
                  <a:lnTo>
                    <a:pt x="2592" y="588"/>
                  </a:lnTo>
                  <a:lnTo>
                    <a:pt x="2488" y="588"/>
                  </a:lnTo>
                  <a:lnTo>
                    <a:pt x="2385" y="554"/>
                  </a:lnTo>
                  <a:lnTo>
                    <a:pt x="2108" y="381"/>
                  </a:lnTo>
                  <a:lnTo>
                    <a:pt x="1763" y="208"/>
                  </a:lnTo>
                  <a:lnTo>
                    <a:pt x="1417" y="70"/>
                  </a:lnTo>
                  <a:lnTo>
                    <a:pt x="1072" y="1"/>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68" name="Google Shape;2397;p11">
              <a:extLst>
                <a:ext uri="{FF2B5EF4-FFF2-40B4-BE49-F238E27FC236}">
                  <a16:creationId xmlns:a16="http://schemas.microsoft.com/office/drawing/2014/main" id="{8E2E1C1D-412E-0151-8D88-B446F217B49B}"/>
                </a:ext>
              </a:extLst>
            </p:cNvPr>
            <p:cNvSpPr/>
            <p:nvPr/>
          </p:nvSpPr>
          <p:spPr>
            <a:xfrm>
              <a:off x="5788350" y="4358975"/>
              <a:ext cx="118375" cy="213400"/>
            </a:xfrm>
            <a:custGeom>
              <a:avLst/>
              <a:gdLst/>
              <a:ahLst/>
              <a:cxnLst/>
              <a:rect l="l" t="t" r="r" b="b"/>
              <a:pathLst>
                <a:path w="4735" h="8536" extrusionOk="0">
                  <a:moveTo>
                    <a:pt x="4734" y="0"/>
                  </a:moveTo>
                  <a:lnTo>
                    <a:pt x="35" y="173"/>
                  </a:lnTo>
                  <a:lnTo>
                    <a:pt x="0" y="2523"/>
                  </a:lnTo>
                  <a:lnTo>
                    <a:pt x="0" y="4527"/>
                  </a:lnTo>
                  <a:lnTo>
                    <a:pt x="35" y="5425"/>
                  </a:lnTo>
                  <a:lnTo>
                    <a:pt x="69" y="6186"/>
                  </a:lnTo>
                  <a:lnTo>
                    <a:pt x="1382" y="8535"/>
                  </a:lnTo>
                  <a:lnTo>
                    <a:pt x="4458" y="6462"/>
                  </a:lnTo>
                  <a:lnTo>
                    <a:pt x="4734" y="0"/>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69" name="Google Shape;2398;p11">
              <a:extLst>
                <a:ext uri="{FF2B5EF4-FFF2-40B4-BE49-F238E27FC236}">
                  <a16:creationId xmlns:a16="http://schemas.microsoft.com/office/drawing/2014/main" id="{9CB43610-32D1-29EF-0840-8C6929962877}"/>
                </a:ext>
              </a:extLst>
            </p:cNvPr>
            <p:cNvSpPr/>
            <p:nvPr/>
          </p:nvSpPr>
          <p:spPr>
            <a:xfrm>
              <a:off x="5566325" y="4473875"/>
              <a:ext cx="349025" cy="152925"/>
            </a:xfrm>
            <a:custGeom>
              <a:avLst/>
              <a:gdLst/>
              <a:ahLst/>
              <a:cxnLst/>
              <a:rect l="l" t="t" r="r" b="b"/>
              <a:pathLst>
                <a:path w="13961" h="6117" extrusionOk="0">
                  <a:moveTo>
                    <a:pt x="13477" y="0"/>
                  </a:moveTo>
                  <a:lnTo>
                    <a:pt x="13097" y="104"/>
                  </a:lnTo>
                  <a:lnTo>
                    <a:pt x="12579" y="276"/>
                  </a:lnTo>
                  <a:lnTo>
                    <a:pt x="11957" y="449"/>
                  </a:lnTo>
                  <a:lnTo>
                    <a:pt x="11266" y="587"/>
                  </a:lnTo>
                  <a:lnTo>
                    <a:pt x="10920" y="657"/>
                  </a:lnTo>
                  <a:lnTo>
                    <a:pt x="10574" y="691"/>
                  </a:lnTo>
                  <a:lnTo>
                    <a:pt x="10194" y="691"/>
                  </a:lnTo>
                  <a:lnTo>
                    <a:pt x="9849" y="657"/>
                  </a:lnTo>
                  <a:lnTo>
                    <a:pt x="9503" y="622"/>
                  </a:lnTo>
                  <a:lnTo>
                    <a:pt x="9192" y="518"/>
                  </a:lnTo>
                  <a:lnTo>
                    <a:pt x="8881" y="380"/>
                  </a:lnTo>
                  <a:lnTo>
                    <a:pt x="8570" y="173"/>
                  </a:lnTo>
                  <a:lnTo>
                    <a:pt x="8501" y="138"/>
                  </a:lnTo>
                  <a:lnTo>
                    <a:pt x="8294" y="138"/>
                  </a:lnTo>
                  <a:lnTo>
                    <a:pt x="8190" y="173"/>
                  </a:lnTo>
                  <a:lnTo>
                    <a:pt x="7983" y="311"/>
                  </a:lnTo>
                  <a:lnTo>
                    <a:pt x="7775" y="553"/>
                  </a:lnTo>
                  <a:lnTo>
                    <a:pt x="7533" y="795"/>
                  </a:lnTo>
                  <a:lnTo>
                    <a:pt x="7361" y="1071"/>
                  </a:lnTo>
                  <a:lnTo>
                    <a:pt x="7222" y="1382"/>
                  </a:lnTo>
                  <a:lnTo>
                    <a:pt x="7119" y="1659"/>
                  </a:lnTo>
                  <a:lnTo>
                    <a:pt x="7050" y="1797"/>
                  </a:lnTo>
                  <a:lnTo>
                    <a:pt x="6981" y="1935"/>
                  </a:lnTo>
                  <a:lnTo>
                    <a:pt x="6877" y="2073"/>
                  </a:lnTo>
                  <a:lnTo>
                    <a:pt x="6739" y="2212"/>
                  </a:lnTo>
                  <a:lnTo>
                    <a:pt x="6428" y="2419"/>
                  </a:lnTo>
                  <a:lnTo>
                    <a:pt x="6047" y="2626"/>
                  </a:lnTo>
                  <a:lnTo>
                    <a:pt x="5598" y="2799"/>
                  </a:lnTo>
                  <a:lnTo>
                    <a:pt x="5080" y="2972"/>
                  </a:lnTo>
                  <a:lnTo>
                    <a:pt x="4562" y="3110"/>
                  </a:lnTo>
                  <a:lnTo>
                    <a:pt x="4009" y="3214"/>
                  </a:lnTo>
                  <a:lnTo>
                    <a:pt x="2903" y="3387"/>
                  </a:lnTo>
                  <a:lnTo>
                    <a:pt x="1901" y="3490"/>
                  </a:lnTo>
                  <a:lnTo>
                    <a:pt x="518" y="3663"/>
                  </a:lnTo>
                  <a:lnTo>
                    <a:pt x="415" y="3698"/>
                  </a:lnTo>
                  <a:lnTo>
                    <a:pt x="346" y="3767"/>
                  </a:lnTo>
                  <a:lnTo>
                    <a:pt x="242" y="3905"/>
                  </a:lnTo>
                  <a:lnTo>
                    <a:pt x="173" y="4078"/>
                  </a:lnTo>
                  <a:lnTo>
                    <a:pt x="104" y="4250"/>
                  </a:lnTo>
                  <a:lnTo>
                    <a:pt x="35" y="4458"/>
                  </a:lnTo>
                  <a:lnTo>
                    <a:pt x="0" y="4700"/>
                  </a:lnTo>
                  <a:lnTo>
                    <a:pt x="0" y="4907"/>
                  </a:lnTo>
                  <a:lnTo>
                    <a:pt x="35" y="5149"/>
                  </a:lnTo>
                  <a:lnTo>
                    <a:pt x="104" y="5356"/>
                  </a:lnTo>
                  <a:lnTo>
                    <a:pt x="242" y="5564"/>
                  </a:lnTo>
                  <a:lnTo>
                    <a:pt x="415" y="5736"/>
                  </a:lnTo>
                  <a:lnTo>
                    <a:pt x="622" y="5909"/>
                  </a:lnTo>
                  <a:lnTo>
                    <a:pt x="899" y="6013"/>
                  </a:lnTo>
                  <a:lnTo>
                    <a:pt x="1244" y="6082"/>
                  </a:lnTo>
                  <a:lnTo>
                    <a:pt x="1659" y="6117"/>
                  </a:lnTo>
                  <a:lnTo>
                    <a:pt x="7084" y="6117"/>
                  </a:lnTo>
                  <a:lnTo>
                    <a:pt x="12648" y="6082"/>
                  </a:lnTo>
                  <a:lnTo>
                    <a:pt x="12821" y="6047"/>
                  </a:lnTo>
                  <a:lnTo>
                    <a:pt x="12993" y="6013"/>
                  </a:lnTo>
                  <a:lnTo>
                    <a:pt x="13132" y="5944"/>
                  </a:lnTo>
                  <a:lnTo>
                    <a:pt x="13270" y="5875"/>
                  </a:lnTo>
                  <a:lnTo>
                    <a:pt x="13408" y="5771"/>
                  </a:lnTo>
                  <a:lnTo>
                    <a:pt x="13512" y="5633"/>
                  </a:lnTo>
                  <a:lnTo>
                    <a:pt x="13581" y="5494"/>
                  </a:lnTo>
                  <a:lnTo>
                    <a:pt x="13650" y="5322"/>
                  </a:lnTo>
                  <a:lnTo>
                    <a:pt x="13788" y="4631"/>
                  </a:lnTo>
                  <a:lnTo>
                    <a:pt x="13892" y="3836"/>
                  </a:lnTo>
                  <a:lnTo>
                    <a:pt x="13926" y="2937"/>
                  </a:lnTo>
                  <a:lnTo>
                    <a:pt x="13961" y="2073"/>
                  </a:lnTo>
                  <a:lnTo>
                    <a:pt x="13926" y="1279"/>
                  </a:lnTo>
                  <a:lnTo>
                    <a:pt x="13823" y="622"/>
                  </a:lnTo>
                  <a:lnTo>
                    <a:pt x="13754" y="380"/>
                  </a:lnTo>
                  <a:lnTo>
                    <a:pt x="13684" y="173"/>
                  </a:lnTo>
                  <a:lnTo>
                    <a:pt x="13581" y="35"/>
                  </a:lnTo>
                  <a:lnTo>
                    <a:pt x="13477" y="0"/>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70" name="Google Shape;2399;p11">
              <a:extLst>
                <a:ext uri="{FF2B5EF4-FFF2-40B4-BE49-F238E27FC236}">
                  <a16:creationId xmlns:a16="http://schemas.microsoft.com/office/drawing/2014/main" id="{9493684B-9CDF-141A-2B68-65806D7EF08C}"/>
                </a:ext>
              </a:extLst>
            </p:cNvPr>
            <p:cNvSpPr/>
            <p:nvPr/>
          </p:nvSpPr>
          <p:spPr>
            <a:xfrm>
              <a:off x="6238425" y="4358975"/>
              <a:ext cx="118400" cy="213400"/>
            </a:xfrm>
            <a:custGeom>
              <a:avLst/>
              <a:gdLst/>
              <a:ahLst/>
              <a:cxnLst/>
              <a:rect l="l" t="t" r="r" b="b"/>
              <a:pathLst>
                <a:path w="4736" h="8536" extrusionOk="0">
                  <a:moveTo>
                    <a:pt x="4735" y="0"/>
                  </a:moveTo>
                  <a:lnTo>
                    <a:pt x="36" y="207"/>
                  </a:lnTo>
                  <a:lnTo>
                    <a:pt x="1" y="2557"/>
                  </a:lnTo>
                  <a:lnTo>
                    <a:pt x="36" y="4561"/>
                  </a:lnTo>
                  <a:lnTo>
                    <a:pt x="70" y="5460"/>
                  </a:lnTo>
                  <a:lnTo>
                    <a:pt x="105" y="6220"/>
                  </a:lnTo>
                  <a:lnTo>
                    <a:pt x="1418" y="8535"/>
                  </a:lnTo>
                  <a:lnTo>
                    <a:pt x="4528" y="6462"/>
                  </a:lnTo>
                  <a:lnTo>
                    <a:pt x="4735" y="0"/>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71" name="Google Shape;2400;p11">
              <a:extLst>
                <a:ext uri="{FF2B5EF4-FFF2-40B4-BE49-F238E27FC236}">
                  <a16:creationId xmlns:a16="http://schemas.microsoft.com/office/drawing/2014/main" id="{869BE36F-952D-F4E0-1D17-8A1DCC7CCEF2}"/>
                </a:ext>
              </a:extLst>
            </p:cNvPr>
            <p:cNvSpPr/>
            <p:nvPr/>
          </p:nvSpPr>
          <p:spPr>
            <a:xfrm>
              <a:off x="6019000" y="4457450"/>
              <a:ext cx="349050" cy="171950"/>
            </a:xfrm>
            <a:custGeom>
              <a:avLst/>
              <a:gdLst/>
              <a:ahLst/>
              <a:cxnLst/>
              <a:rect l="l" t="t" r="r" b="b"/>
              <a:pathLst>
                <a:path w="13962" h="6878" extrusionOk="0">
                  <a:moveTo>
                    <a:pt x="13547" y="0"/>
                  </a:moveTo>
                  <a:lnTo>
                    <a:pt x="13167" y="70"/>
                  </a:lnTo>
                  <a:lnTo>
                    <a:pt x="12717" y="104"/>
                  </a:lnTo>
                  <a:lnTo>
                    <a:pt x="11508" y="173"/>
                  </a:lnTo>
                  <a:lnTo>
                    <a:pt x="10022" y="242"/>
                  </a:lnTo>
                  <a:lnTo>
                    <a:pt x="8398" y="346"/>
                  </a:lnTo>
                  <a:lnTo>
                    <a:pt x="8225" y="381"/>
                  </a:lnTo>
                  <a:lnTo>
                    <a:pt x="8087" y="450"/>
                  </a:lnTo>
                  <a:lnTo>
                    <a:pt x="8018" y="553"/>
                  </a:lnTo>
                  <a:lnTo>
                    <a:pt x="7949" y="692"/>
                  </a:lnTo>
                  <a:lnTo>
                    <a:pt x="7880" y="1072"/>
                  </a:lnTo>
                  <a:lnTo>
                    <a:pt x="7776" y="1555"/>
                  </a:lnTo>
                  <a:lnTo>
                    <a:pt x="7741" y="1694"/>
                  </a:lnTo>
                  <a:lnTo>
                    <a:pt x="7638" y="1867"/>
                  </a:lnTo>
                  <a:lnTo>
                    <a:pt x="7534" y="2005"/>
                  </a:lnTo>
                  <a:lnTo>
                    <a:pt x="7396" y="2143"/>
                  </a:lnTo>
                  <a:lnTo>
                    <a:pt x="7050" y="2419"/>
                  </a:lnTo>
                  <a:lnTo>
                    <a:pt x="6601" y="2661"/>
                  </a:lnTo>
                  <a:lnTo>
                    <a:pt x="6117" y="2903"/>
                  </a:lnTo>
                  <a:lnTo>
                    <a:pt x="5564" y="3145"/>
                  </a:lnTo>
                  <a:lnTo>
                    <a:pt x="4942" y="3352"/>
                  </a:lnTo>
                  <a:lnTo>
                    <a:pt x="4355" y="3525"/>
                  </a:lnTo>
                  <a:lnTo>
                    <a:pt x="3111" y="3871"/>
                  </a:lnTo>
                  <a:lnTo>
                    <a:pt x="1970" y="4113"/>
                  </a:lnTo>
                  <a:lnTo>
                    <a:pt x="1072" y="4320"/>
                  </a:lnTo>
                  <a:lnTo>
                    <a:pt x="484" y="4424"/>
                  </a:lnTo>
                  <a:lnTo>
                    <a:pt x="415" y="4458"/>
                  </a:lnTo>
                  <a:lnTo>
                    <a:pt x="312" y="4527"/>
                  </a:lnTo>
                  <a:lnTo>
                    <a:pt x="208" y="4666"/>
                  </a:lnTo>
                  <a:lnTo>
                    <a:pt x="139" y="4838"/>
                  </a:lnTo>
                  <a:lnTo>
                    <a:pt x="70" y="5011"/>
                  </a:lnTo>
                  <a:lnTo>
                    <a:pt x="1" y="5218"/>
                  </a:lnTo>
                  <a:lnTo>
                    <a:pt x="1" y="5460"/>
                  </a:lnTo>
                  <a:lnTo>
                    <a:pt x="1" y="5668"/>
                  </a:lnTo>
                  <a:lnTo>
                    <a:pt x="35" y="5910"/>
                  </a:lnTo>
                  <a:lnTo>
                    <a:pt x="104" y="6117"/>
                  </a:lnTo>
                  <a:lnTo>
                    <a:pt x="208" y="6324"/>
                  </a:lnTo>
                  <a:lnTo>
                    <a:pt x="381" y="6497"/>
                  </a:lnTo>
                  <a:lnTo>
                    <a:pt x="623" y="6670"/>
                  </a:lnTo>
                  <a:lnTo>
                    <a:pt x="899" y="6774"/>
                  </a:lnTo>
                  <a:lnTo>
                    <a:pt x="1245" y="6843"/>
                  </a:lnTo>
                  <a:lnTo>
                    <a:pt x="1659" y="6877"/>
                  </a:lnTo>
                  <a:lnTo>
                    <a:pt x="7085" y="6808"/>
                  </a:lnTo>
                  <a:lnTo>
                    <a:pt x="12648" y="6739"/>
                  </a:lnTo>
                  <a:lnTo>
                    <a:pt x="12821" y="6704"/>
                  </a:lnTo>
                  <a:lnTo>
                    <a:pt x="12994" y="6670"/>
                  </a:lnTo>
                  <a:lnTo>
                    <a:pt x="13132" y="6601"/>
                  </a:lnTo>
                  <a:lnTo>
                    <a:pt x="13270" y="6532"/>
                  </a:lnTo>
                  <a:lnTo>
                    <a:pt x="13409" y="6393"/>
                  </a:lnTo>
                  <a:lnTo>
                    <a:pt x="13512" y="6290"/>
                  </a:lnTo>
                  <a:lnTo>
                    <a:pt x="13581" y="6117"/>
                  </a:lnTo>
                  <a:lnTo>
                    <a:pt x="13650" y="5979"/>
                  </a:lnTo>
                  <a:lnTo>
                    <a:pt x="13789" y="5253"/>
                  </a:lnTo>
                  <a:lnTo>
                    <a:pt x="13892" y="4389"/>
                  </a:lnTo>
                  <a:lnTo>
                    <a:pt x="13961" y="3387"/>
                  </a:lnTo>
                  <a:lnTo>
                    <a:pt x="13961" y="2419"/>
                  </a:lnTo>
                  <a:lnTo>
                    <a:pt x="13961" y="1486"/>
                  </a:lnTo>
                  <a:lnTo>
                    <a:pt x="13892" y="726"/>
                  </a:lnTo>
                  <a:lnTo>
                    <a:pt x="13823" y="450"/>
                  </a:lnTo>
                  <a:lnTo>
                    <a:pt x="13754" y="208"/>
                  </a:lnTo>
                  <a:lnTo>
                    <a:pt x="13650" y="70"/>
                  </a:lnTo>
                  <a:lnTo>
                    <a:pt x="13616" y="35"/>
                  </a:lnTo>
                  <a:lnTo>
                    <a:pt x="13547" y="0"/>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72" name="Google Shape;2401;p11">
              <a:extLst>
                <a:ext uri="{FF2B5EF4-FFF2-40B4-BE49-F238E27FC236}">
                  <a16:creationId xmlns:a16="http://schemas.microsoft.com/office/drawing/2014/main" id="{5C1170B6-F7E9-6BC4-02D2-92AC1EAC18DB}"/>
                </a:ext>
              </a:extLst>
            </p:cNvPr>
            <p:cNvSpPr/>
            <p:nvPr/>
          </p:nvSpPr>
          <p:spPr>
            <a:xfrm>
              <a:off x="5740825" y="2709750"/>
              <a:ext cx="672150" cy="1752050"/>
            </a:xfrm>
            <a:custGeom>
              <a:avLst/>
              <a:gdLst/>
              <a:ahLst/>
              <a:cxnLst/>
              <a:rect l="l" t="t" r="r" b="b"/>
              <a:pathLst>
                <a:path w="26886" h="70082" extrusionOk="0">
                  <a:moveTo>
                    <a:pt x="17210" y="1"/>
                  </a:moveTo>
                  <a:lnTo>
                    <a:pt x="16277" y="35"/>
                  </a:lnTo>
                  <a:lnTo>
                    <a:pt x="14445" y="174"/>
                  </a:lnTo>
                  <a:lnTo>
                    <a:pt x="12648" y="346"/>
                  </a:lnTo>
                  <a:lnTo>
                    <a:pt x="10989" y="554"/>
                  </a:lnTo>
                  <a:lnTo>
                    <a:pt x="9504" y="796"/>
                  </a:lnTo>
                  <a:lnTo>
                    <a:pt x="8225" y="1003"/>
                  </a:lnTo>
                  <a:lnTo>
                    <a:pt x="7257" y="1176"/>
                  </a:lnTo>
                  <a:lnTo>
                    <a:pt x="6428" y="1349"/>
                  </a:lnTo>
                  <a:lnTo>
                    <a:pt x="5910" y="4942"/>
                  </a:lnTo>
                  <a:lnTo>
                    <a:pt x="5149" y="9849"/>
                  </a:lnTo>
                  <a:lnTo>
                    <a:pt x="3283" y="21668"/>
                  </a:lnTo>
                  <a:lnTo>
                    <a:pt x="1486" y="32657"/>
                  </a:lnTo>
                  <a:lnTo>
                    <a:pt x="484" y="38600"/>
                  </a:lnTo>
                  <a:lnTo>
                    <a:pt x="415" y="39050"/>
                  </a:lnTo>
                  <a:lnTo>
                    <a:pt x="346" y="39602"/>
                  </a:lnTo>
                  <a:lnTo>
                    <a:pt x="242" y="41054"/>
                  </a:lnTo>
                  <a:lnTo>
                    <a:pt x="139" y="42885"/>
                  </a:lnTo>
                  <a:lnTo>
                    <a:pt x="104" y="45028"/>
                  </a:lnTo>
                  <a:lnTo>
                    <a:pt x="1" y="49935"/>
                  </a:lnTo>
                  <a:lnTo>
                    <a:pt x="1" y="55187"/>
                  </a:lnTo>
                  <a:lnTo>
                    <a:pt x="35" y="60267"/>
                  </a:lnTo>
                  <a:lnTo>
                    <a:pt x="70" y="64587"/>
                  </a:lnTo>
                  <a:lnTo>
                    <a:pt x="104" y="68734"/>
                  </a:lnTo>
                  <a:lnTo>
                    <a:pt x="312" y="69045"/>
                  </a:lnTo>
                  <a:lnTo>
                    <a:pt x="588" y="69321"/>
                  </a:lnTo>
                  <a:lnTo>
                    <a:pt x="934" y="69528"/>
                  </a:lnTo>
                  <a:lnTo>
                    <a:pt x="1279" y="69736"/>
                  </a:lnTo>
                  <a:lnTo>
                    <a:pt x="1694" y="69874"/>
                  </a:lnTo>
                  <a:lnTo>
                    <a:pt x="2143" y="69978"/>
                  </a:lnTo>
                  <a:lnTo>
                    <a:pt x="2592" y="70047"/>
                  </a:lnTo>
                  <a:lnTo>
                    <a:pt x="3111" y="70081"/>
                  </a:lnTo>
                  <a:lnTo>
                    <a:pt x="3594" y="70081"/>
                  </a:lnTo>
                  <a:lnTo>
                    <a:pt x="4113" y="70012"/>
                  </a:lnTo>
                  <a:lnTo>
                    <a:pt x="4631" y="69943"/>
                  </a:lnTo>
                  <a:lnTo>
                    <a:pt x="5115" y="69839"/>
                  </a:lnTo>
                  <a:lnTo>
                    <a:pt x="5633" y="69701"/>
                  </a:lnTo>
                  <a:lnTo>
                    <a:pt x="6082" y="69528"/>
                  </a:lnTo>
                  <a:lnTo>
                    <a:pt x="6566" y="69321"/>
                  </a:lnTo>
                  <a:lnTo>
                    <a:pt x="6981" y="69114"/>
                  </a:lnTo>
                  <a:lnTo>
                    <a:pt x="7050" y="68975"/>
                  </a:lnTo>
                  <a:lnTo>
                    <a:pt x="7085" y="68734"/>
                  </a:lnTo>
                  <a:lnTo>
                    <a:pt x="7188" y="67939"/>
                  </a:lnTo>
                  <a:lnTo>
                    <a:pt x="7257" y="66764"/>
                  </a:lnTo>
                  <a:lnTo>
                    <a:pt x="7292" y="65278"/>
                  </a:lnTo>
                  <a:lnTo>
                    <a:pt x="7326" y="61477"/>
                  </a:lnTo>
                  <a:lnTo>
                    <a:pt x="7396" y="56915"/>
                  </a:lnTo>
                  <a:lnTo>
                    <a:pt x="7465" y="52043"/>
                  </a:lnTo>
                  <a:lnTo>
                    <a:pt x="7568" y="49589"/>
                  </a:lnTo>
                  <a:lnTo>
                    <a:pt x="7672" y="47205"/>
                  </a:lnTo>
                  <a:lnTo>
                    <a:pt x="7810" y="44924"/>
                  </a:lnTo>
                  <a:lnTo>
                    <a:pt x="8018" y="42816"/>
                  </a:lnTo>
                  <a:lnTo>
                    <a:pt x="8121" y="41814"/>
                  </a:lnTo>
                  <a:lnTo>
                    <a:pt x="8259" y="40881"/>
                  </a:lnTo>
                  <a:lnTo>
                    <a:pt x="8398" y="40017"/>
                  </a:lnTo>
                  <a:lnTo>
                    <a:pt x="8536" y="39222"/>
                  </a:lnTo>
                  <a:lnTo>
                    <a:pt x="9020" y="37218"/>
                  </a:lnTo>
                  <a:lnTo>
                    <a:pt x="9573" y="35076"/>
                  </a:lnTo>
                  <a:lnTo>
                    <a:pt x="10195" y="32829"/>
                  </a:lnTo>
                  <a:lnTo>
                    <a:pt x="10886" y="30618"/>
                  </a:lnTo>
                  <a:lnTo>
                    <a:pt x="11542" y="28441"/>
                  </a:lnTo>
                  <a:lnTo>
                    <a:pt x="12233" y="26367"/>
                  </a:lnTo>
                  <a:lnTo>
                    <a:pt x="13408" y="22808"/>
                  </a:lnTo>
                  <a:lnTo>
                    <a:pt x="14203" y="20493"/>
                  </a:lnTo>
                  <a:lnTo>
                    <a:pt x="14549" y="19594"/>
                  </a:lnTo>
                  <a:lnTo>
                    <a:pt x="15620" y="26989"/>
                  </a:lnTo>
                  <a:lnTo>
                    <a:pt x="16000" y="29477"/>
                  </a:lnTo>
                  <a:lnTo>
                    <a:pt x="16277" y="31516"/>
                  </a:lnTo>
                  <a:lnTo>
                    <a:pt x="16518" y="33486"/>
                  </a:lnTo>
                  <a:lnTo>
                    <a:pt x="16691" y="35559"/>
                  </a:lnTo>
                  <a:lnTo>
                    <a:pt x="16864" y="38117"/>
                  </a:lnTo>
                  <a:lnTo>
                    <a:pt x="17037" y="41434"/>
                  </a:lnTo>
                  <a:lnTo>
                    <a:pt x="17486" y="50799"/>
                  </a:lnTo>
                  <a:lnTo>
                    <a:pt x="17866" y="59334"/>
                  </a:lnTo>
                  <a:lnTo>
                    <a:pt x="18246" y="67939"/>
                  </a:lnTo>
                  <a:lnTo>
                    <a:pt x="19352" y="68181"/>
                  </a:lnTo>
                  <a:lnTo>
                    <a:pt x="20320" y="68353"/>
                  </a:lnTo>
                  <a:lnTo>
                    <a:pt x="21184" y="68492"/>
                  </a:lnTo>
                  <a:lnTo>
                    <a:pt x="21978" y="68561"/>
                  </a:lnTo>
                  <a:lnTo>
                    <a:pt x="22739" y="68561"/>
                  </a:lnTo>
                  <a:lnTo>
                    <a:pt x="23084" y="68492"/>
                  </a:lnTo>
                  <a:lnTo>
                    <a:pt x="23464" y="68457"/>
                  </a:lnTo>
                  <a:lnTo>
                    <a:pt x="23844" y="68353"/>
                  </a:lnTo>
                  <a:lnTo>
                    <a:pt x="24225" y="68250"/>
                  </a:lnTo>
                  <a:lnTo>
                    <a:pt x="24605" y="68112"/>
                  </a:lnTo>
                  <a:lnTo>
                    <a:pt x="25019" y="67939"/>
                  </a:lnTo>
                  <a:lnTo>
                    <a:pt x="25054" y="66315"/>
                  </a:lnTo>
                  <a:lnTo>
                    <a:pt x="25123" y="63619"/>
                  </a:lnTo>
                  <a:lnTo>
                    <a:pt x="25296" y="56155"/>
                  </a:lnTo>
                  <a:lnTo>
                    <a:pt x="25399" y="51939"/>
                  </a:lnTo>
                  <a:lnTo>
                    <a:pt x="25469" y="47792"/>
                  </a:lnTo>
                  <a:lnTo>
                    <a:pt x="25503" y="44026"/>
                  </a:lnTo>
                  <a:lnTo>
                    <a:pt x="25469" y="42332"/>
                  </a:lnTo>
                  <a:lnTo>
                    <a:pt x="25469" y="40847"/>
                  </a:lnTo>
                  <a:lnTo>
                    <a:pt x="25434" y="39430"/>
                  </a:lnTo>
                  <a:lnTo>
                    <a:pt x="25434" y="37909"/>
                  </a:lnTo>
                  <a:lnTo>
                    <a:pt x="25469" y="34730"/>
                  </a:lnTo>
                  <a:lnTo>
                    <a:pt x="25572" y="31447"/>
                  </a:lnTo>
                  <a:lnTo>
                    <a:pt x="25745" y="28199"/>
                  </a:lnTo>
                  <a:lnTo>
                    <a:pt x="25952" y="25123"/>
                  </a:lnTo>
                  <a:lnTo>
                    <a:pt x="26125" y="22393"/>
                  </a:lnTo>
                  <a:lnTo>
                    <a:pt x="26332" y="20113"/>
                  </a:lnTo>
                  <a:lnTo>
                    <a:pt x="26505" y="18454"/>
                  </a:lnTo>
                  <a:lnTo>
                    <a:pt x="26643" y="17141"/>
                  </a:lnTo>
                  <a:lnTo>
                    <a:pt x="26747" y="15931"/>
                  </a:lnTo>
                  <a:lnTo>
                    <a:pt x="26816" y="14895"/>
                  </a:lnTo>
                  <a:lnTo>
                    <a:pt x="26851" y="13893"/>
                  </a:lnTo>
                  <a:lnTo>
                    <a:pt x="26885" y="12165"/>
                  </a:lnTo>
                  <a:lnTo>
                    <a:pt x="26851" y="10644"/>
                  </a:lnTo>
                  <a:lnTo>
                    <a:pt x="26782" y="9297"/>
                  </a:lnTo>
                  <a:lnTo>
                    <a:pt x="26713" y="7776"/>
                  </a:lnTo>
                  <a:lnTo>
                    <a:pt x="26713" y="7016"/>
                  </a:lnTo>
                  <a:lnTo>
                    <a:pt x="26713" y="6256"/>
                  </a:lnTo>
                  <a:lnTo>
                    <a:pt x="26678" y="5046"/>
                  </a:lnTo>
                  <a:lnTo>
                    <a:pt x="26609" y="3768"/>
                  </a:lnTo>
                  <a:lnTo>
                    <a:pt x="26574" y="3456"/>
                  </a:lnTo>
                  <a:lnTo>
                    <a:pt x="26505" y="3180"/>
                  </a:lnTo>
                  <a:lnTo>
                    <a:pt x="26402" y="2904"/>
                  </a:lnTo>
                  <a:lnTo>
                    <a:pt x="26263" y="2627"/>
                  </a:lnTo>
                  <a:lnTo>
                    <a:pt x="26125" y="2385"/>
                  </a:lnTo>
                  <a:lnTo>
                    <a:pt x="25952" y="2143"/>
                  </a:lnTo>
                  <a:lnTo>
                    <a:pt x="25780" y="1936"/>
                  </a:lnTo>
                  <a:lnTo>
                    <a:pt x="25572" y="1729"/>
                  </a:lnTo>
                  <a:lnTo>
                    <a:pt x="25330" y="1556"/>
                  </a:lnTo>
                  <a:lnTo>
                    <a:pt x="25088" y="1383"/>
                  </a:lnTo>
                  <a:lnTo>
                    <a:pt x="24501" y="1038"/>
                  </a:lnTo>
                  <a:lnTo>
                    <a:pt x="23879" y="796"/>
                  </a:lnTo>
                  <a:lnTo>
                    <a:pt x="23188" y="554"/>
                  </a:lnTo>
                  <a:lnTo>
                    <a:pt x="22462" y="381"/>
                  </a:lnTo>
                  <a:lnTo>
                    <a:pt x="21667" y="243"/>
                  </a:lnTo>
                  <a:lnTo>
                    <a:pt x="20838" y="139"/>
                  </a:lnTo>
                  <a:lnTo>
                    <a:pt x="19940" y="70"/>
                  </a:lnTo>
                  <a:lnTo>
                    <a:pt x="19076" y="1"/>
                  </a:lnTo>
                  <a:close/>
                </a:path>
              </a:pathLst>
            </a:custGeom>
            <a:solidFill>
              <a:srgbClr val="46464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73" name="Google Shape;2402;p11">
              <a:extLst>
                <a:ext uri="{FF2B5EF4-FFF2-40B4-BE49-F238E27FC236}">
                  <a16:creationId xmlns:a16="http://schemas.microsoft.com/office/drawing/2014/main" id="{611283AC-5901-B861-405F-5EB0C20794E7}"/>
                </a:ext>
              </a:extLst>
            </p:cNvPr>
            <p:cNvSpPr/>
            <p:nvPr/>
          </p:nvSpPr>
          <p:spPr>
            <a:xfrm>
              <a:off x="5740825" y="2709750"/>
              <a:ext cx="672150" cy="1752050"/>
            </a:xfrm>
            <a:custGeom>
              <a:avLst/>
              <a:gdLst/>
              <a:ahLst/>
              <a:cxnLst/>
              <a:rect l="l" t="t" r="r" b="b"/>
              <a:pathLst>
                <a:path w="26886" h="70082" fill="none" extrusionOk="0">
                  <a:moveTo>
                    <a:pt x="26747" y="15931"/>
                  </a:moveTo>
                  <a:lnTo>
                    <a:pt x="26747" y="15931"/>
                  </a:lnTo>
                  <a:lnTo>
                    <a:pt x="26643" y="17141"/>
                  </a:lnTo>
                  <a:lnTo>
                    <a:pt x="26505" y="18454"/>
                  </a:lnTo>
                  <a:lnTo>
                    <a:pt x="26505" y="18454"/>
                  </a:lnTo>
                  <a:lnTo>
                    <a:pt x="26332" y="20113"/>
                  </a:lnTo>
                  <a:lnTo>
                    <a:pt x="26125" y="22393"/>
                  </a:lnTo>
                  <a:lnTo>
                    <a:pt x="25952" y="25123"/>
                  </a:lnTo>
                  <a:lnTo>
                    <a:pt x="25745" y="28199"/>
                  </a:lnTo>
                  <a:lnTo>
                    <a:pt x="25572" y="31447"/>
                  </a:lnTo>
                  <a:lnTo>
                    <a:pt x="25469" y="34730"/>
                  </a:lnTo>
                  <a:lnTo>
                    <a:pt x="25434" y="37909"/>
                  </a:lnTo>
                  <a:lnTo>
                    <a:pt x="25434" y="39430"/>
                  </a:lnTo>
                  <a:lnTo>
                    <a:pt x="25469" y="40847"/>
                  </a:lnTo>
                  <a:lnTo>
                    <a:pt x="25469" y="40847"/>
                  </a:lnTo>
                  <a:lnTo>
                    <a:pt x="25469" y="42332"/>
                  </a:lnTo>
                  <a:lnTo>
                    <a:pt x="25503" y="44026"/>
                  </a:lnTo>
                  <a:lnTo>
                    <a:pt x="25469" y="47792"/>
                  </a:lnTo>
                  <a:lnTo>
                    <a:pt x="25399" y="51939"/>
                  </a:lnTo>
                  <a:lnTo>
                    <a:pt x="25296" y="56155"/>
                  </a:lnTo>
                  <a:lnTo>
                    <a:pt x="25123" y="63619"/>
                  </a:lnTo>
                  <a:lnTo>
                    <a:pt x="25054" y="66315"/>
                  </a:lnTo>
                  <a:lnTo>
                    <a:pt x="25019" y="67939"/>
                  </a:lnTo>
                  <a:lnTo>
                    <a:pt x="25019" y="67939"/>
                  </a:lnTo>
                  <a:lnTo>
                    <a:pt x="24605" y="68112"/>
                  </a:lnTo>
                  <a:lnTo>
                    <a:pt x="24225" y="68250"/>
                  </a:lnTo>
                  <a:lnTo>
                    <a:pt x="23844" y="68353"/>
                  </a:lnTo>
                  <a:lnTo>
                    <a:pt x="23464" y="68457"/>
                  </a:lnTo>
                  <a:lnTo>
                    <a:pt x="23084" y="68492"/>
                  </a:lnTo>
                  <a:lnTo>
                    <a:pt x="22739" y="68561"/>
                  </a:lnTo>
                  <a:lnTo>
                    <a:pt x="22358" y="68561"/>
                  </a:lnTo>
                  <a:lnTo>
                    <a:pt x="21978" y="68561"/>
                  </a:lnTo>
                  <a:lnTo>
                    <a:pt x="21184" y="68492"/>
                  </a:lnTo>
                  <a:lnTo>
                    <a:pt x="20320" y="68353"/>
                  </a:lnTo>
                  <a:lnTo>
                    <a:pt x="19352" y="68181"/>
                  </a:lnTo>
                  <a:lnTo>
                    <a:pt x="18246" y="67939"/>
                  </a:lnTo>
                  <a:lnTo>
                    <a:pt x="18246" y="67939"/>
                  </a:lnTo>
                  <a:lnTo>
                    <a:pt x="17866" y="59334"/>
                  </a:lnTo>
                  <a:lnTo>
                    <a:pt x="17486" y="50799"/>
                  </a:lnTo>
                  <a:lnTo>
                    <a:pt x="17037" y="41434"/>
                  </a:lnTo>
                  <a:lnTo>
                    <a:pt x="17037" y="41434"/>
                  </a:lnTo>
                  <a:lnTo>
                    <a:pt x="16864" y="38117"/>
                  </a:lnTo>
                  <a:lnTo>
                    <a:pt x="16691" y="35559"/>
                  </a:lnTo>
                  <a:lnTo>
                    <a:pt x="16518" y="33486"/>
                  </a:lnTo>
                  <a:lnTo>
                    <a:pt x="16277" y="31516"/>
                  </a:lnTo>
                  <a:lnTo>
                    <a:pt x="16000" y="29477"/>
                  </a:lnTo>
                  <a:lnTo>
                    <a:pt x="15620" y="26989"/>
                  </a:lnTo>
                  <a:lnTo>
                    <a:pt x="14549" y="19594"/>
                  </a:lnTo>
                  <a:lnTo>
                    <a:pt x="14549" y="19594"/>
                  </a:lnTo>
                  <a:lnTo>
                    <a:pt x="14549" y="19594"/>
                  </a:lnTo>
                  <a:lnTo>
                    <a:pt x="14203" y="20493"/>
                  </a:lnTo>
                  <a:lnTo>
                    <a:pt x="13408" y="22808"/>
                  </a:lnTo>
                  <a:lnTo>
                    <a:pt x="13408" y="22808"/>
                  </a:lnTo>
                  <a:lnTo>
                    <a:pt x="12233" y="26367"/>
                  </a:lnTo>
                  <a:lnTo>
                    <a:pt x="11542" y="28441"/>
                  </a:lnTo>
                  <a:lnTo>
                    <a:pt x="10886" y="30618"/>
                  </a:lnTo>
                  <a:lnTo>
                    <a:pt x="10195" y="32829"/>
                  </a:lnTo>
                  <a:lnTo>
                    <a:pt x="9573" y="35076"/>
                  </a:lnTo>
                  <a:lnTo>
                    <a:pt x="9020" y="37218"/>
                  </a:lnTo>
                  <a:lnTo>
                    <a:pt x="8536" y="39222"/>
                  </a:lnTo>
                  <a:lnTo>
                    <a:pt x="8536" y="39222"/>
                  </a:lnTo>
                  <a:lnTo>
                    <a:pt x="8398" y="40017"/>
                  </a:lnTo>
                  <a:lnTo>
                    <a:pt x="8259" y="40881"/>
                  </a:lnTo>
                  <a:lnTo>
                    <a:pt x="8121" y="41814"/>
                  </a:lnTo>
                  <a:lnTo>
                    <a:pt x="8018" y="42816"/>
                  </a:lnTo>
                  <a:lnTo>
                    <a:pt x="7810" y="44924"/>
                  </a:lnTo>
                  <a:lnTo>
                    <a:pt x="7672" y="47205"/>
                  </a:lnTo>
                  <a:lnTo>
                    <a:pt x="7568" y="49589"/>
                  </a:lnTo>
                  <a:lnTo>
                    <a:pt x="7465" y="52043"/>
                  </a:lnTo>
                  <a:lnTo>
                    <a:pt x="7396" y="56915"/>
                  </a:lnTo>
                  <a:lnTo>
                    <a:pt x="7326" y="61477"/>
                  </a:lnTo>
                  <a:lnTo>
                    <a:pt x="7292" y="65278"/>
                  </a:lnTo>
                  <a:lnTo>
                    <a:pt x="7257" y="66764"/>
                  </a:lnTo>
                  <a:lnTo>
                    <a:pt x="7188" y="67939"/>
                  </a:lnTo>
                  <a:lnTo>
                    <a:pt x="7085" y="68734"/>
                  </a:lnTo>
                  <a:lnTo>
                    <a:pt x="7050" y="68975"/>
                  </a:lnTo>
                  <a:lnTo>
                    <a:pt x="6981" y="69114"/>
                  </a:lnTo>
                  <a:lnTo>
                    <a:pt x="6981" y="69114"/>
                  </a:lnTo>
                  <a:lnTo>
                    <a:pt x="6566" y="69321"/>
                  </a:lnTo>
                  <a:lnTo>
                    <a:pt x="6082" y="69528"/>
                  </a:lnTo>
                  <a:lnTo>
                    <a:pt x="5633" y="69701"/>
                  </a:lnTo>
                  <a:lnTo>
                    <a:pt x="5115" y="69839"/>
                  </a:lnTo>
                  <a:lnTo>
                    <a:pt x="4631" y="69943"/>
                  </a:lnTo>
                  <a:lnTo>
                    <a:pt x="4113" y="70012"/>
                  </a:lnTo>
                  <a:lnTo>
                    <a:pt x="3594" y="70081"/>
                  </a:lnTo>
                  <a:lnTo>
                    <a:pt x="3111" y="70081"/>
                  </a:lnTo>
                  <a:lnTo>
                    <a:pt x="2592" y="70047"/>
                  </a:lnTo>
                  <a:lnTo>
                    <a:pt x="2143" y="69978"/>
                  </a:lnTo>
                  <a:lnTo>
                    <a:pt x="1694" y="69874"/>
                  </a:lnTo>
                  <a:lnTo>
                    <a:pt x="1279" y="69736"/>
                  </a:lnTo>
                  <a:lnTo>
                    <a:pt x="934" y="69528"/>
                  </a:lnTo>
                  <a:lnTo>
                    <a:pt x="588" y="69321"/>
                  </a:lnTo>
                  <a:lnTo>
                    <a:pt x="312" y="69045"/>
                  </a:lnTo>
                  <a:lnTo>
                    <a:pt x="104" y="68734"/>
                  </a:lnTo>
                  <a:lnTo>
                    <a:pt x="104" y="68734"/>
                  </a:lnTo>
                  <a:lnTo>
                    <a:pt x="70" y="64587"/>
                  </a:lnTo>
                  <a:lnTo>
                    <a:pt x="35" y="60267"/>
                  </a:lnTo>
                  <a:lnTo>
                    <a:pt x="1" y="55187"/>
                  </a:lnTo>
                  <a:lnTo>
                    <a:pt x="1" y="49935"/>
                  </a:lnTo>
                  <a:lnTo>
                    <a:pt x="104" y="45028"/>
                  </a:lnTo>
                  <a:lnTo>
                    <a:pt x="139" y="42885"/>
                  </a:lnTo>
                  <a:lnTo>
                    <a:pt x="242" y="41054"/>
                  </a:lnTo>
                  <a:lnTo>
                    <a:pt x="346" y="39602"/>
                  </a:lnTo>
                  <a:lnTo>
                    <a:pt x="415" y="39050"/>
                  </a:lnTo>
                  <a:lnTo>
                    <a:pt x="484" y="38600"/>
                  </a:lnTo>
                  <a:lnTo>
                    <a:pt x="484" y="38600"/>
                  </a:lnTo>
                  <a:lnTo>
                    <a:pt x="1486" y="32657"/>
                  </a:lnTo>
                  <a:lnTo>
                    <a:pt x="3283" y="21668"/>
                  </a:lnTo>
                  <a:lnTo>
                    <a:pt x="5149" y="9849"/>
                  </a:lnTo>
                  <a:lnTo>
                    <a:pt x="5910" y="4942"/>
                  </a:lnTo>
                  <a:lnTo>
                    <a:pt x="6428" y="1349"/>
                  </a:lnTo>
                  <a:lnTo>
                    <a:pt x="6428" y="1349"/>
                  </a:lnTo>
                  <a:lnTo>
                    <a:pt x="7257" y="1176"/>
                  </a:lnTo>
                  <a:lnTo>
                    <a:pt x="8225" y="1003"/>
                  </a:lnTo>
                  <a:lnTo>
                    <a:pt x="9504" y="796"/>
                  </a:lnTo>
                  <a:lnTo>
                    <a:pt x="10989" y="554"/>
                  </a:lnTo>
                  <a:lnTo>
                    <a:pt x="12648" y="346"/>
                  </a:lnTo>
                  <a:lnTo>
                    <a:pt x="14445" y="174"/>
                  </a:lnTo>
                  <a:lnTo>
                    <a:pt x="16277" y="35"/>
                  </a:lnTo>
                  <a:lnTo>
                    <a:pt x="17210" y="1"/>
                  </a:lnTo>
                  <a:lnTo>
                    <a:pt x="18143" y="1"/>
                  </a:lnTo>
                  <a:lnTo>
                    <a:pt x="19076" y="1"/>
                  </a:lnTo>
                  <a:lnTo>
                    <a:pt x="19940" y="70"/>
                  </a:lnTo>
                  <a:lnTo>
                    <a:pt x="20838" y="139"/>
                  </a:lnTo>
                  <a:lnTo>
                    <a:pt x="21667" y="243"/>
                  </a:lnTo>
                  <a:lnTo>
                    <a:pt x="22462" y="381"/>
                  </a:lnTo>
                  <a:lnTo>
                    <a:pt x="23188" y="554"/>
                  </a:lnTo>
                  <a:lnTo>
                    <a:pt x="23879" y="796"/>
                  </a:lnTo>
                  <a:lnTo>
                    <a:pt x="24501" y="1038"/>
                  </a:lnTo>
                  <a:lnTo>
                    <a:pt x="25088" y="1383"/>
                  </a:lnTo>
                  <a:lnTo>
                    <a:pt x="25330" y="1556"/>
                  </a:lnTo>
                  <a:lnTo>
                    <a:pt x="25572" y="1729"/>
                  </a:lnTo>
                  <a:lnTo>
                    <a:pt x="25780" y="1936"/>
                  </a:lnTo>
                  <a:lnTo>
                    <a:pt x="25952" y="2143"/>
                  </a:lnTo>
                  <a:lnTo>
                    <a:pt x="26125" y="2385"/>
                  </a:lnTo>
                  <a:lnTo>
                    <a:pt x="26263" y="2627"/>
                  </a:lnTo>
                  <a:lnTo>
                    <a:pt x="26402" y="2904"/>
                  </a:lnTo>
                  <a:lnTo>
                    <a:pt x="26505" y="3180"/>
                  </a:lnTo>
                  <a:lnTo>
                    <a:pt x="26574" y="3456"/>
                  </a:lnTo>
                  <a:lnTo>
                    <a:pt x="26609" y="3768"/>
                  </a:lnTo>
                  <a:lnTo>
                    <a:pt x="26609" y="3768"/>
                  </a:lnTo>
                  <a:lnTo>
                    <a:pt x="26678" y="5046"/>
                  </a:lnTo>
                  <a:lnTo>
                    <a:pt x="26713" y="6256"/>
                  </a:lnTo>
                  <a:lnTo>
                    <a:pt x="26713" y="6256"/>
                  </a:lnTo>
                  <a:lnTo>
                    <a:pt x="26713" y="7016"/>
                  </a:lnTo>
                  <a:lnTo>
                    <a:pt x="26713" y="7776"/>
                  </a:lnTo>
                  <a:lnTo>
                    <a:pt x="26782" y="9297"/>
                  </a:lnTo>
                  <a:lnTo>
                    <a:pt x="26782" y="9297"/>
                  </a:lnTo>
                  <a:lnTo>
                    <a:pt x="26851" y="10644"/>
                  </a:lnTo>
                  <a:lnTo>
                    <a:pt x="26885" y="12165"/>
                  </a:lnTo>
                  <a:lnTo>
                    <a:pt x="26851" y="13893"/>
                  </a:lnTo>
                  <a:lnTo>
                    <a:pt x="26816" y="14895"/>
                  </a:lnTo>
                  <a:lnTo>
                    <a:pt x="26747" y="1593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74" name="Google Shape;2403;p11">
              <a:extLst>
                <a:ext uri="{FF2B5EF4-FFF2-40B4-BE49-F238E27FC236}">
                  <a16:creationId xmlns:a16="http://schemas.microsoft.com/office/drawing/2014/main" id="{D64EE57C-8220-1BF3-34D0-50829DAE8E9C}"/>
                </a:ext>
              </a:extLst>
            </p:cNvPr>
            <p:cNvSpPr/>
            <p:nvPr/>
          </p:nvSpPr>
          <p:spPr>
            <a:xfrm>
              <a:off x="6146000" y="3107150"/>
              <a:ext cx="1750" cy="900"/>
            </a:xfrm>
            <a:custGeom>
              <a:avLst/>
              <a:gdLst/>
              <a:ahLst/>
              <a:cxnLst/>
              <a:rect l="l" t="t" r="r" b="b"/>
              <a:pathLst>
                <a:path w="70" h="36" extrusionOk="0">
                  <a:moveTo>
                    <a:pt x="0" y="1"/>
                  </a:moveTo>
                  <a:lnTo>
                    <a:pt x="35" y="35"/>
                  </a:lnTo>
                  <a:lnTo>
                    <a:pt x="70" y="1"/>
                  </a:lnTo>
                  <a:close/>
                </a:path>
              </a:pathLst>
            </a:custGeom>
            <a:solidFill>
              <a:srgbClr val="34344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75" name="Google Shape;2404;p11">
              <a:extLst>
                <a:ext uri="{FF2B5EF4-FFF2-40B4-BE49-F238E27FC236}">
                  <a16:creationId xmlns:a16="http://schemas.microsoft.com/office/drawing/2014/main" id="{E6846825-7891-0E1C-0928-D43F0391C7E0}"/>
                </a:ext>
              </a:extLst>
            </p:cNvPr>
            <p:cNvSpPr/>
            <p:nvPr/>
          </p:nvSpPr>
          <p:spPr>
            <a:xfrm>
              <a:off x="6146000" y="3107150"/>
              <a:ext cx="1750" cy="900"/>
            </a:xfrm>
            <a:custGeom>
              <a:avLst/>
              <a:gdLst/>
              <a:ahLst/>
              <a:cxnLst/>
              <a:rect l="l" t="t" r="r" b="b"/>
              <a:pathLst>
                <a:path w="70" h="36" fill="none" extrusionOk="0">
                  <a:moveTo>
                    <a:pt x="0" y="1"/>
                  </a:moveTo>
                  <a:lnTo>
                    <a:pt x="0" y="1"/>
                  </a:lnTo>
                  <a:lnTo>
                    <a:pt x="35" y="35"/>
                  </a:lnTo>
                  <a:lnTo>
                    <a:pt x="70" y="1"/>
                  </a:lnTo>
                  <a:lnTo>
                    <a:pt x="0"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76" name="Google Shape;2405;p11">
              <a:extLst>
                <a:ext uri="{FF2B5EF4-FFF2-40B4-BE49-F238E27FC236}">
                  <a16:creationId xmlns:a16="http://schemas.microsoft.com/office/drawing/2014/main" id="{F017ECB3-BD73-4912-DFB4-8BFE8F9A9C71}"/>
                </a:ext>
              </a:extLst>
            </p:cNvPr>
            <p:cNvSpPr/>
            <p:nvPr/>
          </p:nvSpPr>
          <p:spPr>
            <a:xfrm>
              <a:off x="6084650" y="3115800"/>
              <a:ext cx="25" cy="25"/>
            </a:xfrm>
            <a:custGeom>
              <a:avLst/>
              <a:gdLst/>
              <a:ahLst/>
              <a:cxnLst/>
              <a:rect l="l" t="t" r="r" b="b"/>
              <a:pathLst>
                <a:path w="1" h="1" extrusionOk="0">
                  <a:moveTo>
                    <a:pt x="1" y="0"/>
                  </a:moveTo>
                  <a:lnTo>
                    <a:pt x="1" y="0"/>
                  </a:lnTo>
                  <a:lnTo>
                    <a:pt x="1" y="0"/>
                  </a:lnTo>
                  <a:lnTo>
                    <a:pt x="1" y="0"/>
                  </a:lnTo>
                  <a:close/>
                </a:path>
              </a:pathLst>
            </a:custGeom>
            <a:solidFill>
              <a:srgbClr val="31314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77" name="Google Shape;2406;p11">
              <a:extLst>
                <a:ext uri="{FF2B5EF4-FFF2-40B4-BE49-F238E27FC236}">
                  <a16:creationId xmlns:a16="http://schemas.microsoft.com/office/drawing/2014/main" id="{6C5F339C-1DDA-7144-DAC2-AC3EB7D25791}"/>
                </a:ext>
              </a:extLst>
            </p:cNvPr>
            <p:cNvSpPr/>
            <p:nvPr/>
          </p:nvSpPr>
          <p:spPr>
            <a:xfrm>
              <a:off x="6084650" y="3115800"/>
              <a:ext cx="25" cy="25"/>
            </a:xfrm>
            <a:custGeom>
              <a:avLst/>
              <a:gdLst/>
              <a:ahLst/>
              <a:cxnLst/>
              <a:rect l="l" t="t" r="r" b="b"/>
              <a:pathLst>
                <a:path w="1" h="1" fill="none" extrusionOk="0">
                  <a:moveTo>
                    <a:pt x="1" y="0"/>
                  </a:moveTo>
                  <a:lnTo>
                    <a:pt x="1" y="0"/>
                  </a:lnTo>
                  <a:lnTo>
                    <a:pt x="1" y="0"/>
                  </a:lnTo>
                  <a:lnTo>
                    <a:pt x="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78" name="Google Shape;2407;p11">
              <a:extLst>
                <a:ext uri="{FF2B5EF4-FFF2-40B4-BE49-F238E27FC236}">
                  <a16:creationId xmlns:a16="http://schemas.microsoft.com/office/drawing/2014/main" id="{8996A1D7-4D2A-78C3-C1E9-1739B446968E}"/>
                </a:ext>
              </a:extLst>
            </p:cNvPr>
            <p:cNvSpPr/>
            <p:nvPr/>
          </p:nvSpPr>
          <p:spPr>
            <a:xfrm>
              <a:off x="6087250" y="3199600"/>
              <a:ext cx="17300" cy="47525"/>
            </a:xfrm>
            <a:custGeom>
              <a:avLst/>
              <a:gdLst/>
              <a:ahLst/>
              <a:cxnLst/>
              <a:rect l="l" t="t" r="r" b="b"/>
              <a:pathLst>
                <a:path w="692" h="1901" extrusionOk="0">
                  <a:moveTo>
                    <a:pt x="692" y="0"/>
                  </a:moveTo>
                  <a:lnTo>
                    <a:pt x="692" y="0"/>
                  </a:lnTo>
                  <a:lnTo>
                    <a:pt x="1" y="1901"/>
                  </a:lnTo>
                  <a:lnTo>
                    <a:pt x="1" y="1901"/>
                  </a:lnTo>
                  <a:lnTo>
                    <a:pt x="692" y="0"/>
                  </a:lnTo>
                  <a:close/>
                </a:path>
              </a:pathLst>
            </a:custGeom>
            <a:solidFill>
              <a:srgbClr val="86869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79" name="Google Shape;2408;p11">
              <a:extLst>
                <a:ext uri="{FF2B5EF4-FFF2-40B4-BE49-F238E27FC236}">
                  <a16:creationId xmlns:a16="http://schemas.microsoft.com/office/drawing/2014/main" id="{26AFB68F-C647-0374-F3DE-EBDF843D4050}"/>
                </a:ext>
              </a:extLst>
            </p:cNvPr>
            <p:cNvSpPr/>
            <p:nvPr/>
          </p:nvSpPr>
          <p:spPr>
            <a:xfrm>
              <a:off x="6087250" y="3199600"/>
              <a:ext cx="17300" cy="47525"/>
            </a:xfrm>
            <a:custGeom>
              <a:avLst/>
              <a:gdLst/>
              <a:ahLst/>
              <a:cxnLst/>
              <a:rect l="l" t="t" r="r" b="b"/>
              <a:pathLst>
                <a:path w="692" h="1901" fill="none" extrusionOk="0">
                  <a:moveTo>
                    <a:pt x="692" y="0"/>
                  </a:moveTo>
                  <a:lnTo>
                    <a:pt x="692" y="0"/>
                  </a:lnTo>
                  <a:lnTo>
                    <a:pt x="1" y="1901"/>
                  </a:lnTo>
                  <a:lnTo>
                    <a:pt x="1" y="1901"/>
                  </a:lnTo>
                  <a:lnTo>
                    <a:pt x="692"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80" name="Google Shape;2409;p11">
              <a:extLst>
                <a:ext uri="{FF2B5EF4-FFF2-40B4-BE49-F238E27FC236}">
                  <a16:creationId xmlns:a16="http://schemas.microsoft.com/office/drawing/2014/main" id="{B9C0003A-B269-3425-B849-96FC33BB58CC}"/>
                </a:ext>
              </a:extLst>
            </p:cNvPr>
            <p:cNvSpPr/>
            <p:nvPr/>
          </p:nvSpPr>
          <p:spPr>
            <a:xfrm>
              <a:off x="6065650" y="3115800"/>
              <a:ext cx="38900" cy="193525"/>
            </a:xfrm>
            <a:custGeom>
              <a:avLst/>
              <a:gdLst/>
              <a:ahLst/>
              <a:cxnLst/>
              <a:rect l="l" t="t" r="r" b="b"/>
              <a:pathLst>
                <a:path w="1556" h="7741" extrusionOk="0">
                  <a:moveTo>
                    <a:pt x="761" y="0"/>
                  </a:moveTo>
                  <a:lnTo>
                    <a:pt x="1" y="7741"/>
                  </a:lnTo>
                  <a:lnTo>
                    <a:pt x="865" y="5253"/>
                  </a:lnTo>
                  <a:lnTo>
                    <a:pt x="1556" y="3352"/>
                  </a:lnTo>
                  <a:lnTo>
                    <a:pt x="1107" y="1625"/>
                  </a:lnTo>
                  <a:lnTo>
                    <a:pt x="865" y="588"/>
                  </a:lnTo>
                  <a:lnTo>
                    <a:pt x="796" y="139"/>
                  </a:lnTo>
                  <a:lnTo>
                    <a:pt x="761" y="0"/>
                  </a:lnTo>
                  <a:close/>
                </a:path>
              </a:pathLst>
            </a:custGeom>
            <a:solidFill>
              <a:srgbClr val="31314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81" name="Google Shape;2410;p11">
              <a:extLst>
                <a:ext uri="{FF2B5EF4-FFF2-40B4-BE49-F238E27FC236}">
                  <a16:creationId xmlns:a16="http://schemas.microsoft.com/office/drawing/2014/main" id="{CE934C5E-9D8D-ABB2-E83E-A2430D80489E}"/>
                </a:ext>
              </a:extLst>
            </p:cNvPr>
            <p:cNvSpPr/>
            <p:nvPr/>
          </p:nvSpPr>
          <p:spPr>
            <a:xfrm>
              <a:off x="6065650" y="3115800"/>
              <a:ext cx="38900" cy="193525"/>
            </a:xfrm>
            <a:custGeom>
              <a:avLst/>
              <a:gdLst/>
              <a:ahLst/>
              <a:cxnLst/>
              <a:rect l="l" t="t" r="r" b="b"/>
              <a:pathLst>
                <a:path w="1556" h="7741" fill="none" extrusionOk="0">
                  <a:moveTo>
                    <a:pt x="761" y="0"/>
                  </a:moveTo>
                  <a:lnTo>
                    <a:pt x="1" y="7741"/>
                  </a:lnTo>
                  <a:lnTo>
                    <a:pt x="1" y="7741"/>
                  </a:lnTo>
                  <a:lnTo>
                    <a:pt x="865" y="5253"/>
                  </a:lnTo>
                  <a:lnTo>
                    <a:pt x="865" y="5253"/>
                  </a:lnTo>
                  <a:lnTo>
                    <a:pt x="1556" y="3352"/>
                  </a:lnTo>
                  <a:lnTo>
                    <a:pt x="1556" y="3352"/>
                  </a:lnTo>
                  <a:lnTo>
                    <a:pt x="1556" y="3352"/>
                  </a:lnTo>
                  <a:lnTo>
                    <a:pt x="1556" y="3352"/>
                  </a:lnTo>
                  <a:lnTo>
                    <a:pt x="1107" y="1625"/>
                  </a:lnTo>
                  <a:lnTo>
                    <a:pt x="865" y="588"/>
                  </a:lnTo>
                  <a:lnTo>
                    <a:pt x="796" y="139"/>
                  </a:lnTo>
                  <a:lnTo>
                    <a:pt x="76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82" name="Google Shape;2411;p11">
              <a:extLst>
                <a:ext uri="{FF2B5EF4-FFF2-40B4-BE49-F238E27FC236}">
                  <a16:creationId xmlns:a16="http://schemas.microsoft.com/office/drawing/2014/main" id="{F918D897-06B2-277F-C48A-443D1E8DB351}"/>
                </a:ext>
              </a:extLst>
            </p:cNvPr>
            <p:cNvSpPr/>
            <p:nvPr/>
          </p:nvSpPr>
          <p:spPr>
            <a:xfrm>
              <a:off x="6194375" y="2923150"/>
              <a:ext cx="105425" cy="96775"/>
            </a:xfrm>
            <a:custGeom>
              <a:avLst/>
              <a:gdLst/>
              <a:ahLst/>
              <a:cxnLst/>
              <a:rect l="l" t="t" r="r" b="b"/>
              <a:pathLst>
                <a:path w="4217" h="3871" extrusionOk="0">
                  <a:moveTo>
                    <a:pt x="1" y="0"/>
                  </a:moveTo>
                  <a:lnTo>
                    <a:pt x="104" y="311"/>
                  </a:lnTo>
                  <a:lnTo>
                    <a:pt x="243" y="622"/>
                  </a:lnTo>
                  <a:lnTo>
                    <a:pt x="415" y="899"/>
                  </a:lnTo>
                  <a:lnTo>
                    <a:pt x="588" y="1210"/>
                  </a:lnTo>
                  <a:lnTo>
                    <a:pt x="795" y="1486"/>
                  </a:lnTo>
                  <a:lnTo>
                    <a:pt x="1037" y="1763"/>
                  </a:lnTo>
                  <a:lnTo>
                    <a:pt x="1556" y="2246"/>
                  </a:lnTo>
                  <a:lnTo>
                    <a:pt x="2178" y="2730"/>
                  </a:lnTo>
                  <a:lnTo>
                    <a:pt x="2834" y="3145"/>
                  </a:lnTo>
                  <a:lnTo>
                    <a:pt x="3491" y="3525"/>
                  </a:lnTo>
                  <a:lnTo>
                    <a:pt x="4216" y="3871"/>
                  </a:lnTo>
                  <a:lnTo>
                    <a:pt x="3664" y="3594"/>
                  </a:lnTo>
                  <a:lnTo>
                    <a:pt x="3975" y="2938"/>
                  </a:lnTo>
                  <a:lnTo>
                    <a:pt x="3525" y="2834"/>
                  </a:lnTo>
                  <a:lnTo>
                    <a:pt x="3111" y="2696"/>
                  </a:lnTo>
                  <a:lnTo>
                    <a:pt x="2661" y="2523"/>
                  </a:lnTo>
                  <a:lnTo>
                    <a:pt x="2247" y="2316"/>
                  </a:lnTo>
                  <a:lnTo>
                    <a:pt x="1832" y="2074"/>
                  </a:lnTo>
                  <a:lnTo>
                    <a:pt x="1452" y="1797"/>
                  </a:lnTo>
                  <a:lnTo>
                    <a:pt x="1072" y="1452"/>
                  </a:lnTo>
                  <a:lnTo>
                    <a:pt x="692" y="1106"/>
                  </a:lnTo>
                  <a:lnTo>
                    <a:pt x="450" y="830"/>
                  </a:lnTo>
                  <a:lnTo>
                    <a:pt x="277" y="553"/>
                  </a:lnTo>
                  <a:lnTo>
                    <a:pt x="104" y="277"/>
                  </a:lnTo>
                  <a:lnTo>
                    <a:pt x="1" y="0"/>
                  </a:lnTo>
                  <a:close/>
                </a:path>
              </a:pathLst>
            </a:custGeom>
            <a:solidFill>
              <a:srgbClr val="38384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83" name="Google Shape;2412;p11">
              <a:extLst>
                <a:ext uri="{FF2B5EF4-FFF2-40B4-BE49-F238E27FC236}">
                  <a16:creationId xmlns:a16="http://schemas.microsoft.com/office/drawing/2014/main" id="{5F47AAC2-8B32-B910-05D5-9BC5B525CD87}"/>
                </a:ext>
              </a:extLst>
            </p:cNvPr>
            <p:cNvSpPr/>
            <p:nvPr/>
          </p:nvSpPr>
          <p:spPr>
            <a:xfrm>
              <a:off x="6194375" y="2923150"/>
              <a:ext cx="105425" cy="96775"/>
            </a:xfrm>
            <a:custGeom>
              <a:avLst/>
              <a:gdLst/>
              <a:ahLst/>
              <a:cxnLst/>
              <a:rect l="l" t="t" r="r" b="b"/>
              <a:pathLst>
                <a:path w="4217" h="3871" fill="none" extrusionOk="0">
                  <a:moveTo>
                    <a:pt x="1" y="0"/>
                  </a:moveTo>
                  <a:lnTo>
                    <a:pt x="1" y="0"/>
                  </a:lnTo>
                  <a:lnTo>
                    <a:pt x="104" y="311"/>
                  </a:lnTo>
                  <a:lnTo>
                    <a:pt x="243" y="622"/>
                  </a:lnTo>
                  <a:lnTo>
                    <a:pt x="415" y="899"/>
                  </a:lnTo>
                  <a:lnTo>
                    <a:pt x="588" y="1210"/>
                  </a:lnTo>
                  <a:lnTo>
                    <a:pt x="795" y="1486"/>
                  </a:lnTo>
                  <a:lnTo>
                    <a:pt x="1037" y="1763"/>
                  </a:lnTo>
                  <a:lnTo>
                    <a:pt x="1556" y="2246"/>
                  </a:lnTo>
                  <a:lnTo>
                    <a:pt x="2178" y="2730"/>
                  </a:lnTo>
                  <a:lnTo>
                    <a:pt x="2834" y="3145"/>
                  </a:lnTo>
                  <a:lnTo>
                    <a:pt x="3491" y="3525"/>
                  </a:lnTo>
                  <a:lnTo>
                    <a:pt x="4216" y="3871"/>
                  </a:lnTo>
                  <a:lnTo>
                    <a:pt x="4216" y="3871"/>
                  </a:lnTo>
                  <a:lnTo>
                    <a:pt x="3664" y="3594"/>
                  </a:lnTo>
                  <a:lnTo>
                    <a:pt x="3664" y="3594"/>
                  </a:lnTo>
                  <a:lnTo>
                    <a:pt x="3975" y="2938"/>
                  </a:lnTo>
                  <a:lnTo>
                    <a:pt x="3975" y="2938"/>
                  </a:lnTo>
                  <a:lnTo>
                    <a:pt x="3525" y="2834"/>
                  </a:lnTo>
                  <a:lnTo>
                    <a:pt x="3111" y="2696"/>
                  </a:lnTo>
                  <a:lnTo>
                    <a:pt x="2661" y="2523"/>
                  </a:lnTo>
                  <a:lnTo>
                    <a:pt x="2247" y="2316"/>
                  </a:lnTo>
                  <a:lnTo>
                    <a:pt x="1832" y="2074"/>
                  </a:lnTo>
                  <a:lnTo>
                    <a:pt x="1452" y="1797"/>
                  </a:lnTo>
                  <a:lnTo>
                    <a:pt x="1072" y="1452"/>
                  </a:lnTo>
                  <a:lnTo>
                    <a:pt x="692" y="1106"/>
                  </a:lnTo>
                  <a:lnTo>
                    <a:pt x="692" y="1106"/>
                  </a:lnTo>
                  <a:lnTo>
                    <a:pt x="450" y="830"/>
                  </a:lnTo>
                  <a:lnTo>
                    <a:pt x="277" y="553"/>
                  </a:lnTo>
                  <a:lnTo>
                    <a:pt x="104" y="277"/>
                  </a:lnTo>
                  <a:lnTo>
                    <a:pt x="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84" name="Google Shape;2413;p11">
              <a:extLst>
                <a:ext uri="{FF2B5EF4-FFF2-40B4-BE49-F238E27FC236}">
                  <a16:creationId xmlns:a16="http://schemas.microsoft.com/office/drawing/2014/main" id="{15BE7204-57EF-D769-3207-2C326764B600}"/>
                </a:ext>
              </a:extLst>
            </p:cNvPr>
            <p:cNvSpPr/>
            <p:nvPr/>
          </p:nvSpPr>
          <p:spPr>
            <a:xfrm>
              <a:off x="6412075" y="3016450"/>
              <a:ext cx="900" cy="41500"/>
            </a:xfrm>
            <a:custGeom>
              <a:avLst/>
              <a:gdLst/>
              <a:ahLst/>
              <a:cxnLst/>
              <a:rect l="l" t="t" r="r" b="b"/>
              <a:pathLst>
                <a:path w="36" h="1660" extrusionOk="0">
                  <a:moveTo>
                    <a:pt x="35" y="0"/>
                  </a:moveTo>
                  <a:lnTo>
                    <a:pt x="1" y="1659"/>
                  </a:lnTo>
                  <a:lnTo>
                    <a:pt x="35" y="933"/>
                  </a:lnTo>
                  <a:lnTo>
                    <a:pt x="35" y="0"/>
                  </a:lnTo>
                  <a:close/>
                </a:path>
              </a:pathLst>
            </a:custGeom>
            <a:solidFill>
              <a:srgbClr val="B1B1B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85" name="Google Shape;2414;p11">
              <a:extLst>
                <a:ext uri="{FF2B5EF4-FFF2-40B4-BE49-F238E27FC236}">
                  <a16:creationId xmlns:a16="http://schemas.microsoft.com/office/drawing/2014/main" id="{BF80F05D-2890-A392-1A5E-44EA28F3DE70}"/>
                </a:ext>
              </a:extLst>
            </p:cNvPr>
            <p:cNvSpPr/>
            <p:nvPr/>
          </p:nvSpPr>
          <p:spPr>
            <a:xfrm>
              <a:off x="6412075" y="3016450"/>
              <a:ext cx="900" cy="41500"/>
            </a:xfrm>
            <a:custGeom>
              <a:avLst/>
              <a:gdLst/>
              <a:ahLst/>
              <a:cxnLst/>
              <a:rect l="l" t="t" r="r" b="b"/>
              <a:pathLst>
                <a:path w="36" h="1660" fill="none" extrusionOk="0">
                  <a:moveTo>
                    <a:pt x="35" y="0"/>
                  </a:moveTo>
                  <a:lnTo>
                    <a:pt x="35" y="0"/>
                  </a:lnTo>
                  <a:lnTo>
                    <a:pt x="35" y="0"/>
                  </a:lnTo>
                  <a:lnTo>
                    <a:pt x="35" y="0"/>
                  </a:lnTo>
                  <a:lnTo>
                    <a:pt x="1" y="1659"/>
                  </a:lnTo>
                  <a:lnTo>
                    <a:pt x="1" y="1659"/>
                  </a:lnTo>
                  <a:lnTo>
                    <a:pt x="35" y="933"/>
                  </a:lnTo>
                  <a:lnTo>
                    <a:pt x="35"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86" name="Google Shape;2415;p11">
              <a:extLst>
                <a:ext uri="{FF2B5EF4-FFF2-40B4-BE49-F238E27FC236}">
                  <a16:creationId xmlns:a16="http://schemas.microsoft.com/office/drawing/2014/main" id="{01C41114-457D-A37E-D9E7-26DB07B32B8F}"/>
                </a:ext>
              </a:extLst>
            </p:cNvPr>
            <p:cNvSpPr/>
            <p:nvPr/>
          </p:nvSpPr>
          <p:spPr>
            <a:xfrm>
              <a:off x="6391350" y="3016450"/>
              <a:ext cx="21625" cy="41500"/>
            </a:xfrm>
            <a:custGeom>
              <a:avLst/>
              <a:gdLst/>
              <a:ahLst/>
              <a:cxnLst/>
              <a:rect l="l" t="t" r="r" b="b"/>
              <a:pathLst>
                <a:path w="865" h="1660" extrusionOk="0">
                  <a:moveTo>
                    <a:pt x="864" y="0"/>
                  </a:moveTo>
                  <a:lnTo>
                    <a:pt x="104" y="1383"/>
                  </a:lnTo>
                  <a:lnTo>
                    <a:pt x="70" y="1417"/>
                  </a:lnTo>
                  <a:lnTo>
                    <a:pt x="0" y="1452"/>
                  </a:lnTo>
                  <a:lnTo>
                    <a:pt x="830" y="1659"/>
                  </a:lnTo>
                  <a:lnTo>
                    <a:pt x="864" y="0"/>
                  </a:lnTo>
                  <a:close/>
                </a:path>
              </a:pathLst>
            </a:custGeom>
            <a:solidFill>
              <a:srgbClr val="38384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87" name="Google Shape;2416;p11">
              <a:extLst>
                <a:ext uri="{FF2B5EF4-FFF2-40B4-BE49-F238E27FC236}">
                  <a16:creationId xmlns:a16="http://schemas.microsoft.com/office/drawing/2014/main" id="{283D5F46-E866-3176-FA1E-4AAB791973D1}"/>
                </a:ext>
              </a:extLst>
            </p:cNvPr>
            <p:cNvSpPr/>
            <p:nvPr/>
          </p:nvSpPr>
          <p:spPr>
            <a:xfrm>
              <a:off x="6391350" y="3016450"/>
              <a:ext cx="21625" cy="41500"/>
            </a:xfrm>
            <a:custGeom>
              <a:avLst/>
              <a:gdLst/>
              <a:ahLst/>
              <a:cxnLst/>
              <a:rect l="l" t="t" r="r" b="b"/>
              <a:pathLst>
                <a:path w="865" h="1660" fill="none" extrusionOk="0">
                  <a:moveTo>
                    <a:pt x="864" y="0"/>
                  </a:moveTo>
                  <a:lnTo>
                    <a:pt x="864" y="0"/>
                  </a:lnTo>
                  <a:lnTo>
                    <a:pt x="104" y="1383"/>
                  </a:lnTo>
                  <a:lnTo>
                    <a:pt x="104" y="1383"/>
                  </a:lnTo>
                  <a:lnTo>
                    <a:pt x="70" y="1417"/>
                  </a:lnTo>
                  <a:lnTo>
                    <a:pt x="0" y="1452"/>
                  </a:lnTo>
                  <a:lnTo>
                    <a:pt x="0" y="1452"/>
                  </a:lnTo>
                  <a:lnTo>
                    <a:pt x="830" y="1659"/>
                  </a:lnTo>
                  <a:lnTo>
                    <a:pt x="830" y="1659"/>
                  </a:lnTo>
                  <a:lnTo>
                    <a:pt x="830" y="1659"/>
                  </a:lnTo>
                  <a:lnTo>
                    <a:pt x="830" y="1659"/>
                  </a:lnTo>
                  <a:lnTo>
                    <a:pt x="864"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88" name="Google Shape;2417;p11">
              <a:extLst>
                <a:ext uri="{FF2B5EF4-FFF2-40B4-BE49-F238E27FC236}">
                  <a16:creationId xmlns:a16="http://schemas.microsoft.com/office/drawing/2014/main" id="{A3FFFE27-E435-F426-8931-641FF013C37D}"/>
                </a:ext>
              </a:extLst>
            </p:cNvPr>
            <p:cNvSpPr/>
            <p:nvPr/>
          </p:nvSpPr>
          <p:spPr>
            <a:xfrm>
              <a:off x="5885950" y="1997025"/>
              <a:ext cx="484700" cy="919225"/>
            </a:xfrm>
            <a:custGeom>
              <a:avLst/>
              <a:gdLst/>
              <a:ahLst/>
              <a:cxnLst/>
              <a:rect l="l" t="t" r="r" b="b"/>
              <a:pathLst>
                <a:path w="19388" h="36769" extrusionOk="0">
                  <a:moveTo>
                    <a:pt x="8744" y="1"/>
                  </a:moveTo>
                  <a:lnTo>
                    <a:pt x="8502" y="70"/>
                  </a:lnTo>
                  <a:lnTo>
                    <a:pt x="8260" y="208"/>
                  </a:lnTo>
                  <a:lnTo>
                    <a:pt x="8087" y="381"/>
                  </a:lnTo>
                  <a:lnTo>
                    <a:pt x="7880" y="588"/>
                  </a:lnTo>
                  <a:lnTo>
                    <a:pt x="7534" y="1038"/>
                  </a:lnTo>
                  <a:lnTo>
                    <a:pt x="7154" y="1556"/>
                  </a:lnTo>
                  <a:lnTo>
                    <a:pt x="6981" y="1798"/>
                  </a:lnTo>
                  <a:lnTo>
                    <a:pt x="6774" y="2005"/>
                  </a:lnTo>
                  <a:lnTo>
                    <a:pt x="6567" y="2212"/>
                  </a:lnTo>
                  <a:lnTo>
                    <a:pt x="6325" y="2351"/>
                  </a:lnTo>
                  <a:lnTo>
                    <a:pt x="6048" y="2454"/>
                  </a:lnTo>
                  <a:lnTo>
                    <a:pt x="5737" y="2523"/>
                  </a:lnTo>
                  <a:lnTo>
                    <a:pt x="5461" y="2523"/>
                  </a:lnTo>
                  <a:lnTo>
                    <a:pt x="5254" y="2489"/>
                  </a:lnTo>
                  <a:lnTo>
                    <a:pt x="5081" y="2420"/>
                  </a:lnTo>
                  <a:lnTo>
                    <a:pt x="4977" y="2316"/>
                  </a:lnTo>
                  <a:lnTo>
                    <a:pt x="4839" y="2074"/>
                  </a:lnTo>
                  <a:lnTo>
                    <a:pt x="4735" y="1936"/>
                  </a:lnTo>
                  <a:lnTo>
                    <a:pt x="4597" y="1763"/>
                  </a:lnTo>
                  <a:lnTo>
                    <a:pt x="4424" y="1590"/>
                  </a:lnTo>
                  <a:lnTo>
                    <a:pt x="4321" y="1521"/>
                  </a:lnTo>
                  <a:lnTo>
                    <a:pt x="4217" y="1452"/>
                  </a:lnTo>
                  <a:lnTo>
                    <a:pt x="3975" y="1452"/>
                  </a:lnTo>
                  <a:lnTo>
                    <a:pt x="3837" y="1521"/>
                  </a:lnTo>
                  <a:lnTo>
                    <a:pt x="3699" y="1660"/>
                  </a:lnTo>
                  <a:lnTo>
                    <a:pt x="3318" y="2074"/>
                  </a:lnTo>
                  <a:lnTo>
                    <a:pt x="2938" y="2523"/>
                  </a:lnTo>
                  <a:lnTo>
                    <a:pt x="2593" y="2973"/>
                  </a:lnTo>
                  <a:lnTo>
                    <a:pt x="2282" y="3422"/>
                  </a:lnTo>
                  <a:lnTo>
                    <a:pt x="2005" y="3906"/>
                  </a:lnTo>
                  <a:lnTo>
                    <a:pt x="1729" y="4424"/>
                  </a:lnTo>
                  <a:lnTo>
                    <a:pt x="1487" y="4942"/>
                  </a:lnTo>
                  <a:lnTo>
                    <a:pt x="1280" y="5461"/>
                  </a:lnTo>
                  <a:lnTo>
                    <a:pt x="1072" y="6014"/>
                  </a:lnTo>
                  <a:lnTo>
                    <a:pt x="899" y="6567"/>
                  </a:lnTo>
                  <a:lnTo>
                    <a:pt x="727" y="7119"/>
                  </a:lnTo>
                  <a:lnTo>
                    <a:pt x="588" y="7707"/>
                  </a:lnTo>
                  <a:lnTo>
                    <a:pt x="347" y="8882"/>
                  </a:lnTo>
                  <a:lnTo>
                    <a:pt x="174" y="10091"/>
                  </a:lnTo>
                  <a:lnTo>
                    <a:pt x="36" y="11335"/>
                  </a:lnTo>
                  <a:lnTo>
                    <a:pt x="1" y="12614"/>
                  </a:lnTo>
                  <a:lnTo>
                    <a:pt x="1" y="13893"/>
                  </a:lnTo>
                  <a:lnTo>
                    <a:pt x="36" y="15171"/>
                  </a:lnTo>
                  <a:lnTo>
                    <a:pt x="105" y="16484"/>
                  </a:lnTo>
                  <a:lnTo>
                    <a:pt x="243" y="17763"/>
                  </a:lnTo>
                  <a:lnTo>
                    <a:pt x="381" y="19076"/>
                  </a:lnTo>
                  <a:lnTo>
                    <a:pt x="554" y="20320"/>
                  </a:lnTo>
                  <a:lnTo>
                    <a:pt x="761" y="21599"/>
                  </a:lnTo>
                  <a:lnTo>
                    <a:pt x="969" y="22808"/>
                  </a:lnTo>
                  <a:lnTo>
                    <a:pt x="1452" y="25158"/>
                  </a:lnTo>
                  <a:lnTo>
                    <a:pt x="1902" y="27300"/>
                  </a:lnTo>
                  <a:lnTo>
                    <a:pt x="2351" y="29236"/>
                  </a:lnTo>
                  <a:lnTo>
                    <a:pt x="2696" y="30894"/>
                  </a:lnTo>
                  <a:lnTo>
                    <a:pt x="2938" y="32207"/>
                  </a:lnTo>
                  <a:lnTo>
                    <a:pt x="3007" y="32726"/>
                  </a:lnTo>
                  <a:lnTo>
                    <a:pt x="3042" y="33140"/>
                  </a:lnTo>
                  <a:lnTo>
                    <a:pt x="3042" y="33451"/>
                  </a:lnTo>
                  <a:lnTo>
                    <a:pt x="3007" y="33555"/>
                  </a:lnTo>
                  <a:lnTo>
                    <a:pt x="2973" y="33659"/>
                  </a:lnTo>
                  <a:lnTo>
                    <a:pt x="2904" y="33762"/>
                  </a:lnTo>
                  <a:lnTo>
                    <a:pt x="2904" y="33901"/>
                  </a:lnTo>
                  <a:lnTo>
                    <a:pt x="2904" y="34039"/>
                  </a:lnTo>
                  <a:lnTo>
                    <a:pt x="2973" y="34177"/>
                  </a:lnTo>
                  <a:lnTo>
                    <a:pt x="3111" y="34315"/>
                  </a:lnTo>
                  <a:lnTo>
                    <a:pt x="3249" y="34488"/>
                  </a:lnTo>
                  <a:lnTo>
                    <a:pt x="3629" y="34799"/>
                  </a:lnTo>
                  <a:lnTo>
                    <a:pt x="4148" y="35110"/>
                  </a:lnTo>
                  <a:lnTo>
                    <a:pt x="4804" y="35387"/>
                  </a:lnTo>
                  <a:lnTo>
                    <a:pt x="5530" y="35698"/>
                  </a:lnTo>
                  <a:lnTo>
                    <a:pt x="6325" y="35974"/>
                  </a:lnTo>
                  <a:lnTo>
                    <a:pt x="7189" y="36216"/>
                  </a:lnTo>
                  <a:lnTo>
                    <a:pt x="8087" y="36423"/>
                  </a:lnTo>
                  <a:lnTo>
                    <a:pt x="9055" y="36596"/>
                  </a:lnTo>
                  <a:lnTo>
                    <a:pt x="10022" y="36700"/>
                  </a:lnTo>
                  <a:lnTo>
                    <a:pt x="10955" y="36769"/>
                  </a:lnTo>
                  <a:lnTo>
                    <a:pt x="11923" y="36769"/>
                  </a:lnTo>
                  <a:lnTo>
                    <a:pt x="12821" y="36700"/>
                  </a:lnTo>
                  <a:lnTo>
                    <a:pt x="13271" y="36631"/>
                  </a:lnTo>
                  <a:lnTo>
                    <a:pt x="13720" y="36527"/>
                  </a:lnTo>
                  <a:lnTo>
                    <a:pt x="14273" y="36389"/>
                  </a:lnTo>
                  <a:lnTo>
                    <a:pt x="14791" y="36181"/>
                  </a:lnTo>
                  <a:lnTo>
                    <a:pt x="15275" y="35974"/>
                  </a:lnTo>
                  <a:lnTo>
                    <a:pt x="15724" y="35732"/>
                  </a:lnTo>
                  <a:lnTo>
                    <a:pt x="16139" y="35490"/>
                  </a:lnTo>
                  <a:lnTo>
                    <a:pt x="16519" y="35214"/>
                  </a:lnTo>
                  <a:lnTo>
                    <a:pt x="16864" y="34903"/>
                  </a:lnTo>
                  <a:lnTo>
                    <a:pt x="17210" y="34592"/>
                  </a:lnTo>
                  <a:lnTo>
                    <a:pt x="17487" y="34281"/>
                  </a:lnTo>
                  <a:lnTo>
                    <a:pt x="17763" y="33935"/>
                  </a:lnTo>
                  <a:lnTo>
                    <a:pt x="18005" y="33590"/>
                  </a:lnTo>
                  <a:lnTo>
                    <a:pt x="18212" y="33210"/>
                  </a:lnTo>
                  <a:lnTo>
                    <a:pt x="18420" y="32829"/>
                  </a:lnTo>
                  <a:lnTo>
                    <a:pt x="18592" y="32484"/>
                  </a:lnTo>
                  <a:lnTo>
                    <a:pt x="18869" y="31724"/>
                  </a:lnTo>
                  <a:lnTo>
                    <a:pt x="19076" y="30963"/>
                  </a:lnTo>
                  <a:lnTo>
                    <a:pt x="19214" y="30238"/>
                  </a:lnTo>
                  <a:lnTo>
                    <a:pt x="19318" y="29547"/>
                  </a:lnTo>
                  <a:lnTo>
                    <a:pt x="19353" y="28890"/>
                  </a:lnTo>
                  <a:lnTo>
                    <a:pt x="19387" y="28303"/>
                  </a:lnTo>
                  <a:lnTo>
                    <a:pt x="19353" y="27784"/>
                  </a:lnTo>
                  <a:lnTo>
                    <a:pt x="19283" y="27093"/>
                  </a:lnTo>
                  <a:lnTo>
                    <a:pt x="18592" y="22946"/>
                  </a:lnTo>
                  <a:lnTo>
                    <a:pt x="17176" y="15137"/>
                  </a:lnTo>
                  <a:lnTo>
                    <a:pt x="15171" y="4113"/>
                  </a:lnTo>
                  <a:lnTo>
                    <a:pt x="14618" y="3837"/>
                  </a:lnTo>
                  <a:lnTo>
                    <a:pt x="14031" y="3491"/>
                  </a:lnTo>
                  <a:lnTo>
                    <a:pt x="13271" y="3007"/>
                  </a:lnTo>
                  <a:lnTo>
                    <a:pt x="12372" y="2420"/>
                  </a:lnTo>
                  <a:lnTo>
                    <a:pt x="11370" y="1694"/>
                  </a:lnTo>
                  <a:lnTo>
                    <a:pt x="10333" y="899"/>
                  </a:lnTo>
                  <a:lnTo>
                    <a:pt x="9297" y="35"/>
                  </a:lnTo>
                  <a:lnTo>
                    <a:pt x="9020" y="1"/>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89" name="Google Shape;2418;p11">
              <a:extLst>
                <a:ext uri="{FF2B5EF4-FFF2-40B4-BE49-F238E27FC236}">
                  <a16:creationId xmlns:a16="http://schemas.microsoft.com/office/drawing/2014/main" id="{7BD8407B-1244-EFD3-2BC4-7E6343DD7428}"/>
                </a:ext>
              </a:extLst>
            </p:cNvPr>
            <p:cNvSpPr/>
            <p:nvPr/>
          </p:nvSpPr>
          <p:spPr>
            <a:xfrm>
              <a:off x="5885950" y="1997025"/>
              <a:ext cx="484700" cy="919225"/>
            </a:xfrm>
            <a:custGeom>
              <a:avLst/>
              <a:gdLst/>
              <a:ahLst/>
              <a:cxnLst/>
              <a:rect l="l" t="t" r="r" b="b"/>
              <a:pathLst>
                <a:path w="19388" h="36769" fill="none" extrusionOk="0">
                  <a:moveTo>
                    <a:pt x="9297" y="35"/>
                  </a:moveTo>
                  <a:lnTo>
                    <a:pt x="9297" y="35"/>
                  </a:lnTo>
                  <a:lnTo>
                    <a:pt x="9020" y="1"/>
                  </a:lnTo>
                  <a:lnTo>
                    <a:pt x="8744" y="1"/>
                  </a:lnTo>
                  <a:lnTo>
                    <a:pt x="8502" y="70"/>
                  </a:lnTo>
                  <a:lnTo>
                    <a:pt x="8260" y="208"/>
                  </a:lnTo>
                  <a:lnTo>
                    <a:pt x="8087" y="381"/>
                  </a:lnTo>
                  <a:lnTo>
                    <a:pt x="7880" y="588"/>
                  </a:lnTo>
                  <a:lnTo>
                    <a:pt x="7534" y="1038"/>
                  </a:lnTo>
                  <a:lnTo>
                    <a:pt x="7154" y="1556"/>
                  </a:lnTo>
                  <a:lnTo>
                    <a:pt x="6981" y="1798"/>
                  </a:lnTo>
                  <a:lnTo>
                    <a:pt x="6774" y="2005"/>
                  </a:lnTo>
                  <a:lnTo>
                    <a:pt x="6567" y="2212"/>
                  </a:lnTo>
                  <a:lnTo>
                    <a:pt x="6325" y="2351"/>
                  </a:lnTo>
                  <a:lnTo>
                    <a:pt x="6048" y="2454"/>
                  </a:lnTo>
                  <a:lnTo>
                    <a:pt x="5737" y="2523"/>
                  </a:lnTo>
                  <a:lnTo>
                    <a:pt x="5737" y="2523"/>
                  </a:lnTo>
                  <a:lnTo>
                    <a:pt x="5461" y="2523"/>
                  </a:lnTo>
                  <a:lnTo>
                    <a:pt x="5254" y="2489"/>
                  </a:lnTo>
                  <a:lnTo>
                    <a:pt x="5081" y="2420"/>
                  </a:lnTo>
                  <a:lnTo>
                    <a:pt x="4977" y="2316"/>
                  </a:lnTo>
                  <a:lnTo>
                    <a:pt x="4839" y="2074"/>
                  </a:lnTo>
                  <a:lnTo>
                    <a:pt x="4735" y="1936"/>
                  </a:lnTo>
                  <a:lnTo>
                    <a:pt x="4597" y="1763"/>
                  </a:lnTo>
                  <a:lnTo>
                    <a:pt x="4597" y="1763"/>
                  </a:lnTo>
                  <a:lnTo>
                    <a:pt x="4424" y="1590"/>
                  </a:lnTo>
                  <a:lnTo>
                    <a:pt x="4321" y="1521"/>
                  </a:lnTo>
                  <a:lnTo>
                    <a:pt x="4217" y="1452"/>
                  </a:lnTo>
                  <a:lnTo>
                    <a:pt x="4079" y="1452"/>
                  </a:lnTo>
                  <a:lnTo>
                    <a:pt x="3975" y="1452"/>
                  </a:lnTo>
                  <a:lnTo>
                    <a:pt x="3837" y="1521"/>
                  </a:lnTo>
                  <a:lnTo>
                    <a:pt x="3699" y="1660"/>
                  </a:lnTo>
                  <a:lnTo>
                    <a:pt x="3699" y="1660"/>
                  </a:lnTo>
                  <a:lnTo>
                    <a:pt x="3318" y="2074"/>
                  </a:lnTo>
                  <a:lnTo>
                    <a:pt x="2938" y="2523"/>
                  </a:lnTo>
                  <a:lnTo>
                    <a:pt x="2593" y="2973"/>
                  </a:lnTo>
                  <a:lnTo>
                    <a:pt x="2282" y="3422"/>
                  </a:lnTo>
                  <a:lnTo>
                    <a:pt x="2005" y="3906"/>
                  </a:lnTo>
                  <a:lnTo>
                    <a:pt x="1729" y="4424"/>
                  </a:lnTo>
                  <a:lnTo>
                    <a:pt x="1487" y="4942"/>
                  </a:lnTo>
                  <a:lnTo>
                    <a:pt x="1280" y="5461"/>
                  </a:lnTo>
                  <a:lnTo>
                    <a:pt x="1072" y="6014"/>
                  </a:lnTo>
                  <a:lnTo>
                    <a:pt x="899" y="6567"/>
                  </a:lnTo>
                  <a:lnTo>
                    <a:pt x="727" y="7119"/>
                  </a:lnTo>
                  <a:lnTo>
                    <a:pt x="588" y="7707"/>
                  </a:lnTo>
                  <a:lnTo>
                    <a:pt x="347" y="8882"/>
                  </a:lnTo>
                  <a:lnTo>
                    <a:pt x="174" y="10091"/>
                  </a:lnTo>
                  <a:lnTo>
                    <a:pt x="36" y="11335"/>
                  </a:lnTo>
                  <a:lnTo>
                    <a:pt x="1" y="12614"/>
                  </a:lnTo>
                  <a:lnTo>
                    <a:pt x="1" y="13893"/>
                  </a:lnTo>
                  <a:lnTo>
                    <a:pt x="36" y="15171"/>
                  </a:lnTo>
                  <a:lnTo>
                    <a:pt x="105" y="16484"/>
                  </a:lnTo>
                  <a:lnTo>
                    <a:pt x="243" y="17763"/>
                  </a:lnTo>
                  <a:lnTo>
                    <a:pt x="381" y="19076"/>
                  </a:lnTo>
                  <a:lnTo>
                    <a:pt x="554" y="20320"/>
                  </a:lnTo>
                  <a:lnTo>
                    <a:pt x="761" y="21599"/>
                  </a:lnTo>
                  <a:lnTo>
                    <a:pt x="969" y="22808"/>
                  </a:lnTo>
                  <a:lnTo>
                    <a:pt x="1452" y="25158"/>
                  </a:lnTo>
                  <a:lnTo>
                    <a:pt x="1902" y="27300"/>
                  </a:lnTo>
                  <a:lnTo>
                    <a:pt x="2351" y="29236"/>
                  </a:lnTo>
                  <a:lnTo>
                    <a:pt x="2696" y="30894"/>
                  </a:lnTo>
                  <a:lnTo>
                    <a:pt x="2938" y="32207"/>
                  </a:lnTo>
                  <a:lnTo>
                    <a:pt x="3007" y="32726"/>
                  </a:lnTo>
                  <a:lnTo>
                    <a:pt x="3042" y="33140"/>
                  </a:lnTo>
                  <a:lnTo>
                    <a:pt x="3042" y="33451"/>
                  </a:lnTo>
                  <a:lnTo>
                    <a:pt x="3007" y="33555"/>
                  </a:lnTo>
                  <a:lnTo>
                    <a:pt x="2973" y="33659"/>
                  </a:lnTo>
                  <a:lnTo>
                    <a:pt x="2973" y="33659"/>
                  </a:lnTo>
                  <a:lnTo>
                    <a:pt x="2904" y="33762"/>
                  </a:lnTo>
                  <a:lnTo>
                    <a:pt x="2904" y="33901"/>
                  </a:lnTo>
                  <a:lnTo>
                    <a:pt x="2904" y="34039"/>
                  </a:lnTo>
                  <a:lnTo>
                    <a:pt x="2973" y="34177"/>
                  </a:lnTo>
                  <a:lnTo>
                    <a:pt x="3111" y="34315"/>
                  </a:lnTo>
                  <a:lnTo>
                    <a:pt x="3249" y="34488"/>
                  </a:lnTo>
                  <a:lnTo>
                    <a:pt x="3629" y="34799"/>
                  </a:lnTo>
                  <a:lnTo>
                    <a:pt x="4148" y="35110"/>
                  </a:lnTo>
                  <a:lnTo>
                    <a:pt x="4804" y="35387"/>
                  </a:lnTo>
                  <a:lnTo>
                    <a:pt x="5530" y="35698"/>
                  </a:lnTo>
                  <a:lnTo>
                    <a:pt x="6325" y="35974"/>
                  </a:lnTo>
                  <a:lnTo>
                    <a:pt x="7189" y="36216"/>
                  </a:lnTo>
                  <a:lnTo>
                    <a:pt x="8087" y="36423"/>
                  </a:lnTo>
                  <a:lnTo>
                    <a:pt x="9055" y="36596"/>
                  </a:lnTo>
                  <a:lnTo>
                    <a:pt x="10022" y="36700"/>
                  </a:lnTo>
                  <a:lnTo>
                    <a:pt x="10955" y="36769"/>
                  </a:lnTo>
                  <a:lnTo>
                    <a:pt x="11923" y="36769"/>
                  </a:lnTo>
                  <a:lnTo>
                    <a:pt x="12821" y="36700"/>
                  </a:lnTo>
                  <a:lnTo>
                    <a:pt x="13271" y="36631"/>
                  </a:lnTo>
                  <a:lnTo>
                    <a:pt x="13720" y="36527"/>
                  </a:lnTo>
                  <a:lnTo>
                    <a:pt x="13720" y="36527"/>
                  </a:lnTo>
                  <a:lnTo>
                    <a:pt x="14273" y="36389"/>
                  </a:lnTo>
                  <a:lnTo>
                    <a:pt x="14791" y="36181"/>
                  </a:lnTo>
                  <a:lnTo>
                    <a:pt x="15275" y="35974"/>
                  </a:lnTo>
                  <a:lnTo>
                    <a:pt x="15724" y="35732"/>
                  </a:lnTo>
                  <a:lnTo>
                    <a:pt x="16139" y="35490"/>
                  </a:lnTo>
                  <a:lnTo>
                    <a:pt x="16519" y="35214"/>
                  </a:lnTo>
                  <a:lnTo>
                    <a:pt x="16864" y="34903"/>
                  </a:lnTo>
                  <a:lnTo>
                    <a:pt x="17210" y="34592"/>
                  </a:lnTo>
                  <a:lnTo>
                    <a:pt x="17487" y="34281"/>
                  </a:lnTo>
                  <a:lnTo>
                    <a:pt x="17763" y="33935"/>
                  </a:lnTo>
                  <a:lnTo>
                    <a:pt x="18005" y="33590"/>
                  </a:lnTo>
                  <a:lnTo>
                    <a:pt x="18212" y="33210"/>
                  </a:lnTo>
                  <a:lnTo>
                    <a:pt x="18420" y="32829"/>
                  </a:lnTo>
                  <a:lnTo>
                    <a:pt x="18592" y="32484"/>
                  </a:lnTo>
                  <a:lnTo>
                    <a:pt x="18869" y="31724"/>
                  </a:lnTo>
                  <a:lnTo>
                    <a:pt x="19076" y="30963"/>
                  </a:lnTo>
                  <a:lnTo>
                    <a:pt x="19214" y="30238"/>
                  </a:lnTo>
                  <a:lnTo>
                    <a:pt x="19318" y="29547"/>
                  </a:lnTo>
                  <a:lnTo>
                    <a:pt x="19353" y="28890"/>
                  </a:lnTo>
                  <a:lnTo>
                    <a:pt x="19387" y="28303"/>
                  </a:lnTo>
                  <a:lnTo>
                    <a:pt x="19353" y="27784"/>
                  </a:lnTo>
                  <a:lnTo>
                    <a:pt x="19283" y="27093"/>
                  </a:lnTo>
                  <a:lnTo>
                    <a:pt x="19283" y="27093"/>
                  </a:lnTo>
                  <a:lnTo>
                    <a:pt x="18592" y="22946"/>
                  </a:lnTo>
                  <a:lnTo>
                    <a:pt x="17176" y="15137"/>
                  </a:lnTo>
                  <a:lnTo>
                    <a:pt x="15171" y="4113"/>
                  </a:lnTo>
                  <a:lnTo>
                    <a:pt x="15171" y="4113"/>
                  </a:lnTo>
                  <a:lnTo>
                    <a:pt x="14618" y="3837"/>
                  </a:lnTo>
                  <a:lnTo>
                    <a:pt x="14031" y="3491"/>
                  </a:lnTo>
                  <a:lnTo>
                    <a:pt x="13271" y="3007"/>
                  </a:lnTo>
                  <a:lnTo>
                    <a:pt x="12372" y="2420"/>
                  </a:lnTo>
                  <a:lnTo>
                    <a:pt x="11370" y="1694"/>
                  </a:lnTo>
                  <a:lnTo>
                    <a:pt x="10333" y="899"/>
                  </a:lnTo>
                  <a:lnTo>
                    <a:pt x="9297" y="35"/>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90" name="Google Shape;2419;p11">
              <a:extLst>
                <a:ext uri="{FF2B5EF4-FFF2-40B4-BE49-F238E27FC236}">
                  <a16:creationId xmlns:a16="http://schemas.microsoft.com/office/drawing/2014/main" id="{34997090-625D-16C7-2320-69B426030F3E}"/>
                </a:ext>
              </a:extLst>
            </p:cNvPr>
            <p:cNvSpPr/>
            <p:nvPr/>
          </p:nvSpPr>
          <p:spPr>
            <a:xfrm>
              <a:off x="5226800" y="1711950"/>
              <a:ext cx="787900" cy="1279475"/>
            </a:xfrm>
            <a:custGeom>
              <a:avLst/>
              <a:gdLst/>
              <a:ahLst/>
              <a:cxnLst/>
              <a:rect l="l" t="t" r="r" b="b"/>
              <a:pathLst>
                <a:path w="31516" h="51179" extrusionOk="0">
                  <a:moveTo>
                    <a:pt x="2489" y="0"/>
                  </a:moveTo>
                  <a:lnTo>
                    <a:pt x="2385" y="69"/>
                  </a:lnTo>
                  <a:lnTo>
                    <a:pt x="2143" y="208"/>
                  </a:lnTo>
                  <a:lnTo>
                    <a:pt x="1867" y="449"/>
                  </a:lnTo>
                  <a:lnTo>
                    <a:pt x="1625" y="760"/>
                  </a:lnTo>
                  <a:lnTo>
                    <a:pt x="1348" y="1141"/>
                  </a:lnTo>
                  <a:lnTo>
                    <a:pt x="1106" y="1590"/>
                  </a:lnTo>
                  <a:lnTo>
                    <a:pt x="864" y="2039"/>
                  </a:lnTo>
                  <a:lnTo>
                    <a:pt x="657" y="2523"/>
                  </a:lnTo>
                  <a:lnTo>
                    <a:pt x="450" y="3007"/>
                  </a:lnTo>
                  <a:lnTo>
                    <a:pt x="277" y="3456"/>
                  </a:lnTo>
                  <a:lnTo>
                    <a:pt x="139" y="3905"/>
                  </a:lnTo>
                  <a:lnTo>
                    <a:pt x="35" y="4320"/>
                  </a:lnTo>
                  <a:lnTo>
                    <a:pt x="0" y="4665"/>
                  </a:lnTo>
                  <a:lnTo>
                    <a:pt x="0" y="4942"/>
                  </a:lnTo>
                  <a:lnTo>
                    <a:pt x="35" y="5080"/>
                  </a:lnTo>
                  <a:lnTo>
                    <a:pt x="70" y="5149"/>
                  </a:lnTo>
                  <a:lnTo>
                    <a:pt x="242" y="5322"/>
                  </a:lnTo>
                  <a:lnTo>
                    <a:pt x="588" y="5667"/>
                  </a:lnTo>
                  <a:lnTo>
                    <a:pt x="1694" y="6670"/>
                  </a:lnTo>
                  <a:lnTo>
                    <a:pt x="3283" y="8052"/>
                  </a:lnTo>
                  <a:lnTo>
                    <a:pt x="5149" y="9641"/>
                  </a:lnTo>
                  <a:lnTo>
                    <a:pt x="7085" y="11266"/>
                  </a:lnTo>
                  <a:lnTo>
                    <a:pt x="8951" y="12786"/>
                  </a:lnTo>
                  <a:lnTo>
                    <a:pt x="10575" y="14030"/>
                  </a:lnTo>
                  <a:lnTo>
                    <a:pt x="11231" y="14479"/>
                  </a:lnTo>
                  <a:lnTo>
                    <a:pt x="11784" y="14825"/>
                  </a:lnTo>
                  <a:lnTo>
                    <a:pt x="12406" y="15240"/>
                  </a:lnTo>
                  <a:lnTo>
                    <a:pt x="13166" y="15758"/>
                  </a:lnTo>
                  <a:lnTo>
                    <a:pt x="14860" y="16967"/>
                  </a:lnTo>
                  <a:lnTo>
                    <a:pt x="16691" y="18350"/>
                  </a:lnTo>
                  <a:lnTo>
                    <a:pt x="18557" y="19801"/>
                  </a:lnTo>
                  <a:lnTo>
                    <a:pt x="21840" y="22393"/>
                  </a:lnTo>
                  <a:lnTo>
                    <a:pt x="23602" y="23810"/>
                  </a:lnTo>
                  <a:lnTo>
                    <a:pt x="23741" y="23982"/>
                  </a:lnTo>
                  <a:lnTo>
                    <a:pt x="23948" y="24224"/>
                  </a:lnTo>
                  <a:lnTo>
                    <a:pt x="24121" y="24535"/>
                  </a:lnTo>
                  <a:lnTo>
                    <a:pt x="24328" y="24915"/>
                  </a:lnTo>
                  <a:lnTo>
                    <a:pt x="24743" y="25848"/>
                  </a:lnTo>
                  <a:lnTo>
                    <a:pt x="25123" y="26885"/>
                  </a:lnTo>
                  <a:lnTo>
                    <a:pt x="25469" y="27991"/>
                  </a:lnTo>
                  <a:lnTo>
                    <a:pt x="25745" y="29028"/>
                  </a:lnTo>
                  <a:lnTo>
                    <a:pt x="25814" y="29511"/>
                  </a:lnTo>
                  <a:lnTo>
                    <a:pt x="25883" y="29961"/>
                  </a:lnTo>
                  <a:lnTo>
                    <a:pt x="25883" y="30375"/>
                  </a:lnTo>
                  <a:lnTo>
                    <a:pt x="25883" y="30721"/>
                  </a:lnTo>
                  <a:lnTo>
                    <a:pt x="25572" y="32587"/>
                  </a:lnTo>
                  <a:lnTo>
                    <a:pt x="25434" y="33451"/>
                  </a:lnTo>
                  <a:lnTo>
                    <a:pt x="25330" y="34176"/>
                  </a:lnTo>
                  <a:lnTo>
                    <a:pt x="25158" y="35421"/>
                  </a:lnTo>
                  <a:lnTo>
                    <a:pt x="24916" y="37183"/>
                  </a:lnTo>
                  <a:lnTo>
                    <a:pt x="24674" y="39325"/>
                  </a:lnTo>
                  <a:lnTo>
                    <a:pt x="24570" y="40500"/>
                  </a:lnTo>
                  <a:lnTo>
                    <a:pt x="24501" y="41675"/>
                  </a:lnTo>
                  <a:lnTo>
                    <a:pt x="24466" y="42885"/>
                  </a:lnTo>
                  <a:lnTo>
                    <a:pt x="24466" y="44060"/>
                  </a:lnTo>
                  <a:lnTo>
                    <a:pt x="24535" y="45235"/>
                  </a:lnTo>
                  <a:lnTo>
                    <a:pt x="24674" y="46306"/>
                  </a:lnTo>
                  <a:lnTo>
                    <a:pt x="24777" y="46824"/>
                  </a:lnTo>
                  <a:lnTo>
                    <a:pt x="24881" y="47342"/>
                  </a:lnTo>
                  <a:lnTo>
                    <a:pt x="25019" y="47792"/>
                  </a:lnTo>
                  <a:lnTo>
                    <a:pt x="25192" y="48241"/>
                  </a:lnTo>
                  <a:lnTo>
                    <a:pt x="25365" y="48656"/>
                  </a:lnTo>
                  <a:lnTo>
                    <a:pt x="25572" y="49036"/>
                  </a:lnTo>
                  <a:lnTo>
                    <a:pt x="25814" y="49381"/>
                  </a:lnTo>
                  <a:lnTo>
                    <a:pt x="26091" y="49692"/>
                  </a:lnTo>
                  <a:lnTo>
                    <a:pt x="26436" y="50038"/>
                  </a:lnTo>
                  <a:lnTo>
                    <a:pt x="26782" y="50349"/>
                  </a:lnTo>
                  <a:lnTo>
                    <a:pt x="27093" y="50591"/>
                  </a:lnTo>
                  <a:lnTo>
                    <a:pt x="27438" y="50764"/>
                  </a:lnTo>
                  <a:lnTo>
                    <a:pt x="27749" y="50936"/>
                  </a:lnTo>
                  <a:lnTo>
                    <a:pt x="28060" y="51040"/>
                  </a:lnTo>
                  <a:lnTo>
                    <a:pt x="28337" y="51144"/>
                  </a:lnTo>
                  <a:lnTo>
                    <a:pt x="28648" y="51178"/>
                  </a:lnTo>
                  <a:lnTo>
                    <a:pt x="28924" y="51178"/>
                  </a:lnTo>
                  <a:lnTo>
                    <a:pt x="29201" y="51144"/>
                  </a:lnTo>
                  <a:lnTo>
                    <a:pt x="29443" y="51109"/>
                  </a:lnTo>
                  <a:lnTo>
                    <a:pt x="29719" y="51005"/>
                  </a:lnTo>
                  <a:lnTo>
                    <a:pt x="29961" y="50902"/>
                  </a:lnTo>
                  <a:lnTo>
                    <a:pt x="30203" y="50764"/>
                  </a:lnTo>
                  <a:lnTo>
                    <a:pt x="30410" y="50591"/>
                  </a:lnTo>
                  <a:lnTo>
                    <a:pt x="30617" y="50418"/>
                  </a:lnTo>
                  <a:lnTo>
                    <a:pt x="30790" y="50245"/>
                  </a:lnTo>
                  <a:lnTo>
                    <a:pt x="30963" y="50038"/>
                  </a:lnTo>
                  <a:lnTo>
                    <a:pt x="31067" y="49761"/>
                  </a:lnTo>
                  <a:lnTo>
                    <a:pt x="31170" y="49485"/>
                  </a:lnTo>
                  <a:lnTo>
                    <a:pt x="31274" y="49174"/>
                  </a:lnTo>
                  <a:lnTo>
                    <a:pt x="31343" y="48828"/>
                  </a:lnTo>
                  <a:lnTo>
                    <a:pt x="31447" y="48034"/>
                  </a:lnTo>
                  <a:lnTo>
                    <a:pt x="31516" y="47135"/>
                  </a:lnTo>
                  <a:lnTo>
                    <a:pt x="31516" y="46168"/>
                  </a:lnTo>
                  <a:lnTo>
                    <a:pt x="31481" y="45062"/>
                  </a:lnTo>
                  <a:lnTo>
                    <a:pt x="31447" y="43921"/>
                  </a:lnTo>
                  <a:lnTo>
                    <a:pt x="31309" y="41399"/>
                  </a:lnTo>
                  <a:lnTo>
                    <a:pt x="31205" y="38669"/>
                  </a:lnTo>
                  <a:lnTo>
                    <a:pt x="31205" y="37252"/>
                  </a:lnTo>
                  <a:lnTo>
                    <a:pt x="31205" y="35801"/>
                  </a:lnTo>
                  <a:lnTo>
                    <a:pt x="31274" y="34349"/>
                  </a:lnTo>
                  <a:lnTo>
                    <a:pt x="31378" y="32863"/>
                  </a:lnTo>
                  <a:lnTo>
                    <a:pt x="31447" y="31758"/>
                  </a:lnTo>
                  <a:lnTo>
                    <a:pt x="31447" y="30721"/>
                  </a:lnTo>
                  <a:lnTo>
                    <a:pt x="31378" y="29719"/>
                  </a:lnTo>
                  <a:lnTo>
                    <a:pt x="31274" y="28751"/>
                  </a:lnTo>
                  <a:lnTo>
                    <a:pt x="31136" y="27818"/>
                  </a:lnTo>
                  <a:lnTo>
                    <a:pt x="30928" y="26920"/>
                  </a:lnTo>
                  <a:lnTo>
                    <a:pt x="30548" y="25192"/>
                  </a:lnTo>
                  <a:lnTo>
                    <a:pt x="30134" y="23499"/>
                  </a:lnTo>
                  <a:lnTo>
                    <a:pt x="29961" y="22669"/>
                  </a:lnTo>
                  <a:lnTo>
                    <a:pt x="29823" y="21840"/>
                  </a:lnTo>
                  <a:lnTo>
                    <a:pt x="29719" y="20976"/>
                  </a:lnTo>
                  <a:lnTo>
                    <a:pt x="29684" y="20112"/>
                  </a:lnTo>
                  <a:lnTo>
                    <a:pt x="29684" y="19214"/>
                  </a:lnTo>
                  <a:lnTo>
                    <a:pt x="29788" y="18281"/>
                  </a:lnTo>
                  <a:lnTo>
                    <a:pt x="29926" y="16967"/>
                  </a:lnTo>
                  <a:lnTo>
                    <a:pt x="30030" y="15862"/>
                  </a:lnTo>
                  <a:lnTo>
                    <a:pt x="30065" y="14963"/>
                  </a:lnTo>
                  <a:lnTo>
                    <a:pt x="30099" y="14272"/>
                  </a:lnTo>
                  <a:lnTo>
                    <a:pt x="30065" y="13339"/>
                  </a:lnTo>
                  <a:lnTo>
                    <a:pt x="30065" y="13063"/>
                  </a:lnTo>
                  <a:lnTo>
                    <a:pt x="29408" y="13235"/>
                  </a:lnTo>
                  <a:lnTo>
                    <a:pt x="28786" y="13374"/>
                  </a:lnTo>
                  <a:lnTo>
                    <a:pt x="28164" y="13477"/>
                  </a:lnTo>
                  <a:lnTo>
                    <a:pt x="27542" y="13581"/>
                  </a:lnTo>
                  <a:lnTo>
                    <a:pt x="26954" y="13615"/>
                  </a:lnTo>
                  <a:lnTo>
                    <a:pt x="26367" y="13650"/>
                  </a:lnTo>
                  <a:lnTo>
                    <a:pt x="25192" y="13650"/>
                  </a:lnTo>
                  <a:lnTo>
                    <a:pt x="24639" y="13581"/>
                  </a:lnTo>
                  <a:lnTo>
                    <a:pt x="24052" y="13512"/>
                  </a:lnTo>
                  <a:lnTo>
                    <a:pt x="22980" y="13339"/>
                  </a:lnTo>
                  <a:lnTo>
                    <a:pt x="21909" y="13097"/>
                  </a:lnTo>
                  <a:lnTo>
                    <a:pt x="20873" y="12752"/>
                  </a:lnTo>
                  <a:lnTo>
                    <a:pt x="19905" y="12406"/>
                  </a:lnTo>
                  <a:lnTo>
                    <a:pt x="18937" y="11991"/>
                  </a:lnTo>
                  <a:lnTo>
                    <a:pt x="18004" y="11577"/>
                  </a:lnTo>
                  <a:lnTo>
                    <a:pt x="17140" y="11127"/>
                  </a:lnTo>
                  <a:lnTo>
                    <a:pt x="15482" y="10194"/>
                  </a:lnTo>
                  <a:lnTo>
                    <a:pt x="13996" y="9365"/>
                  </a:lnTo>
                  <a:lnTo>
                    <a:pt x="13616" y="9089"/>
                  </a:lnTo>
                  <a:lnTo>
                    <a:pt x="13097" y="8708"/>
                  </a:lnTo>
                  <a:lnTo>
                    <a:pt x="11681" y="7603"/>
                  </a:lnTo>
                  <a:lnTo>
                    <a:pt x="9987" y="6186"/>
                  </a:lnTo>
                  <a:lnTo>
                    <a:pt x="8156" y="4596"/>
                  </a:lnTo>
                  <a:lnTo>
                    <a:pt x="4735" y="1659"/>
                  </a:lnTo>
                  <a:lnTo>
                    <a:pt x="3491" y="622"/>
                  </a:lnTo>
                  <a:lnTo>
                    <a:pt x="2800" y="69"/>
                  </a:lnTo>
                  <a:lnTo>
                    <a:pt x="2696" y="35"/>
                  </a:lnTo>
                  <a:lnTo>
                    <a:pt x="2592" y="0"/>
                  </a:lnTo>
                  <a:close/>
                </a:path>
              </a:pathLst>
            </a:custGeom>
            <a:solidFill>
              <a:srgbClr val="DB536A"/>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91" name="Google Shape;2420;p11">
              <a:extLst>
                <a:ext uri="{FF2B5EF4-FFF2-40B4-BE49-F238E27FC236}">
                  <a16:creationId xmlns:a16="http://schemas.microsoft.com/office/drawing/2014/main" id="{A964E455-073D-ECDB-F96E-91319D76C907}"/>
                </a:ext>
              </a:extLst>
            </p:cNvPr>
            <p:cNvSpPr/>
            <p:nvPr/>
          </p:nvSpPr>
          <p:spPr>
            <a:xfrm>
              <a:off x="6280775" y="3011275"/>
              <a:ext cx="110600" cy="54450"/>
            </a:xfrm>
            <a:custGeom>
              <a:avLst/>
              <a:gdLst/>
              <a:ahLst/>
              <a:cxnLst/>
              <a:rect l="l" t="t" r="r" b="b"/>
              <a:pathLst>
                <a:path w="4424" h="2178" extrusionOk="0">
                  <a:moveTo>
                    <a:pt x="484" y="0"/>
                  </a:moveTo>
                  <a:lnTo>
                    <a:pt x="380" y="104"/>
                  </a:lnTo>
                  <a:lnTo>
                    <a:pt x="311" y="173"/>
                  </a:lnTo>
                  <a:lnTo>
                    <a:pt x="104" y="276"/>
                  </a:lnTo>
                  <a:lnTo>
                    <a:pt x="35" y="346"/>
                  </a:lnTo>
                  <a:lnTo>
                    <a:pt x="0" y="380"/>
                  </a:lnTo>
                  <a:lnTo>
                    <a:pt x="0" y="415"/>
                  </a:lnTo>
                  <a:lnTo>
                    <a:pt x="69" y="484"/>
                  </a:lnTo>
                  <a:lnTo>
                    <a:pt x="277" y="622"/>
                  </a:lnTo>
                  <a:lnTo>
                    <a:pt x="691" y="829"/>
                  </a:lnTo>
                  <a:lnTo>
                    <a:pt x="1832" y="1348"/>
                  </a:lnTo>
                  <a:lnTo>
                    <a:pt x="3387" y="2073"/>
                  </a:lnTo>
                  <a:lnTo>
                    <a:pt x="3456" y="2108"/>
                  </a:lnTo>
                  <a:lnTo>
                    <a:pt x="3490" y="2143"/>
                  </a:lnTo>
                  <a:lnTo>
                    <a:pt x="3594" y="2177"/>
                  </a:lnTo>
                  <a:lnTo>
                    <a:pt x="3698" y="2143"/>
                  </a:lnTo>
                  <a:lnTo>
                    <a:pt x="3801" y="2108"/>
                  </a:lnTo>
                  <a:lnTo>
                    <a:pt x="3905" y="2004"/>
                  </a:lnTo>
                  <a:lnTo>
                    <a:pt x="4043" y="1866"/>
                  </a:lnTo>
                  <a:lnTo>
                    <a:pt x="4182" y="1659"/>
                  </a:lnTo>
                  <a:lnTo>
                    <a:pt x="4251" y="1451"/>
                  </a:lnTo>
                  <a:lnTo>
                    <a:pt x="4354" y="1140"/>
                  </a:lnTo>
                  <a:lnTo>
                    <a:pt x="4389" y="899"/>
                  </a:lnTo>
                  <a:lnTo>
                    <a:pt x="4423" y="795"/>
                  </a:lnTo>
                  <a:lnTo>
                    <a:pt x="484" y="0"/>
                  </a:lnTo>
                  <a:close/>
                </a:path>
              </a:pathLst>
            </a:custGeom>
            <a:solidFill>
              <a:srgbClr val="E79E9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92" name="Google Shape;2421;p11">
              <a:extLst>
                <a:ext uri="{FF2B5EF4-FFF2-40B4-BE49-F238E27FC236}">
                  <a16:creationId xmlns:a16="http://schemas.microsoft.com/office/drawing/2014/main" id="{25BF08E7-1A92-E44F-457B-87A3908BD5C1}"/>
                </a:ext>
              </a:extLst>
            </p:cNvPr>
            <p:cNvSpPr/>
            <p:nvPr/>
          </p:nvSpPr>
          <p:spPr>
            <a:xfrm>
              <a:off x="6110575" y="1997900"/>
              <a:ext cx="331775" cy="1002150"/>
            </a:xfrm>
            <a:custGeom>
              <a:avLst/>
              <a:gdLst/>
              <a:ahLst/>
              <a:cxnLst/>
              <a:rect l="l" t="t" r="r" b="b"/>
              <a:pathLst>
                <a:path w="13271" h="40086" extrusionOk="0">
                  <a:moveTo>
                    <a:pt x="312" y="0"/>
                  </a:moveTo>
                  <a:lnTo>
                    <a:pt x="243" y="1037"/>
                  </a:lnTo>
                  <a:lnTo>
                    <a:pt x="173" y="2627"/>
                  </a:lnTo>
                  <a:lnTo>
                    <a:pt x="104" y="4631"/>
                  </a:lnTo>
                  <a:lnTo>
                    <a:pt x="35" y="6981"/>
                  </a:lnTo>
                  <a:lnTo>
                    <a:pt x="1" y="9573"/>
                  </a:lnTo>
                  <a:lnTo>
                    <a:pt x="35" y="12268"/>
                  </a:lnTo>
                  <a:lnTo>
                    <a:pt x="139" y="15067"/>
                  </a:lnTo>
                  <a:lnTo>
                    <a:pt x="208" y="16415"/>
                  </a:lnTo>
                  <a:lnTo>
                    <a:pt x="312" y="17762"/>
                  </a:lnTo>
                  <a:lnTo>
                    <a:pt x="450" y="19076"/>
                  </a:lnTo>
                  <a:lnTo>
                    <a:pt x="657" y="20492"/>
                  </a:lnTo>
                  <a:lnTo>
                    <a:pt x="934" y="21944"/>
                  </a:lnTo>
                  <a:lnTo>
                    <a:pt x="1245" y="23395"/>
                  </a:lnTo>
                  <a:lnTo>
                    <a:pt x="1590" y="24846"/>
                  </a:lnTo>
                  <a:lnTo>
                    <a:pt x="1970" y="26229"/>
                  </a:lnTo>
                  <a:lnTo>
                    <a:pt x="2627" y="28544"/>
                  </a:lnTo>
                  <a:lnTo>
                    <a:pt x="2869" y="29442"/>
                  </a:lnTo>
                  <a:lnTo>
                    <a:pt x="3007" y="30272"/>
                  </a:lnTo>
                  <a:lnTo>
                    <a:pt x="3111" y="31067"/>
                  </a:lnTo>
                  <a:lnTo>
                    <a:pt x="3180" y="31792"/>
                  </a:lnTo>
                  <a:lnTo>
                    <a:pt x="3214" y="32483"/>
                  </a:lnTo>
                  <a:lnTo>
                    <a:pt x="3180" y="33175"/>
                  </a:lnTo>
                  <a:lnTo>
                    <a:pt x="3145" y="34384"/>
                  </a:lnTo>
                  <a:lnTo>
                    <a:pt x="3111" y="35455"/>
                  </a:lnTo>
                  <a:lnTo>
                    <a:pt x="3145" y="35974"/>
                  </a:lnTo>
                  <a:lnTo>
                    <a:pt x="3214" y="36423"/>
                  </a:lnTo>
                  <a:lnTo>
                    <a:pt x="3318" y="36872"/>
                  </a:lnTo>
                  <a:lnTo>
                    <a:pt x="3491" y="37321"/>
                  </a:lnTo>
                  <a:lnTo>
                    <a:pt x="3733" y="37736"/>
                  </a:lnTo>
                  <a:lnTo>
                    <a:pt x="4044" y="38116"/>
                  </a:lnTo>
                  <a:lnTo>
                    <a:pt x="4493" y="38565"/>
                  </a:lnTo>
                  <a:lnTo>
                    <a:pt x="4977" y="38945"/>
                  </a:lnTo>
                  <a:lnTo>
                    <a:pt x="5495" y="39256"/>
                  </a:lnTo>
                  <a:lnTo>
                    <a:pt x="6013" y="39533"/>
                  </a:lnTo>
                  <a:lnTo>
                    <a:pt x="6566" y="39740"/>
                  </a:lnTo>
                  <a:lnTo>
                    <a:pt x="7119" y="39913"/>
                  </a:lnTo>
                  <a:lnTo>
                    <a:pt x="7672" y="40017"/>
                  </a:lnTo>
                  <a:lnTo>
                    <a:pt x="8225" y="40051"/>
                  </a:lnTo>
                  <a:lnTo>
                    <a:pt x="8813" y="40086"/>
                  </a:lnTo>
                  <a:lnTo>
                    <a:pt x="9400" y="40051"/>
                  </a:lnTo>
                  <a:lnTo>
                    <a:pt x="9953" y="39948"/>
                  </a:lnTo>
                  <a:lnTo>
                    <a:pt x="10540" y="39809"/>
                  </a:lnTo>
                  <a:lnTo>
                    <a:pt x="11093" y="39637"/>
                  </a:lnTo>
                  <a:lnTo>
                    <a:pt x="11646" y="39429"/>
                  </a:lnTo>
                  <a:lnTo>
                    <a:pt x="12164" y="39187"/>
                  </a:lnTo>
                  <a:lnTo>
                    <a:pt x="12683" y="38876"/>
                  </a:lnTo>
                  <a:lnTo>
                    <a:pt x="12787" y="38773"/>
                  </a:lnTo>
                  <a:lnTo>
                    <a:pt x="12925" y="38669"/>
                  </a:lnTo>
                  <a:lnTo>
                    <a:pt x="12994" y="38496"/>
                  </a:lnTo>
                  <a:lnTo>
                    <a:pt x="13098" y="38323"/>
                  </a:lnTo>
                  <a:lnTo>
                    <a:pt x="13201" y="37909"/>
                  </a:lnTo>
                  <a:lnTo>
                    <a:pt x="13236" y="37390"/>
                  </a:lnTo>
                  <a:lnTo>
                    <a:pt x="13270" y="36803"/>
                  </a:lnTo>
                  <a:lnTo>
                    <a:pt x="13201" y="36146"/>
                  </a:lnTo>
                  <a:lnTo>
                    <a:pt x="13132" y="35421"/>
                  </a:lnTo>
                  <a:lnTo>
                    <a:pt x="13028" y="34626"/>
                  </a:lnTo>
                  <a:lnTo>
                    <a:pt x="12717" y="32933"/>
                  </a:lnTo>
                  <a:lnTo>
                    <a:pt x="12303" y="31136"/>
                  </a:lnTo>
                  <a:lnTo>
                    <a:pt x="11473" y="27507"/>
                  </a:lnTo>
                  <a:lnTo>
                    <a:pt x="11128" y="25918"/>
                  </a:lnTo>
                  <a:lnTo>
                    <a:pt x="10817" y="24466"/>
                  </a:lnTo>
                  <a:lnTo>
                    <a:pt x="10713" y="23810"/>
                  </a:lnTo>
                  <a:lnTo>
                    <a:pt x="10644" y="23222"/>
                  </a:lnTo>
                  <a:lnTo>
                    <a:pt x="10609" y="22669"/>
                  </a:lnTo>
                  <a:lnTo>
                    <a:pt x="10575" y="22186"/>
                  </a:lnTo>
                  <a:lnTo>
                    <a:pt x="10644" y="20320"/>
                  </a:lnTo>
                  <a:lnTo>
                    <a:pt x="10713" y="19041"/>
                  </a:lnTo>
                  <a:lnTo>
                    <a:pt x="10748" y="17520"/>
                  </a:lnTo>
                  <a:lnTo>
                    <a:pt x="10782" y="16657"/>
                  </a:lnTo>
                  <a:lnTo>
                    <a:pt x="10748" y="15620"/>
                  </a:lnTo>
                  <a:lnTo>
                    <a:pt x="10644" y="12994"/>
                  </a:lnTo>
                  <a:lnTo>
                    <a:pt x="10575" y="11715"/>
                  </a:lnTo>
                  <a:lnTo>
                    <a:pt x="10402" y="10402"/>
                  </a:lnTo>
                  <a:lnTo>
                    <a:pt x="10160" y="9054"/>
                  </a:lnTo>
                  <a:lnTo>
                    <a:pt x="9884" y="7741"/>
                  </a:lnTo>
                  <a:lnTo>
                    <a:pt x="9711" y="7119"/>
                  </a:lnTo>
                  <a:lnTo>
                    <a:pt x="9504" y="6497"/>
                  </a:lnTo>
                  <a:lnTo>
                    <a:pt x="9331" y="5944"/>
                  </a:lnTo>
                  <a:lnTo>
                    <a:pt x="9089" y="5391"/>
                  </a:lnTo>
                  <a:lnTo>
                    <a:pt x="8882" y="4907"/>
                  </a:lnTo>
                  <a:lnTo>
                    <a:pt x="8640" y="4458"/>
                  </a:lnTo>
                  <a:lnTo>
                    <a:pt x="8363" y="4078"/>
                  </a:lnTo>
                  <a:lnTo>
                    <a:pt x="8087" y="3767"/>
                  </a:lnTo>
                  <a:lnTo>
                    <a:pt x="7430" y="3110"/>
                  </a:lnTo>
                  <a:lnTo>
                    <a:pt x="6774" y="2558"/>
                  </a:lnTo>
                  <a:lnTo>
                    <a:pt x="6083" y="2074"/>
                  </a:lnTo>
                  <a:lnTo>
                    <a:pt x="5391" y="1625"/>
                  </a:lnTo>
                  <a:lnTo>
                    <a:pt x="4735" y="1279"/>
                  </a:lnTo>
                  <a:lnTo>
                    <a:pt x="4113" y="968"/>
                  </a:lnTo>
                  <a:lnTo>
                    <a:pt x="3491" y="726"/>
                  </a:lnTo>
                  <a:lnTo>
                    <a:pt x="2903" y="519"/>
                  </a:lnTo>
                  <a:lnTo>
                    <a:pt x="2350" y="346"/>
                  </a:lnTo>
                  <a:lnTo>
                    <a:pt x="1867" y="242"/>
                  </a:lnTo>
                  <a:lnTo>
                    <a:pt x="1037" y="70"/>
                  </a:lnTo>
                  <a:lnTo>
                    <a:pt x="519" y="0"/>
                  </a:lnTo>
                  <a:close/>
                </a:path>
              </a:pathLst>
            </a:custGeom>
            <a:solidFill>
              <a:srgbClr val="DB536A"/>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93" name="Google Shape;2422;p11">
              <a:extLst>
                <a:ext uri="{FF2B5EF4-FFF2-40B4-BE49-F238E27FC236}">
                  <a16:creationId xmlns:a16="http://schemas.microsoft.com/office/drawing/2014/main" id="{979A4BCE-D2B7-4090-26DE-D52048E75859}"/>
                </a:ext>
              </a:extLst>
            </p:cNvPr>
            <p:cNvSpPr/>
            <p:nvPr/>
          </p:nvSpPr>
          <p:spPr>
            <a:xfrm>
              <a:off x="6110575" y="1997900"/>
              <a:ext cx="331775" cy="1002150"/>
            </a:xfrm>
            <a:custGeom>
              <a:avLst/>
              <a:gdLst/>
              <a:ahLst/>
              <a:cxnLst/>
              <a:rect l="l" t="t" r="r" b="b"/>
              <a:pathLst>
                <a:path w="13271" h="40086" fill="none" extrusionOk="0">
                  <a:moveTo>
                    <a:pt x="12683" y="38876"/>
                  </a:moveTo>
                  <a:lnTo>
                    <a:pt x="12683" y="38876"/>
                  </a:lnTo>
                  <a:lnTo>
                    <a:pt x="12164" y="39187"/>
                  </a:lnTo>
                  <a:lnTo>
                    <a:pt x="11646" y="39429"/>
                  </a:lnTo>
                  <a:lnTo>
                    <a:pt x="11093" y="39637"/>
                  </a:lnTo>
                  <a:lnTo>
                    <a:pt x="10540" y="39809"/>
                  </a:lnTo>
                  <a:lnTo>
                    <a:pt x="9953" y="39948"/>
                  </a:lnTo>
                  <a:lnTo>
                    <a:pt x="9400" y="40051"/>
                  </a:lnTo>
                  <a:lnTo>
                    <a:pt x="8813" y="40086"/>
                  </a:lnTo>
                  <a:lnTo>
                    <a:pt x="8225" y="40051"/>
                  </a:lnTo>
                  <a:lnTo>
                    <a:pt x="7672" y="40017"/>
                  </a:lnTo>
                  <a:lnTo>
                    <a:pt x="7119" y="39913"/>
                  </a:lnTo>
                  <a:lnTo>
                    <a:pt x="6566" y="39740"/>
                  </a:lnTo>
                  <a:lnTo>
                    <a:pt x="6013" y="39533"/>
                  </a:lnTo>
                  <a:lnTo>
                    <a:pt x="5495" y="39256"/>
                  </a:lnTo>
                  <a:lnTo>
                    <a:pt x="4977" y="38945"/>
                  </a:lnTo>
                  <a:lnTo>
                    <a:pt x="4493" y="38565"/>
                  </a:lnTo>
                  <a:lnTo>
                    <a:pt x="4044" y="38116"/>
                  </a:lnTo>
                  <a:lnTo>
                    <a:pt x="4044" y="38116"/>
                  </a:lnTo>
                  <a:lnTo>
                    <a:pt x="3733" y="37736"/>
                  </a:lnTo>
                  <a:lnTo>
                    <a:pt x="3491" y="37321"/>
                  </a:lnTo>
                  <a:lnTo>
                    <a:pt x="3318" y="36872"/>
                  </a:lnTo>
                  <a:lnTo>
                    <a:pt x="3214" y="36423"/>
                  </a:lnTo>
                  <a:lnTo>
                    <a:pt x="3145" y="35974"/>
                  </a:lnTo>
                  <a:lnTo>
                    <a:pt x="3111" y="35455"/>
                  </a:lnTo>
                  <a:lnTo>
                    <a:pt x="3145" y="34384"/>
                  </a:lnTo>
                  <a:lnTo>
                    <a:pt x="3180" y="33175"/>
                  </a:lnTo>
                  <a:lnTo>
                    <a:pt x="3214" y="32483"/>
                  </a:lnTo>
                  <a:lnTo>
                    <a:pt x="3180" y="31792"/>
                  </a:lnTo>
                  <a:lnTo>
                    <a:pt x="3111" y="31067"/>
                  </a:lnTo>
                  <a:lnTo>
                    <a:pt x="3007" y="30272"/>
                  </a:lnTo>
                  <a:lnTo>
                    <a:pt x="2869" y="29442"/>
                  </a:lnTo>
                  <a:lnTo>
                    <a:pt x="2627" y="28544"/>
                  </a:lnTo>
                  <a:lnTo>
                    <a:pt x="2627" y="28544"/>
                  </a:lnTo>
                  <a:lnTo>
                    <a:pt x="1970" y="26229"/>
                  </a:lnTo>
                  <a:lnTo>
                    <a:pt x="1590" y="24846"/>
                  </a:lnTo>
                  <a:lnTo>
                    <a:pt x="1245" y="23395"/>
                  </a:lnTo>
                  <a:lnTo>
                    <a:pt x="934" y="21944"/>
                  </a:lnTo>
                  <a:lnTo>
                    <a:pt x="657" y="20492"/>
                  </a:lnTo>
                  <a:lnTo>
                    <a:pt x="450" y="19076"/>
                  </a:lnTo>
                  <a:lnTo>
                    <a:pt x="312" y="17762"/>
                  </a:lnTo>
                  <a:lnTo>
                    <a:pt x="312" y="17762"/>
                  </a:lnTo>
                  <a:lnTo>
                    <a:pt x="208" y="16415"/>
                  </a:lnTo>
                  <a:lnTo>
                    <a:pt x="139" y="15067"/>
                  </a:lnTo>
                  <a:lnTo>
                    <a:pt x="35" y="12268"/>
                  </a:lnTo>
                  <a:lnTo>
                    <a:pt x="1" y="9573"/>
                  </a:lnTo>
                  <a:lnTo>
                    <a:pt x="35" y="6981"/>
                  </a:lnTo>
                  <a:lnTo>
                    <a:pt x="104" y="4631"/>
                  </a:lnTo>
                  <a:lnTo>
                    <a:pt x="173" y="2627"/>
                  </a:lnTo>
                  <a:lnTo>
                    <a:pt x="243" y="1037"/>
                  </a:lnTo>
                  <a:lnTo>
                    <a:pt x="312" y="0"/>
                  </a:lnTo>
                  <a:lnTo>
                    <a:pt x="312" y="0"/>
                  </a:lnTo>
                  <a:lnTo>
                    <a:pt x="519" y="0"/>
                  </a:lnTo>
                  <a:lnTo>
                    <a:pt x="1037" y="70"/>
                  </a:lnTo>
                  <a:lnTo>
                    <a:pt x="1867" y="242"/>
                  </a:lnTo>
                  <a:lnTo>
                    <a:pt x="2350" y="346"/>
                  </a:lnTo>
                  <a:lnTo>
                    <a:pt x="2903" y="519"/>
                  </a:lnTo>
                  <a:lnTo>
                    <a:pt x="3491" y="726"/>
                  </a:lnTo>
                  <a:lnTo>
                    <a:pt x="4113" y="968"/>
                  </a:lnTo>
                  <a:lnTo>
                    <a:pt x="4735" y="1279"/>
                  </a:lnTo>
                  <a:lnTo>
                    <a:pt x="5391" y="1625"/>
                  </a:lnTo>
                  <a:lnTo>
                    <a:pt x="6083" y="2074"/>
                  </a:lnTo>
                  <a:lnTo>
                    <a:pt x="6774" y="2558"/>
                  </a:lnTo>
                  <a:lnTo>
                    <a:pt x="7430" y="3110"/>
                  </a:lnTo>
                  <a:lnTo>
                    <a:pt x="8087" y="3767"/>
                  </a:lnTo>
                  <a:lnTo>
                    <a:pt x="8087" y="3767"/>
                  </a:lnTo>
                  <a:lnTo>
                    <a:pt x="8363" y="4078"/>
                  </a:lnTo>
                  <a:lnTo>
                    <a:pt x="8640" y="4458"/>
                  </a:lnTo>
                  <a:lnTo>
                    <a:pt x="8882" y="4907"/>
                  </a:lnTo>
                  <a:lnTo>
                    <a:pt x="9089" y="5391"/>
                  </a:lnTo>
                  <a:lnTo>
                    <a:pt x="9331" y="5944"/>
                  </a:lnTo>
                  <a:lnTo>
                    <a:pt x="9504" y="6497"/>
                  </a:lnTo>
                  <a:lnTo>
                    <a:pt x="9711" y="7119"/>
                  </a:lnTo>
                  <a:lnTo>
                    <a:pt x="9884" y="7741"/>
                  </a:lnTo>
                  <a:lnTo>
                    <a:pt x="10160" y="9054"/>
                  </a:lnTo>
                  <a:lnTo>
                    <a:pt x="10402" y="10402"/>
                  </a:lnTo>
                  <a:lnTo>
                    <a:pt x="10575" y="11715"/>
                  </a:lnTo>
                  <a:lnTo>
                    <a:pt x="10644" y="12994"/>
                  </a:lnTo>
                  <a:lnTo>
                    <a:pt x="10644" y="12994"/>
                  </a:lnTo>
                  <a:lnTo>
                    <a:pt x="10748" y="15620"/>
                  </a:lnTo>
                  <a:lnTo>
                    <a:pt x="10748" y="15620"/>
                  </a:lnTo>
                  <a:lnTo>
                    <a:pt x="10782" y="16657"/>
                  </a:lnTo>
                  <a:lnTo>
                    <a:pt x="10748" y="17520"/>
                  </a:lnTo>
                  <a:lnTo>
                    <a:pt x="10713" y="19041"/>
                  </a:lnTo>
                  <a:lnTo>
                    <a:pt x="10713" y="19041"/>
                  </a:lnTo>
                  <a:lnTo>
                    <a:pt x="10644" y="20320"/>
                  </a:lnTo>
                  <a:lnTo>
                    <a:pt x="10644" y="20320"/>
                  </a:lnTo>
                  <a:lnTo>
                    <a:pt x="10644" y="20320"/>
                  </a:lnTo>
                  <a:lnTo>
                    <a:pt x="10575" y="22186"/>
                  </a:lnTo>
                  <a:lnTo>
                    <a:pt x="10575" y="22186"/>
                  </a:lnTo>
                  <a:lnTo>
                    <a:pt x="10609" y="22669"/>
                  </a:lnTo>
                  <a:lnTo>
                    <a:pt x="10644" y="23222"/>
                  </a:lnTo>
                  <a:lnTo>
                    <a:pt x="10713" y="23810"/>
                  </a:lnTo>
                  <a:lnTo>
                    <a:pt x="10817" y="24466"/>
                  </a:lnTo>
                  <a:lnTo>
                    <a:pt x="11128" y="25918"/>
                  </a:lnTo>
                  <a:lnTo>
                    <a:pt x="11473" y="27507"/>
                  </a:lnTo>
                  <a:lnTo>
                    <a:pt x="11473" y="27507"/>
                  </a:lnTo>
                  <a:lnTo>
                    <a:pt x="11473" y="27507"/>
                  </a:lnTo>
                  <a:lnTo>
                    <a:pt x="12303" y="31136"/>
                  </a:lnTo>
                  <a:lnTo>
                    <a:pt x="12717" y="32933"/>
                  </a:lnTo>
                  <a:lnTo>
                    <a:pt x="13028" y="34626"/>
                  </a:lnTo>
                  <a:lnTo>
                    <a:pt x="13132" y="35421"/>
                  </a:lnTo>
                  <a:lnTo>
                    <a:pt x="13201" y="36146"/>
                  </a:lnTo>
                  <a:lnTo>
                    <a:pt x="13270" y="36803"/>
                  </a:lnTo>
                  <a:lnTo>
                    <a:pt x="13236" y="37390"/>
                  </a:lnTo>
                  <a:lnTo>
                    <a:pt x="13201" y="37909"/>
                  </a:lnTo>
                  <a:lnTo>
                    <a:pt x="13098" y="38323"/>
                  </a:lnTo>
                  <a:lnTo>
                    <a:pt x="12994" y="38496"/>
                  </a:lnTo>
                  <a:lnTo>
                    <a:pt x="12925" y="38669"/>
                  </a:lnTo>
                  <a:lnTo>
                    <a:pt x="12787" y="38773"/>
                  </a:lnTo>
                  <a:lnTo>
                    <a:pt x="12683" y="38876"/>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94" name="Google Shape;2423;p11">
              <a:extLst>
                <a:ext uri="{FF2B5EF4-FFF2-40B4-BE49-F238E27FC236}">
                  <a16:creationId xmlns:a16="http://schemas.microsoft.com/office/drawing/2014/main" id="{A21C3A53-6471-9BCF-F697-FBE8C187B9E6}"/>
                </a:ext>
              </a:extLst>
            </p:cNvPr>
            <p:cNvSpPr/>
            <p:nvPr/>
          </p:nvSpPr>
          <p:spPr>
            <a:xfrm>
              <a:off x="6154650" y="2061825"/>
              <a:ext cx="450100" cy="991800"/>
            </a:xfrm>
            <a:custGeom>
              <a:avLst/>
              <a:gdLst/>
              <a:ahLst/>
              <a:cxnLst/>
              <a:rect l="l" t="t" r="r" b="b"/>
              <a:pathLst>
                <a:path w="18004" h="39672" extrusionOk="0">
                  <a:moveTo>
                    <a:pt x="2695" y="1"/>
                  </a:moveTo>
                  <a:lnTo>
                    <a:pt x="2177" y="35"/>
                  </a:lnTo>
                  <a:lnTo>
                    <a:pt x="1659" y="104"/>
                  </a:lnTo>
                  <a:lnTo>
                    <a:pt x="1209" y="208"/>
                  </a:lnTo>
                  <a:lnTo>
                    <a:pt x="795" y="381"/>
                  </a:lnTo>
                  <a:lnTo>
                    <a:pt x="622" y="484"/>
                  </a:lnTo>
                  <a:lnTo>
                    <a:pt x="484" y="623"/>
                  </a:lnTo>
                  <a:lnTo>
                    <a:pt x="346" y="761"/>
                  </a:lnTo>
                  <a:lnTo>
                    <a:pt x="207" y="899"/>
                  </a:lnTo>
                  <a:lnTo>
                    <a:pt x="138" y="1072"/>
                  </a:lnTo>
                  <a:lnTo>
                    <a:pt x="69" y="1279"/>
                  </a:lnTo>
                  <a:lnTo>
                    <a:pt x="35" y="1486"/>
                  </a:lnTo>
                  <a:lnTo>
                    <a:pt x="0" y="1694"/>
                  </a:lnTo>
                  <a:lnTo>
                    <a:pt x="35" y="2143"/>
                  </a:lnTo>
                  <a:lnTo>
                    <a:pt x="69" y="2592"/>
                  </a:lnTo>
                  <a:lnTo>
                    <a:pt x="138" y="3007"/>
                  </a:lnTo>
                  <a:lnTo>
                    <a:pt x="242" y="3387"/>
                  </a:lnTo>
                  <a:lnTo>
                    <a:pt x="449" y="4113"/>
                  </a:lnTo>
                  <a:lnTo>
                    <a:pt x="691" y="4735"/>
                  </a:lnTo>
                  <a:lnTo>
                    <a:pt x="933" y="5219"/>
                  </a:lnTo>
                  <a:lnTo>
                    <a:pt x="1106" y="5599"/>
                  </a:lnTo>
                  <a:lnTo>
                    <a:pt x="1313" y="5910"/>
                  </a:lnTo>
                  <a:lnTo>
                    <a:pt x="2972" y="8605"/>
                  </a:lnTo>
                  <a:lnTo>
                    <a:pt x="4458" y="10920"/>
                  </a:lnTo>
                  <a:lnTo>
                    <a:pt x="5736" y="12890"/>
                  </a:lnTo>
                  <a:lnTo>
                    <a:pt x="6842" y="14549"/>
                  </a:lnTo>
                  <a:lnTo>
                    <a:pt x="7810" y="15931"/>
                  </a:lnTo>
                  <a:lnTo>
                    <a:pt x="8605" y="17071"/>
                  </a:lnTo>
                  <a:lnTo>
                    <a:pt x="9849" y="18730"/>
                  </a:lnTo>
                  <a:lnTo>
                    <a:pt x="10643" y="19767"/>
                  </a:lnTo>
                  <a:lnTo>
                    <a:pt x="10920" y="20147"/>
                  </a:lnTo>
                  <a:lnTo>
                    <a:pt x="11127" y="20458"/>
                  </a:lnTo>
                  <a:lnTo>
                    <a:pt x="11265" y="20734"/>
                  </a:lnTo>
                  <a:lnTo>
                    <a:pt x="11369" y="21045"/>
                  </a:lnTo>
                  <a:lnTo>
                    <a:pt x="11438" y="21426"/>
                  </a:lnTo>
                  <a:lnTo>
                    <a:pt x="11507" y="21840"/>
                  </a:lnTo>
                  <a:lnTo>
                    <a:pt x="11507" y="22117"/>
                  </a:lnTo>
                  <a:lnTo>
                    <a:pt x="11473" y="22428"/>
                  </a:lnTo>
                  <a:lnTo>
                    <a:pt x="11404" y="22808"/>
                  </a:lnTo>
                  <a:lnTo>
                    <a:pt x="11300" y="23257"/>
                  </a:lnTo>
                  <a:lnTo>
                    <a:pt x="11024" y="24259"/>
                  </a:lnTo>
                  <a:lnTo>
                    <a:pt x="10609" y="25434"/>
                  </a:lnTo>
                  <a:lnTo>
                    <a:pt x="10160" y="26713"/>
                  </a:lnTo>
                  <a:lnTo>
                    <a:pt x="9641" y="28060"/>
                  </a:lnTo>
                  <a:lnTo>
                    <a:pt x="8466" y="30894"/>
                  </a:lnTo>
                  <a:lnTo>
                    <a:pt x="7291" y="33589"/>
                  </a:lnTo>
                  <a:lnTo>
                    <a:pt x="6255" y="35870"/>
                  </a:lnTo>
                  <a:lnTo>
                    <a:pt x="5253" y="38047"/>
                  </a:lnTo>
                  <a:lnTo>
                    <a:pt x="5875" y="38393"/>
                  </a:lnTo>
                  <a:lnTo>
                    <a:pt x="6497" y="38704"/>
                  </a:lnTo>
                  <a:lnTo>
                    <a:pt x="7257" y="39049"/>
                  </a:lnTo>
                  <a:lnTo>
                    <a:pt x="8017" y="39360"/>
                  </a:lnTo>
                  <a:lnTo>
                    <a:pt x="8397" y="39499"/>
                  </a:lnTo>
                  <a:lnTo>
                    <a:pt x="8708" y="39602"/>
                  </a:lnTo>
                  <a:lnTo>
                    <a:pt x="9019" y="39671"/>
                  </a:lnTo>
                  <a:lnTo>
                    <a:pt x="9261" y="39671"/>
                  </a:lnTo>
                  <a:lnTo>
                    <a:pt x="9468" y="39637"/>
                  </a:lnTo>
                  <a:lnTo>
                    <a:pt x="9538" y="39602"/>
                  </a:lnTo>
                  <a:lnTo>
                    <a:pt x="9572" y="39568"/>
                  </a:lnTo>
                  <a:lnTo>
                    <a:pt x="10090" y="38669"/>
                  </a:lnTo>
                  <a:lnTo>
                    <a:pt x="11127" y="36734"/>
                  </a:lnTo>
                  <a:lnTo>
                    <a:pt x="12509" y="34039"/>
                  </a:lnTo>
                  <a:lnTo>
                    <a:pt x="14064" y="30894"/>
                  </a:lnTo>
                  <a:lnTo>
                    <a:pt x="14859" y="29270"/>
                  </a:lnTo>
                  <a:lnTo>
                    <a:pt x="15585" y="27646"/>
                  </a:lnTo>
                  <a:lnTo>
                    <a:pt x="16276" y="26091"/>
                  </a:lnTo>
                  <a:lnTo>
                    <a:pt x="16864" y="24605"/>
                  </a:lnTo>
                  <a:lnTo>
                    <a:pt x="17382" y="23222"/>
                  </a:lnTo>
                  <a:lnTo>
                    <a:pt x="17589" y="22600"/>
                  </a:lnTo>
                  <a:lnTo>
                    <a:pt x="17727" y="22048"/>
                  </a:lnTo>
                  <a:lnTo>
                    <a:pt x="17866" y="21495"/>
                  </a:lnTo>
                  <a:lnTo>
                    <a:pt x="17969" y="21045"/>
                  </a:lnTo>
                  <a:lnTo>
                    <a:pt x="18004" y="20631"/>
                  </a:lnTo>
                  <a:lnTo>
                    <a:pt x="18004" y="20285"/>
                  </a:lnTo>
                  <a:lnTo>
                    <a:pt x="17935" y="19905"/>
                  </a:lnTo>
                  <a:lnTo>
                    <a:pt x="17831" y="19490"/>
                  </a:lnTo>
                  <a:lnTo>
                    <a:pt x="17658" y="19007"/>
                  </a:lnTo>
                  <a:lnTo>
                    <a:pt x="17451" y="18488"/>
                  </a:lnTo>
                  <a:lnTo>
                    <a:pt x="16898" y="17313"/>
                  </a:lnTo>
                  <a:lnTo>
                    <a:pt x="16172" y="15966"/>
                  </a:lnTo>
                  <a:lnTo>
                    <a:pt x="15378" y="14549"/>
                  </a:lnTo>
                  <a:lnTo>
                    <a:pt x="14445" y="13028"/>
                  </a:lnTo>
                  <a:lnTo>
                    <a:pt x="13477" y="11473"/>
                  </a:lnTo>
                  <a:lnTo>
                    <a:pt x="12475" y="9918"/>
                  </a:lnTo>
                  <a:lnTo>
                    <a:pt x="10436" y="6877"/>
                  </a:lnTo>
                  <a:lnTo>
                    <a:pt x="8570" y="4251"/>
                  </a:lnTo>
                  <a:lnTo>
                    <a:pt x="7119" y="2281"/>
                  </a:lnTo>
                  <a:lnTo>
                    <a:pt x="6289" y="1210"/>
                  </a:lnTo>
                  <a:lnTo>
                    <a:pt x="6047" y="968"/>
                  </a:lnTo>
                  <a:lnTo>
                    <a:pt x="5702" y="726"/>
                  </a:lnTo>
                  <a:lnTo>
                    <a:pt x="5287" y="519"/>
                  </a:lnTo>
                  <a:lnTo>
                    <a:pt x="4803" y="346"/>
                  </a:lnTo>
                  <a:lnTo>
                    <a:pt x="4320" y="208"/>
                  </a:lnTo>
                  <a:lnTo>
                    <a:pt x="3767" y="104"/>
                  </a:lnTo>
                  <a:lnTo>
                    <a:pt x="3214" y="35"/>
                  </a:lnTo>
                  <a:lnTo>
                    <a:pt x="2695" y="1"/>
                  </a:lnTo>
                  <a:close/>
                </a:path>
              </a:pathLst>
            </a:custGeom>
            <a:solidFill>
              <a:srgbClr val="DB536A"/>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95" name="Google Shape;2424;p11">
              <a:extLst>
                <a:ext uri="{FF2B5EF4-FFF2-40B4-BE49-F238E27FC236}">
                  <a16:creationId xmlns:a16="http://schemas.microsoft.com/office/drawing/2014/main" id="{898A3152-A99C-461C-97DC-7EBCFFCC17F6}"/>
                </a:ext>
              </a:extLst>
            </p:cNvPr>
            <p:cNvSpPr/>
            <p:nvPr/>
          </p:nvSpPr>
          <p:spPr>
            <a:xfrm>
              <a:off x="6154650" y="2061825"/>
              <a:ext cx="450100" cy="991800"/>
            </a:xfrm>
            <a:custGeom>
              <a:avLst/>
              <a:gdLst/>
              <a:ahLst/>
              <a:cxnLst/>
              <a:rect l="l" t="t" r="r" b="b"/>
              <a:pathLst>
                <a:path w="18004" h="39672" fill="none" extrusionOk="0">
                  <a:moveTo>
                    <a:pt x="1313" y="5910"/>
                  </a:moveTo>
                  <a:lnTo>
                    <a:pt x="1313" y="5910"/>
                  </a:lnTo>
                  <a:lnTo>
                    <a:pt x="2972" y="8605"/>
                  </a:lnTo>
                  <a:lnTo>
                    <a:pt x="4458" y="10920"/>
                  </a:lnTo>
                  <a:lnTo>
                    <a:pt x="5736" y="12890"/>
                  </a:lnTo>
                  <a:lnTo>
                    <a:pt x="6842" y="14549"/>
                  </a:lnTo>
                  <a:lnTo>
                    <a:pt x="7810" y="15931"/>
                  </a:lnTo>
                  <a:lnTo>
                    <a:pt x="8605" y="17071"/>
                  </a:lnTo>
                  <a:lnTo>
                    <a:pt x="9849" y="18730"/>
                  </a:lnTo>
                  <a:lnTo>
                    <a:pt x="10643" y="19767"/>
                  </a:lnTo>
                  <a:lnTo>
                    <a:pt x="10920" y="20147"/>
                  </a:lnTo>
                  <a:lnTo>
                    <a:pt x="11127" y="20458"/>
                  </a:lnTo>
                  <a:lnTo>
                    <a:pt x="11265" y="20734"/>
                  </a:lnTo>
                  <a:lnTo>
                    <a:pt x="11369" y="21045"/>
                  </a:lnTo>
                  <a:lnTo>
                    <a:pt x="11438" y="21426"/>
                  </a:lnTo>
                  <a:lnTo>
                    <a:pt x="11507" y="21840"/>
                  </a:lnTo>
                  <a:lnTo>
                    <a:pt x="11507" y="21840"/>
                  </a:lnTo>
                  <a:lnTo>
                    <a:pt x="11507" y="22117"/>
                  </a:lnTo>
                  <a:lnTo>
                    <a:pt x="11473" y="22428"/>
                  </a:lnTo>
                  <a:lnTo>
                    <a:pt x="11404" y="22808"/>
                  </a:lnTo>
                  <a:lnTo>
                    <a:pt x="11300" y="23257"/>
                  </a:lnTo>
                  <a:lnTo>
                    <a:pt x="11024" y="24259"/>
                  </a:lnTo>
                  <a:lnTo>
                    <a:pt x="10609" y="25434"/>
                  </a:lnTo>
                  <a:lnTo>
                    <a:pt x="10160" y="26713"/>
                  </a:lnTo>
                  <a:lnTo>
                    <a:pt x="9641" y="28060"/>
                  </a:lnTo>
                  <a:lnTo>
                    <a:pt x="8466" y="30894"/>
                  </a:lnTo>
                  <a:lnTo>
                    <a:pt x="7291" y="33589"/>
                  </a:lnTo>
                  <a:lnTo>
                    <a:pt x="6255" y="35870"/>
                  </a:lnTo>
                  <a:lnTo>
                    <a:pt x="5253" y="38047"/>
                  </a:lnTo>
                  <a:lnTo>
                    <a:pt x="5253" y="38047"/>
                  </a:lnTo>
                  <a:lnTo>
                    <a:pt x="5875" y="38393"/>
                  </a:lnTo>
                  <a:lnTo>
                    <a:pt x="6497" y="38704"/>
                  </a:lnTo>
                  <a:lnTo>
                    <a:pt x="7257" y="39049"/>
                  </a:lnTo>
                  <a:lnTo>
                    <a:pt x="8017" y="39360"/>
                  </a:lnTo>
                  <a:lnTo>
                    <a:pt x="8397" y="39499"/>
                  </a:lnTo>
                  <a:lnTo>
                    <a:pt x="8708" y="39602"/>
                  </a:lnTo>
                  <a:lnTo>
                    <a:pt x="9019" y="39671"/>
                  </a:lnTo>
                  <a:lnTo>
                    <a:pt x="9261" y="39671"/>
                  </a:lnTo>
                  <a:lnTo>
                    <a:pt x="9468" y="39637"/>
                  </a:lnTo>
                  <a:lnTo>
                    <a:pt x="9538" y="39602"/>
                  </a:lnTo>
                  <a:lnTo>
                    <a:pt x="9572" y="39568"/>
                  </a:lnTo>
                  <a:lnTo>
                    <a:pt x="9572" y="39568"/>
                  </a:lnTo>
                  <a:lnTo>
                    <a:pt x="10090" y="38669"/>
                  </a:lnTo>
                  <a:lnTo>
                    <a:pt x="11127" y="36734"/>
                  </a:lnTo>
                  <a:lnTo>
                    <a:pt x="12509" y="34039"/>
                  </a:lnTo>
                  <a:lnTo>
                    <a:pt x="14064" y="30894"/>
                  </a:lnTo>
                  <a:lnTo>
                    <a:pt x="14859" y="29270"/>
                  </a:lnTo>
                  <a:lnTo>
                    <a:pt x="15585" y="27646"/>
                  </a:lnTo>
                  <a:lnTo>
                    <a:pt x="16276" y="26091"/>
                  </a:lnTo>
                  <a:lnTo>
                    <a:pt x="16864" y="24605"/>
                  </a:lnTo>
                  <a:lnTo>
                    <a:pt x="17382" y="23222"/>
                  </a:lnTo>
                  <a:lnTo>
                    <a:pt x="17589" y="22600"/>
                  </a:lnTo>
                  <a:lnTo>
                    <a:pt x="17727" y="22048"/>
                  </a:lnTo>
                  <a:lnTo>
                    <a:pt x="17866" y="21495"/>
                  </a:lnTo>
                  <a:lnTo>
                    <a:pt x="17969" y="21045"/>
                  </a:lnTo>
                  <a:lnTo>
                    <a:pt x="18004" y="20631"/>
                  </a:lnTo>
                  <a:lnTo>
                    <a:pt x="18004" y="20285"/>
                  </a:lnTo>
                  <a:lnTo>
                    <a:pt x="18004" y="20285"/>
                  </a:lnTo>
                  <a:lnTo>
                    <a:pt x="17935" y="19905"/>
                  </a:lnTo>
                  <a:lnTo>
                    <a:pt x="17831" y="19490"/>
                  </a:lnTo>
                  <a:lnTo>
                    <a:pt x="17658" y="19007"/>
                  </a:lnTo>
                  <a:lnTo>
                    <a:pt x="17451" y="18488"/>
                  </a:lnTo>
                  <a:lnTo>
                    <a:pt x="16898" y="17313"/>
                  </a:lnTo>
                  <a:lnTo>
                    <a:pt x="16172" y="15966"/>
                  </a:lnTo>
                  <a:lnTo>
                    <a:pt x="15378" y="14549"/>
                  </a:lnTo>
                  <a:lnTo>
                    <a:pt x="14445" y="13028"/>
                  </a:lnTo>
                  <a:lnTo>
                    <a:pt x="13477" y="11473"/>
                  </a:lnTo>
                  <a:lnTo>
                    <a:pt x="12475" y="9918"/>
                  </a:lnTo>
                  <a:lnTo>
                    <a:pt x="10436" y="6877"/>
                  </a:lnTo>
                  <a:lnTo>
                    <a:pt x="8570" y="4251"/>
                  </a:lnTo>
                  <a:lnTo>
                    <a:pt x="7119" y="2281"/>
                  </a:lnTo>
                  <a:lnTo>
                    <a:pt x="6289" y="1210"/>
                  </a:lnTo>
                  <a:lnTo>
                    <a:pt x="6289" y="1210"/>
                  </a:lnTo>
                  <a:lnTo>
                    <a:pt x="6047" y="968"/>
                  </a:lnTo>
                  <a:lnTo>
                    <a:pt x="5702" y="726"/>
                  </a:lnTo>
                  <a:lnTo>
                    <a:pt x="5287" y="519"/>
                  </a:lnTo>
                  <a:lnTo>
                    <a:pt x="4803" y="346"/>
                  </a:lnTo>
                  <a:lnTo>
                    <a:pt x="4320" y="208"/>
                  </a:lnTo>
                  <a:lnTo>
                    <a:pt x="3767" y="104"/>
                  </a:lnTo>
                  <a:lnTo>
                    <a:pt x="3214" y="35"/>
                  </a:lnTo>
                  <a:lnTo>
                    <a:pt x="2695" y="1"/>
                  </a:lnTo>
                  <a:lnTo>
                    <a:pt x="2177" y="35"/>
                  </a:lnTo>
                  <a:lnTo>
                    <a:pt x="1659" y="104"/>
                  </a:lnTo>
                  <a:lnTo>
                    <a:pt x="1209" y="208"/>
                  </a:lnTo>
                  <a:lnTo>
                    <a:pt x="795" y="381"/>
                  </a:lnTo>
                  <a:lnTo>
                    <a:pt x="622" y="484"/>
                  </a:lnTo>
                  <a:lnTo>
                    <a:pt x="484" y="623"/>
                  </a:lnTo>
                  <a:lnTo>
                    <a:pt x="346" y="761"/>
                  </a:lnTo>
                  <a:lnTo>
                    <a:pt x="207" y="899"/>
                  </a:lnTo>
                  <a:lnTo>
                    <a:pt x="138" y="1072"/>
                  </a:lnTo>
                  <a:lnTo>
                    <a:pt x="69" y="1279"/>
                  </a:lnTo>
                  <a:lnTo>
                    <a:pt x="35" y="1486"/>
                  </a:lnTo>
                  <a:lnTo>
                    <a:pt x="0" y="1694"/>
                  </a:lnTo>
                  <a:lnTo>
                    <a:pt x="0" y="1694"/>
                  </a:lnTo>
                  <a:lnTo>
                    <a:pt x="35" y="2143"/>
                  </a:lnTo>
                  <a:lnTo>
                    <a:pt x="69" y="2592"/>
                  </a:lnTo>
                  <a:lnTo>
                    <a:pt x="138" y="3007"/>
                  </a:lnTo>
                  <a:lnTo>
                    <a:pt x="242" y="3387"/>
                  </a:lnTo>
                  <a:lnTo>
                    <a:pt x="449" y="4113"/>
                  </a:lnTo>
                  <a:lnTo>
                    <a:pt x="691" y="4735"/>
                  </a:lnTo>
                  <a:lnTo>
                    <a:pt x="933" y="5219"/>
                  </a:lnTo>
                  <a:lnTo>
                    <a:pt x="1106" y="5599"/>
                  </a:lnTo>
                  <a:lnTo>
                    <a:pt x="1313" y="591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96" name="Google Shape;2425;p11">
              <a:extLst>
                <a:ext uri="{FF2B5EF4-FFF2-40B4-BE49-F238E27FC236}">
                  <a16:creationId xmlns:a16="http://schemas.microsoft.com/office/drawing/2014/main" id="{94215C77-5A42-FFEE-CBF4-8523CF636CED}"/>
                </a:ext>
              </a:extLst>
            </p:cNvPr>
            <p:cNvSpPr/>
            <p:nvPr/>
          </p:nvSpPr>
          <p:spPr>
            <a:xfrm>
              <a:off x="6302375" y="2405675"/>
              <a:ext cx="95050" cy="279925"/>
            </a:xfrm>
            <a:custGeom>
              <a:avLst/>
              <a:gdLst/>
              <a:ahLst/>
              <a:cxnLst/>
              <a:rect l="l" t="t" r="r" b="b"/>
              <a:pathLst>
                <a:path w="3802" h="11197" extrusionOk="0">
                  <a:moveTo>
                    <a:pt x="0" y="0"/>
                  </a:moveTo>
                  <a:lnTo>
                    <a:pt x="35" y="380"/>
                  </a:lnTo>
                  <a:lnTo>
                    <a:pt x="104" y="1313"/>
                  </a:lnTo>
                  <a:lnTo>
                    <a:pt x="277" y="2730"/>
                  </a:lnTo>
                  <a:lnTo>
                    <a:pt x="415" y="3525"/>
                  </a:lnTo>
                  <a:lnTo>
                    <a:pt x="588" y="4423"/>
                  </a:lnTo>
                  <a:lnTo>
                    <a:pt x="795" y="5322"/>
                  </a:lnTo>
                  <a:lnTo>
                    <a:pt x="1037" y="6255"/>
                  </a:lnTo>
                  <a:lnTo>
                    <a:pt x="1348" y="7188"/>
                  </a:lnTo>
                  <a:lnTo>
                    <a:pt x="1693" y="8121"/>
                  </a:lnTo>
                  <a:lnTo>
                    <a:pt x="2143" y="8985"/>
                  </a:lnTo>
                  <a:lnTo>
                    <a:pt x="2350" y="9399"/>
                  </a:lnTo>
                  <a:lnTo>
                    <a:pt x="2626" y="9814"/>
                  </a:lnTo>
                  <a:lnTo>
                    <a:pt x="2868" y="10194"/>
                  </a:lnTo>
                  <a:lnTo>
                    <a:pt x="3179" y="10540"/>
                  </a:lnTo>
                  <a:lnTo>
                    <a:pt x="3456" y="10885"/>
                  </a:lnTo>
                  <a:lnTo>
                    <a:pt x="3801" y="11196"/>
                  </a:lnTo>
                  <a:lnTo>
                    <a:pt x="3801" y="11196"/>
                  </a:lnTo>
                  <a:lnTo>
                    <a:pt x="3456" y="9641"/>
                  </a:lnTo>
                  <a:lnTo>
                    <a:pt x="3179" y="8259"/>
                  </a:lnTo>
                  <a:lnTo>
                    <a:pt x="2972" y="7015"/>
                  </a:lnTo>
                  <a:lnTo>
                    <a:pt x="2937" y="6462"/>
                  </a:lnTo>
                  <a:lnTo>
                    <a:pt x="2903" y="5978"/>
                  </a:lnTo>
                  <a:lnTo>
                    <a:pt x="2903" y="5875"/>
                  </a:lnTo>
                  <a:lnTo>
                    <a:pt x="2972" y="4009"/>
                  </a:lnTo>
                  <a:lnTo>
                    <a:pt x="0" y="0"/>
                  </a:lnTo>
                  <a:close/>
                </a:path>
              </a:pathLst>
            </a:custGeom>
            <a:solidFill>
              <a:srgbClr val="AC465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97" name="Google Shape;2426;p11">
              <a:extLst>
                <a:ext uri="{FF2B5EF4-FFF2-40B4-BE49-F238E27FC236}">
                  <a16:creationId xmlns:a16="http://schemas.microsoft.com/office/drawing/2014/main" id="{40FE5BBB-AD61-14D2-1001-466637A4702F}"/>
                </a:ext>
              </a:extLst>
            </p:cNvPr>
            <p:cNvSpPr/>
            <p:nvPr/>
          </p:nvSpPr>
          <p:spPr>
            <a:xfrm>
              <a:off x="6302375" y="2405675"/>
              <a:ext cx="95050" cy="279925"/>
            </a:xfrm>
            <a:custGeom>
              <a:avLst/>
              <a:gdLst/>
              <a:ahLst/>
              <a:cxnLst/>
              <a:rect l="l" t="t" r="r" b="b"/>
              <a:pathLst>
                <a:path w="3802" h="11197" fill="none" extrusionOk="0">
                  <a:moveTo>
                    <a:pt x="0" y="0"/>
                  </a:moveTo>
                  <a:lnTo>
                    <a:pt x="0" y="0"/>
                  </a:lnTo>
                  <a:lnTo>
                    <a:pt x="35" y="380"/>
                  </a:lnTo>
                  <a:lnTo>
                    <a:pt x="104" y="1313"/>
                  </a:lnTo>
                  <a:lnTo>
                    <a:pt x="277" y="2730"/>
                  </a:lnTo>
                  <a:lnTo>
                    <a:pt x="415" y="3525"/>
                  </a:lnTo>
                  <a:lnTo>
                    <a:pt x="588" y="4423"/>
                  </a:lnTo>
                  <a:lnTo>
                    <a:pt x="795" y="5322"/>
                  </a:lnTo>
                  <a:lnTo>
                    <a:pt x="1037" y="6255"/>
                  </a:lnTo>
                  <a:lnTo>
                    <a:pt x="1348" y="7188"/>
                  </a:lnTo>
                  <a:lnTo>
                    <a:pt x="1693" y="8121"/>
                  </a:lnTo>
                  <a:lnTo>
                    <a:pt x="2143" y="8985"/>
                  </a:lnTo>
                  <a:lnTo>
                    <a:pt x="2350" y="9399"/>
                  </a:lnTo>
                  <a:lnTo>
                    <a:pt x="2626" y="9814"/>
                  </a:lnTo>
                  <a:lnTo>
                    <a:pt x="2868" y="10194"/>
                  </a:lnTo>
                  <a:lnTo>
                    <a:pt x="3179" y="10540"/>
                  </a:lnTo>
                  <a:lnTo>
                    <a:pt x="3456" y="10885"/>
                  </a:lnTo>
                  <a:lnTo>
                    <a:pt x="3801" y="11196"/>
                  </a:lnTo>
                  <a:lnTo>
                    <a:pt x="3801" y="11196"/>
                  </a:lnTo>
                  <a:lnTo>
                    <a:pt x="3456" y="9641"/>
                  </a:lnTo>
                  <a:lnTo>
                    <a:pt x="3179" y="8259"/>
                  </a:lnTo>
                  <a:lnTo>
                    <a:pt x="2972" y="7015"/>
                  </a:lnTo>
                  <a:lnTo>
                    <a:pt x="2937" y="6462"/>
                  </a:lnTo>
                  <a:lnTo>
                    <a:pt x="2903" y="5978"/>
                  </a:lnTo>
                  <a:lnTo>
                    <a:pt x="2903" y="5978"/>
                  </a:lnTo>
                  <a:lnTo>
                    <a:pt x="2903" y="5875"/>
                  </a:lnTo>
                  <a:lnTo>
                    <a:pt x="2903" y="5875"/>
                  </a:lnTo>
                  <a:lnTo>
                    <a:pt x="2972" y="4009"/>
                  </a:lnTo>
                  <a:lnTo>
                    <a:pt x="2972" y="4009"/>
                  </a:lnTo>
                  <a:lnTo>
                    <a:pt x="2972" y="4009"/>
                  </a:lnTo>
                  <a:lnTo>
                    <a:pt x="0"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98" name="Google Shape;2427;p11">
              <a:extLst>
                <a:ext uri="{FF2B5EF4-FFF2-40B4-BE49-F238E27FC236}">
                  <a16:creationId xmlns:a16="http://schemas.microsoft.com/office/drawing/2014/main" id="{2FA19175-2E3B-2616-0E88-04BB655D8F7F}"/>
                </a:ext>
              </a:extLst>
            </p:cNvPr>
            <p:cNvSpPr/>
            <p:nvPr/>
          </p:nvSpPr>
          <p:spPr>
            <a:xfrm>
              <a:off x="6402575" y="2707175"/>
              <a:ext cx="25" cy="25"/>
            </a:xfrm>
            <a:custGeom>
              <a:avLst/>
              <a:gdLst/>
              <a:ahLst/>
              <a:cxnLst/>
              <a:rect l="l" t="t" r="r" b="b"/>
              <a:pathLst>
                <a:path w="1" h="1" extrusionOk="0">
                  <a:moveTo>
                    <a:pt x="1" y="0"/>
                  </a:moveTo>
                  <a:lnTo>
                    <a:pt x="1" y="0"/>
                  </a:lnTo>
                  <a:lnTo>
                    <a:pt x="1" y="0"/>
                  </a:lnTo>
                  <a:lnTo>
                    <a:pt x="1" y="0"/>
                  </a:lnTo>
                  <a:lnTo>
                    <a:pt x="1" y="0"/>
                  </a:lnTo>
                  <a:close/>
                </a:path>
              </a:pathLst>
            </a:custGeom>
            <a:solidFill>
              <a:srgbClr val="C7C7C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199" name="Google Shape;2428;p11">
              <a:extLst>
                <a:ext uri="{FF2B5EF4-FFF2-40B4-BE49-F238E27FC236}">
                  <a16:creationId xmlns:a16="http://schemas.microsoft.com/office/drawing/2014/main" id="{BACBAFBE-DB3F-8BEE-4B95-9E8FE4AFDF7D}"/>
                </a:ext>
              </a:extLst>
            </p:cNvPr>
            <p:cNvSpPr/>
            <p:nvPr/>
          </p:nvSpPr>
          <p:spPr>
            <a:xfrm>
              <a:off x="6402575" y="2707175"/>
              <a:ext cx="25" cy="25"/>
            </a:xfrm>
            <a:custGeom>
              <a:avLst/>
              <a:gdLst/>
              <a:ahLst/>
              <a:cxnLst/>
              <a:rect l="l" t="t" r="r" b="b"/>
              <a:pathLst>
                <a:path w="1" h="1" fill="none" extrusionOk="0">
                  <a:moveTo>
                    <a:pt x="1" y="0"/>
                  </a:moveTo>
                  <a:lnTo>
                    <a:pt x="1" y="0"/>
                  </a:lnTo>
                  <a:lnTo>
                    <a:pt x="1" y="0"/>
                  </a:lnTo>
                  <a:lnTo>
                    <a:pt x="1" y="0"/>
                  </a:lnTo>
                  <a:lnTo>
                    <a:pt x="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00" name="Google Shape;2429;p11">
              <a:extLst>
                <a:ext uri="{FF2B5EF4-FFF2-40B4-BE49-F238E27FC236}">
                  <a16:creationId xmlns:a16="http://schemas.microsoft.com/office/drawing/2014/main" id="{94198A78-67C3-BDE7-63F6-20678FDBD0AD}"/>
                </a:ext>
              </a:extLst>
            </p:cNvPr>
            <p:cNvSpPr/>
            <p:nvPr/>
          </p:nvSpPr>
          <p:spPr>
            <a:xfrm>
              <a:off x="6298900" y="2707175"/>
              <a:ext cx="108900" cy="279050"/>
            </a:xfrm>
            <a:custGeom>
              <a:avLst/>
              <a:gdLst/>
              <a:ahLst/>
              <a:cxnLst/>
              <a:rect l="l" t="t" r="r" b="b"/>
              <a:pathLst>
                <a:path w="4356" h="11162" extrusionOk="0">
                  <a:moveTo>
                    <a:pt x="4148" y="0"/>
                  </a:moveTo>
                  <a:lnTo>
                    <a:pt x="1" y="11162"/>
                  </a:lnTo>
                  <a:lnTo>
                    <a:pt x="865" y="9227"/>
                  </a:lnTo>
                  <a:lnTo>
                    <a:pt x="2005" y="6670"/>
                  </a:lnTo>
                  <a:lnTo>
                    <a:pt x="3215" y="3801"/>
                  </a:lnTo>
                  <a:lnTo>
                    <a:pt x="3802" y="2350"/>
                  </a:lnTo>
                  <a:lnTo>
                    <a:pt x="4355" y="968"/>
                  </a:lnTo>
                  <a:lnTo>
                    <a:pt x="4148" y="0"/>
                  </a:lnTo>
                  <a:close/>
                </a:path>
              </a:pathLst>
            </a:custGeom>
            <a:solidFill>
              <a:srgbClr val="AC465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01" name="Google Shape;2430;p11">
              <a:extLst>
                <a:ext uri="{FF2B5EF4-FFF2-40B4-BE49-F238E27FC236}">
                  <a16:creationId xmlns:a16="http://schemas.microsoft.com/office/drawing/2014/main" id="{E794CE9C-1764-C694-3FFA-5AD0EA851F34}"/>
                </a:ext>
              </a:extLst>
            </p:cNvPr>
            <p:cNvSpPr/>
            <p:nvPr/>
          </p:nvSpPr>
          <p:spPr>
            <a:xfrm>
              <a:off x="6298900" y="2707175"/>
              <a:ext cx="108900" cy="279050"/>
            </a:xfrm>
            <a:custGeom>
              <a:avLst/>
              <a:gdLst/>
              <a:ahLst/>
              <a:cxnLst/>
              <a:rect l="l" t="t" r="r" b="b"/>
              <a:pathLst>
                <a:path w="4356" h="11162" fill="none" extrusionOk="0">
                  <a:moveTo>
                    <a:pt x="4148" y="0"/>
                  </a:moveTo>
                  <a:lnTo>
                    <a:pt x="1" y="11162"/>
                  </a:lnTo>
                  <a:lnTo>
                    <a:pt x="1" y="11162"/>
                  </a:lnTo>
                  <a:lnTo>
                    <a:pt x="865" y="9227"/>
                  </a:lnTo>
                  <a:lnTo>
                    <a:pt x="2005" y="6670"/>
                  </a:lnTo>
                  <a:lnTo>
                    <a:pt x="3215" y="3801"/>
                  </a:lnTo>
                  <a:lnTo>
                    <a:pt x="3802" y="2350"/>
                  </a:lnTo>
                  <a:lnTo>
                    <a:pt x="4355" y="968"/>
                  </a:lnTo>
                  <a:lnTo>
                    <a:pt x="4148" y="0"/>
                  </a:lnTo>
                  <a:lnTo>
                    <a:pt x="4148" y="0"/>
                  </a:lnTo>
                  <a:lnTo>
                    <a:pt x="4148"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02" name="Google Shape;2431;p11">
              <a:extLst>
                <a:ext uri="{FF2B5EF4-FFF2-40B4-BE49-F238E27FC236}">
                  <a16:creationId xmlns:a16="http://schemas.microsoft.com/office/drawing/2014/main" id="{60740CA2-617D-007D-3AD0-A74C6F4B4445}"/>
                </a:ext>
              </a:extLst>
            </p:cNvPr>
            <p:cNvSpPr/>
            <p:nvPr/>
          </p:nvSpPr>
          <p:spPr>
            <a:xfrm>
              <a:off x="6295450" y="2731350"/>
              <a:ext cx="115800" cy="263525"/>
            </a:xfrm>
            <a:custGeom>
              <a:avLst/>
              <a:gdLst/>
              <a:ahLst/>
              <a:cxnLst/>
              <a:rect l="l" t="t" r="r" b="b"/>
              <a:pathLst>
                <a:path w="4632" h="10541" extrusionOk="0">
                  <a:moveTo>
                    <a:pt x="4493" y="1"/>
                  </a:moveTo>
                  <a:lnTo>
                    <a:pt x="3940" y="1383"/>
                  </a:lnTo>
                  <a:lnTo>
                    <a:pt x="3353" y="2834"/>
                  </a:lnTo>
                  <a:lnTo>
                    <a:pt x="2143" y="5703"/>
                  </a:lnTo>
                  <a:lnTo>
                    <a:pt x="1003" y="8260"/>
                  </a:lnTo>
                  <a:lnTo>
                    <a:pt x="139" y="10195"/>
                  </a:lnTo>
                  <a:lnTo>
                    <a:pt x="1" y="10540"/>
                  </a:lnTo>
                  <a:lnTo>
                    <a:pt x="692" y="9124"/>
                  </a:lnTo>
                  <a:lnTo>
                    <a:pt x="2247" y="5979"/>
                  </a:lnTo>
                  <a:lnTo>
                    <a:pt x="3076" y="4217"/>
                  </a:lnTo>
                  <a:lnTo>
                    <a:pt x="3802" y="2627"/>
                  </a:lnTo>
                  <a:lnTo>
                    <a:pt x="4355" y="1348"/>
                  </a:lnTo>
                  <a:lnTo>
                    <a:pt x="4562" y="899"/>
                  </a:lnTo>
                  <a:lnTo>
                    <a:pt x="4631" y="588"/>
                  </a:lnTo>
                  <a:lnTo>
                    <a:pt x="4493" y="1"/>
                  </a:lnTo>
                  <a:close/>
                </a:path>
              </a:pathLst>
            </a:custGeom>
            <a:solidFill>
              <a:srgbClr val="AC465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03" name="Google Shape;2432;p11">
              <a:extLst>
                <a:ext uri="{FF2B5EF4-FFF2-40B4-BE49-F238E27FC236}">
                  <a16:creationId xmlns:a16="http://schemas.microsoft.com/office/drawing/2014/main" id="{C53319E9-EE26-5153-16FA-53CEE93907EA}"/>
                </a:ext>
              </a:extLst>
            </p:cNvPr>
            <p:cNvSpPr/>
            <p:nvPr/>
          </p:nvSpPr>
          <p:spPr>
            <a:xfrm>
              <a:off x="6295450" y="2731350"/>
              <a:ext cx="115800" cy="263525"/>
            </a:xfrm>
            <a:custGeom>
              <a:avLst/>
              <a:gdLst/>
              <a:ahLst/>
              <a:cxnLst/>
              <a:rect l="l" t="t" r="r" b="b"/>
              <a:pathLst>
                <a:path w="4632" h="10541" fill="none" extrusionOk="0">
                  <a:moveTo>
                    <a:pt x="4493" y="1"/>
                  </a:moveTo>
                  <a:lnTo>
                    <a:pt x="4493" y="1"/>
                  </a:lnTo>
                  <a:lnTo>
                    <a:pt x="3940" y="1383"/>
                  </a:lnTo>
                  <a:lnTo>
                    <a:pt x="3353" y="2834"/>
                  </a:lnTo>
                  <a:lnTo>
                    <a:pt x="2143" y="5703"/>
                  </a:lnTo>
                  <a:lnTo>
                    <a:pt x="1003" y="8260"/>
                  </a:lnTo>
                  <a:lnTo>
                    <a:pt x="139" y="10195"/>
                  </a:lnTo>
                  <a:lnTo>
                    <a:pt x="1" y="10540"/>
                  </a:lnTo>
                  <a:lnTo>
                    <a:pt x="1" y="10540"/>
                  </a:lnTo>
                  <a:lnTo>
                    <a:pt x="692" y="9124"/>
                  </a:lnTo>
                  <a:lnTo>
                    <a:pt x="2247" y="5979"/>
                  </a:lnTo>
                  <a:lnTo>
                    <a:pt x="3076" y="4217"/>
                  </a:lnTo>
                  <a:lnTo>
                    <a:pt x="3802" y="2627"/>
                  </a:lnTo>
                  <a:lnTo>
                    <a:pt x="4355" y="1348"/>
                  </a:lnTo>
                  <a:lnTo>
                    <a:pt x="4562" y="899"/>
                  </a:lnTo>
                  <a:lnTo>
                    <a:pt x="4631" y="588"/>
                  </a:lnTo>
                  <a:lnTo>
                    <a:pt x="4493"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04" name="Google Shape;2433;p11">
              <a:extLst>
                <a:ext uri="{FF2B5EF4-FFF2-40B4-BE49-F238E27FC236}">
                  <a16:creationId xmlns:a16="http://schemas.microsoft.com/office/drawing/2014/main" id="{A460DC7D-4887-E071-7FC3-055578A86EF8}"/>
                </a:ext>
              </a:extLst>
            </p:cNvPr>
            <p:cNvSpPr/>
            <p:nvPr/>
          </p:nvSpPr>
          <p:spPr>
            <a:xfrm>
              <a:off x="6409500" y="2225100"/>
              <a:ext cx="15575" cy="23350"/>
            </a:xfrm>
            <a:custGeom>
              <a:avLst/>
              <a:gdLst/>
              <a:ahLst/>
              <a:cxnLst/>
              <a:rect l="l" t="t" r="r" b="b"/>
              <a:pathLst>
                <a:path w="623" h="934" extrusionOk="0">
                  <a:moveTo>
                    <a:pt x="0" y="1"/>
                  </a:moveTo>
                  <a:lnTo>
                    <a:pt x="622" y="934"/>
                  </a:lnTo>
                  <a:lnTo>
                    <a:pt x="311" y="415"/>
                  </a:lnTo>
                  <a:lnTo>
                    <a:pt x="0" y="1"/>
                  </a:lnTo>
                  <a:close/>
                </a:path>
              </a:pathLst>
            </a:custGeom>
            <a:solidFill>
              <a:srgbClr val="D7D7D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05" name="Google Shape;2434;p11">
              <a:extLst>
                <a:ext uri="{FF2B5EF4-FFF2-40B4-BE49-F238E27FC236}">
                  <a16:creationId xmlns:a16="http://schemas.microsoft.com/office/drawing/2014/main" id="{234A5DDF-1AF6-7575-B903-2D96D7F28575}"/>
                </a:ext>
              </a:extLst>
            </p:cNvPr>
            <p:cNvSpPr/>
            <p:nvPr/>
          </p:nvSpPr>
          <p:spPr>
            <a:xfrm>
              <a:off x="6409500" y="2225100"/>
              <a:ext cx="15575" cy="23350"/>
            </a:xfrm>
            <a:custGeom>
              <a:avLst/>
              <a:gdLst/>
              <a:ahLst/>
              <a:cxnLst/>
              <a:rect l="l" t="t" r="r" b="b"/>
              <a:pathLst>
                <a:path w="623" h="934" fill="none" extrusionOk="0">
                  <a:moveTo>
                    <a:pt x="0" y="1"/>
                  </a:moveTo>
                  <a:lnTo>
                    <a:pt x="0" y="1"/>
                  </a:lnTo>
                  <a:lnTo>
                    <a:pt x="622" y="934"/>
                  </a:lnTo>
                  <a:lnTo>
                    <a:pt x="622" y="934"/>
                  </a:lnTo>
                  <a:lnTo>
                    <a:pt x="311" y="415"/>
                  </a:lnTo>
                  <a:lnTo>
                    <a:pt x="0"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06" name="Google Shape;2435;p11">
              <a:extLst>
                <a:ext uri="{FF2B5EF4-FFF2-40B4-BE49-F238E27FC236}">
                  <a16:creationId xmlns:a16="http://schemas.microsoft.com/office/drawing/2014/main" id="{F2217281-119C-EB41-F768-0AE16FF4BE03}"/>
                </a:ext>
              </a:extLst>
            </p:cNvPr>
            <p:cNvSpPr/>
            <p:nvPr/>
          </p:nvSpPr>
          <p:spPr>
            <a:xfrm>
              <a:off x="6037150" y="2058375"/>
              <a:ext cx="875" cy="25"/>
            </a:xfrm>
            <a:custGeom>
              <a:avLst/>
              <a:gdLst/>
              <a:ahLst/>
              <a:cxnLst/>
              <a:rect l="l" t="t" r="r" b="b"/>
              <a:pathLst>
                <a:path w="35" h="1" extrusionOk="0">
                  <a:moveTo>
                    <a:pt x="35" y="0"/>
                  </a:moveTo>
                  <a:lnTo>
                    <a:pt x="35" y="0"/>
                  </a:lnTo>
                  <a:lnTo>
                    <a:pt x="0" y="0"/>
                  </a:lnTo>
                  <a:lnTo>
                    <a:pt x="0" y="0"/>
                  </a:lnTo>
                  <a:lnTo>
                    <a:pt x="35" y="0"/>
                  </a:lnTo>
                  <a:close/>
                </a:path>
              </a:pathLst>
            </a:custGeom>
            <a:solidFill>
              <a:srgbClr val="C9949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07" name="Google Shape;2436;p11">
              <a:extLst>
                <a:ext uri="{FF2B5EF4-FFF2-40B4-BE49-F238E27FC236}">
                  <a16:creationId xmlns:a16="http://schemas.microsoft.com/office/drawing/2014/main" id="{EADC361F-1E80-C117-2769-5D31100F0549}"/>
                </a:ext>
              </a:extLst>
            </p:cNvPr>
            <p:cNvSpPr/>
            <p:nvPr/>
          </p:nvSpPr>
          <p:spPr>
            <a:xfrm>
              <a:off x="6037150" y="2058375"/>
              <a:ext cx="875" cy="25"/>
            </a:xfrm>
            <a:custGeom>
              <a:avLst/>
              <a:gdLst/>
              <a:ahLst/>
              <a:cxnLst/>
              <a:rect l="l" t="t" r="r" b="b"/>
              <a:pathLst>
                <a:path w="35" h="1" fill="none" extrusionOk="0">
                  <a:moveTo>
                    <a:pt x="35" y="0"/>
                  </a:moveTo>
                  <a:lnTo>
                    <a:pt x="35" y="0"/>
                  </a:lnTo>
                  <a:lnTo>
                    <a:pt x="0" y="0"/>
                  </a:lnTo>
                  <a:lnTo>
                    <a:pt x="0" y="0"/>
                  </a:lnTo>
                  <a:lnTo>
                    <a:pt x="35"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08" name="Google Shape;2437;p11">
              <a:extLst>
                <a:ext uri="{FF2B5EF4-FFF2-40B4-BE49-F238E27FC236}">
                  <a16:creationId xmlns:a16="http://schemas.microsoft.com/office/drawing/2014/main" id="{0CC00A05-F384-7963-8BC0-424F850B21AA}"/>
                </a:ext>
              </a:extLst>
            </p:cNvPr>
            <p:cNvSpPr/>
            <p:nvPr/>
          </p:nvSpPr>
          <p:spPr>
            <a:xfrm>
              <a:off x="6033700" y="2057500"/>
              <a:ext cx="78625" cy="137400"/>
            </a:xfrm>
            <a:custGeom>
              <a:avLst/>
              <a:gdLst/>
              <a:ahLst/>
              <a:cxnLst/>
              <a:rect l="l" t="t" r="r" b="b"/>
              <a:pathLst>
                <a:path w="3145" h="5496" extrusionOk="0">
                  <a:moveTo>
                    <a:pt x="242" y="1"/>
                  </a:moveTo>
                  <a:lnTo>
                    <a:pt x="173" y="35"/>
                  </a:lnTo>
                  <a:lnTo>
                    <a:pt x="138" y="35"/>
                  </a:lnTo>
                  <a:lnTo>
                    <a:pt x="35" y="104"/>
                  </a:lnTo>
                  <a:lnTo>
                    <a:pt x="0" y="243"/>
                  </a:lnTo>
                  <a:lnTo>
                    <a:pt x="0" y="381"/>
                  </a:lnTo>
                  <a:lnTo>
                    <a:pt x="0" y="554"/>
                  </a:lnTo>
                  <a:lnTo>
                    <a:pt x="69" y="726"/>
                  </a:lnTo>
                  <a:lnTo>
                    <a:pt x="173" y="899"/>
                  </a:lnTo>
                  <a:lnTo>
                    <a:pt x="242" y="1037"/>
                  </a:lnTo>
                  <a:lnTo>
                    <a:pt x="346" y="1072"/>
                  </a:lnTo>
                  <a:lnTo>
                    <a:pt x="380" y="1072"/>
                  </a:lnTo>
                  <a:lnTo>
                    <a:pt x="415" y="1107"/>
                  </a:lnTo>
                  <a:lnTo>
                    <a:pt x="484" y="1176"/>
                  </a:lnTo>
                  <a:lnTo>
                    <a:pt x="657" y="1521"/>
                  </a:lnTo>
                  <a:lnTo>
                    <a:pt x="1210" y="2627"/>
                  </a:lnTo>
                  <a:lnTo>
                    <a:pt x="1590" y="3353"/>
                  </a:lnTo>
                  <a:lnTo>
                    <a:pt x="2004" y="4078"/>
                  </a:lnTo>
                  <a:lnTo>
                    <a:pt x="2523" y="4804"/>
                  </a:lnTo>
                  <a:lnTo>
                    <a:pt x="2799" y="5150"/>
                  </a:lnTo>
                  <a:lnTo>
                    <a:pt x="3110" y="5495"/>
                  </a:lnTo>
                  <a:lnTo>
                    <a:pt x="3145" y="3145"/>
                  </a:lnTo>
                  <a:lnTo>
                    <a:pt x="2592" y="2662"/>
                  </a:lnTo>
                  <a:lnTo>
                    <a:pt x="2108" y="2178"/>
                  </a:lnTo>
                  <a:lnTo>
                    <a:pt x="1659" y="1659"/>
                  </a:lnTo>
                  <a:lnTo>
                    <a:pt x="1244" y="1210"/>
                  </a:lnTo>
                  <a:lnTo>
                    <a:pt x="1106" y="1037"/>
                  </a:lnTo>
                  <a:lnTo>
                    <a:pt x="1002" y="830"/>
                  </a:lnTo>
                  <a:lnTo>
                    <a:pt x="864" y="485"/>
                  </a:lnTo>
                  <a:lnTo>
                    <a:pt x="760" y="312"/>
                  </a:lnTo>
                  <a:lnTo>
                    <a:pt x="657" y="208"/>
                  </a:lnTo>
                  <a:lnTo>
                    <a:pt x="518" y="104"/>
                  </a:lnTo>
                  <a:lnTo>
                    <a:pt x="346" y="35"/>
                  </a:lnTo>
                  <a:lnTo>
                    <a:pt x="242" y="1"/>
                  </a:lnTo>
                  <a:close/>
                </a:path>
              </a:pathLst>
            </a:custGeom>
            <a:solidFill>
              <a:srgbClr val="D7D7D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09" name="Google Shape;2438;p11">
              <a:extLst>
                <a:ext uri="{FF2B5EF4-FFF2-40B4-BE49-F238E27FC236}">
                  <a16:creationId xmlns:a16="http://schemas.microsoft.com/office/drawing/2014/main" id="{010D18D6-351A-DF2F-177E-B3F1E5FB759A}"/>
                </a:ext>
              </a:extLst>
            </p:cNvPr>
            <p:cNvSpPr/>
            <p:nvPr/>
          </p:nvSpPr>
          <p:spPr>
            <a:xfrm>
              <a:off x="6033700" y="2057500"/>
              <a:ext cx="78625" cy="137400"/>
            </a:xfrm>
            <a:custGeom>
              <a:avLst/>
              <a:gdLst/>
              <a:ahLst/>
              <a:cxnLst/>
              <a:rect l="l" t="t" r="r" b="b"/>
              <a:pathLst>
                <a:path w="3145" h="5496" fill="none" extrusionOk="0">
                  <a:moveTo>
                    <a:pt x="242" y="1"/>
                  </a:moveTo>
                  <a:lnTo>
                    <a:pt x="242" y="1"/>
                  </a:lnTo>
                  <a:lnTo>
                    <a:pt x="173" y="35"/>
                  </a:lnTo>
                  <a:lnTo>
                    <a:pt x="173" y="35"/>
                  </a:lnTo>
                  <a:lnTo>
                    <a:pt x="138" y="35"/>
                  </a:lnTo>
                  <a:lnTo>
                    <a:pt x="138" y="35"/>
                  </a:lnTo>
                  <a:lnTo>
                    <a:pt x="35" y="104"/>
                  </a:lnTo>
                  <a:lnTo>
                    <a:pt x="0" y="243"/>
                  </a:lnTo>
                  <a:lnTo>
                    <a:pt x="0" y="381"/>
                  </a:lnTo>
                  <a:lnTo>
                    <a:pt x="0" y="554"/>
                  </a:lnTo>
                  <a:lnTo>
                    <a:pt x="0" y="554"/>
                  </a:lnTo>
                  <a:lnTo>
                    <a:pt x="69" y="726"/>
                  </a:lnTo>
                  <a:lnTo>
                    <a:pt x="173" y="899"/>
                  </a:lnTo>
                  <a:lnTo>
                    <a:pt x="242" y="1037"/>
                  </a:lnTo>
                  <a:lnTo>
                    <a:pt x="346" y="1072"/>
                  </a:lnTo>
                  <a:lnTo>
                    <a:pt x="346" y="1072"/>
                  </a:lnTo>
                  <a:lnTo>
                    <a:pt x="380" y="1072"/>
                  </a:lnTo>
                  <a:lnTo>
                    <a:pt x="380" y="1072"/>
                  </a:lnTo>
                  <a:lnTo>
                    <a:pt x="380" y="1072"/>
                  </a:lnTo>
                  <a:lnTo>
                    <a:pt x="380" y="1072"/>
                  </a:lnTo>
                  <a:lnTo>
                    <a:pt x="415" y="1107"/>
                  </a:lnTo>
                  <a:lnTo>
                    <a:pt x="484" y="1176"/>
                  </a:lnTo>
                  <a:lnTo>
                    <a:pt x="657" y="1521"/>
                  </a:lnTo>
                  <a:lnTo>
                    <a:pt x="1210" y="2627"/>
                  </a:lnTo>
                  <a:lnTo>
                    <a:pt x="1590" y="3353"/>
                  </a:lnTo>
                  <a:lnTo>
                    <a:pt x="2004" y="4078"/>
                  </a:lnTo>
                  <a:lnTo>
                    <a:pt x="2523" y="4804"/>
                  </a:lnTo>
                  <a:lnTo>
                    <a:pt x="2799" y="5150"/>
                  </a:lnTo>
                  <a:lnTo>
                    <a:pt x="3110" y="5495"/>
                  </a:lnTo>
                  <a:lnTo>
                    <a:pt x="3110" y="5495"/>
                  </a:lnTo>
                  <a:lnTo>
                    <a:pt x="3145" y="3145"/>
                  </a:lnTo>
                  <a:lnTo>
                    <a:pt x="3145" y="3145"/>
                  </a:lnTo>
                  <a:lnTo>
                    <a:pt x="2592" y="2662"/>
                  </a:lnTo>
                  <a:lnTo>
                    <a:pt x="2108" y="2178"/>
                  </a:lnTo>
                  <a:lnTo>
                    <a:pt x="1659" y="1659"/>
                  </a:lnTo>
                  <a:lnTo>
                    <a:pt x="1244" y="1210"/>
                  </a:lnTo>
                  <a:lnTo>
                    <a:pt x="1244" y="1210"/>
                  </a:lnTo>
                  <a:lnTo>
                    <a:pt x="1106" y="1037"/>
                  </a:lnTo>
                  <a:lnTo>
                    <a:pt x="1002" y="830"/>
                  </a:lnTo>
                  <a:lnTo>
                    <a:pt x="864" y="485"/>
                  </a:lnTo>
                  <a:lnTo>
                    <a:pt x="760" y="312"/>
                  </a:lnTo>
                  <a:lnTo>
                    <a:pt x="657" y="208"/>
                  </a:lnTo>
                  <a:lnTo>
                    <a:pt x="518" y="104"/>
                  </a:lnTo>
                  <a:lnTo>
                    <a:pt x="346" y="35"/>
                  </a:lnTo>
                  <a:lnTo>
                    <a:pt x="346" y="35"/>
                  </a:lnTo>
                  <a:lnTo>
                    <a:pt x="242"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10" name="Google Shape;2439;p11">
              <a:extLst>
                <a:ext uri="{FF2B5EF4-FFF2-40B4-BE49-F238E27FC236}">
                  <a16:creationId xmlns:a16="http://schemas.microsoft.com/office/drawing/2014/main" id="{34CF2FF2-85A3-070E-C3BA-69CE6F110E8C}"/>
                </a:ext>
              </a:extLst>
            </p:cNvPr>
            <p:cNvSpPr/>
            <p:nvPr/>
          </p:nvSpPr>
          <p:spPr>
            <a:xfrm>
              <a:off x="6111450" y="2136125"/>
              <a:ext cx="94175" cy="102825"/>
            </a:xfrm>
            <a:custGeom>
              <a:avLst/>
              <a:gdLst/>
              <a:ahLst/>
              <a:cxnLst/>
              <a:rect l="l" t="t" r="r" b="b"/>
              <a:pathLst>
                <a:path w="3767" h="4113" extrusionOk="0">
                  <a:moveTo>
                    <a:pt x="35" y="0"/>
                  </a:moveTo>
                  <a:lnTo>
                    <a:pt x="0" y="2350"/>
                  </a:lnTo>
                  <a:lnTo>
                    <a:pt x="380" y="2730"/>
                  </a:lnTo>
                  <a:lnTo>
                    <a:pt x="795" y="3041"/>
                  </a:lnTo>
                  <a:lnTo>
                    <a:pt x="1279" y="3352"/>
                  </a:lnTo>
                  <a:lnTo>
                    <a:pt x="1763" y="3594"/>
                  </a:lnTo>
                  <a:lnTo>
                    <a:pt x="2246" y="3802"/>
                  </a:lnTo>
                  <a:lnTo>
                    <a:pt x="2765" y="3940"/>
                  </a:lnTo>
                  <a:lnTo>
                    <a:pt x="3249" y="4044"/>
                  </a:lnTo>
                  <a:lnTo>
                    <a:pt x="3767" y="4113"/>
                  </a:lnTo>
                  <a:lnTo>
                    <a:pt x="3041" y="2938"/>
                  </a:lnTo>
                  <a:lnTo>
                    <a:pt x="2799" y="2523"/>
                  </a:lnTo>
                  <a:lnTo>
                    <a:pt x="2557" y="2074"/>
                  </a:lnTo>
                  <a:lnTo>
                    <a:pt x="2281" y="1452"/>
                  </a:lnTo>
                  <a:lnTo>
                    <a:pt x="1693" y="1175"/>
                  </a:lnTo>
                  <a:lnTo>
                    <a:pt x="1141" y="830"/>
                  </a:lnTo>
                  <a:lnTo>
                    <a:pt x="588" y="415"/>
                  </a:lnTo>
                  <a:lnTo>
                    <a:pt x="35" y="0"/>
                  </a:lnTo>
                  <a:close/>
                </a:path>
              </a:pathLst>
            </a:custGeom>
            <a:solidFill>
              <a:srgbClr val="B94A6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11" name="Google Shape;2440;p11">
              <a:extLst>
                <a:ext uri="{FF2B5EF4-FFF2-40B4-BE49-F238E27FC236}">
                  <a16:creationId xmlns:a16="http://schemas.microsoft.com/office/drawing/2014/main" id="{AEC0A23F-E049-E214-A5C7-AC9AA1263D9A}"/>
                </a:ext>
              </a:extLst>
            </p:cNvPr>
            <p:cNvSpPr/>
            <p:nvPr/>
          </p:nvSpPr>
          <p:spPr>
            <a:xfrm>
              <a:off x="6111450" y="2136125"/>
              <a:ext cx="94175" cy="102825"/>
            </a:xfrm>
            <a:custGeom>
              <a:avLst/>
              <a:gdLst/>
              <a:ahLst/>
              <a:cxnLst/>
              <a:rect l="l" t="t" r="r" b="b"/>
              <a:pathLst>
                <a:path w="3767" h="4113" fill="none" extrusionOk="0">
                  <a:moveTo>
                    <a:pt x="35" y="0"/>
                  </a:moveTo>
                  <a:lnTo>
                    <a:pt x="35" y="0"/>
                  </a:lnTo>
                  <a:lnTo>
                    <a:pt x="0" y="2350"/>
                  </a:lnTo>
                  <a:lnTo>
                    <a:pt x="0" y="2350"/>
                  </a:lnTo>
                  <a:lnTo>
                    <a:pt x="380" y="2730"/>
                  </a:lnTo>
                  <a:lnTo>
                    <a:pt x="795" y="3041"/>
                  </a:lnTo>
                  <a:lnTo>
                    <a:pt x="795" y="3041"/>
                  </a:lnTo>
                  <a:lnTo>
                    <a:pt x="1279" y="3352"/>
                  </a:lnTo>
                  <a:lnTo>
                    <a:pt x="1763" y="3594"/>
                  </a:lnTo>
                  <a:lnTo>
                    <a:pt x="2246" y="3802"/>
                  </a:lnTo>
                  <a:lnTo>
                    <a:pt x="2765" y="3940"/>
                  </a:lnTo>
                  <a:lnTo>
                    <a:pt x="2765" y="3940"/>
                  </a:lnTo>
                  <a:lnTo>
                    <a:pt x="3249" y="4044"/>
                  </a:lnTo>
                  <a:lnTo>
                    <a:pt x="3767" y="4113"/>
                  </a:lnTo>
                  <a:lnTo>
                    <a:pt x="3767" y="4113"/>
                  </a:lnTo>
                  <a:lnTo>
                    <a:pt x="3041" y="2938"/>
                  </a:lnTo>
                  <a:lnTo>
                    <a:pt x="3041" y="2938"/>
                  </a:lnTo>
                  <a:lnTo>
                    <a:pt x="2799" y="2523"/>
                  </a:lnTo>
                  <a:lnTo>
                    <a:pt x="2557" y="2074"/>
                  </a:lnTo>
                  <a:lnTo>
                    <a:pt x="2281" y="1452"/>
                  </a:lnTo>
                  <a:lnTo>
                    <a:pt x="2281" y="1452"/>
                  </a:lnTo>
                  <a:lnTo>
                    <a:pt x="1693" y="1175"/>
                  </a:lnTo>
                  <a:lnTo>
                    <a:pt x="1141" y="830"/>
                  </a:lnTo>
                  <a:lnTo>
                    <a:pt x="1141" y="830"/>
                  </a:lnTo>
                  <a:lnTo>
                    <a:pt x="588" y="415"/>
                  </a:lnTo>
                  <a:lnTo>
                    <a:pt x="35"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12" name="Google Shape;2441;p11">
              <a:extLst>
                <a:ext uri="{FF2B5EF4-FFF2-40B4-BE49-F238E27FC236}">
                  <a16:creationId xmlns:a16="http://schemas.microsoft.com/office/drawing/2014/main" id="{2E9C2B1C-4DC0-6691-2A08-D5AAEC74636E}"/>
                </a:ext>
              </a:extLst>
            </p:cNvPr>
            <p:cNvSpPr/>
            <p:nvPr/>
          </p:nvSpPr>
          <p:spPr>
            <a:xfrm>
              <a:off x="6168450" y="2172400"/>
              <a:ext cx="256625" cy="76050"/>
            </a:xfrm>
            <a:custGeom>
              <a:avLst/>
              <a:gdLst/>
              <a:ahLst/>
              <a:cxnLst/>
              <a:rect l="l" t="t" r="r" b="b"/>
              <a:pathLst>
                <a:path w="10265" h="3042" extrusionOk="0">
                  <a:moveTo>
                    <a:pt x="1" y="1"/>
                  </a:moveTo>
                  <a:lnTo>
                    <a:pt x="277" y="623"/>
                  </a:lnTo>
                  <a:lnTo>
                    <a:pt x="519" y="1072"/>
                  </a:lnTo>
                  <a:lnTo>
                    <a:pt x="761" y="1487"/>
                  </a:lnTo>
                  <a:lnTo>
                    <a:pt x="1487" y="2662"/>
                  </a:lnTo>
                  <a:lnTo>
                    <a:pt x="2454" y="2765"/>
                  </a:lnTo>
                  <a:lnTo>
                    <a:pt x="3560" y="2834"/>
                  </a:lnTo>
                  <a:lnTo>
                    <a:pt x="5910" y="2938"/>
                  </a:lnTo>
                  <a:lnTo>
                    <a:pt x="8225" y="2973"/>
                  </a:lnTo>
                  <a:lnTo>
                    <a:pt x="10264" y="3042"/>
                  </a:lnTo>
                  <a:lnTo>
                    <a:pt x="9642" y="2109"/>
                  </a:lnTo>
                  <a:lnTo>
                    <a:pt x="8986" y="1348"/>
                  </a:lnTo>
                  <a:lnTo>
                    <a:pt x="8605" y="865"/>
                  </a:lnTo>
                  <a:lnTo>
                    <a:pt x="8156" y="174"/>
                  </a:lnTo>
                  <a:lnTo>
                    <a:pt x="6981" y="312"/>
                  </a:lnTo>
                  <a:lnTo>
                    <a:pt x="5668" y="450"/>
                  </a:lnTo>
                  <a:lnTo>
                    <a:pt x="4286" y="519"/>
                  </a:lnTo>
                  <a:lnTo>
                    <a:pt x="2973" y="554"/>
                  </a:lnTo>
                  <a:lnTo>
                    <a:pt x="1867" y="519"/>
                  </a:lnTo>
                  <a:lnTo>
                    <a:pt x="1418" y="450"/>
                  </a:lnTo>
                  <a:lnTo>
                    <a:pt x="1072" y="381"/>
                  </a:lnTo>
                  <a:lnTo>
                    <a:pt x="554" y="208"/>
                  </a:lnTo>
                  <a:lnTo>
                    <a:pt x="1" y="1"/>
                  </a:lnTo>
                  <a:close/>
                </a:path>
              </a:pathLst>
            </a:custGeom>
            <a:solidFill>
              <a:srgbClr val="B94A6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13" name="Google Shape;2442;p11">
              <a:extLst>
                <a:ext uri="{FF2B5EF4-FFF2-40B4-BE49-F238E27FC236}">
                  <a16:creationId xmlns:a16="http://schemas.microsoft.com/office/drawing/2014/main" id="{36229B04-9EFD-C013-9C36-58FBA614ADE1}"/>
                </a:ext>
              </a:extLst>
            </p:cNvPr>
            <p:cNvSpPr/>
            <p:nvPr/>
          </p:nvSpPr>
          <p:spPr>
            <a:xfrm>
              <a:off x="6168450" y="2172400"/>
              <a:ext cx="256625" cy="76050"/>
            </a:xfrm>
            <a:custGeom>
              <a:avLst/>
              <a:gdLst/>
              <a:ahLst/>
              <a:cxnLst/>
              <a:rect l="l" t="t" r="r" b="b"/>
              <a:pathLst>
                <a:path w="10265" h="3042" fill="none" extrusionOk="0">
                  <a:moveTo>
                    <a:pt x="1" y="1"/>
                  </a:moveTo>
                  <a:lnTo>
                    <a:pt x="1" y="1"/>
                  </a:lnTo>
                  <a:lnTo>
                    <a:pt x="277" y="623"/>
                  </a:lnTo>
                  <a:lnTo>
                    <a:pt x="519" y="1072"/>
                  </a:lnTo>
                  <a:lnTo>
                    <a:pt x="761" y="1487"/>
                  </a:lnTo>
                  <a:lnTo>
                    <a:pt x="761" y="1487"/>
                  </a:lnTo>
                  <a:lnTo>
                    <a:pt x="1487" y="2662"/>
                  </a:lnTo>
                  <a:lnTo>
                    <a:pt x="1487" y="2662"/>
                  </a:lnTo>
                  <a:lnTo>
                    <a:pt x="2454" y="2765"/>
                  </a:lnTo>
                  <a:lnTo>
                    <a:pt x="3560" y="2834"/>
                  </a:lnTo>
                  <a:lnTo>
                    <a:pt x="5910" y="2938"/>
                  </a:lnTo>
                  <a:lnTo>
                    <a:pt x="8225" y="2973"/>
                  </a:lnTo>
                  <a:lnTo>
                    <a:pt x="10264" y="3042"/>
                  </a:lnTo>
                  <a:lnTo>
                    <a:pt x="10264" y="3042"/>
                  </a:lnTo>
                  <a:lnTo>
                    <a:pt x="10264" y="3042"/>
                  </a:lnTo>
                  <a:lnTo>
                    <a:pt x="10264" y="3042"/>
                  </a:lnTo>
                  <a:lnTo>
                    <a:pt x="9642" y="2109"/>
                  </a:lnTo>
                  <a:lnTo>
                    <a:pt x="9642" y="2109"/>
                  </a:lnTo>
                  <a:lnTo>
                    <a:pt x="8986" y="1348"/>
                  </a:lnTo>
                  <a:lnTo>
                    <a:pt x="8605" y="865"/>
                  </a:lnTo>
                  <a:lnTo>
                    <a:pt x="8156" y="174"/>
                  </a:lnTo>
                  <a:lnTo>
                    <a:pt x="8156" y="174"/>
                  </a:lnTo>
                  <a:lnTo>
                    <a:pt x="6981" y="312"/>
                  </a:lnTo>
                  <a:lnTo>
                    <a:pt x="5668" y="450"/>
                  </a:lnTo>
                  <a:lnTo>
                    <a:pt x="4286" y="519"/>
                  </a:lnTo>
                  <a:lnTo>
                    <a:pt x="2973" y="554"/>
                  </a:lnTo>
                  <a:lnTo>
                    <a:pt x="2973" y="554"/>
                  </a:lnTo>
                  <a:lnTo>
                    <a:pt x="1867" y="519"/>
                  </a:lnTo>
                  <a:lnTo>
                    <a:pt x="1418" y="450"/>
                  </a:lnTo>
                  <a:lnTo>
                    <a:pt x="1072" y="381"/>
                  </a:lnTo>
                  <a:lnTo>
                    <a:pt x="1072" y="381"/>
                  </a:lnTo>
                  <a:lnTo>
                    <a:pt x="554" y="208"/>
                  </a:lnTo>
                  <a:lnTo>
                    <a:pt x="1"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14" name="Google Shape;2443;p11">
              <a:extLst>
                <a:ext uri="{FF2B5EF4-FFF2-40B4-BE49-F238E27FC236}">
                  <a16:creationId xmlns:a16="http://schemas.microsoft.com/office/drawing/2014/main" id="{85E87A7D-6518-2A6F-29DD-DC50076402EA}"/>
                </a:ext>
              </a:extLst>
            </p:cNvPr>
            <p:cNvSpPr/>
            <p:nvPr/>
          </p:nvSpPr>
          <p:spPr>
            <a:xfrm>
              <a:off x="6019000" y="2038500"/>
              <a:ext cx="1054850" cy="372375"/>
            </a:xfrm>
            <a:custGeom>
              <a:avLst/>
              <a:gdLst/>
              <a:ahLst/>
              <a:cxnLst/>
              <a:rect l="l" t="t" r="r" b="b"/>
              <a:pathLst>
                <a:path w="42194" h="14895" extrusionOk="0">
                  <a:moveTo>
                    <a:pt x="934" y="1"/>
                  </a:moveTo>
                  <a:lnTo>
                    <a:pt x="692" y="35"/>
                  </a:lnTo>
                  <a:lnTo>
                    <a:pt x="519" y="104"/>
                  </a:lnTo>
                  <a:lnTo>
                    <a:pt x="381" y="208"/>
                  </a:lnTo>
                  <a:lnTo>
                    <a:pt x="243" y="312"/>
                  </a:lnTo>
                  <a:lnTo>
                    <a:pt x="173" y="450"/>
                  </a:lnTo>
                  <a:lnTo>
                    <a:pt x="104" y="588"/>
                  </a:lnTo>
                  <a:lnTo>
                    <a:pt x="70" y="726"/>
                  </a:lnTo>
                  <a:lnTo>
                    <a:pt x="1" y="1003"/>
                  </a:lnTo>
                  <a:lnTo>
                    <a:pt x="1" y="1314"/>
                  </a:lnTo>
                  <a:lnTo>
                    <a:pt x="1" y="1486"/>
                  </a:lnTo>
                  <a:lnTo>
                    <a:pt x="35" y="1590"/>
                  </a:lnTo>
                  <a:lnTo>
                    <a:pt x="104" y="1694"/>
                  </a:lnTo>
                  <a:lnTo>
                    <a:pt x="208" y="1763"/>
                  </a:lnTo>
                  <a:lnTo>
                    <a:pt x="484" y="1867"/>
                  </a:lnTo>
                  <a:lnTo>
                    <a:pt x="692" y="1867"/>
                  </a:lnTo>
                  <a:lnTo>
                    <a:pt x="899" y="1797"/>
                  </a:lnTo>
                  <a:lnTo>
                    <a:pt x="1072" y="1728"/>
                  </a:lnTo>
                  <a:lnTo>
                    <a:pt x="1141" y="1763"/>
                  </a:lnTo>
                  <a:lnTo>
                    <a:pt x="1245" y="1867"/>
                  </a:lnTo>
                  <a:lnTo>
                    <a:pt x="1590" y="2350"/>
                  </a:lnTo>
                  <a:lnTo>
                    <a:pt x="2109" y="3076"/>
                  </a:lnTo>
                  <a:lnTo>
                    <a:pt x="2765" y="3905"/>
                  </a:lnTo>
                  <a:lnTo>
                    <a:pt x="3145" y="4355"/>
                  </a:lnTo>
                  <a:lnTo>
                    <a:pt x="3560" y="4804"/>
                  </a:lnTo>
                  <a:lnTo>
                    <a:pt x="4009" y="5219"/>
                  </a:lnTo>
                  <a:lnTo>
                    <a:pt x="4493" y="5599"/>
                  </a:lnTo>
                  <a:lnTo>
                    <a:pt x="5011" y="5979"/>
                  </a:lnTo>
                  <a:lnTo>
                    <a:pt x="5564" y="6290"/>
                  </a:lnTo>
                  <a:lnTo>
                    <a:pt x="6117" y="6532"/>
                  </a:lnTo>
                  <a:lnTo>
                    <a:pt x="6428" y="6635"/>
                  </a:lnTo>
                  <a:lnTo>
                    <a:pt x="6739" y="6704"/>
                  </a:lnTo>
                  <a:lnTo>
                    <a:pt x="7327" y="6843"/>
                  </a:lnTo>
                  <a:lnTo>
                    <a:pt x="7983" y="6912"/>
                  </a:lnTo>
                  <a:lnTo>
                    <a:pt x="8640" y="6981"/>
                  </a:lnTo>
                  <a:lnTo>
                    <a:pt x="9365" y="7015"/>
                  </a:lnTo>
                  <a:lnTo>
                    <a:pt x="10920" y="7085"/>
                  </a:lnTo>
                  <a:lnTo>
                    <a:pt x="12476" y="7085"/>
                  </a:lnTo>
                  <a:lnTo>
                    <a:pt x="14031" y="7119"/>
                  </a:lnTo>
                  <a:lnTo>
                    <a:pt x="15516" y="7154"/>
                  </a:lnTo>
                  <a:lnTo>
                    <a:pt x="16173" y="7223"/>
                  </a:lnTo>
                  <a:lnTo>
                    <a:pt x="16795" y="7257"/>
                  </a:lnTo>
                  <a:lnTo>
                    <a:pt x="17383" y="7361"/>
                  </a:lnTo>
                  <a:lnTo>
                    <a:pt x="17901" y="7465"/>
                  </a:lnTo>
                  <a:lnTo>
                    <a:pt x="18385" y="7638"/>
                  </a:lnTo>
                  <a:lnTo>
                    <a:pt x="18868" y="7845"/>
                  </a:lnTo>
                  <a:lnTo>
                    <a:pt x="19352" y="8156"/>
                  </a:lnTo>
                  <a:lnTo>
                    <a:pt x="19871" y="8501"/>
                  </a:lnTo>
                  <a:lnTo>
                    <a:pt x="20389" y="8916"/>
                  </a:lnTo>
                  <a:lnTo>
                    <a:pt x="20907" y="9331"/>
                  </a:lnTo>
                  <a:lnTo>
                    <a:pt x="22013" y="10264"/>
                  </a:lnTo>
                  <a:lnTo>
                    <a:pt x="23188" y="11197"/>
                  </a:lnTo>
                  <a:lnTo>
                    <a:pt x="23775" y="11681"/>
                  </a:lnTo>
                  <a:lnTo>
                    <a:pt x="24432" y="12130"/>
                  </a:lnTo>
                  <a:lnTo>
                    <a:pt x="25054" y="12510"/>
                  </a:lnTo>
                  <a:lnTo>
                    <a:pt x="25745" y="12890"/>
                  </a:lnTo>
                  <a:lnTo>
                    <a:pt x="26436" y="13201"/>
                  </a:lnTo>
                  <a:lnTo>
                    <a:pt x="27162" y="13478"/>
                  </a:lnTo>
                  <a:lnTo>
                    <a:pt x="27680" y="13616"/>
                  </a:lnTo>
                  <a:lnTo>
                    <a:pt x="28337" y="13754"/>
                  </a:lnTo>
                  <a:lnTo>
                    <a:pt x="29996" y="14030"/>
                  </a:lnTo>
                  <a:lnTo>
                    <a:pt x="31965" y="14307"/>
                  </a:lnTo>
                  <a:lnTo>
                    <a:pt x="34039" y="14514"/>
                  </a:lnTo>
                  <a:lnTo>
                    <a:pt x="36078" y="14722"/>
                  </a:lnTo>
                  <a:lnTo>
                    <a:pt x="37874" y="14825"/>
                  </a:lnTo>
                  <a:lnTo>
                    <a:pt x="39222" y="14894"/>
                  </a:lnTo>
                  <a:lnTo>
                    <a:pt x="39706" y="14894"/>
                  </a:lnTo>
                  <a:lnTo>
                    <a:pt x="40017" y="14860"/>
                  </a:lnTo>
                  <a:lnTo>
                    <a:pt x="40397" y="14722"/>
                  </a:lnTo>
                  <a:lnTo>
                    <a:pt x="40777" y="14583"/>
                  </a:lnTo>
                  <a:lnTo>
                    <a:pt x="41157" y="14376"/>
                  </a:lnTo>
                  <a:lnTo>
                    <a:pt x="41468" y="14134"/>
                  </a:lnTo>
                  <a:lnTo>
                    <a:pt x="41710" y="13892"/>
                  </a:lnTo>
                  <a:lnTo>
                    <a:pt x="41918" y="13650"/>
                  </a:lnTo>
                  <a:lnTo>
                    <a:pt x="42090" y="13408"/>
                  </a:lnTo>
                  <a:lnTo>
                    <a:pt x="42159" y="13167"/>
                  </a:lnTo>
                  <a:lnTo>
                    <a:pt x="42194" y="13063"/>
                  </a:lnTo>
                  <a:lnTo>
                    <a:pt x="42159" y="12959"/>
                  </a:lnTo>
                  <a:lnTo>
                    <a:pt x="42125" y="12856"/>
                  </a:lnTo>
                  <a:lnTo>
                    <a:pt x="42090" y="12752"/>
                  </a:lnTo>
                  <a:lnTo>
                    <a:pt x="41918" y="12545"/>
                  </a:lnTo>
                  <a:lnTo>
                    <a:pt x="41676" y="12337"/>
                  </a:lnTo>
                  <a:lnTo>
                    <a:pt x="41365" y="12164"/>
                  </a:lnTo>
                  <a:lnTo>
                    <a:pt x="40950" y="11957"/>
                  </a:lnTo>
                  <a:lnTo>
                    <a:pt x="40501" y="11784"/>
                  </a:lnTo>
                  <a:lnTo>
                    <a:pt x="39982" y="11611"/>
                  </a:lnTo>
                  <a:lnTo>
                    <a:pt x="39671" y="11508"/>
                  </a:lnTo>
                  <a:lnTo>
                    <a:pt x="39257" y="11473"/>
                  </a:lnTo>
                  <a:lnTo>
                    <a:pt x="38185" y="11473"/>
                  </a:lnTo>
                  <a:lnTo>
                    <a:pt x="36803" y="11508"/>
                  </a:lnTo>
                  <a:lnTo>
                    <a:pt x="35214" y="11577"/>
                  </a:lnTo>
                  <a:lnTo>
                    <a:pt x="33451" y="11577"/>
                  </a:lnTo>
                  <a:lnTo>
                    <a:pt x="32518" y="11542"/>
                  </a:lnTo>
                  <a:lnTo>
                    <a:pt x="31585" y="11473"/>
                  </a:lnTo>
                  <a:lnTo>
                    <a:pt x="30652" y="11335"/>
                  </a:lnTo>
                  <a:lnTo>
                    <a:pt x="29685" y="11197"/>
                  </a:lnTo>
                  <a:lnTo>
                    <a:pt x="28752" y="10955"/>
                  </a:lnTo>
                  <a:lnTo>
                    <a:pt x="27819" y="10678"/>
                  </a:lnTo>
                  <a:lnTo>
                    <a:pt x="26955" y="10367"/>
                  </a:lnTo>
                  <a:lnTo>
                    <a:pt x="26160" y="9987"/>
                  </a:lnTo>
                  <a:lnTo>
                    <a:pt x="25469" y="9607"/>
                  </a:lnTo>
                  <a:lnTo>
                    <a:pt x="24812" y="9193"/>
                  </a:lnTo>
                  <a:lnTo>
                    <a:pt x="24259" y="8778"/>
                  </a:lnTo>
                  <a:lnTo>
                    <a:pt x="23741" y="8329"/>
                  </a:lnTo>
                  <a:lnTo>
                    <a:pt x="23257" y="7879"/>
                  </a:lnTo>
                  <a:lnTo>
                    <a:pt x="22808" y="7430"/>
                  </a:lnTo>
                  <a:lnTo>
                    <a:pt x="21944" y="6532"/>
                  </a:lnTo>
                  <a:lnTo>
                    <a:pt x="21529" y="6117"/>
                  </a:lnTo>
                  <a:lnTo>
                    <a:pt x="21080" y="5702"/>
                  </a:lnTo>
                  <a:lnTo>
                    <a:pt x="20596" y="5322"/>
                  </a:lnTo>
                  <a:lnTo>
                    <a:pt x="20112" y="4977"/>
                  </a:lnTo>
                  <a:lnTo>
                    <a:pt x="19560" y="4666"/>
                  </a:lnTo>
                  <a:lnTo>
                    <a:pt x="18972" y="4389"/>
                  </a:lnTo>
                  <a:lnTo>
                    <a:pt x="18627" y="4286"/>
                  </a:lnTo>
                  <a:lnTo>
                    <a:pt x="18281" y="4182"/>
                  </a:lnTo>
                  <a:lnTo>
                    <a:pt x="17590" y="4044"/>
                  </a:lnTo>
                  <a:lnTo>
                    <a:pt x="16830" y="3975"/>
                  </a:lnTo>
                  <a:lnTo>
                    <a:pt x="16035" y="3940"/>
                  </a:lnTo>
                  <a:lnTo>
                    <a:pt x="15240" y="3975"/>
                  </a:lnTo>
                  <a:lnTo>
                    <a:pt x="14411" y="4044"/>
                  </a:lnTo>
                  <a:lnTo>
                    <a:pt x="12752" y="4251"/>
                  </a:lnTo>
                  <a:lnTo>
                    <a:pt x="11128" y="4458"/>
                  </a:lnTo>
                  <a:lnTo>
                    <a:pt x="9642" y="4666"/>
                  </a:lnTo>
                  <a:lnTo>
                    <a:pt x="8985" y="4735"/>
                  </a:lnTo>
                  <a:lnTo>
                    <a:pt x="8363" y="4735"/>
                  </a:lnTo>
                  <a:lnTo>
                    <a:pt x="7810" y="4700"/>
                  </a:lnTo>
                  <a:lnTo>
                    <a:pt x="7327" y="4631"/>
                  </a:lnTo>
                  <a:lnTo>
                    <a:pt x="6877" y="4493"/>
                  </a:lnTo>
                  <a:lnTo>
                    <a:pt x="6463" y="4320"/>
                  </a:lnTo>
                  <a:lnTo>
                    <a:pt x="6083" y="4147"/>
                  </a:lnTo>
                  <a:lnTo>
                    <a:pt x="5668" y="3940"/>
                  </a:lnTo>
                  <a:lnTo>
                    <a:pt x="4942" y="3491"/>
                  </a:lnTo>
                  <a:lnTo>
                    <a:pt x="4251" y="3007"/>
                  </a:lnTo>
                  <a:lnTo>
                    <a:pt x="3629" y="2454"/>
                  </a:lnTo>
                  <a:lnTo>
                    <a:pt x="3076" y="1901"/>
                  </a:lnTo>
                  <a:lnTo>
                    <a:pt x="2558" y="1348"/>
                  </a:lnTo>
                  <a:lnTo>
                    <a:pt x="2074" y="830"/>
                  </a:lnTo>
                  <a:lnTo>
                    <a:pt x="1867" y="519"/>
                  </a:lnTo>
                  <a:lnTo>
                    <a:pt x="1694" y="277"/>
                  </a:lnTo>
                  <a:lnTo>
                    <a:pt x="1590" y="208"/>
                  </a:lnTo>
                  <a:lnTo>
                    <a:pt x="1487" y="139"/>
                  </a:lnTo>
                  <a:lnTo>
                    <a:pt x="1348" y="70"/>
                  </a:lnTo>
                  <a:lnTo>
                    <a:pt x="1176" y="35"/>
                  </a:lnTo>
                  <a:lnTo>
                    <a:pt x="934" y="1"/>
                  </a:lnTo>
                  <a:close/>
                </a:path>
              </a:pathLst>
            </a:custGeom>
            <a:solidFill>
              <a:srgbClr val="FFB6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15" name="Google Shape;2444;p11">
              <a:extLst>
                <a:ext uri="{FF2B5EF4-FFF2-40B4-BE49-F238E27FC236}">
                  <a16:creationId xmlns:a16="http://schemas.microsoft.com/office/drawing/2014/main" id="{785DCFF0-D73D-B9FE-9C95-7D1BB8AC031E}"/>
                </a:ext>
              </a:extLst>
            </p:cNvPr>
            <p:cNvSpPr/>
            <p:nvPr/>
          </p:nvSpPr>
          <p:spPr>
            <a:xfrm>
              <a:off x="546150" y="5054400"/>
              <a:ext cx="1569725" cy="83825"/>
            </a:xfrm>
            <a:custGeom>
              <a:avLst/>
              <a:gdLst/>
              <a:ahLst/>
              <a:cxnLst/>
              <a:rect l="l" t="t" r="r" b="b"/>
              <a:pathLst>
                <a:path w="62789" h="3353" extrusionOk="0">
                  <a:moveTo>
                    <a:pt x="31896" y="1"/>
                  </a:moveTo>
                  <a:lnTo>
                    <a:pt x="25606" y="35"/>
                  </a:lnTo>
                  <a:lnTo>
                    <a:pt x="19697" y="105"/>
                  </a:lnTo>
                  <a:lnTo>
                    <a:pt x="14272" y="208"/>
                  </a:lnTo>
                  <a:lnTo>
                    <a:pt x="9538" y="346"/>
                  </a:lnTo>
                  <a:lnTo>
                    <a:pt x="7430" y="416"/>
                  </a:lnTo>
                  <a:lnTo>
                    <a:pt x="5564" y="519"/>
                  </a:lnTo>
                  <a:lnTo>
                    <a:pt x="3939" y="623"/>
                  </a:lnTo>
                  <a:lnTo>
                    <a:pt x="2557" y="761"/>
                  </a:lnTo>
                  <a:lnTo>
                    <a:pt x="1451" y="899"/>
                  </a:lnTo>
                  <a:lnTo>
                    <a:pt x="657" y="1038"/>
                  </a:lnTo>
                  <a:lnTo>
                    <a:pt x="380" y="1107"/>
                  </a:lnTo>
                  <a:lnTo>
                    <a:pt x="173" y="1210"/>
                  </a:lnTo>
                  <a:lnTo>
                    <a:pt x="35" y="1280"/>
                  </a:lnTo>
                  <a:lnTo>
                    <a:pt x="0" y="1349"/>
                  </a:lnTo>
                  <a:lnTo>
                    <a:pt x="35" y="1452"/>
                  </a:lnTo>
                  <a:lnTo>
                    <a:pt x="173" y="1521"/>
                  </a:lnTo>
                  <a:lnTo>
                    <a:pt x="380" y="1625"/>
                  </a:lnTo>
                  <a:lnTo>
                    <a:pt x="657" y="1729"/>
                  </a:lnTo>
                  <a:lnTo>
                    <a:pt x="1451" y="1902"/>
                  </a:lnTo>
                  <a:lnTo>
                    <a:pt x="2557" y="2074"/>
                  </a:lnTo>
                  <a:lnTo>
                    <a:pt x="3939" y="2247"/>
                  </a:lnTo>
                  <a:lnTo>
                    <a:pt x="5564" y="2385"/>
                  </a:lnTo>
                  <a:lnTo>
                    <a:pt x="7430" y="2558"/>
                  </a:lnTo>
                  <a:lnTo>
                    <a:pt x="9538" y="2696"/>
                  </a:lnTo>
                  <a:lnTo>
                    <a:pt x="11818" y="2835"/>
                  </a:lnTo>
                  <a:lnTo>
                    <a:pt x="14272" y="2973"/>
                  </a:lnTo>
                  <a:lnTo>
                    <a:pt x="16933" y="3076"/>
                  </a:lnTo>
                  <a:lnTo>
                    <a:pt x="19697" y="3180"/>
                  </a:lnTo>
                  <a:lnTo>
                    <a:pt x="22600" y="3249"/>
                  </a:lnTo>
                  <a:lnTo>
                    <a:pt x="25606" y="3318"/>
                  </a:lnTo>
                  <a:lnTo>
                    <a:pt x="28716" y="3353"/>
                  </a:lnTo>
                  <a:lnTo>
                    <a:pt x="31896" y="3353"/>
                  </a:lnTo>
                  <a:lnTo>
                    <a:pt x="38116" y="3318"/>
                  </a:lnTo>
                  <a:lnTo>
                    <a:pt x="43921" y="3215"/>
                  </a:lnTo>
                  <a:lnTo>
                    <a:pt x="49174" y="3076"/>
                  </a:lnTo>
                  <a:lnTo>
                    <a:pt x="53735" y="2869"/>
                  </a:lnTo>
                  <a:lnTo>
                    <a:pt x="55739" y="2765"/>
                  </a:lnTo>
                  <a:lnTo>
                    <a:pt x="57536" y="2627"/>
                  </a:lnTo>
                  <a:lnTo>
                    <a:pt x="59057" y="2489"/>
                  </a:lnTo>
                  <a:lnTo>
                    <a:pt x="60370" y="2351"/>
                  </a:lnTo>
                  <a:lnTo>
                    <a:pt x="61407" y="2178"/>
                  </a:lnTo>
                  <a:lnTo>
                    <a:pt x="62167" y="2040"/>
                  </a:lnTo>
                  <a:lnTo>
                    <a:pt x="62443" y="1936"/>
                  </a:lnTo>
                  <a:lnTo>
                    <a:pt x="62651" y="1867"/>
                  </a:lnTo>
                  <a:lnTo>
                    <a:pt x="62754" y="1763"/>
                  </a:lnTo>
                  <a:lnTo>
                    <a:pt x="62789" y="1694"/>
                  </a:lnTo>
                  <a:lnTo>
                    <a:pt x="62754" y="1591"/>
                  </a:lnTo>
                  <a:lnTo>
                    <a:pt x="62651" y="1521"/>
                  </a:lnTo>
                  <a:lnTo>
                    <a:pt x="62443" y="1418"/>
                  </a:lnTo>
                  <a:lnTo>
                    <a:pt x="62167" y="1349"/>
                  </a:lnTo>
                  <a:lnTo>
                    <a:pt x="61407" y="1176"/>
                  </a:lnTo>
                  <a:lnTo>
                    <a:pt x="60370" y="1038"/>
                  </a:lnTo>
                  <a:lnTo>
                    <a:pt x="59057" y="899"/>
                  </a:lnTo>
                  <a:lnTo>
                    <a:pt x="57536" y="761"/>
                  </a:lnTo>
                  <a:lnTo>
                    <a:pt x="55739" y="623"/>
                  </a:lnTo>
                  <a:lnTo>
                    <a:pt x="53735" y="485"/>
                  </a:lnTo>
                  <a:lnTo>
                    <a:pt x="49174" y="312"/>
                  </a:lnTo>
                  <a:lnTo>
                    <a:pt x="43921" y="139"/>
                  </a:lnTo>
                  <a:lnTo>
                    <a:pt x="38116" y="35"/>
                  </a:lnTo>
                  <a:lnTo>
                    <a:pt x="31896" y="1"/>
                  </a:lnTo>
                  <a:close/>
                </a:path>
              </a:pathLst>
            </a:custGeom>
            <a:solidFill>
              <a:srgbClr val="E6E6E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16" name="Google Shape;2445;p11">
              <a:extLst>
                <a:ext uri="{FF2B5EF4-FFF2-40B4-BE49-F238E27FC236}">
                  <a16:creationId xmlns:a16="http://schemas.microsoft.com/office/drawing/2014/main" id="{92FD8176-7920-F372-F40C-FA19F74E07EB}"/>
                </a:ext>
              </a:extLst>
            </p:cNvPr>
            <p:cNvSpPr/>
            <p:nvPr/>
          </p:nvSpPr>
          <p:spPr>
            <a:xfrm>
              <a:off x="546150" y="5054400"/>
              <a:ext cx="1569725" cy="83825"/>
            </a:xfrm>
            <a:custGeom>
              <a:avLst/>
              <a:gdLst/>
              <a:ahLst/>
              <a:cxnLst/>
              <a:rect l="l" t="t" r="r" b="b"/>
              <a:pathLst>
                <a:path w="62789" h="3353" fill="none" extrusionOk="0">
                  <a:moveTo>
                    <a:pt x="31896" y="1"/>
                  </a:moveTo>
                  <a:lnTo>
                    <a:pt x="31896" y="1"/>
                  </a:lnTo>
                  <a:lnTo>
                    <a:pt x="25606" y="35"/>
                  </a:lnTo>
                  <a:lnTo>
                    <a:pt x="19697" y="105"/>
                  </a:lnTo>
                  <a:lnTo>
                    <a:pt x="14272" y="208"/>
                  </a:lnTo>
                  <a:lnTo>
                    <a:pt x="9538" y="346"/>
                  </a:lnTo>
                  <a:lnTo>
                    <a:pt x="7430" y="416"/>
                  </a:lnTo>
                  <a:lnTo>
                    <a:pt x="5564" y="519"/>
                  </a:lnTo>
                  <a:lnTo>
                    <a:pt x="3939" y="623"/>
                  </a:lnTo>
                  <a:lnTo>
                    <a:pt x="2557" y="761"/>
                  </a:lnTo>
                  <a:lnTo>
                    <a:pt x="1451" y="899"/>
                  </a:lnTo>
                  <a:lnTo>
                    <a:pt x="657" y="1038"/>
                  </a:lnTo>
                  <a:lnTo>
                    <a:pt x="380" y="1107"/>
                  </a:lnTo>
                  <a:lnTo>
                    <a:pt x="173" y="1210"/>
                  </a:lnTo>
                  <a:lnTo>
                    <a:pt x="35" y="1280"/>
                  </a:lnTo>
                  <a:lnTo>
                    <a:pt x="0" y="1349"/>
                  </a:lnTo>
                  <a:lnTo>
                    <a:pt x="0" y="1349"/>
                  </a:lnTo>
                  <a:lnTo>
                    <a:pt x="35" y="1452"/>
                  </a:lnTo>
                  <a:lnTo>
                    <a:pt x="173" y="1521"/>
                  </a:lnTo>
                  <a:lnTo>
                    <a:pt x="380" y="1625"/>
                  </a:lnTo>
                  <a:lnTo>
                    <a:pt x="657" y="1729"/>
                  </a:lnTo>
                  <a:lnTo>
                    <a:pt x="1451" y="1902"/>
                  </a:lnTo>
                  <a:lnTo>
                    <a:pt x="2557" y="2074"/>
                  </a:lnTo>
                  <a:lnTo>
                    <a:pt x="3939" y="2247"/>
                  </a:lnTo>
                  <a:lnTo>
                    <a:pt x="5564" y="2385"/>
                  </a:lnTo>
                  <a:lnTo>
                    <a:pt x="7430" y="2558"/>
                  </a:lnTo>
                  <a:lnTo>
                    <a:pt x="9538" y="2696"/>
                  </a:lnTo>
                  <a:lnTo>
                    <a:pt x="11818" y="2835"/>
                  </a:lnTo>
                  <a:lnTo>
                    <a:pt x="14272" y="2973"/>
                  </a:lnTo>
                  <a:lnTo>
                    <a:pt x="16933" y="3076"/>
                  </a:lnTo>
                  <a:lnTo>
                    <a:pt x="19697" y="3180"/>
                  </a:lnTo>
                  <a:lnTo>
                    <a:pt x="22600" y="3249"/>
                  </a:lnTo>
                  <a:lnTo>
                    <a:pt x="25606" y="3318"/>
                  </a:lnTo>
                  <a:lnTo>
                    <a:pt x="28716" y="3353"/>
                  </a:lnTo>
                  <a:lnTo>
                    <a:pt x="31896" y="3353"/>
                  </a:lnTo>
                  <a:lnTo>
                    <a:pt x="31896" y="3353"/>
                  </a:lnTo>
                  <a:lnTo>
                    <a:pt x="38116" y="3318"/>
                  </a:lnTo>
                  <a:lnTo>
                    <a:pt x="43921" y="3215"/>
                  </a:lnTo>
                  <a:lnTo>
                    <a:pt x="49174" y="3076"/>
                  </a:lnTo>
                  <a:lnTo>
                    <a:pt x="53735" y="2869"/>
                  </a:lnTo>
                  <a:lnTo>
                    <a:pt x="55739" y="2765"/>
                  </a:lnTo>
                  <a:lnTo>
                    <a:pt x="57536" y="2627"/>
                  </a:lnTo>
                  <a:lnTo>
                    <a:pt x="59057" y="2489"/>
                  </a:lnTo>
                  <a:lnTo>
                    <a:pt x="60370" y="2351"/>
                  </a:lnTo>
                  <a:lnTo>
                    <a:pt x="61407" y="2178"/>
                  </a:lnTo>
                  <a:lnTo>
                    <a:pt x="62167" y="2040"/>
                  </a:lnTo>
                  <a:lnTo>
                    <a:pt x="62443" y="1936"/>
                  </a:lnTo>
                  <a:lnTo>
                    <a:pt x="62651" y="1867"/>
                  </a:lnTo>
                  <a:lnTo>
                    <a:pt x="62754" y="1763"/>
                  </a:lnTo>
                  <a:lnTo>
                    <a:pt x="62789" y="1694"/>
                  </a:lnTo>
                  <a:lnTo>
                    <a:pt x="62789" y="1694"/>
                  </a:lnTo>
                  <a:lnTo>
                    <a:pt x="62754" y="1591"/>
                  </a:lnTo>
                  <a:lnTo>
                    <a:pt x="62651" y="1521"/>
                  </a:lnTo>
                  <a:lnTo>
                    <a:pt x="62443" y="1418"/>
                  </a:lnTo>
                  <a:lnTo>
                    <a:pt x="62167" y="1349"/>
                  </a:lnTo>
                  <a:lnTo>
                    <a:pt x="61407" y="1176"/>
                  </a:lnTo>
                  <a:lnTo>
                    <a:pt x="60370" y="1038"/>
                  </a:lnTo>
                  <a:lnTo>
                    <a:pt x="59057" y="899"/>
                  </a:lnTo>
                  <a:lnTo>
                    <a:pt x="57536" y="761"/>
                  </a:lnTo>
                  <a:lnTo>
                    <a:pt x="55739" y="623"/>
                  </a:lnTo>
                  <a:lnTo>
                    <a:pt x="53735" y="485"/>
                  </a:lnTo>
                  <a:lnTo>
                    <a:pt x="49174" y="312"/>
                  </a:lnTo>
                  <a:lnTo>
                    <a:pt x="43921" y="139"/>
                  </a:lnTo>
                  <a:lnTo>
                    <a:pt x="38116" y="35"/>
                  </a:lnTo>
                  <a:lnTo>
                    <a:pt x="31896"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17" name="Google Shape;2446;p11">
              <a:extLst>
                <a:ext uri="{FF2B5EF4-FFF2-40B4-BE49-F238E27FC236}">
                  <a16:creationId xmlns:a16="http://schemas.microsoft.com/office/drawing/2014/main" id="{79065A27-AAE9-B2FC-9519-684DFFE81BDE}"/>
                </a:ext>
              </a:extLst>
            </p:cNvPr>
            <p:cNvSpPr/>
            <p:nvPr/>
          </p:nvSpPr>
          <p:spPr>
            <a:xfrm>
              <a:off x="1044625" y="3889000"/>
              <a:ext cx="301525" cy="1136925"/>
            </a:xfrm>
            <a:custGeom>
              <a:avLst/>
              <a:gdLst/>
              <a:ahLst/>
              <a:cxnLst/>
              <a:rect l="l" t="t" r="r" b="b"/>
              <a:pathLst>
                <a:path w="12061" h="45477" extrusionOk="0">
                  <a:moveTo>
                    <a:pt x="11058" y="0"/>
                  </a:moveTo>
                  <a:lnTo>
                    <a:pt x="10021" y="864"/>
                  </a:lnTo>
                  <a:lnTo>
                    <a:pt x="8916" y="1797"/>
                  </a:lnTo>
                  <a:lnTo>
                    <a:pt x="7672" y="2903"/>
                  </a:lnTo>
                  <a:lnTo>
                    <a:pt x="6358" y="4113"/>
                  </a:lnTo>
                  <a:lnTo>
                    <a:pt x="5771" y="4700"/>
                  </a:lnTo>
                  <a:lnTo>
                    <a:pt x="5218" y="5287"/>
                  </a:lnTo>
                  <a:lnTo>
                    <a:pt x="4734" y="5840"/>
                  </a:lnTo>
                  <a:lnTo>
                    <a:pt x="4320" y="6359"/>
                  </a:lnTo>
                  <a:lnTo>
                    <a:pt x="4009" y="6808"/>
                  </a:lnTo>
                  <a:lnTo>
                    <a:pt x="3905" y="7015"/>
                  </a:lnTo>
                  <a:lnTo>
                    <a:pt x="3836" y="7188"/>
                  </a:lnTo>
                  <a:lnTo>
                    <a:pt x="3767" y="7672"/>
                  </a:lnTo>
                  <a:lnTo>
                    <a:pt x="3663" y="8501"/>
                  </a:lnTo>
                  <a:lnTo>
                    <a:pt x="3628" y="9538"/>
                  </a:lnTo>
                  <a:lnTo>
                    <a:pt x="3559" y="10817"/>
                  </a:lnTo>
                  <a:lnTo>
                    <a:pt x="3490" y="13823"/>
                  </a:lnTo>
                  <a:lnTo>
                    <a:pt x="3490" y="17175"/>
                  </a:lnTo>
                  <a:lnTo>
                    <a:pt x="3490" y="23464"/>
                  </a:lnTo>
                  <a:lnTo>
                    <a:pt x="3456" y="25779"/>
                  </a:lnTo>
                  <a:lnTo>
                    <a:pt x="3421" y="27023"/>
                  </a:lnTo>
                  <a:lnTo>
                    <a:pt x="3317" y="27887"/>
                  </a:lnTo>
                  <a:lnTo>
                    <a:pt x="3179" y="29235"/>
                  </a:lnTo>
                  <a:lnTo>
                    <a:pt x="2937" y="30859"/>
                  </a:lnTo>
                  <a:lnTo>
                    <a:pt x="2661" y="32691"/>
                  </a:lnTo>
                  <a:lnTo>
                    <a:pt x="2350" y="34488"/>
                  </a:lnTo>
                  <a:lnTo>
                    <a:pt x="2039" y="36215"/>
                  </a:lnTo>
                  <a:lnTo>
                    <a:pt x="1693" y="37667"/>
                  </a:lnTo>
                  <a:lnTo>
                    <a:pt x="1521" y="38254"/>
                  </a:lnTo>
                  <a:lnTo>
                    <a:pt x="1348" y="38738"/>
                  </a:lnTo>
                  <a:lnTo>
                    <a:pt x="1037" y="39429"/>
                  </a:lnTo>
                  <a:lnTo>
                    <a:pt x="760" y="39913"/>
                  </a:lnTo>
                  <a:lnTo>
                    <a:pt x="553" y="40224"/>
                  </a:lnTo>
                  <a:lnTo>
                    <a:pt x="346" y="40466"/>
                  </a:lnTo>
                  <a:lnTo>
                    <a:pt x="207" y="40639"/>
                  </a:lnTo>
                  <a:lnTo>
                    <a:pt x="69" y="40881"/>
                  </a:lnTo>
                  <a:lnTo>
                    <a:pt x="0" y="41192"/>
                  </a:lnTo>
                  <a:lnTo>
                    <a:pt x="0" y="41641"/>
                  </a:lnTo>
                  <a:lnTo>
                    <a:pt x="0" y="41779"/>
                  </a:lnTo>
                  <a:lnTo>
                    <a:pt x="69" y="41952"/>
                  </a:lnTo>
                  <a:lnTo>
                    <a:pt x="173" y="42090"/>
                  </a:lnTo>
                  <a:lnTo>
                    <a:pt x="311" y="42263"/>
                  </a:lnTo>
                  <a:lnTo>
                    <a:pt x="691" y="42608"/>
                  </a:lnTo>
                  <a:lnTo>
                    <a:pt x="1210" y="42954"/>
                  </a:lnTo>
                  <a:lnTo>
                    <a:pt x="1832" y="43300"/>
                  </a:lnTo>
                  <a:lnTo>
                    <a:pt x="2488" y="43645"/>
                  </a:lnTo>
                  <a:lnTo>
                    <a:pt x="3214" y="43991"/>
                  </a:lnTo>
                  <a:lnTo>
                    <a:pt x="3939" y="44336"/>
                  </a:lnTo>
                  <a:lnTo>
                    <a:pt x="4665" y="44613"/>
                  </a:lnTo>
                  <a:lnTo>
                    <a:pt x="5356" y="44889"/>
                  </a:lnTo>
                  <a:lnTo>
                    <a:pt x="6013" y="45096"/>
                  </a:lnTo>
                  <a:lnTo>
                    <a:pt x="6600" y="45304"/>
                  </a:lnTo>
                  <a:lnTo>
                    <a:pt x="7084" y="45407"/>
                  </a:lnTo>
                  <a:lnTo>
                    <a:pt x="7430" y="45477"/>
                  </a:lnTo>
                  <a:lnTo>
                    <a:pt x="7533" y="45477"/>
                  </a:lnTo>
                  <a:lnTo>
                    <a:pt x="7637" y="45442"/>
                  </a:lnTo>
                  <a:lnTo>
                    <a:pt x="7672" y="45407"/>
                  </a:lnTo>
                  <a:lnTo>
                    <a:pt x="7672" y="45338"/>
                  </a:lnTo>
                  <a:lnTo>
                    <a:pt x="7222" y="44474"/>
                  </a:lnTo>
                  <a:lnTo>
                    <a:pt x="6497" y="43161"/>
                  </a:lnTo>
                  <a:lnTo>
                    <a:pt x="5287" y="41053"/>
                  </a:lnTo>
                  <a:lnTo>
                    <a:pt x="5287" y="40915"/>
                  </a:lnTo>
                  <a:lnTo>
                    <a:pt x="5287" y="40639"/>
                  </a:lnTo>
                  <a:lnTo>
                    <a:pt x="5425" y="39809"/>
                  </a:lnTo>
                  <a:lnTo>
                    <a:pt x="5667" y="38531"/>
                  </a:lnTo>
                  <a:lnTo>
                    <a:pt x="5978" y="36907"/>
                  </a:lnTo>
                  <a:lnTo>
                    <a:pt x="6877" y="32898"/>
                  </a:lnTo>
                  <a:lnTo>
                    <a:pt x="7948" y="28233"/>
                  </a:lnTo>
                  <a:lnTo>
                    <a:pt x="10160" y="18937"/>
                  </a:lnTo>
                  <a:lnTo>
                    <a:pt x="11576" y="13028"/>
                  </a:lnTo>
                  <a:lnTo>
                    <a:pt x="11715" y="12302"/>
                  </a:lnTo>
                  <a:lnTo>
                    <a:pt x="11853" y="11542"/>
                  </a:lnTo>
                  <a:lnTo>
                    <a:pt x="11922" y="10817"/>
                  </a:lnTo>
                  <a:lnTo>
                    <a:pt x="11991" y="10056"/>
                  </a:lnTo>
                  <a:lnTo>
                    <a:pt x="12026" y="9296"/>
                  </a:lnTo>
                  <a:lnTo>
                    <a:pt x="12060" y="8501"/>
                  </a:lnTo>
                  <a:lnTo>
                    <a:pt x="12060" y="7706"/>
                  </a:lnTo>
                  <a:lnTo>
                    <a:pt x="12026" y="6912"/>
                  </a:lnTo>
                  <a:lnTo>
                    <a:pt x="11887" y="5253"/>
                  </a:lnTo>
                  <a:lnTo>
                    <a:pt x="11680" y="3560"/>
                  </a:lnTo>
                  <a:lnTo>
                    <a:pt x="11404" y="1832"/>
                  </a:lnTo>
                  <a:lnTo>
                    <a:pt x="11058" y="0"/>
                  </a:lnTo>
                  <a:close/>
                </a:path>
              </a:pathLst>
            </a:custGeom>
            <a:solidFill>
              <a:srgbClr val="8A3A1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18" name="Google Shape;2447;p11">
              <a:extLst>
                <a:ext uri="{FF2B5EF4-FFF2-40B4-BE49-F238E27FC236}">
                  <a16:creationId xmlns:a16="http://schemas.microsoft.com/office/drawing/2014/main" id="{4F7CB002-5FC5-4DD8-20D7-066CDCF291D6}"/>
                </a:ext>
              </a:extLst>
            </p:cNvPr>
            <p:cNvSpPr/>
            <p:nvPr/>
          </p:nvSpPr>
          <p:spPr>
            <a:xfrm>
              <a:off x="1044625" y="3889000"/>
              <a:ext cx="301525" cy="1136925"/>
            </a:xfrm>
            <a:custGeom>
              <a:avLst/>
              <a:gdLst/>
              <a:ahLst/>
              <a:cxnLst/>
              <a:rect l="l" t="t" r="r" b="b"/>
              <a:pathLst>
                <a:path w="12061" h="45477" fill="none" extrusionOk="0">
                  <a:moveTo>
                    <a:pt x="11058" y="0"/>
                  </a:moveTo>
                  <a:lnTo>
                    <a:pt x="11058" y="0"/>
                  </a:lnTo>
                  <a:lnTo>
                    <a:pt x="11404" y="1832"/>
                  </a:lnTo>
                  <a:lnTo>
                    <a:pt x="11680" y="3560"/>
                  </a:lnTo>
                  <a:lnTo>
                    <a:pt x="11887" y="5253"/>
                  </a:lnTo>
                  <a:lnTo>
                    <a:pt x="12026" y="6912"/>
                  </a:lnTo>
                  <a:lnTo>
                    <a:pt x="12060" y="7706"/>
                  </a:lnTo>
                  <a:lnTo>
                    <a:pt x="12060" y="8501"/>
                  </a:lnTo>
                  <a:lnTo>
                    <a:pt x="12026" y="9296"/>
                  </a:lnTo>
                  <a:lnTo>
                    <a:pt x="11991" y="10056"/>
                  </a:lnTo>
                  <a:lnTo>
                    <a:pt x="11922" y="10817"/>
                  </a:lnTo>
                  <a:lnTo>
                    <a:pt x="11853" y="11542"/>
                  </a:lnTo>
                  <a:lnTo>
                    <a:pt x="11715" y="12302"/>
                  </a:lnTo>
                  <a:lnTo>
                    <a:pt x="11576" y="13028"/>
                  </a:lnTo>
                  <a:lnTo>
                    <a:pt x="11576" y="13028"/>
                  </a:lnTo>
                  <a:lnTo>
                    <a:pt x="10160" y="18937"/>
                  </a:lnTo>
                  <a:lnTo>
                    <a:pt x="7948" y="28233"/>
                  </a:lnTo>
                  <a:lnTo>
                    <a:pt x="6877" y="32898"/>
                  </a:lnTo>
                  <a:lnTo>
                    <a:pt x="5978" y="36907"/>
                  </a:lnTo>
                  <a:lnTo>
                    <a:pt x="5667" y="38531"/>
                  </a:lnTo>
                  <a:lnTo>
                    <a:pt x="5425" y="39809"/>
                  </a:lnTo>
                  <a:lnTo>
                    <a:pt x="5287" y="40639"/>
                  </a:lnTo>
                  <a:lnTo>
                    <a:pt x="5287" y="40915"/>
                  </a:lnTo>
                  <a:lnTo>
                    <a:pt x="5287" y="41053"/>
                  </a:lnTo>
                  <a:lnTo>
                    <a:pt x="5287" y="41053"/>
                  </a:lnTo>
                  <a:lnTo>
                    <a:pt x="6497" y="43161"/>
                  </a:lnTo>
                  <a:lnTo>
                    <a:pt x="7222" y="44474"/>
                  </a:lnTo>
                  <a:lnTo>
                    <a:pt x="7672" y="45338"/>
                  </a:lnTo>
                  <a:lnTo>
                    <a:pt x="7672" y="45338"/>
                  </a:lnTo>
                  <a:lnTo>
                    <a:pt x="7672" y="45407"/>
                  </a:lnTo>
                  <a:lnTo>
                    <a:pt x="7637" y="45442"/>
                  </a:lnTo>
                  <a:lnTo>
                    <a:pt x="7533" y="45477"/>
                  </a:lnTo>
                  <a:lnTo>
                    <a:pt x="7430" y="45477"/>
                  </a:lnTo>
                  <a:lnTo>
                    <a:pt x="7084" y="45407"/>
                  </a:lnTo>
                  <a:lnTo>
                    <a:pt x="6600" y="45304"/>
                  </a:lnTo>
                  <a:lnTo>
                    <a:pt x="6013" y="45096"/>
                  </a:lnTo>
                  <a:lnTo>
                    <a:pt x="5356" y="44889"/>
                  </a:lnTo>
                  <a:lnTo>
                    <a:pt x="4665" y="44613"/>
                  </a:lnTo>
                  <a:lnTo>
                    <a:pt x="3939" y="44336"/>
                  </a:lnTo>
                  <a:lnTo>
                    <a:pt x="3214" y="43991"/>
                  </a:lnTo>
                  <a:lnTo>
                    <a:pt x="2488" y="43645"/>
                  </a:lnTo>
                  <a:lnTo>
                    <a:pt x="1832" y="43300"/>
                  </a:lnTo>
                  <a:lnTo>
                    <a:pt x="1210" y="42954"/>
                  </a:lnTo>
                  <a:lnTo>
                    <a:pt x="691" y="42608"/>
                  </a:lnTo>
                  <a:lnTo>
                    <a:pt x="311" y="42263"/>
                  </a:lnTo>
                  <a:lnTo>
                    <a:pt x="173" y="42090"/>
                  </a:lnTo>
                  <a:lnTo>
                    <a:pt x="69" y="41952"/>
                  </a:lnTo>
                  <a:lnTo>
                    <a:pt x="0" y="41779"/>
                  </a:lnTo>
                  <a:lnTo>
                    <a:pt x="0" y="41641"/>
                  </a:lnTo>
                  <a:lnTo>
                    <a:pt x="0" y="41641"/>
                  </a:lnTo>
                  <a:lnTo>
                    <a:pt x="0" y="41192"/>
                  </a:lnTo>
                  <a:lnTo>
                    <a:pt x="69" y="40881"/>
                  </a:lnTo>
                  <a:lnTo>
                    <a:pt x="207" y="40639"/>
                  </a:lnTo>
                  <a:lnTo>
                    <a:pt x="346" y="40466"/>
                  </a:lnTo>
                  <a:lnTo>
                    <a:pt x="553" y="40224"/>
                  </a:lnTo>
                  <a:lnTo>
                    <a:pt x="760" y="39913"/>
                  </a:lnTo>
                  <a:lnTo>
                    <a:pt x="1037" y="39429"/>
                  </a:lnTo>
                  <a:lnTo>
                    <a:pt x="1348" y="38738"/>
                  </a:lnTo>
                  <a:lnTo>
                    <a:pt x="1348" y="38738"/>
                  </a:lnTo>
                  <a:lnTo>
                    <a:pt x="1521" y="38254"/>
                  </a:lnTo>
                  <a:lnTo>
                    <a:pt x="1693" y="37667"/>
                  </a:lnTo>
                  <a:lnTo>
                    <a:pt x="2039" y="36215"/>
                  </a:lnTo>
                  <a:lnTo>
                    <a:pt x="2350" y="34488"/>
                  </a:lnTo>
                  <a:lnTo>
                    <a:pt x="2661" y="32691"/>
                  </a:lnTo>
                  <a:lnTo>
                    <a:pt x="2937" y="30859"/>
                  </a:lnTo>
                  <a:lnTo>
                    <a:pt x="3179" y="29235"/>
                  </a:lnTo>
                  <a:lnTo>
                    <a:pt x="3317" y="27887"/>
                  </a:lnTo>
                  <a:lnTo>
                    <a:pt x="3421" y="27023"/>
                  </a:lnTo>
                  <a:lnTo>
                    <a:pt x="3421" y="27023"/>
                  </a:lnTo>
                  <a:lnTo>
                    <a:pt x="3456" y="25779"/>
                  </a:lnTo>
                  <a:lnTo>
                    <a:pt x="3490" y="23464"/>
                  </a:lnTo>
                  <a:lnTo>
                    <a:pt x="3490" y="17175"/>
                  </a:lnTo>
                  <a:lnTo>
                    <a:pt x="3490" y="13823"/>
                  </a:lnTo>
                  <a:lnTo>
                    <a:pt x="3559" y="10817"/>
                  </a:lnTo>
                  <a:lnTo>
                    <a:pt x="3628" y="9538"/>
                  </a:lnTo>
                  <a:lnTo>
                    <a:pt x="3663" y="8501"/>
                  </a:lnTo>
                  <a:lnTo>
                    <a:pt x="3767" y="7672"/>
                  </a:lnTo>
                  <a:lnTo>
                    <a:pt x="3836" y="7188"/>
                  </a:lnTo>
                  <a:lnTo>
                    <a:pt x="3836" y="7188"/>
                  </a:lnTo>
                  <a:lnTo>
                    <a:pt x="3905" y="7015"/>
                  </a:lnTo>
                  <a:lnTo>
                    <a:pt x="4009" y="6808"/>
                  </a:lnTo>
                  <a:lnTo>
                    <a:pt x="4320" y="6359"/>
                  </a:lnTo>
                  <a:lnTo>
                    <a:pt x="4734" y="5840"/>
                  </a:lnTo>
                  <a:lnTo>
                    <a:pt x="5218" y="5287"/>
                  </a:lnTo>
                  <a:lnTo>
                    <a:pt x="5771" y="4700"/>
                  </a:lnTo>
                  <a:lnTo>
                    <a:pt x="6358" y="4113"/>
                  </a:lnTo>
                  <a:lnTo>
                    <a:pt x="7672" y="2903"/>
                  </a:lnTo>
                  <a:lnTo>
                    <a:pt x="8916" y="1797"/>
                  </a:lnTo>
                  <a:lnTo>
                    <a:pt x="10021" y="864"/>
                  </a:lnTo>
                  <a:lnTo>
                    <a:pt x="11058"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19" name="Google Shape;2448;p11">
              <a:extLst>
                <a:ext uri="{FF2B5EF4-FFF2-40B4-BE49-F238E27FC236}">
                  <a16:creationId xmlns:a16="http://schemas.microsoft.com/office/drawing/2014/main" id="{3C6B2E16-D5AC-4E71-7E1D-EBC8AB8E559C}"/>
                </a:ext>
              </a:extLst>
            </p:cNvPr>
            <p:cNvSpPr/>
            <p:nvPr/>
          </p:nvSpPr>
          <p:spPr>
            <a:xfrm>
              <a:off x="1705500" y="3103700"/>
              <a:ext cx="170225" cy="94200"/>
            </a:xfrm>
            <a:custGeom>
              <a:avLst/>
              <a:gdLst/>
              <a:ahLst/>
              <a:cxnLst/>
              <a:rect l="l" t="t" r="r" b="b"/>
              <a:pathLst>
                <a:path w="6809" h="3768" extrusionOk="0">
                  <a:moveTo>
                    <a:pt x="3940" y="1"/>
                  </a:moveTo>
                  <a:lnTo>
                    <a:pt x="3767" y="35"/>
                  </a:lnTo>
                  <a:lnTo>
                    <a:pt x="3353" y="139"/>
                  </a:lnTo>
                  <a:lnTo>
                    <a:pt x="2938" y="346"/>
                  </a:lnTo>
                  <a:lnTo>
                    <a:pt x="2489" y="553"/>
                  </a:lnTo>
                  <a:lnTo>
                    <a:pt x="2074" y="761"/>
                  </a:lnTo>
                  <a:lnTo>
                    <a:pt x="1728" y="934"/>
                  </a:lnTo>
                  <a:lnTo>
                    <a:pt x="1417" y="1003"/>
                  </a:lnTo>
                  <a:lnTo>
                    <a:pt x="1314" y="1003"/>
                  </a:lnTo>
                  <a:lnTo>
                    <a:pt x="1210" y="968"/>
                  </a:lnTo>
                  <a:lnTo>
                    <a:pt x="1141" y="968"/>
                  </a:lnTo>
                  <a:lnTo>
                    <a:pt x="1072" y="1003"/>
                  </a:lnTo>
                  <a:lnTo>
                    <a:pt x="899" y="1175"/>
                  </a:lnTo>
                  <a:lnTo>
                    <a:pt x="692" y="1417"/>
                  </a:lnTo>
                  <a:lnTo>
                    <a:pt x="484" y="1728"/>
                  </a:lnTo>
                  <a:lnTo>
                    <a:pt x="139" y="2350"/>
                  </a:lnTo>
                  <a:lnTo>
                    <a:pt x="1" y="2627"/>
                  </a:lnTo>
                  <a:lnTo>
                    <a:pt x="277" y="2869"/>
                  </a:lnTo>
                  <a:lnTo>
                    <a:pt x="623" y="3076"/>
                  </a:lnTo>
                  <a:lnTo>
                    <a:pt x="968" y="3283"/>
                  </a:lnTo>
                  <a:lnTo>
                    <a:pt x="1314" y="3422"/>
                  </a:lnTo>
                  <a:lnTo>
                    <a:pt x="1694" y="3560"/>
                  </a:lnTo>
                  <a:lnTo>
                    <a:pt x="2109" y="3629"/>
                  </a:lnTo>
                  <a:lnTo>
                    <a:pt x="2489" y="3698"/>
                  </a:lnTo>
                  <a:lnTo>
                    <a:pt x="2869" y="3767"/>
                  </a:lnTo>
                  <a:lnTo>
                    <a:pt x="3664" y="3767"/>
                  </a:lnTo>
                  <a:lnTo>
                    <a:pt x="4044" y="3733"/>
                  </a:lnTo>
                  <a:lnTo>
                    <a:pt x="4389" y="3664"/>
                  </a:lnTo>
                  <a:lnTo>
                    <a:pt x="4735" y="3594"/>
                  </a:lnTo>
                  <a:lnTo>
                    <a:pt x="5046" y="3491"/>
                  </a:lnTo>
                  <a:lnTo>
                    <a:pt x="5322" y="3353"/>
                  </a:lnTo>
                  <a:lnTo>
                    <a:pt x="5564" y="3214"/>
                  </a:lnTo>
                  <a:lnTo>
                    <a:pt x="5806" y="3042"/>
                  </a:lnTo>
                  <a:lnTo>
                    <a:pt x="6013" y="2834"/>
                  </a:lnTo>
                  <a:lnTo>
                    <a:pt x="6221" y="2592"/>
                  </a:lnTo>
                  <a:lnTo>
                    <a:pt x="6394" y="2350"/>
                  </a:lnTo>
                  <a:lnTo>
                    <a:pt x="6532" y="2109"/>
                  </a:lnTo>
                  <a:lnTo>
                    <a:pt x="6635" y="1867"/>
                  </a:lnTo>
                  <a:lnTo>
                    <a:pt x="6739" y="1625"/>
                  </a:lnTo>
                  <a:lnTo>
                    <a:pt x="6774" y="1383"/>
                  </a:lnTo>
                  <a:lnTo>
                    <a:pt x="6808" y="1175"/>
                  </a:lnTo>
                  <a:lnTo>
                    <a:pt x="6774" y="968"/>
                  </a:lnTo>
                  <a:lnTo>
                    <a:pt x="6739" y="795"/>
                  </a:lnTo>
                  <a:lnTo>
                    <a:pt x="6635" y="692"/>
                  </a:lnTo>
                  <a:lnTo>
                    <a:pt x="6532" y="588"/>
                  </a:lnTo>
                  <a:lnTo>
                    <a:pt x="6152" y="588"/>
                  </a:lnTo>
                  <a:lnTo>
                    <a:pt x="5875" y="692"/>
                  </a:lnTo>
                  <a:lnTo>
                    <a:pt x="5495" y="864"/>
                  </a:lnTo>
                  <a:lnTo>
                    <a:pt x="5184" y="968"/>
                  </a:lnTo>
                  <a:lnTo>
                    <a:pt x="4908" y="1003"/>
                  </a:lnTo>
                  <a:lnTo>
                    <a:pt x="4700" y="1037"/>
                  </a:lnTo>
                  <a:lnTo>
                    <a:pt x="4562" y="1003"/>
                  </a:lnTo>
                  <a:lnTo>
                    <a:pt x="4458" y="934"/>
                  </a:lnTo>
                  <a:lnTo>
                    <a:pt x="4389" y="864"/>
                  </a:lnTo>
                  <a:lnTo>
                    <a:pt x="4355" y="761"/>
                  </a:lnTo>
                  <a:lnTo>
                    <a:pt x="4320" y="519"/>
                  </a:lnTo>
                  <a:lnTo>
                    <a:pt x="4286" y="277"/>
                  </a:lnTo>
                  <a:lnTo>
                    <a:pt x="4286" y="173"/>
                  </a:lnTo>
                  <a:lnTo>
                    <a:pt x="4251" y="104"/>
                  </a:lnTo>
                  <a:lnTo>
                    <a:pt x="4217" y="35"/>
                  </a:lnTo>
                  <a:lnTo>
                    <a:pt x="4113" y="1"/>
                  </a:lnTo>
                  <a:close/>
                </a:path>
              </a:pathLst>
            </a:custGeom>
            <a:solidFill>
              <a:srgbClr val="8A3A1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20" name="Google Shape;2449;p11">
              <a:extLst>
                <a:ext uri="{FF2B5EF4-FFF2-40B4-BE49-F238E27FC236}">
                  <a16:creationId xmlns:a16="http://schemas.microsoft.com/office/drawing/2014/main" id="{376A218B-E116-9DFA-3DA2-A240986AB99E}"/>
                </a:ext>
              </a:extLst>
            </p:cNvPr>
            <p:cNvSpPr/>
            <p:nvPr/>
          </p:nvSpPr>
          <p:spPr>
            <a:xfrm>
              <a:off x="1874825" y="2241525"/>
              <a:ext cx="111475" cy="162425"/>
            </a:xfrm>
            <a:custGeom>
              <a:avLst/>
              <a:gdLst/>
              <a:ahLst/>
              <a:cxnLst/>
              <a:rect l="l" t="t" r="r" b="b"/>
              <a:pathLst>
                <a:path w="4459" h="6497" extrusionOk="0">
                  <a:moveTo>
                    <a:pt x="3353" y="0"/>
                  </a:moveTo>
                  <a:lnTo>
                    <a:pt x="3076" y="35"/>
                  </a:lnTo>
                  <a:lnTo>
                    <a:pt x="2800" y="69"/>
                  </a:lnTo>
                  <a:lnTo>
                    <a:pt x="2523" y="173"/>
                  </a:lnTo>
                  <a:lnTo>
                    <a:pt x="2212" y="277"/>
                  </a:lnTo>
                  <a:lnTo>
                    <a:pt x="1936" y="380"/>
                  </a:lnTo>
                  <a:lnTo>
                    <a:pt x="1694" y="553"/>
                  </a:lnTo>
                  <a:lnTo>
                    <a:pt x="1487" y="726"/>
                  </a:lnTo>
                  <a:lnTo>
                    <a:pt x="1279" y="968"/>
                  </a:lnTo>
                  <a:lnTo>
                    <a:pt x="1072" y="1210"/>
                  </a:lnTo>
                  <a:lnTo>
                    <a:pt x="865" y="1486"/>
                  </a:lnTo>
                  <a:lnTo>
                    <a:pt x="692" y="1797"/>
                  </a:lnTo>
                  <a:lnTo>
                    <a:pt x="519" y="2143"/>
                  </a:lnTo>
                  <a:lnTo>
                    <a:pt x="381" y="2488"/>
                  </a:lnTo>
                  <a:lnTo>
                    <a:pt x="243" y="2868"/>
                  </a:lnTo>
                  <a:lnTo>
                    <a:pt x="139" y="3249"/>
                  </a:lnTo>
                  <a:lnTo>
                    <a:pt x="70" y="3663"/>
                  </a:lnTo>
                  <a:lnTo>
                    <a:pt x="35" y="4043"/>
                  </a:lnTo>
                  <a:lnTo>
                    <a:pt x="1" y="4458"/>
                  </a:lnTo>
                  <a:lnTo>
                    <a:pt x="35" y="4838"/>
                  </a:lnTo>
                  <a:lnTo>
                    <a:pt x="70" y="5218"/>
                  </a:lnTo>
                  <a:lnTo>
                    <a:pt x="173" y="5598"/>
                  </a:lnTo>
                  <a:lnTo>
                    <a:pt x="277" y="5979"/>
                  </a:lnTo>
                  <a:lnTo>
                    <a:pt x="588" y="6151"/>
                  </a:lnTo>
                  <a:lnTo>
                    <a:pt x="899" y="6290"/>
                  </a:lnTo>
                  <a:lnTo>
                    <a:pt x="1314" y="6428"/>
                  </a:lnTo>
                  <a:lnTo>
                    <a:pt x="1521" y="6462"/>
                  </a:lnTo>
                  <a:lnTo>
                    <a:pt x="1763" y="6497"/>
                  </a:lnTo>
                  <a:lnTo>
                    <a:pt x="2005" y="6462"/>
                  </a:lnTo>
                  <a:lnTo>
                    <a:pt x="2281" y="6428"/>
                  </a:lnTo>
                  <a:lnTo>
                    <a:pt x="2523" y="6359"/>
                  </a:lnTo>
                  <a:lnTo>
                    <a:pt x="2765" y="6220"/>
                  </a:lnTo>
                  <a:lnTo>
                    <a:pt x="3007" y="6013"/>
                  </a:lnTo>
                  <a:lnTo>
                    <a:pt x="3214" y="5771"/>
                  </a:lnTo>
                  <a:lnTo>
                    <a:pt x="3387" y="5529"/>
                  </a:lnTo>
                  <a:lnTo>
                    <a:pt x="3491" y="5287"/>
                  </a:lnTo>
                  <a:lnTo>
                    <a:pt x="3560" y="5011"/>
                  </a:lnTo>
                  <a:lnTo>
                    <a:pt x="3629" y="4700"/>
                  </a:lnTo>
                  <a:lnTo>
                    <a:pt x="3664" y="4113"/>
                  </a:lnTo>
                  <a:lnTo>
                    <a:pt x="3664" y="3456"/>
                  </a:lnTo>
                  <a:lnTo>
                    <a:pt x="3664" y="2834"/>
                  </a:lnTo>
                  <a:lnTo>
                    <a:pt x="3664" y="2523"/>
                  </a:lnTo>
                  <a:lnTo>
                    <a:pt x="3698" y="2212"/>
                  </a:lnTo>
                  <a:lnTo>
                    <a:pt x="3767" y="1935"/>
                  </a:lnTo>
                  <a:lnTo>
                    <a:pt x="3871" y="1659"/>
                  </a:lnTo>
                  <a:lnTo>
                    <a:pt x="4009" y="1383"/>
                  </a:lnTo>
                  <a:lnTo>
                    <a:pt x="4182" y="1141"/>
                  </a:lnTo>
                  <a:lnTo>
                    <a:pt x="4355" y="933"/>
                  </a:lnTo>
                  <a:lnTo>
                    <a:pt x="4458" y="761"/>
                  </a:lnTo>
                  <a:lnTo>
                    <a:pt x="4458" y="588"/>
                  </a:lnTo>
                  <a:lnTo>
                    <a:pt x="4458" y="415"/>
                  </a:lnTo>
                  <a:lnTo>
                    <a:pt x="4355" y="311"/>
                  </a:lnTo>
                  <a:lnTo>
                    <a:pt x="4217" y="208"/>
                  </a:lnTo>
                  <a:lnTo>
                    <a:pt x="4044" y="104"/>
                  </a:lnTo>
                  <a:lnTo>
                    <a:pt x="3836" y="69"/>
                  </a:lnTo>
                  <a:lnTo>
                    <a:pt x="3595" y="35"/>
                  </a:lnTo>
                  <a:lnTo>
                    <a:pt x="3353" y="0"/>
                  </a:lnTo>
                  <a:close/>
                </a:path>
              </a:pathLst>
            </a:custGeom>
            <a:solidFill>
              <a:srgbClr val="8A3A1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21" name="Google Shape;2450;p11">
              <a:extLst>
                <a:ext uri="{FF2B5EF4-FFF2-40B4-BE49-F238E27FC236}">
                  <a16:creationId xmlns:a16="http://schemas.microsoft.com/office/drawing/2014/main" id="{1C156DB9-5C79-FC94-34DB-EA9E44039934}"/>
                </a:ext>
              </a:extLst>
            </p:cNvPr>
            <p:cNvSpPr/>
            <p:nvPr/>
          </p:nvSpPr>
          <p:spPr>
            <a:xfrm>
              <a:off x="994500" y="4854850"/>
              <a:ext cx="305850" cy="254875"/>
            </a:xfrm>
            <a:custGeom>
              <a:avLst/>
              <a:gdLst/>
              <a:ahLst/>
              <a:cxnLst/>
              <a:rect l="l" t="t" r="r" b="b"/>
              <a:pathLst>
                <a:path w="12234" h="10195" extrusionOk="0">
                  <a:moveTo>
                    <a:pt x="2903" y="0"/>
                  </a:moveTo>
                  <a:lnTo>
                    <a:pt x="2731" y="70"/>
                  </a:lnTo>
                  <a:lnTo>
                    <a:pt x="1901" y="657"/>
                  </a:lnTo>
                  <a:lnTo>
                    <a:pt x="1072" y="1244"/>
                  </a:lnTo>
                  <a:lnTo>
                    <a:pt x="865" y="1452"/>
                  </a:lnTo>
                  <a:lnTo>
                    <a:pt x="657" y="1694"/>
                  </a:lnTo>
                  <a:lnTo>
                    <a:pt x="450" y="1970"/>
                  </a:lnTo>
                  <a:lnTo>
                    <a:pt x="277" y="2281"/>
                  </a:lnTo>
                  <a:lnTo>
                    <a:pt x="139" y="2558"/>
                  </a:lnTo>
                  <a:lnTo>
                    <a:pt x="35" y="2799"/>
                  </a:lnTo>
                  <a:lnTo>
                    <a:pt x="1" y="3041"/>
                  </a:lnTo>
                  <a:lnTo>
                    <a:pt x="1" y="3180"/>
                  </a:lnTo>
                  <a:lnTo>
                    <a:pt x="70" y="3352"/>
                  </a:lnTo>
                  <a:lnTo>
                    <a:pt x="243" y="3560"/>
                  </a:lnTo>
                  <a:lnTo>
                    <a:pt x="796" y="4113"/>
                  </a:lnTo>
                  <a:lnTo>
                    <a:pt x="1452" y="4700"/>
                  </a:lnTo>
                  <a:lnTo>
                    <a:pt x="2143" y="5357"/>
                  </a:lnTo>
                  <a:lnTo>
                    <a:pt x="2351" y="5357"/>
                  </a:lnTo>
                  <a:lnTo>
                    <a:pt x="2454" y="5322"/>
                  </a:lnTo>
                  <a:lnTo>
                    <a:pt x="2558" y="5218"/>
                  </a:lnTo>
                  <a:lnTo>
                    <a:pt x="2696" y="5115"/>
                  </a:lnTo>
                  <a:lnTo>
                    <a:pt x="2731" y="5115"/>
                  </a:lnTo>
                  <a:lnTo>
                    <a:pt x="2834" y="5184"/>
                  </a:lnTo>
                  <a:lnTo>
                    <a:pt x="3180" y="5460"/>
                  </a:lnTo>
                  <a:lnTo>
                    <a:pt x="4251" y="6428"/>
                  </a:lnTo>
                  <a:lnTo>
                    <a:pt x="6566" y="8674"/>
                  </a:lnTo>
                  <a:lnTo>
                    <a:pt x="6808" y="8847"/>
                  </a:lnTo>
                  <a:lnTo>
                    <a:pt x="7085" y="9054"/>
                  </a:lnTo>
                  <a:lnTo>
                    <a:pt x="7396" y="9227"/>
                  </a:lnTo>
                  <a:lnTo>
                    <a:pt x="7741" y="9400"/>
                  </a:lnTo>
                  <a:lnTo>
                    <a:pt x="8502" y="9711"/>
                  </a:lnTo>
                  <a:lnTo>
                    <a:pt x="9331" y="9953"/>
                  </a:lnTo>
                  <a:lnTo>
                    <a:pt x="9746" y="10056"/>
                  </a:lnTo>
                  <a:lnTo>
                    <a:pt x="10126" y="10125"/>
                  </a:lnTo>
                  <a:lnTo>
                    <a:pt x="10540" y="10160"/>
                  </a:lnTo>
                  <a:lnTo>
                    <a:pt x="10886" y="10195"/>
                  </a:lnTo>
                  <a:lnTo>
                    <a:pt x="11232" y="10160"/>
                  </a:lnTo>
                  <a:lnTo>
                    <a:pt x="11543" y="10125"/>
                  </a:lnTo>
                  <a:lnTo>
                    <a:pt x="11819" y="10022"/>
                  </a:lnTo>
                  <a:lnTo>
                    <a:pt x="12026" y="9918"/>
                  </a:lnTo>
                  <a:lnTo>
                    <a:pt x="12165" y="9711"/>
                  </a:lnTo>
                  <a:lnTo>
                    <a:pt x="12234" y="9503"/>
                  </a:lnTo>
                  <a:lnTo>
                    <a:pt x="12199" y="9296"/>
                  </a:lnTo>
                  <a:lnTo>
                    <a:pt x="12130" y="9054"/>
                  </a:lnTo>
                  <a:lnTo>
                    <a:pt x="12026" y="8812"/>
                  </a:lnTo>
                  <a:lnTo>
                    <a:pt x="11854" y="8536"/>
                  </a:lnTo>
                  <a:lnTo>
                    <a:pt x="11646" y="8294"/>
                  </a:lnTo>
                  <a:lnTo>
                    <a:pt x="11439" y="8017"/>
                  </a:lnTo>
                  <a:lnTo>
                    <a:pt x="10955" y="7534"/>
                  </a:lnTo>
                  <a:lnTo>
                    <a:pt x="10471" y="7050"/>
                  </a:lnTo>
                  <a:lnTo>
                    <a:pt x="10022" y="6670"/>
                  </a:lnTo>
                  <a:lnTo>
                    <a:pt x="9780" y="6428"/>
                  </a:lnTo>
                  <a:lnTo>
                    <a:pt x="9677" y="6324"/>
                  </a:lnTo>
                  <a:lnTo>
                    <a:pt x="9538" y="6255"/>
                  </a:lnTo>
                  <a:lnTo>
                    <a:pt x="9227" y="6082"/>
                  </a:lnTo>
                  <a:lnTo>
                    <a:pt x="8363" y="5840"/>
                  </a:lnTo>
                  <a:lnTo>
                    <a:pt x="7845" y="5668"/>
                  </a:lnTo>
                  <a:lnTo>
                    <a:pt x="7327" y="5460"/>
                  </a:lnTo>
                  <a:lnTo>
                    <a:pt x="6774" y="5149"/>
                  </a:lnTo>
                  <a:lnTo>
                    <a:pt x="6497" y="4977"/>
                  </a:lnTo>
                  <a:lnTo>
                    <a:pt x="6221" y="4769"/>
                  </a:lnTo>
                  <a:lnTo>
                    <a:pt x="5737" y="4355"/>
                  </a:lnTo>
                  <a:lnTo>
                    <a:pt x="5392" y="3940"/>
                  </a:lnTo>
                  <a:lnTo>
                    <a:pt x="5115" y="3560"/>
                  </a:lnTo>
                  <a:lnTo>
                    <a:pt x="4908" y="3180"/>
                  </a:lnTo>
                  <a:lnTo>
                    <a:pt x="4804" y="2834"/>
                  </a:lnTo>
                  <a:lnTo>
                    <a:pt x="4735" y="2523"/>
                  </a:lnTo>
                  <a:lnTo>
                    <a:pt x="4597" y="1970"/>
                  </a:lnTo>
                  <a:lnTo>
                    <a:pt x="4493" y="1625"/>
                  </a:lnTo>
                  <a:lnTo>
                    <a:pt x="4251" y="1175"/>
                  </a:lnTo>
                  <a:lnTo>
                    <a:pt x="4078" y="933"/>
                  </a:lnTo>
                  <a:lnTo>
                    <a:pt x="3871" y="657"/>
                  </a:lnTo>
                  <a:lnTo>
                    <a:pt x="3629" y="381"/>
                  </a:lnTo>
                  <a:lnTo>
                    <a:pt x="3353" y="104"/>
                  </a:lnTo>
                  <a:lnTo>
                    <a:pt x="3215" y="35"/>
                  </a:lnTo>
                  <a:lnTo>
                    <a:pt x="3042" y="0"/>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22" name="Google Shape;2451;p11">
              <a:extLst>
                <a:ext uri="{FF2B5EF4-FFF2-40B4-BE49-F238E27FC236}">
                  <a16:creationId xmlns:a16="http://schemas.microsoft.com/office/drawing/2014/main" id="{F1646E79-307E-B085-15CE-D45F1E99FA02}"/>
                </a:ext>
              </a:extLst>
            </p:cNvPr>
            <p:cNvSpPr/>
            <p:nvPr/>
          </p:nvSpPr>
          <p:spPr>
            <a:xfrm>
              <a:off x="1380675" y="3920100"/>
              <a:ext cx="415575" cy="1118775"/>
            </a:xfrm>
            <a:custGeom>
              <a:avLst/>
              <a:gdLst/>
              <a:ahLst/>
              <a:cxnLst/>
              <a:rect l="l" t="t" r="r" b="b"/>
              <a:pathLst>
                <a:path w="16623" h="44751" extrusionOk="0">
                  <a:moveTo>
                    <a:pt x="1175" y="0"/>
                  </a:moveTo>
                  <a:lnTo>
                    <a:pt x="968" y="35"/>
                  </a:lnTo>
                  <a:lnTo>
                    <a:pt x="726" y="69"/>
                  </a:lnTo>
                  <a:lnTo>
                    <a:pt x="519" y="173"/>
                  </a:lnTo>
                  <a:lnTo>
                    <a:pt x="346" y="277"/>
                  </a:lnTo>
                  <a:lnTo>
                    <a:pt x="173" y="450"/>
                  </a:lnTo>
                  <a:lnTo>
                    <a:pt x="70" y="692"/>
                  </a:lnTo>
                  <a:lnTo>
                    <a:pt x="0" y="968"/>
                  </a:lnTo>
                  <a:lnTo>
                    <a:pt x="0" y="1279"/>
                  </a:lnTo>
                  <a:lnTo>
                    <a:pt x="104" y="2350"/>
                  </a:lnTo>
                  <a:lnTo>
                    <a:pt x="415" y="4389"/>
                  </a:lnTo>
                  <a:lnTo>
                    <a:pt x="1348" y="10333"/>
                  </a:lnTo>
                  <a:lnTo>
                    <a:pt x="2039" y="14583"/>
                  </a:lnTo>
                  <a:lnTo>
                    <a:pt x="2834" y="19490"/>
                  </a:lnTo>
                  <a:lnTo>
                    <a:pt x="3594" y="23913"/>
                  </a:lnTo>
                  <a:lnTo>
                    <a:pt x="4182" y="27196"/>
                  </a:lnTo>
                  <a:lnTo>
                    <a:pt x="4389" y="28268"/>
                  </a:lnTo>
                  <a:lnTo>
                    <a:pt x="4527" y="28855"/>
                  </a:lnTo>
                  <a:lnTo>
                    <a:pt x="4735" y="29753"/>
                  </a:lnTo>
                  <a:lnTo>
                    <a:pt x="5046" y="31101"/>
                  </a:lnTo>
                  <a:lnTo>
                    <a:pt x="5426" y="32725"/>
                  </a:lnTo>
                  <a:lnTo>
                    <a:pt x="5771" y="34557"/>
                  </a:lnTo>
                  <a:lnTo>
                    <a:pt x="6117" y="36457"/>
                  </a:lnTo>
                  <a:lnTo>
                    <a:pt x="6393" y="38220"/>
                  </a:lnTo>
                  <a:lnTo>
                    <a:pt x="6497" y="39015"/>
                  </a:lnTo>
                  <a:lnTo>
                    <a:pt x="6601" y="39740"/>
                  </a:lnTo>
                  <a:lnTo>
                    <a:pt x="6635" y="40362"/>
                  </a:lnTo>
                  <a:lnTo>
                    <a:pt x="6635" y="40881"/>
                  </a:lnTo>
                  <a:lnTo>
                    <a:pt x="6566" y="41641"/>
                  </a:lnTo>
                  <a:lnTo>
                    <a:pt x="6463" y="42194"/>
                  </a:lnTo>
                  <a:lnTo>
                    <a:pt x="6359" y="42608"/>
                  </a:lnTo>
                  <a:lnTo>
                    <a:pt x="6255" y="42885"/>
                  </a:lnTo>
                  <a:lnTo>
                    <a:pt x="6186" y="43127"/>
                  </a:lnTo>
                  <a:lnTo>
                    <a:pt x="6151" y="43369"/>
                  </a:lnTo>
                  <a:lnTo>
                    <a:pt x="6186" y="43714"/>
                  </a:lnTo>
                  <a:lnTo>
                    <a:pt x="6324" y="44163"/>
                  </a:lnTo>
                  <a:lnTo>
                    <a:pt x="6393" y="44267"/>
                  </a:lnTo>
                  <a:lnTo>
                    <a:pt x="6532" y="44405"/>
                  </a:lnTo>
                  <a:lnTo>
                    <a:pt x="6704" y="44474"/>
                  </a:lnTo>
                  <a:lnTo>
                    <a:pt x="6912" y="44578"/>
                  </a:lnTo>
                  <a:lnTo>
                    <a:pt x="7188" y="44613"/>
                  </a:lnTo>
                  <a:lnTo>
                    <a:pt x="7499" y="44682"/>
                  </a:lnTo>
                  <a:lnTo>
                    <a:pt x="8225" y="44751"/>
                  </a:lnTo>
                  <a:lnTo>
                    <a:pt x="9054" y="44751"/>
                  </a:lnTo>
                  <a:lnTo>
                    <a:pt x="9953" y="44716"/>
                  </a:lnTo>
                  <a:lnTo>
                    <a:pt x="10886" y="44682"/>
                  </a:lnTo>
                  <a:lnTo>
                    <a:pt x="11853" y="44578"/>
                  </a:lnTo>
                  <a:lnTo>
                    <a:pt x="12821" y="44474"/>
                  </a:lnTo>
                  <a:lnTo>
                    <a:pt x="13719" y="44336"/>
                  </a:lnTo>
                  <a:lnTo>
                    <a:pt x="14583" y="44198"/>
                  </a:lnTo>
                  <a:lnTo>
                    <a:pt x="15309" y="44060"/>
                  </a:lnTo>
                  <a:lnTo>
                    <a:pt x="15896" y="43887"/>
                  </a:lnTo>
                  <a:lnTo>
                    <a:pt x="16346" y="43749"/>
                  </a:lnTo>
                  <a:lnTo>
                    <a:pt x="16484" y="43680"/>
                  </a:lnTo>
                  <a:lnTo>
                    <a:pt x="16588" y="43611"/>
                  </a:lnTo>
                  <a:lnTo>
                    <a:pt x="16622" y="43541"/>
                  </a:lnTo>
                  <a:lnTo>
                    <a:pt x="16588" y="43507"/>
                  </a:lnTo>
                  <a:lnTo>
                    <a:pt x="16449" y="43403"/>
                  </a:lnTo>
                  <a:lnTo>
                    <a:pt x="16207" y="43265"/>
                  </a:lnTo>
                  <a:lnTo>
                    <a:pt x="15620" y="43023"/>
                  </a:lnTo>
                  <a:lnTo>
                    <a:pt x="14860" y="42816"/>
                  </a:lnTo>
                  <a:lnTo>
                    <a:pt x="13996" y="42574"/>
                  </a:lnTo>
                  <a:lnTo>
                    <a:pt x="12372" y="42090"/>
                  </a:lnTo>
                  <a:lnTo>
                    <a:pt x="11750" y="41883"/>
                  </a:lnTo>
                  <a:lnTo>
                    <a:pt x="11508" y="41779"/>
                  </a:lnTo>
                  <a:lnTo>
                    <a:pt x="11335" y="41675"/>
                  </a:lnTo>
                  <a:lnTo>
                    <a:pt x="11300" y="41606"/>
                  </a:lnTo>
                  <a:lnTo>
                    <a:pt x="11266" y="41433"/>
                  </a:lnTo>
                  <a:lnTo>
                    <a:pt x="11162" y="40846"/>
                  </a:lnTo>
                  <a:lnTo>
                    <a:pt x="11024" y="39982"/>
                  </a:lnTo>
                  <a:lnTo>
                    <a:pt x="10920" y="38842"/>
                  </a:lnTo>
                  <a:lnTo>
                    <a:pt x="10609" y="35801"/>
                  </a:lnTo>
                  <a:lnTo>
                    <a:pt x="10298" y="32034"/>
                  </a:lnTo>
                  <a:lnTo>
                    <a:pt x="9642" y="23188"/>
                  </a:lnTo>
                  <a:lnTo>
                    <a:pt x="8951" y="14134"/>
                  </a:lnTo>
                  <a:lnTo>
                    <a:pt x="8640" y="9849"/>
                  </a:lnTo>
                  <a:lnTo>
                    <a:pt x="8329" y="5564"/>
                  </a:lnTo>
                  <a:lnTo>
                    <a:pt x="8190" y="4078"/>
                  </a:lnTo>
                  <a:lnTo>
                    <a:pt x="8087" y="3076"/>
                  </a:lnTo>
                  <a:lnTo>
                    <a:pt x="7948" y="2385"/>
                  </a:lnTo>
                  <a:lnTo>
                    <a:pt x="7810" y="1797"/>
                  </a:lnTo>
                  <a:lnTo>
                    <a:pt x="7637" y="1314"/>
                  </a:lnTo>
                  <a:lnTo>
                    <a:pt x="7465" y="933"/>
                  </a:lnTo>
                  <a:lnTo>
                    <a:pt x="7223" y="622"/>
                  </a:lnTo>
                  <a:lnTo>
                    <a:pt x="6946" y="380"/>
                  </a:lnTo>
                  <a:lnTo>
                    <a:pt x="6670" y="208"/>
                  </a:lnTo>
                  <a:lnTo>
                    <a:pt x="6324" y="104"/>
                  </a:lnTo>
                  <a:lnTo>
                    <a:pt x="5979" y="35"/>
                  </a:lnTo>
                  <a:lnTo>
                    <a:pt x="5564" y="0"/>
                  </a:lnTo>
                  <a:lnTo>
                    <a:pt x="5149" y="35"/>
                  </a:lnTo>
                  <a:lnTo>
                    <a:pt x="4666" y="35"/>
                  </a:lnTo>
                  <a:lnTo>
                    <a:pt x="3629" y="104"/>
                  </a:lnTo>
                  <a:lnTo>
                    <a:pt x="2454" y="173"/>
                  </a:lnTo>
                  <a:lnTo>
                    <a:pt x="2074" y="69"/>
                  </a:lnTo>
                  <a:lnTo>
                    <a:pt x="1659" y="0"/>
                  </a:lnTo>
                  <a:close/>
                </a:path>
              </a:pathLst>
            </a:custGeom>
            <a:solidFill>
              <a:srgbClr val="8A3A1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23" name="Google Shape;2452;p11">
              <a:extLst>
                <a:ext uri="{FF2B5EF4-FFF2-40B4-BE49-F238E27FC236}">
                  <a16:creationId xmlns:a16="http://schemas.microsoft.com/office/drawing/2014/main" id="{1817FB5B-FFD9-8D37-C123-AB2D5DAE2DD1}"/>
                </a:ext>
              </a:extLst>
            </p:cNvPr>
            <p:cNvSpPr/>
            <p:nvPr/>
          </p:nvSpPr>
          <p:spPr>
            <a:xfrm>
              <a:off x="1380675" y="3920100"/>
              <a:ext cx="415575" cy="1118775"/>
            </a:xfrm>
            <a:custGeom>
              <a:avLst/>
              <a:gdLst/>
              <a:ahLst/>
              <a:cxnLst/>
              <a:rect l="l" t="t" r="r" b="b"/>
              <a:pathLst>
                <a:path w="16623" h="44751" fill="none" extrusionOk="0">
                  <a:moveTo>
                    <a:pt x="0" y="1279"/>
                  </a:moveTo>
                  <a:lnTo>
                    <a:pt x="0" y="1279"/>
                  </a:lnTo>
                  <a:lnTo>
                    <a:pt x="104" y="2350"/>
                  </a:lnTo>
                  <a:lnTo>
                    <a:pt x="415" y="4389"/>
                  </a:lnTo>
                  <a:lnTo>
                    <a:pt x="1348" y="10333"/>
                  </a:lnTo>
                  <a:lnTo>
                    <a:pt x="1348" y="10333"/>
                  </a:lnTo>
                  <a:lnTo>
                    <a:pt x="2039" y="14583"/>
                  </a:lnTo>
                  <a:lnTo>
                    <a:pt x="2039" y="14583"/>
                  </a:lnTo>
                  <a:lnTo>
                    <a:pt x="2834" y="19490"/>
                  </a:lnTo>
                  <a:lnTo>
                    <a:pt x="3594" y="23913"/>
                  </a:lnTo>
                  <a:lnTo>
                    <a:pt x="4182" y="27196"/>
                  </a:lnTo>
                  <a:lnTo>
                    <a:pt x="4389" y="28268"/>
                  </a:lnTo>
                  <a:lnTo>
                    <a:pt x="4527" y="28855"/>
                  </a:lnTo>
                  <a:lnTo>
                    <a:pt x="4527" y="28855"/>
                  </a:lnTo>
                  <a:lnTo>
                    <a:pt x="4735" y="29753"/>
                  </a:lnTo>
                  <a:lnTo>
                    <a:pt x="5046" y="31101"/>
                  </a:lnTo>
                  <a:lnTo>
                    <a:pt x="5426" y="32725"/>
                  </a:lnTo>
                  <a:lnTo>
                    <a:pt x="5771" y="34557"/>
                  </a:lnTo>
                  <a:lnTo>
                    <a:pt x="6117" y="36457"/>
                  </a:lnTo>
                  <a:lnTo>
                    <a:pt x="6393" y="38220"/>
                  </a:lnTo>
                  <a:lnTo>
                    <a:pt x="6497" y="39015"/>
                  </a:lnTo>
                  <a:lnTo>
                    <a:pt x="6601" y="39740"/>
                  </a:lnTo>
                  <a:lnTo>
                    <a:pt x="6635" y="40362"/>
                  </a:lnTo>
                  <a:lnTo>
                    <a:pt x="6635" y="40881"/>
                  </a:lnTo>
                  <a:lnTo>
                    <a:pt x="6635" y="40881"/>
                  </a:lnTo>
                  <a:lnTo>
                    <a:pt x="6566" y="41641"/>
                  </a:lnTo>
                  <a:lnTo>
                    <a:pt x="6463" y="42194"/>
                  </a:lnTo>
                  <a:lnTo>
                    <a:pt x="6359" y="42608"/>
                  </a:lnTo>
                  <a:lnTo>
                    <a:pt x="6255" y="42885"/>
                  </a:lnTo>
                  <a:lnTo>
                    <a:pt x="6186" y="43127"/>
                  </a:lnTo>
                  <a:lnTo>
                    <a:pt x="6151" y="43369"/>
                  </a:lnTo>
                  <a:lnTo>
                    <a:pt x="6186" y="43714"/>
                  </a:lnTo>
                  <a:lnTo>
                    <a:pt x="6324" y="44163"/>
                  </a:lnTo>
                  <a:lnTo>
                    <a:pt x="6324" y="44163"/>
                  </a:lnTo>
                  <a:lnTo>
                    <a:pt x="6393" y="44267"/>
                  </a:lnTo>
                  <a:lnTo>
                    <a:pt x="6532" y="44405"/>
                  </a:lnTo>
                  <a:lnTo>
                    <a:pt x="6704" y="44474"/>
                  </a:lnTo>
                  <a:lnTo>
                    <a:pt x="6912" y="44578"/>
                  </a:lnTo>
                  <a:lnTo>
                    <a:pt x="7188" y="44613"/>
                  </a:lnTo>
                  <a:lnTo>
                    <a:pt x="7499" y="44682"/>
                  </a:lnTo>
                  <a:lnTo>
                    <a:pt x="8225" y="44751"/>
                  </a:lnTo>
                  <a:lnTo>
                    <a:pt x="9054" y="44751"/>
                  </a:lnTo>
                  <a:lnTo>
                    <a:pt x="9953" y="44716"/>
                  </a:lnTo>
                  <a:lnTo>
                    <a:pt x="10886" y="44682"/>
                  </a:lnTo>
                  <a:lnTo>
                    <a:pt x="11853" y="44578"/>
                  </a:lnTo>
                  <a:lnTo>
                    <a:pt x="12821" y="44474"/>
                  </a:lnTo>
                  <a:lnTo>
                    <a:pt x="13719" y="44336"/>
                  </a:lnTo>
                  <a:lnTo>
                    <a:pt x="14583" y="44198"/>
                  </a:lnTo>
                  <a:lnTo>
                    <a:pt x="15309" y="44060"/>
                  </a:lnTo>
                  <a:lnTo>
                    <a:pt x="15896" y="43887"/>
                  </a:lnTo>
                  <a:lnTo>
                    <a:pt x="16346" y="43749"/>
                  </a:lnTo>
                  <a:lnTo>
                    <a:pt x="16484" y="43680"/>
                  </a:lnTo>
                  <a:lnTo>
                    <a:pt x="16588" y="43611"/>
                  </a:lnTo>
                  <a:lnTo>
                    <a:pt x="16622" y="43541"/>
                  </a:lnTo>
                  <a:lnTo>
                    <a:pt x="16588" y="43507"/>
                  </a:lnTo>
                  <a:lnTo>
                    <a:pt x="16588" y="43507"/>
                  </a:lnTo>
                  <a:lnTo>
                    <a:pt x="16449" y="43403"/>
                  </a:lnTo>
                  <a:lnTo>
                    <a:pt x="16207" y="43265"/>
                  </a:lnTo>
                  <a:lnTo>
                    <a:pt x="15620" y="43023"/>
                  </a:lnTo>
                  <a:lnTo>
                    <a:pt x="14860" y="42816"/>
                  </a:lnTo>
                  <a:lnTo>
                    <a:pt x="13996" y="42574"/>
                  </a:lnTo>
                  <a:lnTo>
                    <a:pt x="12372" y="42090"/>
                  </a:lnTo>
                  <a:lnTo>
                    <a:pt x="11750" y="41883"/>
                  </a:lnTo>
                  <a:lnTo>
                    <a:pt x="11508" y="41779"/>
                  </a:lnTo>
                  <a:lnTo>
                    <a:pt x="11335" y="41675"/>
                  </a:lnTo>
                  <a:lnTo>
                    <a:pt x="11335" y="41675"/>
                  </a:lnTo>
                  <a:lnTo>
                    <a:pt x="11300" y="41606"/>
                  </a:lnTo>
                  <a:lnTo>
                    <a:pt x="11266" y="41433"/>
                  </a:lnTo>
                  <a:lnTo>
                    <a:pt x="11162" y="40846"/>
                  </a:lnTo>
                  <a:lnTo>
                    <a:pt x="11024" y="39982"/>
                  </a:lnTo>
                  <a:lnTo>
                    <a:pt x="10920" y="38842"/>
                  </a:lnTo>
                  <a:lnTo>
                    <a:pt x="10609" y="35801"/>
                  </a:lnTo>
                  <a:lnTo>
                    <a:pt x="10298" y="32034"/>
                  </a:lnTo>
                  <a:lnTo>
                    <a:pt x="9642" y="23188"/>
                  </a:lnTo>
                  <a:lnTo>
                    <a:pt x="8951" y="14134"/>
                  </a:lnTo>
                  <a:lnTo>
                    <a:pt x="8951" y="14134"/>
                  </a:lnTo>
                  <a:lnTo>
                    <a:pt x="8640" y="9849"/>
                  </a:lnTo>
                  <a:lnTo>
                    <a:pt x="8640" y="9849"/>
                  </a:lnTo>
                  <a:lnTo>
                    <a:pt x="8329" y="5564"/>
                  </a:lnTo>
                  <a:lnTo>
                    <a:pt x="8190" y="4078"/>
                  </a:lnTo>
                  <a:lnTo>
                    <a:pt x="8087" y="3076"/>
                  </a:lnTo>
                  <a:lnTo>
                    <a:pt x="8087" y="3076"/>
                  </a:lnTo>
                  <a:lnTo>
                    <a:pt x="7948" y="2385"/>
                  </a:lnTo>
                  <a:lnTo>
                    <a:pt x="7810" y="1797"/>
                  </a:lnTo>
                  <a:lnTo>
                    <a:pt x="7637" y="1314"/>
                  </a:lnTo>
                  <a:lnTo>
                    <a:pt x="7465" y="933"/>
                  </a:lnTo>
                  <a:lnTo>
                    <a:pt x="7223" y="622"/>
                  </a:lnTo>
                  <a:lnTo>
                    <a:pt x="6946" y="380"/>
                  </a:lnTo>
                  <a:lnTo>
                    <a:pt x="6670" y="208"/>
                  </a:lnTo>
                  <a:lnTo>
                    <a:pt x="6324" y="104"/>
                  </a:lnTo>
                  <a:lnTo>
                    <a:pt x="5979" y="35"/>
                  </a:lnTo>
                  <a:lnTo>
                    <a:pt x="5564" y="0"/>
                  </a:lnTo>
                  <a:lnTo>
                    <a:pt x="5149" y="35"/>
                  </a:lnTo>
                  <a:lnTo>
                    <a:pt x="4666" y="35"/>
                  </a:lnTo>
                  <a:lnTo>
                    <a:pt x="3629" y="104"/>
                  </a:lnTo>
                  <a:lnTo>
                    <a:pt x="2454" y="173"/>
                  </a:lnTo>
                  <a:lnTo>
                    <a:pt x="2454" y="173"/>
                  </a:lnTo>
                  <a:lnTo>
                    <a:pt x="2074" y="69"/>
                  </a:lnTo>
                  <a:lnTo>
                    <a:pt x="1659" y="0"/>
                  </a:lnTo>
                  <a:lnTo>
                    <a:pt x="1175" y="0"/>
                  </a:lnTo>
                  <a:lnTo>
                    <a:pt x="968" y="35"/>
                  </a:lnTo>
                  <a:lnTo>
                    <a:pt x="726" y="69"/>
                  </a:lnTo>
                  <a:lnTo>
                    <a:pt x="519" y="173"/>
                  </a:lnTo>
                  <a:lnTo>
                    <a:pt x="346" y="277"/>
                  </a:lnTo>
                  <a:lnTo>
                    <a:pt x="173" y="450"/>
                  </a:lnTo>
                  <a:lnTo>
                    <a:pt x="70" y="692"/>
                  </a:lnTo>
                  <a:lnTo>
                    <a:pt x="0" y="968"/>
                  </a:lnTo>
                  <a:lnTo>
                    <a:pt x="0" y="1279"/>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24" name="Google Shape;2453;p11">
              <a:extLst>
                <a:ext uri="{FF2B5EF4-FFF2-40B4-BE49-F238E27FC236}">
                  <a16:creationId xmlns:a16="http://schemas.microsoft.com/office/drawing/2014/main" id="{1C4648B8-46EC-7A57-8B7C-607E8AB27F27}"/>
                </a:ext>
              </a:extLst>
            </p:cNvPr>
            <p:cNvSpPr/>
            <p:nvPr/>
          </p:nvSpPr>
          <p:spPr>
            <a:xfrm>
              <a:off x="1514575" y="4975800"/>
              <a:ext cx="358550" cy="120975"/>
            </a:xfrm>
            <a:custGeom>
              <a:avLst/>
              <a:gdLst/>
              <a:ahLst/>
              <a:cxnLst/>
              <a:rect l="l" t="t" r="r" b="b"/>
              <a:pathLst>
                <a:path w="14342" h="4839" extrusionOk="0">
                  <a:moveTo>
                    <a:pt x="1037" y="0"/>
                  </a:moveTo>
                  <a:lnTo>
                    <a:pt x="899" y="35"/>
                  </a:lnTo>
                  <a:lnTo>
                    <a:pt x="726" y="104"/>
                  </a:lnTo>
                  <a:lnTo>
                    <a:pt x="623" y="208"/>
                  </a:lnTo>
                  <a:lnTo>
                    <a:pt x="554" y="380"/>
                  </a:lnTo>
                  <a:lnTo>
                    <a:pt x="277" y="1383"/>
                  </a:lnTo>
                  <a:lnTo>
                    <a:pt x="35" y="2419"/>
                  </a:lnTo>
                  <a:lnTo>
                    <a:pt x="1" y="2730"/>
                  </a:lnTo>
                  <a:lnTo>
                    <a:pt x="1" y="3076"/>
                  </a:lnTo>
                  <a:lnTo>
                    <a:pt x="35" y="3421"/>
                  </a:lnTo>
                  <a:lnTo>
                    <a:pt x="104" y="3767"/>
                  </a:lnTo>
                  <a:lnTo>
                    <a:pt x="173" y="4078"/>
                  </a:lnTo>
                  <a:lnTo>
                    <a:pt x="277" y="4320"/>
                  </a:lnTo>
                  <a:lnTo>
                    <a:pt x="381" y="4527"/>
                  </a:lnTo>
                  <a:lnTo>
                    <a:pt x="519" y="4665"/>
                  </a:lnTo>
                  <a:lnTo>
                    <a:pt x="692" y="4735"/>
                  </a:lnTo>
                  <a:lnTo>
                    <a:pt x="968" y="4769"/>
                  </a:lnTo>
                  <a:lnTo>
                    <a:pt x="1763" y="4804"/>
                  </a:lnTo>
                  <a:lnTo>
                    <a:pt x="2731" y="4838"/>
                  </a:lnTo>
                  <a:lnTo>
                    <a:pt x="3733" y="4838"/>
                  </a:lnTo>
                  <a:lnTo>
                    <a:pt x="3802" y="4769"/>
                  </a:lnTo>
                  <a:lnTo>
                    <a:pt x="3871" y="4700"/>
                  </a:lnTo>
                  <a:lnTo>
                    <a:pt x="3906" y="4596"/>
                  </a:lnTo>
                  <a:lnTo>
                    <a:pt x="3940" y="4458"/>
                  </a:lnTo>
                  <a:lnTo>
                    <a:pt x="3940" y="4285"/>
                  </a:lnTo>
                  <a:lnTo>
                    <a:pt x="3975" y="4285"/>
                  </a:lnTo>
                  <a:lnTo>
                    <a:pt x="4113" y="4251"/>
                  </a:lnTo>
                  <a:lnTo>
                    <a:pt x="4562" y="4285"/>
                  </a:lnTo>
                  <a:lnTo>
                    <a:pt x="6152" y="4493"/>
                  </a:lnTo>
                  <a:lnTo>
                    <a:pt x="8018" y="4700"/>
                  </a:lnTo>
                  <a:lnTo>
                    <a:pt x="8882" y="4804"/>
                  </a:lnTo>
                  <a:lnTo>
                    <a:pt x="9573" y="4838"/>
                  </a:lnTo>
                  <a:lnTo>
                    <a:pt x="10195" y="4838"/>
                  </a:lnTo>
                  <a:lnTo>
                    <a:pt x="10921" y="4735"/>
                  </a:lnTo>
                  <a:lnTo>
                    <a:pt x="11681" y="4562"/>
                  </a:lnTo>
                  <a:lnTo>
                    <a:pt x="12441" y="4354"/>
                  </a:lnTo>
                  <a:lnTo>
                    <a:pt x="12787" y="4216"/>
                  </a:lnTo>
                  <a:lnTo>
                    <a:pt x="13098" y="4078"/>
                  </a:lnTo>
                  <a:lnTo>
                    <a:pt x="13409" y="3905"/>
                  </a:lnTo>
                  <a:lnTo>
                    <a:pt x="13685" y="3732"/>
                  </a:lnTo>
                  <a:lnTo>
                    <a:pt x="13927" y="3525"/>
                  </a:lnTo>
                  <a:lnTo>
                    <a:pt x="14100" y="3318"/>
                  </a:lnTo>
                  <a:lnTo>
                    <a:pt x="14238" y="3110"/>
                  </a:lnTo>
                  <a:lnTo>
                    <a:pt x="14342" y="2868"/>
                  </a:lnTo>
                  <a:lnTo>
                    <a:pt x="14307" y="2627"/>
                  </a:lnTo>
                  <a:lnTo>
                    <a:pt x="14238" y="2385"/>
                  </a:lnTo>
                  <a:lnTo>
                    <a:pt x="14100" y="2177"/>
                  </a:lnTo>
                  <a:lnTo>
                    <a:pt x="13892" y="2005"/>
                  </a:lnTo>
                  <a:lnTo>
                    <a:pt x="13650" y="1797"/>
                  </a:lnTo>
                  <a:lnTo>
                    <a:pt x="13374" y="1659"/>
                  </a:lnTo>
                  <a:lnTo>
                    <a:pt x="13063" y="1486"/>
                  </a:lnTo>
                  <a:lnTo>
                    <a:pt x="12752" y="1383"/>
                  </a:lnTo>
                  <a:lnTo>
                    <a:pt x="12061" y="1141"/>
                  </a:lnTo>
                  <a:lnTo>
                    <a:pt x="11439" y="1002"/>
                  </a:lnTo>
                  <a:lnTo>
                    <a:pt x="10886" y="899"/>
                  </a:lnTo>
                  <a:lnTo>
                    <a:pt x="10506" y="830"/>
                  </a:lnTo>
                  <a:lnTo>
                    <a:pt x="10195" y="830"/>
                  </a:lnTo>
                  <a:lnTo>
                    <a:pt x="9815" y="899"/>
                  </a:lnTo>
                  <a:lnTo>
                    <a:pt x="8951" y="1141"/>
                  </a:lnTo>
                  <a:lnTo>
                    <a:pt x="8432" y="1279"/>
                  </a:lnTo>
                  <a:lnTo>
                    <a:pt x="7845" y="1417"/>
                  </a:lnTo>
                  <a:lnTo>
                    <a:pt x="7223" y="1555"/>
                  </a:lnTo>
                  <a:lnTo>
                    <a:pt x="6497" y="1624"/>
                  </a:lnTo>
                  <a:lnTo>
                    <a:pt x="5841" y="1624"/>
                  </a:lnTo>
                  <a:lnTo>
                    <a:pt x="5288" y="1555"/>
                  </a:lnTo>
                  <a:lnTo>
                    <a:pt x="4804" y="1452"/>
                  </a:lnTo>
                  <a:lnTo>
                    <a:pt x="4389" y="1279"/>
                  </a:lnTo>
                  <a:lnTo>
                    <a:pt x="4044" y="1106"/>
                  </a:lnTo>
                  <a:lnTo>
                    <a:pt x="3767" y="899"/>
                  </a:lnTo>
                  <a:lnTo>
                    <a:pt x="3318" y="553"/>
                  </a:lnTo>
                  <a:lnTo>
                    <a:pt x="3007" y="380"/>
                  </a:lnTo>
                  <a:lnTo>
                    <a:pt x="2489" y="173"/>
                  </a:lnTo>
                  <a:lnTo>
                    <a:pt x="2178" y="104"/>
                  </a:lnTo>
                  <a:lnTo>
                    <a:pt x="1832" y="35"/>
                  </a:lnTo>
                  <a:lnTo>
                    <a:pt x="1452" y="0"/>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25" name="Google Shape;2454;p11">
              <a:extLst>
                <a:ext uri="{FF2B5EF4-FFF2-40B4-BE49-F238E27FC236}">
                  <a16:creationId xmlns:a16="http://schemas.microsoft.com/office/drawing/2014/main" id="{08D4522B-4372-95C5-7E5F-2513A96FD4AD}"/>
                </a:ext>
              </a:extLst>
            </p:cNvPr>
            <p:cNvSpPr/>
            <p:nvPr/>
          </p:nvSpPr>
          <p:spPr>
            <a:xfrm>
              <a:off x="1318475" y="4255300"/>
              <a:ext cx="6075" cy="25925"/>
            </a:xfrm>
            <a:custGeom>
              <a:avLst/>
              <a:gdLst/>
              <a:ahLst/>
              <a:cxnLst/>
              <a:rect l="l" t="t" r="r" b="b"/>
              <a:pathLst>
                <a:path w="243" h="1037" extrusionOk="0">
                  <a:moveTo>
                    <a:pt x="242" y="0"/>
                  </a:moveTo>
                  <a:lnTo>
                    <a:pt x="242" y="0"/>
                  </a:lnTo>
                  <a:lnTo>
                    <a:pt x="0" y="1037"/>
                  </a:lnTo>
                  <a:lnTo>
                    <a:pt x="0" y="1037"/>
                  </a:lnTo>
                  <a:lnTo>
                    <a:pt x="242" y="0"/>
                  </a:lnTo>
                  <a:lnTo>
                    <a:pt x="242" y="0"/>
                  </a:lnTo>
                  <a:lnTo>
                    <a:pt x="242" y="0"/>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26" name="Google Shape;2455;p11">
              <a:extLst>
                <a:ext uri="{FF2B5EF4-FFF2-40B4-BE49-F238E27FC236}">
                  <a16:creationId xmlns:a16="http://schemas.microsoft.com/office/drawing/2014/main" id="{48DB6774-9A21-7085-0930-758D0271620C}"/>
                </a:ext>
              </a:extLst>
            </p:cNvPr>
            <p:cNvSpPr/>
            <p:nvPr/>
          </p:nvSpPr>
          <p:spPr>
            <a:xfrm>
              <a:off x="1318475" y="4255300"/>
              <a:ext cx="6075" cy="25925"/>
            </a:xfrm>
            <a:custGeom>
              <a:avLst/>
              <a:gdLst/>
              <a:ahLst/>
              <a:cxnLst/>
              <a:rect l="l" t="t" r="r" b="b"/>
              <a:pathLst>
                <a:path w="243" h="1037" fill="none" extrusionOk="0">
                  <a:moveTo>
                    <a:pt x="242" y="0"/>
                  </a:moveTo>
                  <a:lnTo>
                    <a:pt x="242" y="0"/>
                  </a:lnTo>
                  <a:lnTo>
                    <a:pt x="0" y="1037"/>
                  </a:lnTo>
                  <a:lnTo>
                    <a:pt x="0" y="1037"/>
                  </a:lnTo>
                  <a:lnTo>
                    <a:pt x="242" y="0"/>
                  </a:lnTo>
                  <a:lnTo>
                    <a:pt x="242" y="0"/>
                  </a:lnTo>
                  <a:lnTo>
                    <a:pt x="242"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27" name="Google Shape;2456;p11">
              <a:extLst>
                <a:ext uri="{FF2B5EF4-FFF2-40B4-BE49-F238E27FC236}">
                  <a16:creationId xmlns:a16="http://schemas.microsoft.com/office/drawing/2014/main" id="{C4CB2994-AFB9-EA8E-5CA1-0C84C3BF40A6}"/>
                </a:ext>
              </a:extLst>
            </p:cNvPr>
            <p:cNvSpPr/>
            <p:nvPr/>
          </p:nvSpPr>
          <p:spPr>
            <a:xfrm>
              <a:off x="1131875" y="4228525"/>
              <a:ext cx="192675" cy="57900"/>
            </a:xfrm>
            <a:custGeom>
              <a:avLst/>
              <a:gdLst/>
              <a:ahLst/>
              <a:cxnLst/>
              <a:rect l="l" t="t" r="r" b="b"/>
              <a:pathLst>
                <a:path w="7707" h="2316" extrusionOk="0">
                  <a:moveTo>
                    <a:pt x="35" y="0"/>
                  </a:moveTo>
                  <a:lnTo>
                    <a:pt x="0" y="1279"/>
                  </a:lnTo>
                  <a:lnTo>
                    <a:pt x="449" y="1417"/>
                  </a:lnTo>
                  <a:lnTo>
                    <a:pt x="899" y="1555"/>
                  </a:lnTo>
                  <a:lnTo>
                    <a:pt x="1382" y="1693"/>
                  </a:lnTo>
                  <a:lnTo>
                    <a:pt x="1901" y="1762"/>
                  </a:lnTo>
                  <a:lnTo>
                    <a:pt x="2903" y="1935"/>
                  </a:lnTo>
                  <a:lnTo>
                    <a:pt x="3940" y="2039"/>
                  </a:lnTo>
                  <a:lnTo>
                    <a:pt x="5875" y="2143"/>
                  </a:lnTo>
                  <a:lnTo>
                    <a:pt x="6704" y="2212"/>
                  </a:lnTo>
                  <a:lnTo>
                    <a:pt x="7430" y="2315"/>
                  </a:lnTo>
                  <a:lnTo>
                    <a:pt x="7464" y="2108"/>
                  </a:lnTo>
                  <a:lnTo>
                    <a:pt x="7706" y="1071"/>
                  </a:lnTo>
                  <a:lnTo>
                    <a:pt x="6808" y="1071"/>
                  </a:lnTo>
                  <a:lnTo>
                    <a:pt x="5875" y="1002"/>
                  </a:lnTo>
                  <a:lnTo>
                    <a:pt x="4873" y="898"/>
                  </a:lnTo>
                  <a:lnTo>
                    <a:pt x="3871" y="760"/>
                  </a:lnTo>
                  <a:lnTo>
                    <a:pt x="2834" y="587"/>
                  </a:lnTo>
                  <a:lnTo>
                    <a:pt x="1866" y="415"/>
                  </a:lnTo>
                  <a:lnTo>
                    <a:pt x="899" y="207"/>
                  </a:lnTo>
                  <a:lnTo>
                    <a:pt x="35" y="0"/>
                  </a:lnTo>
                  <a:close/>
                </a:path>
              </a:pathLst>
            </a:custGeom>
            <a:solidFill>
              <a:srgbClr val="8A3A1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28" name="Google Shape;2457;p11">
              <a:extLst>
                <a:ext uri="{FF2B5EF4-FFF2-40B4-BE49-F238E27FC236}">
                  <a16:creationId xmlns:a16="http://schemas.microsoft.com/office/drawing/2014/main" id="{C622A916-FB4C-A8AE-E76F-378AA94E5D05}"/>
                </a:ext>
              </a:extLst>
            </p:cNvPr>
            <p:cNvSpPr/>
            <p:nvPr/>
          </p:nvSpPr>
          <p:spPr>
            <a:xfrm>
              <a:off x="1131875" y="4228525"/>
              <a:ext cx="192675" cy="57900"/>
            </a:xfrm>
            <a:custGeom>
              <a:avLst/>
              <a:gdLst/>
              <a:ahLst/>
              <a:cxnLst/>
              <a:rect l="l" t="t" r="r" b="b"/>
              <a:pathLst>
                <a:path w="7707" h="2316" fill="none" extrusionOk="0">
                  <a:moveTo>
                    <a:pt x="35" y="0"/>
                  </a:moveTo>
                  <a:lnTo>
                    <a:pt x="35" y="0"/>
                  </a:lnTo>
                  <a:lnTo>
                    <a:pt x="0" y="1279"/>
                  </a:lnTo>
                  <a:lnTo>
                    <a:pt x="0" y="1279"/>
                  </a:lnTo>
                  <a:lnTo>
                    <a:pt x="449" y="1417"/>
                  </a:lnTo>
                  <a:lnTo>
                    <a:pt x="899" y="1555"/>
                  </a:lnTo>
                  <a:lnTo>
                    <a:pt x="1382" y="1693"/>
                  </a:lnTo>
                  <a:lnTo>
                    <a:pt x="1901" y="1762"/>
                  </a:lnTo>
                  <a:lnTo>
                    <a:pt x="2903" y="1935"/>
                  </a:lnTo>
                  <a:lnTo>
                    <a:pt x="3940" y="2039"/>
                  </a:lnTo>
                  <a:lnTo>
                    <a:pt x="5875" y="2143"/>
                  </a:lnTo>
                  <a:lnTo>
                    <a:pt x="6704" y="2212"/>
                  </a:lnTo>
                  <a:lnTo>
                    <a:pt x="7430" y="2315"/>
                  </a:lnTo>
                  <a:lnTo>
                    <a:pt x="7430" y="2315"/>
                  </a:lnTo>
                  <a:lnTo>
                    <a:pt x="7464" y="2108"/>
                  </a:lnTo>
                  <a:lnTo>
                    <a:pt x="7464" y="2108"/>
                  </a:lnTo>
                  <a:lnTo>
                    <a:pt x="7706" y="1071"/>
                  </a:lnTo>
                  <a:lnTo>
                    <a:pt x="7706" y="1071"/>
                  </a:lnTo>
                  <a:lnTo>
                    <a:pt x="6808" y="1071"/>
                  </a:lnTo>
                  <a:lnTo>
                    <a:pt x="5875" y="1002"/>
                  </a:lnTo>
                  <a:lnTo>
                    <a:pt x="4873" y="898"/>
                  </a:lnTo>
                  <a:lnTo>
                    <a:pt x="3871" y="760"/>
                  </a:lnTo>
                  <a:lnTo>
                    <a:pt x="2834" y="587"/>
                  </a:lnTo>
                  <a:lnTo>
                    <a:pt x="1866" y="415"/>
                  </a:lnTo>
                  <a:lnTo>
                    <a:pt x="899" y="207"/>
                  </a:lnTo>
                  <a:lnTo>
                    <a:pt x="35"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29" name="Google Shape;2458;p11">
              <a:extLst>
                <a:ext uri="{FF2B5EF4-FFF2-40B4-BE49-F238E27FC236}">
                  <a16:creationId xmlns:a16="http://schemas.microsoft.com/office/drawing/2014/main" id="{C11A622E-CDD6-C3D8-87CB-8E5ED98E3429}"/>
                </a:ext>
              </a:extLst>
            </p:cNvPr>
            <p:cNvSpPr/>
            <p:nvPr/>
          </p:nvSpPr>
          <p:spPr>
            <a:xfrm>
              <a:off x="1423000" y="4233700"/>
              <a:ext cx="6950" cy="39750"/>
            </a:xfrm>
            <a:custGeom>
              <a:avLst/>
              <a:gdLst/>
              <a:ahLst/>
              <a:cxnLst/>
              <a:rect l="l" t="t" r="r" b="b"/>
              <a:pathLst>
                <a:path w="278" h="1590" extrusionOk="0">
                  <a:moveTo>
                    <a:pt x="1" y="0"/>
                  </a:moveTo>
                  <a:lnTo>
                    <a:pt x="1" y="0"/>
                  </a:lnTo>
                  <a:lnTo>
                    <a:pt x="1" y="0"/>
                  </a:lnTo>
                  <a:lnTo>
                    <a:pt x="277" y="1590"/>
                  </a:lnTo>
                  <a:lnTo>
                    <a:pt x="277" y="1590"/>
                  </a:lnTo>
                  <a:lnTo>
                    <a:pt x="1" y="0"/>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30" name="Google Shape;2459;p11">
              <a:extLst>
                <a:ext uri="{FF2B5EF4-FFF2-40B4-BE49-F238E27FC236}">
                  <a16:creationId xmlns:a16="http://schemas.microsoft.com/office/drawing/2014/main" id="{0F762A24-711D-BCB5-C00D-47EA6F6D87DC}"/>
                </a:ext>
              </a:extLst>
            </p:cNvPr>
            <p:cNvSpPr/>
            <p:nvPr/>
          </p:nvSpPr>
          <p:spPr>
            <a:xfrm>
              <a:off x="1423000" y="4233700"/>
              <a:ext cx="6950" cy="39750"/>
            </a:xfrm>
            <a:custGeom>
              <a:avLst/>
              <a:gdLst/>
              <a:ahLst/>
              <a:cxnLst/>
              <a:rect l="l" t="t" r="r" b="b"/>
              <a:pathLst>
                <a:path w="278" h="1590" fill="none" extrusionOk="0">
                  <a:moveTo>
                    <a:pt x="1" y="0"/>
                  </a:moveTo>
                  <a:lnTo>
                    <a:pt x="1" y="0"/>
                  </a:lnTo>
                  <a:lnTo>
                    <a:pt x="1" y="0"/>
                  </a:lnTo>
                  <a:lnTo>
                    <a:pt x="277" y="1590"/>
                  </a:lnTo>
                  <a:lnTo>
                    <a:pt x="277" y="1590"/>
                  </a:lnTo>
                  <a:lnTo>
                    <a:pt x="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31" name="Google Shape;2460;p11">
              <a:extLst>
                <a:ext uri="{FF2B5EF4-FFF2-40B4-BE49-F238E27FC236}">
                  <a16:creationId xmlns:a16="http://schemas.microsoft.com/office/drawing/2014/main" id="{AC238457-6B68-FF88-E6BC-7BB6D3713954}"/>
                </a:ext>
              </a:extLst>
            </p:cNvPr>
            <p:cNvSpPr/>
            <p:nvPr/>
          </p:nvSpPr>
          <p:spPr>
            <a:xfrm>
              <a:off x="1423000" y="4208650"/>
              <a:ext cx="181450" cy="68275"/>
            </a:xfrm>
            <a:custGeom>
              <a:avLst/>
              <a:gdLst/>
              <a:ahLst/>
              <a:cxnLst/>
              <a:rect l="l" t="t" r="r" b="b"/>
              <a:pathLst>
                <a:path w="7258" h="2731" extrusionOk="0">
                  <a:moveTo>
                    <a:pt x="3595" y="0"/>
                  </a:moveTo>
                  <a:lnTo>
                    <a:pt x="3007" y="69"/>
                  </a:lnTo>
                  <a:lnTo>
                    <a:pt x="2420" y="173"/>
                  </a:lnTo>
                  <a:lnTo>
                    <a:pt x="1901" y="311"/>
                  </a:lnTo>
                  <a:lnTo>
                    <a:pt x="1383" y="449"/>
                  </a:lnTo>
                  <a:lnTo>
                    <a:pt x="899" y="622"/>
                  </a:lnTo>
                  <a:lnTo>
                    <a:pt x="1" y="1002"/>
                  </a:lnTo>
                  <a:lnTo>
                    <a:pt x="277" y="2592"/>
                  </a:lnTo>
                  <a:lnTo>
                    <a:pt x="277" y="2730"/>
                  </a:lnTo>
                  <a:lnTo>
                    <a:pt x="623" y="2592"/>
                  </a:lnTo>
                  <a:lnTo>
                    <a:pt x="1003" y="2488"/>
                  </a:lnTo>
                  <a:lnTo>
                    <a:pt x="1383" y="2385"/>
                  </a:lnTo>
                  <a:lnTo>
                    <a:pt x="1763" y="2315"/>
                  </a:lnTo>
                  <a:lnTo>
                    <a:pt x="2558" y="2246"/>
                  </a:lnTo>
                  <a:lnTo>
                    <a:pt x="3387" y="2212"/>
                  </a:lnTo>
                  <a:lnTo>
                    <a:pt x="4389" y="2246"/>
                  </a:lnTo>
                  <a:lnTo>
                    <a:pt x="5392" y="2350"/>
                  </a:lnTo>
                  <a:lnTo>
                    <a:pt x="6359" y="2454"/>
                  </a:lnTo>
                  <a:lnTo>
                    <a:pt x="7258" y="2592"/>
                  </a:lnTo>
                  <a:lnTo>
                    <a:pt x="7119" y="449"/>
                  </a:lnTo>
                  <a:lnTo>
                    <a:pt x="6325" y="242"/>
                  </a:lnTo>
                  <a:lnTo>
                    <a:pt x="5564" y="104"/>
                  </a:lnTo>
                  <a:lnTo>
                    <a:pt x="4873" y="0"/>
                  </a:lnTo>
                  <a:close/>
                </a:path>
              </a:pathLst>
            </a:custGeom>
            <a:solidFill>
              <a:srgbClr val="8A3A1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32" name="Google Shape;2461;p11">
              <a:extLst>
                <a:ext uri="{FF2B5EF4-FFF2-40B4-BE49-F238E27FC236}">
                  <a16:creationId xmlns:a16="http://schemas.microsoft.com/office/drawing/2014/main" id="{3EDD5C57-5A85-76DD-3CFC-8620C0E1DF05}"/>
                </a:ext>
              </a:extLst>
            </p:cNvPr>
            <p:cNvSpPr/>
            <p:nvPr/>
          </p:nvSpPr>
          <p:spPr>
            <a:xfrm>
              <a:off x="1423000" y="4208650"/>
              <a:ext cx="181450" cy="68275"/>
            </a:xfrm>
            <a:custGeom>
              <a:avLst/>
              <a:gdLst/>
              <a:ahLst/>
              <a:cxnLst/>
              <a:rect l="l" t="t" r="r" b="b"/>
              <a:pathLst>
                <a:path w="7258" h="2731" fill="none" extrusionOk="0">
                  <a:moveTo>
                    <a:pt x="4217" y="0"/>
                  </a:moveTo>
                  <a:lnTo>
                    <a:pt x="4217" y="0"/>
                  </a:lnTo>
                  <a:lnTo>
                    <a:pt x="3595" y="0"/>
                  </a:lnTo>
                  <a:lnTo>
                    <a:pt x="3007" y="69"/>
                  </a:lnTo>
                  <a:lnTo>
                    <a:pt x="2420" y="173"/>
                  </a:lnTo>
                  <a:lnTo>
                    <a:pt x="1901" y="311"/>
                  </a:lnTo>
                  <a:lnTo>
                    <a:pt x="1383" y="449"/>
                  </a:lnTo>
                  <a:lnTo>
                    <a:pt x="899" y="622"/>
                  </a:lnTo>
                  <a:lnTo>
                    <a:pt x="1" y="1002"/>
                  </a:lnTo>
                  <a:lnTo>
                    <a:pt x="1" y="1002"/>
                  </a:lnTo>
                  <a:lnTo>
                    <a:pt x="277" y="2592"/>
                  </a:lnTo>
                  <a:lnTo>
                    <a:pt x="277" y="2592"/>
                  </a:lnTo>
                  <a:lnTo>
                    <a:pt x="277" y="2730"/>
                  </a:lnTo>
                  <a:lnTo>
                    <a:pt x="277" y="2730"/>
                  </a:lnTo>
                  <a:lnTo>
                    <a:pt x="623" y="2592"/>
                  </a:lnTo>
                  <a:lnTo>
                    <a:pt x="1003" y="2488"/>
                  </a:lnTo>
                  <a:lnTo>
                    <a:pt x="1383" y="2385"/>
                  </a:lnTo>
                  <a:lnTo>
                    <a:pt x="1763" y="2315"/>
                  </a:lnTo>
                  <a:lnTo>
                    <a:pt x="2558" y="2246"/>
                  </a:lnTo>
                  <a:lnTo>
                    <a:pt x="3387" y="2212"/>
                  </a:lnTo>
                  <a:lnTo>
                    <a:pt x="3387" y="2212"/>
                  </a:lnTo>
                  <a:lnTo>
                    <a:pt x="4389" y="2246"/>
                  </a:lnTo>
                  <a:lnTo>
                    <a:pt x="5392" y="2350"/>
                  </a:lnTo>
                  <a:lnTo>
                    <a:pt x="6359" y="2454"/>
                  </a:lnTo>
                  <a:lnTo>
                    <a:pt x="7258" y="2592"/>
                  </a:lnTo>
                  <a:lnTo>
                    <a:pt x="7258" y="2592"/>
                  </a:lnTo>
                  <a:lnTo>
                    <a:pt x="7119" y="449"/>
                  </a:lnTo>
                  <a:lnTo>
                    <a:pt x="7119" y="449"/>
                  </a:lnTo>
                  <a:lnTo>
                    <a:pt x="6325" y="242"/>
                  </a:lnTo>
                  <a:lnTo>
                    <a:pt x="5564" y="104"/>
                  </a:lnTo>
                  <a:lnTo>
                    <a:pt x="4873" y="0"/>
                  </a:lnTo>
                  <a:lnTo>
                    <a:pt x="4217"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33" name="Google Shape;2462;p11">
              <a:extLst>
                <a:ext uri="{FF2B5EF4-FFF2-40B4-BE49-F238E27FC236}">
                  <a16:creationId xmlns:a16="http://schemas.microsoft.com/office/drawing/2014/main" id="{5D6BBF3B-641D-5A77-07BE-4E690D4ADCC4}"/>
                </a:ext>
              </a:extLst>
            </p:cNvPr>
            <p:cNvSpPr/>
            <p:nvPr/>
          </p:nvSpPr>
          <p:spPr>
            <a:xfrm>
              <a:off x="785450" y="3182325"/>
              <a:ext cx="901925" cy="1073000"/>
            </a:xfrm>
            <a:custGeom>
              <a:avLst/>
              <a:gdLst/>
              <a:ahLst/>
              <a:cxnLst/>
              <a:rect l="l" t="t" r="r" b="b"/>
              <a:pathLst>
                <a:path w="36077" h="42920" extrusionOk="0">
                  <a:moveTo>
                    <a:pt x="20872" y="0"/>
                  </a:moveTo>
                  <a:lnTo>
                    <a:pt x="20250" y="35"/>
                  </a:lnTo>
                  <a:lnTo>
                    <a:pt x="19663" y="104"/>
                  </a:lnTo>
                  <a:lnTo>
                    <a:pt x="19041" y="173"/>
                  </a:lnTo>
                  <a:lnTo>
                    <a:pt x="18453" y="311"/>
                  </a:lnTo>
                  <a:lnTo>
                    <a:pt x="17831" y="484"/>
                  </a:lnTo>
                  <a:lnTo>
                    <a:pt x="17244" y="691"/>
                  </a:lnTo>
                  <a:lnTo>
                    <a:pt x="16622" y="933"/>
                  </a:lnTo>
                  <a:lnTo>
                    <a:pt x="16034" y="1210"/>
                  </a:lnTo>
                  <a:lnTo>
                    <a:pt x="15239" y="1659"/>
                  </a:lnTo>
                  <a:lnTo>
                    <a:pt x="14445" y="2212"/>
                  </a:lnTo>
                  <a:lnTo>
                    <a:pt x="14065" y="2488"/>
                  </a:lnTo>
                  <a:lnTo>
                    <a:pt x="13684" y="2834"/>
                  </a:lnTo>
                  <a:lnTo>
                    <a:pt x="13304" y="3179"/>
                  </a:lnTo>
                  <a:lnTo>
                    <a:pt x="12924" y="3560"/>
                  </a:lnTo>
                  <a:lnTo>
                    <a:pt x="12890" y="3629"/>
                  </a:lnTo>
                  <a:lnTo>
                    <a:pt x="12302" y="4596"/>
                  </a:lnTo>
                  <a:lnTo>
                    <a:pt x="11784" y="5598"/>
                  </a:lnTo>
                  <a:lnTo>
                    <a:pt x="11335" y="6600"/>
                  </a:lnTo>
                  <a:lnTo>
                    <a:pt x="10920" y="7568"/>
                  </a:lnTo>
                  <a:lnTo>
                    <a:pt x="10574" y="8570"/>
                  </a:lnTo>
                  <a:lnTo>
                    <a:pt x="10263" y="9607"/>
                  </a:lnTo>
                  <a:lnTo>
                    <a:pt x="9987" y="10609"/>
                  </a:lnTo>
                  <a:lnTo>
                    <a:pt x="9710" y="11611"/>
                  </a:lnTo>
                  <a:lnTo>
                    <a:pt x="9503" y="12648"/>
                  </a:lnTo>
                  <a:lnTo>
                    <a:pt x="9330" y="13685"/>
                  </a:lnTo>
                  <a:lnTo>
                    <a:pt x="8950" y="15758"/>
                  </a:lnTo>
                  <a:lnTo>
                    <a:pt x="8639" y="17900"/>
                  </a:lnTo>
                  <a:lnTo>
                    <a:pt x="8294" y="20043"/>
                  </a:lnTo>
                  <a:lnTo>
                    <a:pt x="7914" y="22220"/>
                  </a:lnTo>
                  <a:lnTo>
                    <a:pt x="7672" y="23360"/>
                  </a:lnTo>
                  <a:lnTo>
                    <a:pt x="7430" y="24466"/>
                  </a:lnTo>
                  <a:lnTo>
                    <a:pt x="7119" y="25607"/>
                  </a:lnTo>
                  <a:lnTo>
                    <a:pt x="6773" y="26747"/>
                  </a:lnTo>
                  <a:lnTo>
                    <a:pt x="6393" y="27922"/>
                  </a:lnTo>
                  <a:lnTo>
                    <a:pt x="5944" y="29097"/>
                  </a:lnTo>
                  <a:lnTo>
                    <a:pt x="5460" y="30272"/>
                  </a:lnTo>
                  <a:lnTo>
                    <a:pt x="4907" y="31481"/>
                  </a:lnTo>
                  <a:lnTo>
                    <a:pt x="4285" y="32691"/>
                  </a:lnTo>
                  <a:lnTo>
                    <a:pt x="3594" y="33935"/>
                  </a:lnTo>
                  <a:lnTo>
                    <a:pt x="2834" y="35179"/>
                  </a:lnTo>
                  <a:lnTo>
                    <a:pt x="1970" y="36423"/>
                  </a:lnTo>
                  <a:lnTo>
                    <a:pt x="1037" y="37701"/>
                  </a:lnTo>
                  <a:lnTo>
                    <a:pt x="0" y="39014"/>
                  </a:lnTo>
                  <a:lnTo>
                    <a:pt x="242" y="39256"/>
                  </a:lnTo>
                  <a:lnTo>
                    <a:pt x="518" y="39498"/>
                  </a:lnTo>
                  <a:lnTo>
                    <a:pt x="864" y="39706"/>
                  </a:lnTo>
                  <a:lnTo>
                    <a:pt x="1175" y="39878"/>
                  </a:lnTo>
                  <a:lnTo>
                    <a:pt x="1555" y="40017"/>
                  </a:lnTo>
                  <a:lnTo>
                    <a:pt x="1935" y="40155"/>
                  </a:lnTo>
                  <a:lnTo>
                    <a:pt x="2350" y="40224"/>
                  </a:lnTo>
                  <a:lnTo>
                    <a:pt x="2799" y="40328"/>
                  </a:lnTo>
                  <a:lnTo>
                    <a:pt x="3698" y="40431"/>
                  </a:lnTo>
                  <a:lnTo>
                    <a:pt x="4631" y="40466"/>
                  </a:lnTo>
                  <a:lnTo>
                    <a:pt x="8639" y="40466"/>
                  </a:lnTo>
                  <a:lnTo>
                    <a:pt x="9261" y="40500"/>
                  </a:lnTo>
                  <a:lnTo>
                    <a:pt x="9849" y="40569"/>
                  </a:lnTo>
                  <a:lnTo>
                    <a:pt x="10367" y="40673"/>
                  </a:lnTo>
                  <a:lnTo>
                    <a:pt x="10851" y="40811"/>
                  </a:lnTo>
                  <a:lnTo>
                    <a:pt x="11300" y="40984"/>
                  </a:lnTo>
                  <a:lnTo>
                    <a:pt x="11646" y="41157"/>
                  </a:lnTo>
                  <a:lnTo>
                    <a:pt x="12095" y="41330"/>
                  </a:lnTo>
                  <a:lnTo>
                    <a:pt x="12613" y="41502"/>
                  </a:lnTo>
                  <a:lnTo>
                    <a:pt x="13235" y="41675"/>
                  </a:lnTo>
                  <a:lnTo>
                    <a:pt x="14479" y="41986"/>
                  </a:lnTo>
                  <a:lnTo>
                    <a:pt x="15861" y="42297"/>
                  </a:lnTo>
                  <a:lnTo>
                    <a:pt x="17313" y="42539"/>
                  </a:lnTo>
                  <a:lnTo>
                    <a:pt x="18764" y="42746"/>
                  </a:lnTo>
                  <a:lnTo>
                    <a:pt x="20216" y="42885"/>
                  </a:lnTo>
                  <a:lnTo>
                    <a:pt x="20872" y="42919"/>
                  </a:lnTo>
                  <a:lnTo>
                    <a:pt x="22151" y="42919"/>
                  </a:lnTo>
                  <a:lnTo>
                    <a:pt x="22704" y="42885"/>
                  </a:lnTo>
                  <a:lnTo>
                    <a:pt x="23187" y="42850"/>
                  </a:lnTo>
                  <a:lnTo>
                    <a:pt x="23637" y="42746"/>
                  </a:lnTo>
                  <a:lnTo>
                    <a:pt x="24155" y="42574"/>
                  </a:lnTo>
                  <a:lnTo>
                    <a:pt x="24673" y="42401"/>
                  </a:lnTo>
                  <a:lnTo>
                    <a:pt x="25745" y="41952"/>
                  </a:lnTo>
                  <a:lnTo>
                    <a:pt x="26332" y="41710"/>
                  </a:lnTo>
                  <a:lnTo>
                    <a:pt x="26920" y="41502"/>
                  </a:lnTo>
                  <a:lnTo>
                    <a:pt x="27542" y="41330"/>
                  </a:lnTo>
                  <a:lnTo>
                    <a:pt x="28233" y="41157"/>
                  </a:lnTo>
                  <a:lnTo>
                    <a:pt x="28924" y="41088"/>
                  </a:lnTo>
                  <a:lnTo>
                    <a:pt x="29684" y="41053"/>
                  </a:lnTo>
                  <a:lnTo>
                    <a:pt x="30513" y="41088"/>
                  </a:lnTo>
                  <a:lnTo>
                    <a:pt x="30963" y="41122"/>
                  </a:lnTo>
                  <a:lnTo>
                    <a:pt x="31412" y="41191"/>
                  </a:lnTo>
                  <a:lnTo>
                    <a:pt x="31861" y="41295"/>
                  </a:lnTo>
                  <a:lnTo>
                    <a:pt x="32345" y="41433"/>
                  </a:lnTo>
                  <a:lnTo>
                    <a:pt x="32863" y="41572"/>
                  </a:lnTo>
                  <a:lnTo>
                    <a:pt x="33382" y="41779"/>
                  </a:lnTo>
                  <a:lnTo>
                    <a:pt x="33934" y="41986"/>
                  </a:lnTo>
                  <a:lnTo>
                    <a:pt x="34487" y="42228"/>
                  </a:lnTo>
                  <a:lnTo>
                    <a:pt x="35075" y="42505"/>
                  </a:lnTo>
                  <a:lnTo>
                    <a:pt x="35697" y="42816"/>
                  </a:lnTo>
                  <a:lnTo>
                    <a:pt x="35835" y="42194"/>
                  </a:lnTo>
                  <a:lnTo>
                    <a:pt x="35939" y="41468"/>
                  </a:lnTo>
                  <a:lnTo>
                    <a:pt x="36008" y="40639"/>
                  </a:lnTo>
                  <a:lnTo>
                    <a:pt x="36042" y="39671"/>
                  </a:lnTo>
                  <a:lnTo>
                    <a:pt x="36077" y="38634"/>
                  </a:lnTo>
                  <a:lnTo>
                    <a:pt x="36042" y="37528"/>
                  </a:lnTo>
                  <a:lnTo>
                    <a:pt x="36008" y="36319"/>
                  </a:lnTo>
                  <a:lnTo>
                    <a:pt x="35939" y="35075"/>
                  </a:lnTo>
                  <a:lnTo>
                    <a:pt x="35766" y="32380"/>
                  </a:lnTo>
                  <a:lnTo>
                    <a:pt x="35455" y="29477"/>
                  </a:lnTo>
                  <a:lnTo>
                    <a:pt x="35109" y="26470"/>
                  </a:lnTo>
                  <a:lnTo>
                    <a:pt x="34695" y="23360"/>
                  </a:lnTo>
                  <a:lnTo>
                    <a:pt x="34211" y="20250"/>
                  </a:lnTo>
                  <a:lnTo>
                    <a:pt x="33693" y="17209"/>
                  </a:lnTo>
                  <a:lnTo>
                    <a:pt x="33140" y="14272"/>
                  </a:lnTo>
                  <a:lnTo>
                    <a:pt x="32552" y="11507"/>
                  </a:lnTo>
                  <a:lnTo>
                    <a:pt x="31965" y="8950"/>
                  </a:lnTo>
                  <a:lnTo>
                    <a:pt x="31377" y="6670"/>
                  </a:lnTo>
                  <a:lnTo>
                    <a:pt x="31101" y="5667"/>
                  </a:lnTo>
                  <a:lnTo>
                    <a:pt x="30790" y="4734"/>
                  </a:lnTo>
                  <a:lnTo>
                    <a:pt x="30513" y="3905"/>
                  </a:lnTo>
                  <a:lnTo>
                    <a:pt x="30237" y="3214"/>
                  </a:lnTo>
                  <a:lnTo>
                    <a:pt x="29995" y="2696"/>
                  </a:lnTo>
                  <a:lnTo>
                    <a:pt x="29753" y="2246"/>
                  </a:lnTo>
                  <a:lnTo>
                    <a:pt x="29442" y="2074"/>
                  </a:lnTo>
                  <a:lnTo>
                    <a:pt x="28509" y="1624"/>
                  </a:lnTo>
                  <a:lnTo>
                    <a:pt x="27853" y="1348"/>
                  </a:lnTo>
                  <a:lnTo>
                    <a:pt x="27092" y="1071"/>
                  </a:lnTo>
                  <a:lnTo>
                    <a:pt x="26228" y="760"/>
                  </a:lnTo>
                  <a:lnTo>
                    <a:pt x="25295" y="519"/>
                  </a:lnTo>
                  <a:lnTo>
                    <a:pt x="24259" y="277"/>
                  </a:lnTo>
                  <a:lnTo>
                    <a:pt x="23187" y="104"/>
                  </a:lnTo>
                  <a:lnTo>
                    <a:pt x="22600" y="35"/>
                  </a:lnTo>
                  <a:lnTo>
                    <a:pt x="22047" y="0"/>
                  </a:lnTo>
                  <a:close/>
                </a:path>
              </a:pathLst>
            </a:custGeom>
            <a:solidFill>
              <a:srgbClr val="D04A0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34" name="Google Shape;2463;p11">
              <a:extLst>
                <a:ext uri="{FF2B5EF4-FFF2-40B4-BE49-F238E27FC236}">
                  <a16:creationId xmlns:a16="http://schemas.microsoft.com/office/drawing/2014/main" id="{EDDA4E23-6FE0-E16D-CBF5-CB805BB85B1F}"/>
                </a:ext>
              </a:extLst>
            </p:cNvPr>
            <p:cNvSpPr/>
            <p:nvPr/>
          </p:nvSpPr>
          <p:spPr>
            <a:xfrm>
              <a:off x="785450" y="3182325"/>
              <a:ext cx="901925" cy="1073000"/>
            </a:xfrm>
            <a:custGeom>
              <a:avLst/>
              <a:gdLst/>
              <a:ahLst/>
              <a:cxnLst/>
              <a:rect l="l" t="t" r="r" b="b"/>
              <a:pathLst>
                <a:path w="36077" h="42920" fill="none" extrusionOk="0">
                  <a:moveTo>
                    <a:pt x="0" y="39014"/>
                  </a:moveTo>
                  <a:lnTo>
                    <a:pt x="0" y="39014"/>
                  </a:lnTo>
                  <a:lnTo>
                    <a:pt x="242" y="39256"/>
                  </a:lnTo>
                  <a:lnTo>
                    <a:pt x="518" y="39498"/>
                  </a:lnTo>
                  <a:lnTo>
                    <a:pt x="864" y="39706"/>
                  </a:lnTo>
                  <a:lnTo>
                    <a:pt x="1175" y="39878"/>
                  </a:lnTo>
                  <a:lnTo>
                    <a:pt x="1555" y="40017"/>
                  </a:lnTo>
                  <a:lnTo>
                    <a:pt x="1935" y="40155"/>
                  </a:lnTo>
                  <a:lnTo>
                    <a:pt x="2350" y="40224"/>
                  </a:lnTo>
                  <a:lnTo>
                    <a:pt x="2799" y="40328"/>
                  </a:lnTo>
                  <a:lnTo>
                    <a:pt x="3698" y="40431"/>
                  </a:lnTo>
                  <a:lnTo>
                    <a:pt x="4631" y="40466"/>
                  </a:lnTo>
                  <a:lnTo>
                    <a:pt x="5633" y="40466"/>
                  </a:lnTo>
                  <a:lnTo>
                    <a:pt x="6600" y="40466"/>
                  </a:lnTo>
                  <a:lnTo>
                    <a:pt x="6600" y="40466"/>
                  </a:lnTo>
                  <a:lnTo>
                    <a:pt x="7983" y="40466"/>
                  </a:lnTo>
                  <a:lnTo>
                    <a:pt x="8639" y="40466"/>
                  </a:lnTo>
                  <a:lnTo>
                    <a:pt x="9261" y="40500"/>
                  </a:lnTo>
                  <a:lnTo>
                    <a:pt x="9849" y="40569"/>
                  </a:lnTo>
                  <a:lnTo>
                    <a:pt x="10367" y="40673"/>
                  </a:lnTo>
                  <a:lnTo>
                    <a:pt x="10851" y="40811"/>
                  </a:lnTo>
                  <a:lnTo>
                    <a:pt x="11300" y="40984"/>
                  </a:lnTo>
                  <a:lnTo>
                    <a:pt x="11300" y="40984"/>
                  </a:lnTo>
                  <a:lnTo>
                    <a:pt x="11646" y="41157"/>
                  </a:lnTo>
                  <a:lnTo>
                    <a:pt x="12095" y="41330"/>
                  </a:lnTo>
                  <a:lnTo>
                    <a:pt x="12613" y="41502"/>
                  </a:lnTo>
                  <a:lnTo>
                    <a:pt x="13235" y="41675"/>
                  </a:lnTo>
                  <a:lnTo>
                    <a:pt x="13235" y="41675"/>
                  </a:lnTo>
                  <a:lnTo>
                    <a:pt x="14479" y="41986"/>
                  </a:lnTo>
                  <a:lnTo>
                    <a:pt x="15861" y="42297"/>
                  </a:lnTo>
                  <a:lnTo>
                    <a:pt x="17313" y="42539"/>
                  </a:lnTo>
                  <a:lnTo>
                    <a:pt x="18764" y="42746"/>
                  </a:lnTo>
                  <a:lnTo>
                    <a:pt x="20216" y="42885"/>
                  </a:lnTo>
                  <a:lnTo>
                    <a:pt x="20872" y="42919"/>
                  </a:lnTo>
                  <a:lnTo>
                    <a:pt x="21529" y="42919"/>
                  </a:lnTo>
                  <a:lnTo>
                    <a:pt x="22151" y="42919"/>
                  </a:lnTo>
                  <a:lnTo>
                    <a:pt x="22704" y="42885"/>
                  </a:lnTo>
                  <a:lnTo>
                    <a:pt x="23187" y="42850"/>
                  </a:lnTo>
                  <a:lnTo>
                    <a:pt x="23637" y="42746"/>
                  </a:lnTo>
                  <a:lnTo>
                    <a:pt x="23637" y="42746"/>
                  </a:lnTo>
                  <a:lnTo>
                    <a:pt x="24155" y="42574"/>
                  </a:lnTo>
                  <a:lnTo>
                    <a:pt x="24673" y="42401"/>
                  </a:lnTo>
                  <a:lnTo>
                    <a:pt x="25745" y="41952"/>
                  </a:lnTo>
                  <a:lnTo>
                    <a:pt x="26332" y="41710"/>
                  </a:lnTo>
                  <a:lnTo>
                    <a:pt x="26920" y="41502"/>
                  </a:lnTo>
                  <a:lnTo>
                    <a:pt x="27542" y="41330"/>
                  </a:lnTo>
                  <a:lnTo>
                    <a:pt x="28233" y="41157"/>
                  </a:lnTo>
                  <a:lnTo>
                    <a:pt x="28924" y="41088"/>
                  </a:lnTo>
                  <a:lnTo>
                    <a:pt x="29684" y="41053"/>
                  </a:lnTo>
                  <a:lnTo>
                    <a:pt x="30513" y="41088"/>
                  </a:lnTo>
                  <a:lnTo>
                    <a:pt x="30963" y="41122"/>
                  </a:lnTo>
                  <a:lnTo>
                    <a:pt x="31412" y="41191"/>
                  </a:lnTo>
                  <a:lnTo>
                    <a:pt x="31861" y="41295"/>
                  </a:lnTo>
                  <a:lnTo>
                    <a:pt x="32345" y="41433"/>
                  </a:lnTo>
                  <a:lnTo>
                    <a:pt x="32863" y="41572"/>
                  </a:lnTo>
                  <a:lnTo>
                    <a:pt x="33382" y="41779"/>
                  </a:lnTo>
                  <a:lnTo>
                    <a:pt x="33934" y="41986"/>
                  </a:lnTo>
                  <a:lnTo>
                    <a:pt x="34487" y="42228"/>
                  </a:lnTo>
                  <a:lnTo>
                    <a:pt x="35075" y="42505"/>
                  </a:lnTo>
                  <a:lnTo>
                    <a:pt x="35697" y="42816"/>
                  </a:lnTo>
                  <a:lnTo>
                    <a:pt x="35697" y="42816"/>
                  </a:lnTo>
                  <a:lnTo>
                    <a:pt x="35835" y="42194"/>
                  </a:lnTo>
                  <a:lnTo>
                    <a:pt x="35939" y="41468"/>
                  </a:lnTo>
                  <a:lnTo>
                    <a:pt x="36008" y="40639"/>
                  </a:lnTo>
                  <a:lnTo>
                    <a:pt x="36042" y="39671"/>
                  </a:lnTo>
                  <a:lnTo>
                    <a:pt x="36077" y="38634"/>
                  </a:lnTo>
                  <a:lnTo>
                    <a:pt x="36042" y="37528"/>
                  </a:lnTo>
                  <a:lnTo>
                    <a:pt x="36008" y="36319"/>
                  </a:lnTo>
                  <a:lnTo>
                    <a:pt x="35939" y="35075"/>
                  </a:lnTo>
                  <a:lnTo>
                    <a:pt x="35766" y="32380"/>
                  </a:lnTo>
                  <a:lnTo>
                    <a:pt x="35455" y="29477"/>
                  </a:lnTo>
                  <a:lnTo>
                    <a:pt x="35109" y="26470"/>
                  </a:lnTo>
                  <a:lnTo>
                    <a:pt x="34695" y="23360"/>
                  </a:lnTo>
                  <a:lnTo>
                    <a:pt x="34211" y="20250"/>
                  </a:lnTo>
                  <a:lnTo>
                    <a:pt x="33693" y="17209"/>
                  </a:lnTo>
                  <a:lnTo>
                    <a:pt x="33140" y="14272"/>
                  </a:lnTo>
                  <a:lnTo>
                    <a:pt x="32552" y="11507"/>
                  </a:lnTo>
                  <a:lnTo>
                    <a:pt x="31965" y="8950"/>
                  </a:lnTo>
                  <a:lnTo>
                    <a:pt x="31377" y="6670"/>
                  </a:lnTo>
                  <a:lnTo>
                    <a:pt x="31101" y="5667"/>
                  </a:lnTo>
                  <a:lnTo>
                    <a:pt x="30790" y="4734"/>
                  </a:lnTo>
                  <a:lnTo>
                    <a:pt x="30513" y="3905"/>
                  </a:lnTo>
                  <a:lnTo>
                    <a:pt x="30237" y="3214"/>
                  </a:lnTo>
                  <a:lnTo>
                    <a:pt x="30237" y="3214"/>
                  </a:lnTo>
                  <a:lnTo>
                    <a:pt x="30237" y="3214"/>
                  </a:lnTo>
                  <a:lnTo>
                    <a:pt x="29995" y="2696"/>
                  </a:lnTo>
                  <a:lnTo>
                    <a:pt x="29753" y="2246"/>
                  </a:lnTo>
                  <a:lnTo>
                    <a:pt x="29753" y="2246"/>
                  </a:lnTo>
                  <a:lnTo>
                    <a:pt x="29442" y="2074"/>
                  </a:lnTo>
                  <a:lnTo>
                    <a:pt x="28509" y="1624"/>
                  </a:lnTo>
                  <a:lnTo>
                    <a:pt x="27853" y="1348"/>
                  </a:lnTo>
                  <a:lnTo>
                    <a:pt x="27092" y="1071"/>
                  </a:lnTo>
                  <a:lnTo>
                    <a:pt x="26228" y="760"/>
                  </a:lnTo>
                  <a:lnTo>
                    <a:pt x="25295" y="519"/>
                  </a:lnTo>
                  <a:lnTo>
                    <a:pt x="24259" y="277"/>
                  </a:lnTo>
                  <a:lnTo>
                    <a:pt x="23187" y="104"/>
                  </a:lnTo>
                  <a:lnTo>
                    <a:pt x="22600" y="35"/>
                  </a:lnTo>
                  <a:lnTo>
                    <a:pt x="22047" y="0"/>
                  </a:lnTo>
                  <a:lnTo>
                    <a:pt x="21460" y="0"/>
                  </a:lnTo>
                  <a:lnTo>
                    <a:pt x="20872" y="0"/>
                  </a:lnTo>
                  <a:lnTo>
                    <a:pt x="20250" y="35"/>
                  </a:lnTo>
                  <a:lnTo>
                    <a:pt x="19663" y="104"/>
                  </a:lnTo>
                  <a:lnTo>
                    <a:pt x="19041" y="173"/>
                  </a:lnTo>
                  <a:lnTo>
                    <a:pt x="18453" y="311"/>
                  </a:lnTo>
                  <a:lnTo>
                    <a:pt x="17831" y="484"/>
                  </a:lnTo>
                  <a:lnTo>
                    <a:pt x="17244" y="691"/>
                  </a:lnTo>
                  <a:lnTo>
                    <a:pt x="16622" y="933"/>
                  </a:lnTo>
                  <a:lnTo>
                    <a:pt x="16034" y="1210"/>
                  </a:lnTo>
                  <a:lnTo>
                    <a:pt x="16034" y="1210"/>
                  </a:lnTo>
                  <a:lnTo>
                    <a:pt x="15239" y="1659"/>
                  </a:lnTo>
                  <a:lnTo>
                    <a:pt x="14445" y="2212"/>
                  </a:lnTo>
                  <a:lnTo>
                    <a:pt x="14065" y="2488"/>
                  </a:lnTo>
                  <a:lnTo>
                    <a:pt x="13684" y="2834"/>
                  </a:lnTo>
                  <a:lnTo>
                    <a:pt x="13304" y="3179"/>
                  </a:lnTo>
                  <a:lnTo>
                    <a:pt x="12924" y="3560"/>
                  </a:lnTo>
                  <a:lnTo>
                    <a:pt x="12924" y="3560"/>
                  </a:lnTo>
                  <a:lnTo>
                    <a:pt x="12890" y="3629"/>
                  </a:lnTo>
                  <a:lnTo>
                    <a:pt x="12890" y="3629"/>
                  </a:lnTo>
                  <a:lnTo>
                    <a:pt x="12302" y="4596"/>
                  </a:lnTo>
                  <a:lnTo>
                    <a:pt x="11784" y="5598"/>
                  </a:lnTo>
                  <a:lnTo>
                    <a:pt x="11335" y="6600"/>
                  </a:lnTo>
                  <a:lnTo>
                    <a:pt x="10920" y="7568"/>
                  </a:lnTo>
                  <a:lnTo>
                    <a:pt x="10574" y="8570"/>
                  </a:lnTo>
                  <a:lnTo>
                    <a:pt x="10263" y="9607"/>
                  </a:lnTo>
                  <a:lnTo>
                    <a:pt x="9987" y="10609"/>
                  </a:lnTo>
                  <a:lnTo>
                    <a:pt x="9710" y="11611"/>
                  </a:lnTo>
                  <a:lnTo>
                    <a:pt x="9503" y="12648"/>
                  </a:lnTo>
                  <a:lnTo>
                    <a:pt x="9330" y="13685"/>
                  </a:lnTo>
                  <a:lnTo>
                    <a:pt x="8950" y="15758"/>
                  </a:lnTo>
                  <a:lnTo>
                    <a:pt x="8639" y="17900"/>
                  </a:lnTo>
                  <a:lnTo>
                    <a:pt x="8294" y="20043"/>
                  </a:lnTo>
                  <a:lnTo>
                    <a:pt x="7914" y="22220"/>
                  </a:lnTo>
                  <a:lnTo>
                    <a:pt x="7672" y="23360"/>
                  </a:lnTo>
                  <a:lnTo>
                    <a:pt x="7430" y="24466"/>
                  </a:lnTo>
                  <a:lnTo>
                    <a:pt x="7119" y="25607"/>
                  </a:lnTo>
                  <a:lnTo>
                    <a:pt x="6773" y="26747"/>
                  </a:lnTo>
                  <a:lnTo>
                    <a:pt x="6393" y="27922"/>
                  </a:lnTo>
                  <a:lnTo>
                    <a:pt x="5944" y="29097"/>
                  </a:lnTo>
                  <a:lnTo>
                    <a:pt x="5460" y="30272"/>
                  </a:lnTo>
                  <a:lnTo>
                    <a:pt x="4907" y="31481"/>
                  </a:lnTo>
                  <a:lnTo>
                    <a:pt x="4285" y="32691"/>
                  </a:lnTo>
                  <a:lnTo>
                    <a:pt x="3594" y="33935"/>
                  </a:lnTo>
                  <a:lnTo>
                    <a:pt x="2834" y="35179"/>
                  </a:lnTo>
                  <a:lnTo>
                    <a:pt x="1970" y="36423"/>
                  </a:lnTo>
                  <a:lnTo>
                    <a:pt x="1037" y="37701"/>
                  </a:lnTo>
                  <a:lnTo>
                    <a:pt x="0" y="39014"/>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35" name="Google Shape;2464;p11">
              <a:extLst>
                <a:ext uri="{FF2B5EF4-FFF2-40B4-BE49-F238E27FC236}">
                  <a16:creationId xmlns:a16="http://schemas.microsoft.com/office/drawing/2014/main" id="{D4906043-0E50-8CF3-F703-5BC1D8CBEB9F}"/>
                </a:ext>
              </a:extLst>
            </p:cNvPr>
            <p:cNvSpPr/>
            <p:nvPr/>
          </p:nvSpPr>
          <p:spPr>
            <a:xfrm>
              <a:off x="1082625" y="2352100"/>
              <a:ext cx="861350" cy="951200"/>
            </a:xfrm>
            <a:custGeom>
              <a:avLst/>
              <a:gdLst/>
              <a:ahLst/>
              <a:cxnLst/>
              <a:rect l="l" t="t" r="r" b="b"/>
              <a:pathLst>
                <a:path w="34454" h="38048" extrusionOk="0">
                  <a:moveTo>
                    <a:pt x="31620" y="1"/>
                  </a:moveTo>
                  <a:lnTo>
                    <a:pt x="31412" y="35"/>
                  </a:lnTo>
                  <a:lnTo>
                    <a:pt x="31309" y="35"/>
                  </a:lnTo>
                  <a:lnTo>
                    <a:pt x="31205" y="104"/>
                  </a:lnTo>
                  <a:lnTo>
                    <a:pt x="31136" y="173"/>
                  </a:lnTo>
                  <a:lnTo>
                    <a:pt x="31101" y="242"/>
                  </a:lnTo>
                  <a:lnTo>
                    <a:pt x="30721" y="934"/>
                  </a:lnTo>
                  <a:lnTo>
                    <a:pt x="29961" y="2247"/>
                  </a:lnTo>
                  <a:lnTo>
                    <a:pt x="28959" y="3940"/>
                  </a:lnTo>
                  <a:lnTo>
                    <a:pt x="27749" y="5806"/>
                  </a:lnTo>
                  <a:lnTo>
                    <a:pt x="27093" y="6774"/>
                  </a:lnTo>
                  <a:lnTo>
                    <a:pt x="26471" y="7707"/>
                  </a:lnTo>
                  <a:lnTo>
                    <a:pt x="25849" y="8570"/>
                  </a:lnTo>
                  <a:lnTo>
                    <a:pt x="25227" y="9365"/>
                  </a:lnTo>
                  <a:lnTo>
                    <a:pt x="24639" y="10056"/>
                  </a:lnTo>
                  <a:lnTo>
                    <a:pt x="24086" y="10644"/>
                  </a:lnTo>
                  <a:lnTo>
                    <a:pt x="23810" y="10851"/>
                  </a:lnTo>
                  <a:lnTo>
                    <a:pt x="23568" y="11059"/>
                  </a:lnTo>
                  <a:lnTo>
                    <a:pt x="23361" y="11197"/>
                  </a:lnTo>
                  <a:lnTo>
                    <a:pt x="23153" y="11300"/>
                  </a:lnTo>
                  <a:lnTo>
                    <a:pt x="22773" y="11370"/>
                  </a:lnTo>
                  <a:lnTo>
                    <a:pt x="22255" y="11439"/>
                  </a:lnTo>
                  <a:lnTo>
                    <a:pt x="21633" y="11439"/>
                  </a:lnTo>
                  <a:lnTo>
                    <a:pt x="20942" y="11404"/>
                  </a:lnTo>
                  <a:lnTo>
                    <a:pt x="20216" y="11335"/>
                  </a:lnTo>
                  <a:lnTo>
                    <a:pt x="19387" y="11231"/>
                  </a:lnTo>
                  <a:lnTo>
                    <a:pt x="18523" y="11093"/>
                  </a:lnTo>
                  <a:lnTo>
                    <a:pt x="17624" y="10920"/>
                  </a:lnTo>
                  <a:lnTo>
                    <a:pt x="16726" y="10748"/>
                  </a:lnTo>
                  <a:lnTo>
                    <a:pt x="15827" y="10540"/>
                  </a:lnTo>
                  <a:lnTo>
                    <a:pt x="14929" y="10298"/>
                  </a:lnTo>
                  <a:lnTo>
                    <a:pt x="14065" y="10022"/>
                  </a:lnTo>
                  <a:lnTo>
                    <a:pt x="13236" y="9780"/>
                  </a:lnTo>
                  <a:lnTo>
                    <a:pt x="12441" y="9504"/>
                  </a:lnTo>
                  <a:lnTo>
                    <a:pt x="11750" y="9193"/>
                  </a:lnTo>
                  <a:lnTo>
                    <a:pt x="11093" y="8916"/>
                  </a:lnTo>
                  <a:lnTo>
                    <a:pt x="10609" y="8847"/>
                  </a:lnTo>
                  <a:lnTo>
                    <a:pt x="9434" y="8709"/>
                  </a:lnTo>
                  <a:lnTo>
                    <a:pt x="8709" y="8640"/>
                  </a:lnTo>
                  <a:lnTo>
                    <a:pt x="7983" y="8570"/>
                  </a:lnTo>
                  <a:lnTo>
                    <a:pt x="6704" y="8570"/>
                  </a:lnTo>
                  <a:lnTo>
                    <a:pt x="6393" y="8640"/>
                  </a:lnTo>
                  <a:lnTo>
                    <a:pt x="6048" y="8743"/>
                  </a:lnTo>
                  <a:lnTo>
                    <a:pt x="5668" y="8916"/>
                  </a:lnTo>
                  <a:lnTo>
                    <a:pt x="5253" y="9123"/>
                  </a:lnTo>
                  <a:lnTo>
                    <a:pt x="4355" y="9676"/>
                  </a:lnTo>
                  <a:lnTo>
                    <a:pt x="3387" y="10298"/>
                  </a:lnTo>
                  <a:lnTo>
                    <a:pt x="2489" y="10989"/>
                  </a:lnTo>
                  <a:lnTo>
                    <a:pt x="1625" y="11715"/>
                  </a:lnTo>
                  <a:lnTo>
                    <a:pt x="934" y="12337"/>
                  </a:lnTo>
                  <a:lnTo>
                    <a:pt x="657" y="12648"/>
                  </a:lnTo>
                  <a:lnTo>
                    <a:pt x="415" y="12890"/>
                  </a:lnTo>
                  <a:lnTo>
                    <a:pt x="346" y="13063"/>
                  </a:lnTo>
                  <a:lnTo>
                    <a:pt x="242" y="13236"/>
                  </a:lnTo>
                  <a:lnTo>
                    <a:pt x="104" y="13616"/>
                  </a:lnTo>
                  <a:lnTo>
                    <a:pt x="35" y="14134"/>
                  </a:lnTo>
                  <a:lnTo>
                    <a:pt x="1" y="14687"/>
                  </a:lnTo>
                  <a:lnTo>
                    <a:pt x="1" y="15344"/>
                  </a:lnTo>
                  <a:lnTo>
                    <a:pt x="35" y="16035"/>
                  </a:lnTo>
                  <a:lnTo>
                    <a:pt x="139" y="16795"/>
                  </a:lnTo>
                  <a:lnTo>
                    <a:pt x="242" y="17590"/>
                  </a:lnTo>
                  <a:lnTo>
                    <a:pt x="381" y="18419"/>
                  </a:lnTo>
                  <a:lnTo>
                    <a:pt x="553" y="19283"/>
                  </a:lnTo>
                  <a:lnTo>
                    <a:pt x="968" y="21045"/>
                  </a:lnTo>
                  <a:lnTo>
                    <a:pt x="1452" y="22877"/>
                  </a:lnTo>
                  <a:lnTo>
                    <a:pt x="1936" y="24639"/>
                  </a:lnTo>
                  <a:lnTo>
                    <a:pt x="2005" y="24777"/>
                  </a:lnTo>
                  <a:lnTo>
                    <a:pt x="2108" y="24916"/>
                  </a:lnTo>
                  <a:lnTo>
                    <a:pt x="2350" y="25192"/>
                  </a:lnTo>
                  <a:lnTo>
                    <a:pt x="2730" y="25503"/>
                  </a:lnTo>
                  <a:lnTo>
                    <a:pt x="3214" y="25814"/>
                  </a:lnTo>
                  <a:lnTo>
                    <a:pt x="3663" y="26078"/>
                  </a:lnTo>
                  <a:lnTo>
                    <a:pt x="3663" y="26078"/>
                  </a:lnTo>
                  <a:lnTo>
                    <a:pt x="3663" y="26125"/>
                  </a:lnTo>
                  <a:lnTo>
                    <a:pt x="3663" y="26816"/>
                  </a:lnTo>
                  <a:lnTo>
                    <a:pt x="3629" y="27473"/>
                  </a:lnTo>
                  <a:lnTo>
                    <a:pt x="3525" y="28682"/>
                  </a:lnTo>
                  <a:lnTo>
                    <a:pt x="3456" y="29719"/>
                  </a:lnTo>
                  <a:lnTo>
                    <a:pt x="3318" y="30756"/>
                  </a:lnTo>
                  <a:lnTo>
                    <a:pt x="3145" y="31723"/>
                  </a:lnTo>
                  <a:lnTo>
                    <a:pt x="2903" y="32691"/>
                  </a:lnTo>
                  <a:lnTo>
                    <a:pt x="2627" y="33624"/>
                  </a:lnTo>
                  <a:lnTo>
                    <a:pt x="2281" y="34488"/>
                  </a:lnTo>
                  <a:lnTo>
                    <a:pt x="1936" y="35283"/>
                  </a:lnTo>
                  <a:lnTo>
                    <a:pt x="1486" y="36043"/>
                  </a:lnTo>
                  <a:lnTo>
                    <a:pt x="1037" y="36769"/>
                  </a:lnTo>
                  <a:lnTo>
                    <a:pt x="1003" y="36838"/>
                  </a:lnTo>
                  <a:lnTo>
                    <a:pt x="968" y="36976"/>
                  </a:lnTo>
                  <a:lnTo>
                    <a:pt x="968" y="37114"/>
                  </a:lnTo>
                  <a:lnTo>
                    <a:pt x="1072" y="37218"/>
                  </a:lnTo>
                  <a:lnTo>
                    <a:pt x="1210" y="37356"/>
                  </a:lnTo>
                  <a:lnTo>
                    <a:pt x="1417" y="37460"/>
                  </a:lnTo>
                  <a:lnTo>
                    <a:pt x="1659" y="37563"/>
                  </a:lnTo>
                  <a:lnTo>
                    <a:pt x="2316" y="37702"/>
                  </a:lnTo>
                  <a:lnTo>
                    <a:pt x="3145" y="37840"/>
                  </a:lnTo>
                  <a:lnTo>
                    <a:pt x="4113" y="37943"/>
                  </a:lnTo>
                  <a:lnTo>
                    <a:pt x="5219" y="38013"/>
                  </a:lnTo>
                  <a:lnTo>
                    <a:pt x="6393" y="38047"/>
                  </a:lnTo>
                  <a:lnTo>
                    <a:pt x="8259" y="38013"/>
                  </a:lnTo>
                  <a:lnTo>
                    <a:pt x="10160" y="37978"/>
                  </a:lnTo>
                  <a:lnTo>
                    <a:pt x="12061" y="37874"/>
                  </a:lnTo>
                  <a:lnTo>
                    <a:pt x="13858" y="37702"/>
                  </a:lnTo>
                  <a:lnTo>
                    <a:pt x="15447" y="37529"/>
                  </a:lnTo>
                  <a:lnTo>
                    <a:pt x="16760" y="37321"/>
                  </a:lnTo>
                  <a:lnTo>
                    <a:pt x="17279" y="37183"/>
                  </a:lnTo>
                  <a:lnTo>
                    <a:pt x="17693" y="37080"/>
                  </a:lnTo>
                  <a:lnTo>
                    <a:pt x="18004" y="36941"/>
                  </a:lnTo>
                  <a:lnTo>
                    <a:pt x="18177" y="36803"/>
                  </a:lnTo>
                  <a:lnTo>
                    <a:pt x="18281" y="36630"/>
                  </a:lnTo>
                  <a:lnTo>
                    <a:pt x="18350" y="36423"/>
                  </a:lnTo>
                  <a:lnTo>
                    <a:pt x="18350" y="36181"/>
                  </a:lnTo>
                  <a:lnTo>
                    <a:pt x="18350" y="35939"/>
                  </a:lnTo>
                  <a:lnTo>
                    <a:pt x="18281" y="35352"/>
                  </a:lnTo>
                  <a:lnTo>
                    <a:pt x="18143" y="34626"/>
                  </a:lnTo>
                  <a:lnTo>
                    <a:pt x="17970" y="33831"/>
                  </a:lnTo>
                  <a:lnTo>
                    <a:pt x="17728" y="32967"/>
                  </a:lnTo>
                  <a:lnTo>
                    <a:pt x="17451" y="32069"/>
                  </a:lnTo>
                  <a:lnTo>
                    <a:pt x="17172" y="31216"/>
                  </a:lnTo>
                  <a:lnTo>
                    <a:pt x="17172" y="31216"/>
                  </a:lnTo>
                  <a:lnTo>
                    <a:pt x="18626" y="31689"/>
                  </a:lnTo>
                  <a:lnTo>
                    <a:pt x="22462" y="32898"/>
                  </a:lnTo>
                  <a:lnTo>
                    <a:pt x="25227" y="33762"/>
                  </a:lnTo>
                  <a:lnTo>
                    <a:pt x="26056" y="34039"/>
                  </a:lnTo>
                  <a:lnTo>
                    <a:pt x="26402" y="34211"/>
                  </a:lnTo>
                  <a:lnTo>
                    <a:pt x="26436" y="34211"/>
                  </a:lnTo>
                  <a:lnTo>
                    <a:pt x="26471" y="34177"/>
                  </a:lnTo>
                  <a:lnTo>
                    <a:pt x="26540" y="34073"/>
                  </a:lnTo>
                  <a:lnTo>
                    <a:pt x="26678" y="33624"/>
                  </a:lnTo>
                  <a:lnTo>
                    <a:pt x="26851" y="32967"/>
                  </a:lnTo>
                  <a:lnTo>
                    <a:pt x="27058" y="32173"/>
                  </a:lnTo>
                  <a:lnTo>
                    <a:pt x="27196" y="31378"/>
                  </a:lnTo>
                  <a:lnTo>
                    <a:pt x="27300" y="30617"/>
                  </a:lnTo>
                  <a:lnTo>
                    <a:pt x="27300" y="30306"/>
                  </a:lnTo>
                  <a:lnTo>
                    <a:pt x="27300" y="30065"/>
                  </a:lnTo>
                  <a:lnTo>
                    <a:pt x="27265" y="29857"/>
                  </a:lnTo>
                  <a:lnTo>
                    <a:pt x="27231" y="29719"/>
                  </a:lnTo>
                  <a:lnTo>
                    <a:pt x="27093" y="29650"/>
                  </a:lnTo>
                  <a:lnTo>
                    <a:pt x="26851" y="29546"/>
                  </a:lnTo>
                  <a:lnTo>
                    <a:pt x="26160" y="29304"/>
                  </a:lnTo>
                  <a:lnTo>
                    <a:pt x="25227" y="29028"/>
                  </a:lnTo>
                  <a:lnTo>
                    <a:pt x="24155" y="28751"/>
                  </a:lnTo>
                  <a:lnTo>
                    <a:pt x="22151" y="28268"/>
                  </a:lnTo>
                  <a:lnTo>
                    <a:pt x="20976" y="27991"/>
                  </a:lnTo>
                  <a:lnTo>
                    <a:pt x="20112" y="27715"/>
                  </a:lnTo>
                  <a:lnTo>
                    <a:pt x="18937" y="27369"/>
                  </a:lnTo>
                  <a:lnTo>
                    <a:pt x="16035" y="26505"/>
                  </a:lnTo>
                  <a:lnTo>
                    <a:pt x="15566" y="26349"/>
                  </a:lnTo>
                  <a:lnTo>
                    <a:pt x="15566" y="26349"/>
                  </a:lnTo>
                  <a:lnTo>
                    <a:pt x="15447" y="25952"/>
                  </a:lnTo>
                  <a:lnTo>
                    <a:pt x="15274" y="25330"/>
                  </a:lnTo>
                  <a:lnTo>
                    <a:pt x="15171" y="24847"/>
                  </a:lnTo>
                  <a:lnTo>
                    <a:pt x="15136" y="24501"/>
                  </a:lnTo>
                  <a:lnTo>
                    <a:pt x="15171" y="24225"/>
                  </a:lnTo>
                  <a:lnTo>
                    <a:pt x="15274" y="23948"/>
                  </a:lnTo>
                  <a:lnTo>
                    <a:pt x="15447" y="23706"/>
                  </a:lnTo>
                  <a:lnTo>
                    <a:pt x="15620" y="23464"/>
                  </a:lnTo>
                  <a:lnTo>
                    <a:pt x="15862" y="23257"/>
                  </a:lnTo>
                  <a:lnTo>
                    <a:pt x="16104" y="23015"/>
                  </a:lnTo>
                  <a:lnTo>
                    <a:pt x="16657" y="22635"/>
                  </a:lnTo>
                  <a:lnTo>
                    <a:pt x="17210" y="22255"/>
                  </a:lnTo>
                  <a:lnTo>
                    <a:pt x="17728" y="21840"/>
                  </a:lnTo>
                  <a:lnTo>
                    <a:pt x="17935" y="21667"/>
                  </a:lnTo>
                  <a:lnTo>
                    <a:pt x="18108" y="21460"/>
                  </a:lnTo>
                  <a:lnTo>
                    <a:pt x="18212" y="21253"/>
                  </a:lnTo>
                  <a:lnTo>
                    <a:pt x="18315" y="21011"/>
                  </a:lnTo>
                  <a:lnTo>
                    <a:pt x="18315" y="20769"/>
                  </a:lnTo>
                  <a:lnTo>
                    <a:pt x="18246" y="20492"/>
                  </a:lnTo>
                  <a:lnTo>
                    <a:pt x="18143" y="20147"/>
                  </a:lnTo>
                  <a:lnTo>
                    <a:pt x="17970" y="19801"/>
                  </a:lnTo>
                  <a:lnTo>
                    <a:pt x="17521" y="19041"/>
                  </a:lnTo>
                  <a:lnTo>
                    <a:pt x="17037" y="18281"/>
                  </a:lnTo>
                  <a:lnTo>
                    <a:pt x="16173" y="17071"/>
                  </a:lnTo>
                  <a:lnTo>
                    <a:pt x="15966" y="16760"/>
                  </a:lnTo>
                  <a:lnTo>
                    <a:pt x="15966" y="16691"/>
                  </a:lnTo>
                  <a:lnTo>
                    <a:pt x="16035" y="16726"/>
                  </a:lnTo>
                  <a:lnTo>
                    <a:pt x="16242" y="16795"/>
                  </a:lnTo>
                  <a:lnTo>
                    <a:pt x="16484" y="16864"/>
                  </a:lnTo>
                  <a:lnTo>
                    <a:pt x="16726" y="16933"/>
                  </a:lnTo>
                  <a:lnTo>
                    <a:pt x="17037" y="16968"/>
                  </a:lnTo>
                  <a:lnTo>
                    <a:pt x="17659" y="17002"/>
                  </a:lnTo>
                  <a:lnTo>
                    <a:pt x="18385" y="16968"/>
                  </a:lnTo>
                  <a:lnTo>
                    <a:pt x="19145" y="16864"/>
                  </a:lnTo>
                  <a:lnTo>
                    <a:pt x="19974" y="16726"/>
                  </a:lnTo>
                  <a:lnTo>
                    <a:pt x="20838" y="16553"/>
                  </a:lnTo>
                  <a:lnTo>
                    <a:pt x="21702" y="16346"/>
                  </a:lnTo>
                  <a:lnTo>
                    <a:pt x="22566" y="16104"/>
                  </a:lnTo>
                  <a:lnTo>
                    <a:pt x="23430" y="15827"/>
                  </a:lnTo>
                  <a:lnTo>
                    <a:pt x="24225" y="15551"/>
                  </a:lnTo>
                  <a:lnTo>
                    <a:pt x="24985" y="15274"/>
                  </a:lnTo>
                  <a:lnTo>
                    <a:pt x="25641" y="14963"/>
                  </a:lnTo>
                  <a:lnTo>
                    <a:pt x="26229" y="14687"/>
                  </a:lnTo>
                  <a:lnTo>
                    <a:pt x="26713" y="14411"/>
                  </a:lnTo>
                  <a:lnTo>
                    <a:pt x="27058" y="14134"/>
                  </a:lnTo>
                  <a:lnTo>
                    <a:pt x="27404" y="13789"/>
                  </a:lnTo>
                  <a:lnTo>
                    <a:pt x="27818" y="13270"/>
                  </a:lnTo>
                  <a:lnTo>
                    <a:pt x="28302" y="12614"/>
                  </a:lnTo>
                  <a:lnTo>
                    <a:pt x="28855" y="11819"/>
                  </a:lnTo>
                  <a:lnTo>
                    <a:pt x="30065" y="9953"/>
                  </a:lnTo>
                  <a:lnTo>
                    <a:pt x="31274" y="7914"/>
                  </a:lnTo>
                  <a:lnTo>
                    <a:pt x="32449" y="5944"/>
                  </a:lnTo>
                  <a:lnTo>
                    <a:pt x="33451" y="4216"/>
                  </a:lnTo>
                  <a:lnTo>
                    <a:pt x="34419" y="2454"/>
                  </a:lnTo>
                  <a:lnTo>
                    <a:pt x="34453" y="2281"/>
                  </a:lnTo>
                  <a:lnTo>
                    <a:pt x="34419" y="2108"/>
                  </a:lnTo>
                  <a:lnTo>
                    <a:pt x="34280" y="1867"/>
                  </a:lnTo>
                  <a:lnTo>
                    <a:pt x="34108" y="1659"/>
                  </a:lnTo>
                  <a:lnTo>
                    <a:pt x="33900" y="1417"/>
                  </a:lnTo>
                  <a:lnTo>
                    <a:pt x="33658" y="1175"/>
                  </a:lnTo>
                  <a:lnTo>
                    <a:pt x="33382" y="934"/>
                  </a:lnTo>
                  <a:lnTo>
                    <a:pt x="33071" y="692"/>
                  </a:lnTo>
                  <a:lnTo>
                    <a:pt x="32760" y="484"/>
                  </a:lnTo>
                  <a:lnTo>
                    <a:pt x="32449" y="312"/>
                  </a:lnTo>
                  <a:lnTo>
                    <a:pt x="32173" y="173"/>
                  </a:lnTo>
                  <a:lnTo>
                    <a:pt x="31861" y="70"/>
                  </a:lnTo>
                  <a:lnTo>
                    <a:pt x="31620" y="1"/>
                  </a:lnTo>
                  <a:close/>
                </a:path>
              </a:pathLst>
            </a:custGeom>
            <a:solidFill>
              <a:srgbClr val="FFB6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36" name="Google Shape;2465;p11">
              <a:extLst>
                <a:ext uri="{FF2B5EF4-FFF2-40B4-BE49-F238E27FC236}">
                  <a16:creationId xmlns:a16="http://schemas.microsoft.com/office/drawing/2014/main" id="{3D2C8729-5347-1AD5-3E45-45E179605076}"/>
                </a:ext>
              </a:extLst>
            </p:cNvPr>
            <p:cNvSpPr/>
            <p:nvPr/>
          </p:nvSpPr>
          <p:spPr>
            <a:xfrm>
              <a:off x="1082625" y="2352100"/>
              <a:ext cx="861350" cy="951200"/>
            </a:xfrm>
            <a:custGeom>
              <a:avLst/>
              <a:gdLst/>
              <a:ahLst/>
              <a:cxnLst/>
              <a:rect l="l" t="t" r="r" b="b"/>
              <a:pathLst>
                <a:path w="34454" h="38048" fill="none" extrusionOk="0">
                  <a:moveTo>
                    <a:pt x="26402" y="34211"/>
                  </a:moveTo>
                  <a:lnTo>
                    <a:pt x="26402" y="34211"/>
                  </a:lnTo>
                  <a:lnTo>
                    <a:pt x="26436" y="34211"/>
                  </a:lnTo>
                  <a:lnTo>
                    <a:pt x="26471" y="34177"/>
                  </a:lnTo>
                  <a:lnTo>
                    <a:pt x="26540" y="34073"/>
                  </a:lnTo>
                  <a:lnTo>
                    <a:pt x="26678" y="33624"/>
                  </a:lnTo>
                  <a:lnTo>
                    <a:pt x="26851" y="32967"/>
                  </a:lnTo>
                  <a:lnTo>
                    <a:pt x="27058" y="32173"/>
                  </a:lnTo>
                  <a:lnTo>
                    <a:pt x="27196" y="31378"/>
                  </a:lnTo>
                  <a:lnTo>
                    <a:pt x="27300" y="30617"/>
                  </a:lnTo>
                  <a:lnTo>
                    <a:pt x="27300" y="30306"/>
                  </a:lnTo>
                  <a:lnTo>
                    <a:pt x="27300" y="30065"/>
                  </a:lnTo>
                  <a:lnTo>
                    <a:pt x="27265" y="29857"/>
                  </a:lnTo>
                  <a:lnTo>
                    <a:pt x="27231" y="29719"/>
                  </a:lnTo>
                  <a:lnTo>
                    <a:pt x="27231" y="29719"/>
                  </a:lnTo>
                  <a:lnTo>
                    <a:pt x="27093" y="29650"/>
                  </a:lnTo>
                  <a:lnTo>
                    <a:pt x="26851" y="29546"/>
                  </a:lnTo>
                  <a:lnTo>
                    <a:pt x="26160" y="29304"/>
                  </a:lnTo>
                  <a:lnTo>
                    <a:pt x="25227" y="29028"/>
                  </a:lnTo>
                  <a:lnTo>
                    <a:pt x="24155" y="28751"/>
                  </a:lnTo>
                  <a:lnTo>
                    <a:pt x="22151" y="28268"/>
                  </a:lnTo>
                  <a:lnTo>
                    <a:pt x="20976" y="27991"/>
                  </a:lnTo>
                  <a:lnTo>
                    <a:pt x="20976" y="27991"/>
                  </a:lnTo>
                  <a:lnTo>
                    <a:pt x="20112" y="27715"/>
                  </a:lnTo>
                  <a:lnTo>
                    <a:pt x="18937" y="27369"/>
                  </a:lnTo>
                  <a:lnTo>
                    <a:pt x="16035" y="26505"/>
                  </a:lnTo>
                  <a:lnTo>
                    <a:pt x="14480" y="25987"/>
                  </a:lnTo>
                  <a:lnTo>
                    <a:pt x="12994" y="25469"/>
                  </a:lnTo>
                  <a:lnTo>
                    <a:pt x="12303" y="25192"/>
                  </a:lnTo>
                  <a:lnTo>
                    <a:pt x="11646" y="24916"/>
                  </a:lnTo>
                  <a:lnTo>
                    <a:pt x="11024" y="24605"/>
                  </a:lnTo>
                  <a:lnTo>
                    <a:pt x="10506" y="24328"/>
                  </a:lnTo>
                  <a:lnTo>
                    <a:pt x="10506" y="24328"/>
                  </a:lnTo>
                  <a:lnTo>
                    <a:pt x="9815" y="23914"/>
                  </a:lnTo>
                  <a:lnTo>
                    <a:pt x="9089" y="23533"/>
                  </a:lnTo>
                  <a:lnTo>
                    <a:pt x="7430" y="22704"/>
                  </a:lnTo>
                  <a:lnTo>
                    <a:pt x="6359" y="22151"/>
                  </a:lnTo>
                  <a:lnTo>
                    <a:pt x="5046" y="21425"/>
                  </a:lnTo>
                  <a:lnTo>
                    <a:pt x="3491" y="20527"/>
                  </a:lnTo>
                  <a:lnTo>
                    <a:pt x="1556" y="19387"/>
                  </a:lnTo>
                  <a:lnTo>
                    <a:pt x="1556" y="19387"/>
                  </a:lnTo>
                  <a:lnTo>
                    <a:pt x="1797" y="19663"/>
                  </a:lnTo>
                  <a:lnTo>
                    <a:pt x="2005" y="19940"/>
                  </a:lnTo>
                  <a:lnTo>
                    <a:pt x="2419" y="20527"/>
                  </a:lnTo>
                  <a:lnTo>
                    <a:pt x="2765" y="21184"/>
                  </a:lnTo>
                  <a:lnTo>
                    <a:pt x="3041" y="21840"/>
                  </a:lnTo>
                  <a:lnTo>
                    <a:pt x="3249" y="22531"/>
                  </a:lnTo>
                  <a:lnTo>
                    <a:pt x="3422" y="23257"/>
                  </a:lnTo>
                  <a:lnTo>
                    <a:pt x="3525" y="23983"/>
                  </a:lnTo>
                  <a:lnTo>
                    <a:pt x="3594" y="24708"/>
                  </a:lnTo>
                  <a:lnTo>
                    <a:pt x="3663" y="25399"/>
                  </a:lnTo>
                  <a:lnTo>
                    <a:pt x="3663" y="26125"/>
                  </a:lnTo>
                  <a:lnTo>
                    <a:pt x="3663" y="26816"/>
                  </a:lnTo>
                  <a:lnTo>
                    <a:pt x="3629" y="27473"/>
                  </a:lnTo>
                  <a:lnTo>
                    <a:pt x="3525" y="28682"/>
                  </a:lnTo>
                  <a:lnTo>
                    <a:pt x="3456" y="29719"/>
                  </a:lnTo>
                  <a:lnTo>
                    <a:pt x="3456" y="29719"/>
                  </a:lnTo>
                  <a:lnTo>
                    <a:pt x="3318" y="30756"/>
                  </a:lnTo>
                  <a:lnTo>
                    <a:pt x="3145" y="31723"/>
                  </a:lnTo>
                  <a:lnTo>
                    <a:pt x="2903" y="32691"/>
                  </a:lnTo>
                  <a:lnTo>
                    <a:pt x="2627" y="33624"/>
                  </a:lnTo>
                  <a:lnTo>
                    <a:pt x="2281" y="34488"/>
                  </a:lnTo>
                  <a:lnTo>
                    <a:pt x="1936" y="35283"/>
                  </a:lnTo>
                  <a:lnTo>
                    <a:pt x="1486" y="36043"/>
                  </a:lnTo>
                  <a:lnTo>
                    <a:pt x="1037" y="36769"/>
                  </a:lnTo>
                  <a:lnTo>
                    <a:pt x="1037" y="36769"/>
                  </a:lnTo>
                  <a:lnTo>
                    <a:pt x="1003" y="36838"/>
                  </a:lnTo>
                  <a:lnTo>
                    <a:pt x="1003" y="36838"/>
                  </a:lnTo>
                  <a:lnTo>
                    <a:pt x="968" y="36976"/>
                  </a:lnTo>
                  <a:lnTo>
                    <a:pt x="968" y="37114"/>
                  </a:lnTo>
                  <a:lnTo>
                    <a:pt x="1072" y="37218"/>
                  </a:lnTo>
                  <a:lnTo>
                    <a:pt x="1210" y="37356"/>
                  </a:lnTo>
                  <a:lnTo>
                    <a:pt x="1417" y="37460"/>
                  </a:lnTo>
                  <a:lnTo>
                    <a:pt x="1659" y="37563"/>
                  </a:lnTo>
                  <a:lnTo>
                    <a:pt x="2316" y="37702"/>
                  </a:lnTo>
                  <a:lnTo>
                    <a:pt x="3145" y="37840"/>
                  </a:lnTo>
                  <a:lnTo>
                    <a:pt x="4113" y="37943"/>
                  </a:lnTo>
                  <a:lnTo>
                    <a:pt x="5219" y="38013"/>
                  </a:lnTo>
                  <a:lnTo>
                    <a:pt x="6393" y="38047"/>
                  </a:lnTo>
                  <a:lnTo>
                    <a:pt x="6393" y="38047"/>
                  </a:lnTo>
                  <a:lnTo>
                    <a:pt x="8259" y="38013"/>
                  </a:lnTo>
                  <a:lnTo>
                    <a:pt x="10160" y="37978"/>
                  </a:lnTo>
                  <a:lnTo>
                    <a:pt x="12061" y="37874"/>
                  </a:lnTo>
                  <a:lnTo>
                    <a:pt x="13858" y="37702"/>
                  </a:lnTo>
                  <a:lnTo>
                    <a:pt x="15447" y="37529"/>
                  </a:lnTo>
                  <a:lnTo>
                    <a:pt x="16760" y="37321"/>
                  </a:lnTo>
                  <a:lnTo>
                    <a:pt x="17279" y="37183"/>
                  </a:lnTo>
                  <a:lnTo>
                    <a:pt x="17693" y="37080"/>
                  </a:lnTo>
                  <a:lnTo>
                    <a:pt x="18004" y="36941"/>
                  </a:lnTo>
                  <a:lnTo>
                    <a:pt x="18177" y="36803"/>
                  </a:lnTo>
                  <a:lnTo>
                    <a:pt x="18177" y="36803"/>
                  </a:lnTo>
                  <a:lnTo>
                    <a:pt x="18281" y="36630"/>
                  </a:lnTo>
                  <a:lnTo>
                    <a:pt x="18350" y="36423"/>
                  </a:lnTo>
                  <a:lnTo>
                    <a:pt x="18350" y="36423"/>
                  </a:lnTo>
                  <a:lnTo>
                    <a:pt x="18350" y="36181"/>
                  </a:lnTo>
                  <a:lnTo>
                    <a:pt x="18350" y="35939"/>
                  </a:lnTo>
                  <a:lnTo>
                    <a:pt x="18281" y="35352"/>
                  </a:lnTo>
                  <a:lnTo>
                    <a:pt x="18143" y="34626"/>
                  </a:lnTo>
                  <a:lnTo>
                    <a:pt x="17970" y="33831"/>
                  </a:lnTo>
                  <a:lnTo>
                    <a:pt x="17728" y="32967"/>
                  </a:lnTo>
                  <a:lnTo>
                    <a:pt x="17451" y="32069"/>
                  </a:lnTo>
                  <a:lnTo>
                    <a:pt x="16829" y="30168"/>
                  </a:lnTo>
                  <a:lnTo>
                    <a:pt x="16207" y="28337"/>
                  </a:lnTo>
                  <a:lnTo>
                    <a:pt x="15655" y="26643"/>
                  </a:lnTo>
                  <a:lnTo>
                    <a:pt x="15447" y="25952"/>
                  </a:lnTo>
                  <a:lnTo>
                    <a:pt x="15274" y="25330"/>
                  </a:lnTo>
                  <a:lnTo>
                    <a:pt x="15171" y="24847"/>
                  </a:lnTo>
                  <a:lnTo>
                    <a:pt x="15136" y="24501"/>
                  </a:lnTo>
                  <a:lnTo>
                    <a:pt x="15136" y="24501"/>
                  </a:lnTo>
                  <a:lnTo>
                    <a:pt x="15171" y="24225"/>
                  </a:lnTo>
                  <a:lnTo>
                    <a:pt x="15274" y="23948"/>
                  </a:lnTo>
                  <a:lnTo>
                    <a:pt x="15447" y="23706"/>
                  </a:lnTo>
                  <a:lnTo>
                    <a:pt x="15620" y="23464"/>
                  </a:lnTo>
                  <a:lnTo>
                    <a:pt x="15862" y="23257"/>
                  </a:lnTo>
                  <a:lnTo>
                    <a:pt x="16104" y="23015"/>
                  </a:lnTo>
                  <a:lnTo>
                    <a:pt x="16657" y="22635"/>
                  </a:lnTo>
                  <a:lnTo>
                    <a:pt x="17210" y="22255"/>
                  </a:lnTo>
                  <a:lnTo>
                    <a:pt x="17728" y="21840"/>
                  </a:lnTo>
                  <a:lnTo>
                    <a:pt x="17935" y="21667"/>
                  </a:lnTo>
                  <a:lnTo>
                    <a:pt x="18108" y="21460"/>
                  </a:lnTo>
                  <a:lnTo>
                    <a:pt x="18212" y="21253"/>
                  </a:lnTo>
                  <a:lnTo>
                    <a:pt x="18315" y="21011"/>
                  </a:lnTo>
                  <a:lnTo>
                    <a:pt x="18315" y="21011"/>
                  </a:lnTo>
                  <a:lnTo>
                    <a:pt x="18315" y="20769"/>
                  </a:lnTo>
                  <a:lnTo>
                    <a:pt x="18246" y="20492"/>
                  </a:lnTo>
                  <a:lnTo>
                    <a:pt x="18143" y="20147"/>
                  </a:lnTo>
                  <a:lnTo>
                    <a:pt x="17970" y="19801"/>
                  </a:lnTo>
                  <a:lnTo>
                    <a:pt x="17521" y="19041"/>
                  </a:lnTo>
                  <a:lnTo>
                    <a:pt x="17037" y="18281"/>
                  </a:lnTo>
                  <a:lnTo>
                    <a:pt x="16173" y="17071"/>
                  </a:lnTo>
                  <a:lnTo>
                    <a:pt x="15966" y="16760"/>
                  </a:lnTo>
                  <a:lnTo>
                    <a:pt x="15966" y="16691"/>
                  </a:lnTo>
                  <a:lnTo>
                    <a:pt x="16035" y="16726"/>
                  </a:lnTo>
                  <a:lnTo>
                    <a:pt x="16035" y="16726"/>
                  </a:lnTo>
                  <a:lnTo>
                    <a:pt x="16242" y="16795"/>
                  </a:lnTo>
                  <a:lnTo>
                    <a:pt x="16484" y="16864"/>
                  </a:lnTo>
                  <a:lnTo>
                    <a:pt x="16726" y="16933"/>
                  </a:lnTo>
                  <a:lnTo>
                    <a:pt x="17037" y="16968"/>
                  </a:lnTo>
                  <a:lnTo>
                    <a:pt x="17659" y="17002"/>
                  </a:lnTo>
                  <a:lnTo>
                    <a:pt x="18385" y="16968"/>
                  </a:lnTo>
                  <a:lnTo>
                    <a:pt x="19145" y="16864"/>
                  </a:lnTo>
                  <a:lnTo>
                    <a:pt x="19974" y="16726"/>
                  </a:lnTo>
                  <a:lnTo>
                    <a:pt x="20838" y="16553"/>
                  </a:lnTo>
                  <a:lnTo>
                    <a:pt x="21702" y="16346"/>
                  </a:lnTo>
                  <a:lnTo>
                    <a:pt x="22566" y="16104"/>
                  </a:lnTo>
                  <a:lnTo>
                    <a:pt x="23430" y="15827"/>
                  </a:lnTo>
                  <a:lnTo>
                    <a:pt x="24225" y="15551"/>
                  </a:lnTo>
                  <a:lnTo>
                    <a:pt x="24985" y="15274"/>
                  </a:lnTo>
                  <a:lnTo>
                    <a:pt x="25641" y="14963"/>
                  </a:lnTo>
                  <a:lnTo>
                    <a:pt x="26229" y="14687"/>
                  </a:lnTo>
                  <a:lnTo>
                    <a:pt x="26713" y="14411"/>
                  </a:lnTo>
                  <a:lnTo>
                    <a:pt x="27058" y="14134"/>
                  </a:lnTo>
                  <a:lnTo>
                    <a:pt x="27058" y="14134"/>
                  </a:lnTo>
                  <a:lnTo>
                    <a:pt x="27404" y="13789"/>
                  </a:lnTo>
                  <a:lnTo>
                    <a:pt x="27818" y="13270"/>
                  </a:lnTo>
                  <a:lnTo>
                    <a:pt x="28302" y="12614"/>
                  </a:lnTo>
                  <a:lnTo>
                    <a:pt x="28855" y="11819"/>
                  </a:lnTo>
                  <a:lnTo>
                    <a:pt x="30065" y="9953"/>
                  </a:lnTo>
                  <a:lnTo>
                    <a:pt x="31274" y="7914"/>
                  </a:lnTo>
                  <a:lnTo>
                    <a:pt x="32449" y="5944"/>
                  </a:lnTo>
                  <a:lnTo>
                    <a:pt x="33451" y="4216"/>
                  </a:lnTo>
                  <a:lnTo>
                    <a:pt x="34419" y="2454"/>
                  </a:lnTo>
                  <a:lnTo>
                    <a:pt x="34419" y="2454"/>
                  </a:lnTo>
                  <a:lnTo>
                    <a:pt x="34453" y="2281"/>
                  </a:lnTo>
                  <a:lnTo>
                    <a:pt x="34419" y="2108"/>
                  </a:lnTo>
                  <a:lnTo>
                    <a:pt x="34280" y="1867"/>
                  </a:lnTo>
                  <a:lnTo>
                    <a:pt x="34108" y="1659"/>
                  </a:lnTo>
                  <a:lnTo>
                    <a:pt x="33900" y="1417"/>
                  </a:lnTo>
                  <a:lnTo>
                    <a:pt x="33658" y="1175"/>
                  </a:lnTo>
                  <a:lnTo>
                    <a:pt x="33382" y="934"/>
                  </a:lnTo>
                  <a:lnTo>
                    <a:pt x="33071" y="692"/>
                  </a:lnTo>
                  <a:lnTo>
                    <a:pt x="32760" y="484"/>
                  </a:lnTo>
                  <a:lnTo>
                    <a:pt x="32449" y="312"/>
                  </a:lnTo>
                  <a:lnTo>
                    <a:pt x="32173" y="173"/>
                  </a:lnTo>
                  <a:lnTo>
                    <a:pt x="31861" y="70"/>
                  </a:lnTo>
                  <a:lnTo>
                    <a:pt x="31620" y="1"/>
                  </a:lnTo>
                  <a:lnTo>
                    <a:pt x="31412" y="35"/>
                  </a:lnTo>
                  <a:lnTo>
                    <a:pt x="31309" y="35"/>
                  </a:lnTo>
                  <a:lnTo>
                    <a:pt x="31205" y="104"/>
                  </a:lnTo>
                  <a:lnTo>
                    <a:pt x="31136" y="173"/>
                  </a:lnTo>
                  <a:lnTo>
                    <a:pt x="31101" y="242"/>
                  </a:lnTo>
                  <a:lnTo>
                    <a:pt x="31101" y="242"/>
                  </a:lnTo>
                  <a:lnTo>
                    <a:pt x="30721" y="934"/>
                  </a:lnTo>
                  <a:lnTo>
                    <a:pt x="29961" y="2247"/>
                  </a:lnTo>
                  <a:lnTo>
                    <a:pt x="28959" y="3940"/>
                  </a:lnTo>
                  <a:lnTo>
                    <a:pt x="27749" y="5806"/>
                  </a:lnTo>
                  <a:lnTo>
                    <a:pt x="27093" y="6774"/>
                  </a:lnTo>
                  <a:lnTo>
                    <a:pt x="26471" y="7707"/>
                  </a:lnTo>
                  <a:lnTo>
                    <a:pt x="25849" y="8570"/>
                  </a:lnTo>
                  <a:lnTo>
                    <a:pt x="25227" y="9365"/>
                  </a:lnTo>
                  <a:lnTo>
                    <a:pt x="24639" y="10056"/>
                  </a:lnTo>
                  <a:lnTo>
                    <a:pt x="24086" y="10644"/>
                  </a:lnTo>
                  <a:lnTo>
                    <a:pt x="23810" y="10851"/>
                  </a:lnTo>
                  <a:lnTo>
                    <a:pt x="23568" y="11059"/>
                  </a:lnTo>
                  <a:lnTo>
                    <a:pt x="23361" y="11197"/>
                  </a:lnTo>
                  <a:lnTo>
                    <a:pt x="23153" y="11300"/>
                  </a:lnTo>
                  <a:lnTo>
                    <a:pt x="23153" y="11300"/>
                  </a:lnTo>
                  <a:lnTo>
                    <a:pt x="22773" y="11370"/>
                  </a:lnTo>
                  <a:lnTo>
                    <a:pt x="22255" y="11439"/>
                  </a:lnTo>
                  <a:lnTo>
                    <a:pt x="21633" y="11439"/>
                  </a:lnTo>
                  <a:lnTo>
                    <a:pt x="20942" y="11404"/>
                  </a:lnTo>
                  <a:lnTo>
                    <a:pt x="20216" y="11335"/>
                  </a:lnTo>
                  <a:lnTo>
                    <a:pt x="19387" y="11231"/>
                  </a:lnTo>
                  <a:lnTo>
                    <a:pt x="18523" y="11093"/>
                  </a:lnTo>
                  <a:lnTo>
                    <a:pt x="17624" y="10920"/>
                  </a:lnTo>
                  <a:lnTo>
                    <a:pt x="16726" y="10748"/>
                  </a:lnTo>
                  <a:lnTo>
                    <a:pt x="15827" y="10540"/>
                  </a:lnTo>
                  <a:lnTo>
                    <a:pt x="14929" y="10298"/>
                  </a:lnTo>
                  <a:lnTo>
                    <a:pt x="14065" y="10022"/>
                  </a:lnTo>
                  <a:lnTo>
                    <a:pt x="13236" y="9780"/>
                  </a:lnTo>
                  <a:lnTo>
                    <a:pt x="12441" y="9504"/>
                  </a:lnTo>
                  <a:lnTo>
                    <a:pt x="11750" y="9193"/>
                  </a:lnTo>
                  <a:lnTo>
                    <a:pt x="11093" y="8916"/>
                  </a:lnTo>
                  <a:lnTo>
                    <a:pt x="11093" y="8916"/>
                  </a:lnTo>
                  <a:lnTo>
                    <a:pt x="10609" y="8847"/>
                  </a:lnTo>
                  <a:lnTo>
                    <a:pt x="9434" y="8709"/>
                  </a:lnTo>
                  <a:lnTo>
                    <a:pt x="8709" y="8640"/>
                  </a:lnTo>
                  <a:lnTo>
                    <a:pt x="7983" y="8570"/>
                  </a:lnTo>
                  <a:lnTo>
                    <a:pt x="7292" y="8570"/>
                  </a:lnTo>
                  <a:lnTo>
                    <a:pt x="6704" y="8570"/>
                  </a:lnTo>
                  <a:lnTo>
                    <a:pt x="6704" y="8570"/>
                  </a:lnTo>
                  <a:lnTo>
                    <a:pt x="6393" y="8640"/>
                  </a:lnTo>
                  <a:lnTo>
                    <a:pt x="6048" y="8743"/>
                  </a:lnTo>
                  <a:lnTo>
                    <a:pt x="5668" y="8916"/>
                  </a:lnTo>
                  <a:lnTo>
                    <a:pt x="5253" y="9123"/>
                  </a:lnTo>
                  <a:lnTo>
                    <a:pt x="4355" y="9676"/>
                  </a:lnTo>
                  <a:lnTo>
                    <a:pt x="3387" y="10298"/>
                  </a:lnTo>
                  <a:lnTo>
                    <a:pt x="2489" y="10989"/>
                  </a:lnTo>
                  <a:lnTo>
                    <a:pt x="1625" y="11715"/>
                  </a:lnTo>
                  <a:lnTo>
                    <a:pt x="934" y="12337"/>
                  </a:lnTo>
                  <a:lnTo>
                    <a:pt x="657" y="12648"/>
                  </a:lnTo>
                  <a:lnTo>
                    <a:pt x="415" y="12890"/>
                  </a:lnTo>
                  <a:lnTo>
                    <a:pt x="415" y="12890"/>
                  </a:lnTo>
                  <a:lnTo>
                    <a:pt x="346" y="13063"/>
                  </a:lnTo>
                  <a:lnTo>
                    <a:pt x="242" y="13236"/>
                  </a:lnTo>
                  <a:lnTo>
                    <a:pt x="104" y="13616"/>
                  </a:lnTo>
                  <a:lnTo>
                    <a:pt x="35" y="14134"/>
                  </a:lnTo>
                  <a:lnTo>
                    <a:pt x="1" y="14687"/>
                  </a:lnTo>
                  <a:lnTo>
                    <a:pt x="1" y="15344"/>
                  </a:lnTo>
                  <a:lnTo>
                    <a:pt x="35" y="16035"/>
                  </a:lnTo>
                  <a:lnTo>
                    <a:pt x="139" y="16795"/>
                  </a:lnTo>
                  <a:lnTo>
                    <a:pt x="242" y="17590"/>
                  </a:lnTo>
                  <a:lnTo>
                    <a:pt x="381" y="18419"/>
                  </a:lnTo>
                  <a:lnTo>
                    <a:pt x="553" y="19283"/>
                  </a:lnTo>
                  <a:lnTo>
                    <a:pt x="968" y="21045"/>
                  </a:lnTo>
                  <a:lnTo>
                    <a:pt x="1452" y="22877"/>
                  </a:lnTo>
                  <a:lnTo>
                    <a:pt x="1936" y="24639"/>
                  </a:lnTo>
                  <a:lnTo>
                    <a:pt x="1936" y="24639"/>
                  </a:lnTo>
                  <a:lnTo>
                    <a:pt x="2005" y="24777"/>
                  </a:lnTo>
                  <a:lnTo>
                    <a:pt x="2108" y="24916"/>
                  </a:lnTo>
                  <a:lnTo>
                    <a:pt x="2350" y="25192"/>
                  </a:lnTo>
                  <a:lnTo>
                    <a:pt x="2730" y="25503"/>
                  </a:lnTo>
                  <a:lnTo>
                    <a:pt x="3214" y="25814"/>
                  </a:lnTo>
                  <a:lnTo>
                    <a:pt x="3802" y="26160"/>
                  </a:lnTo>
                  <a:lnTo>
                    <a:pt x="4458" y="26505"/>
                  </a:lnTo>
                  <a:lnTo>
                    <a:pt x="5219" y="26851"/>
                  </a:lnTo>
                  <a:lnTo>
                    <a:pt x="6048" y="27231"/>
                  </a:lnTo>
                  <a:lnTo>
                    <a:pt x="7879" y="27957"/>
                  </a:lnTo>
                  <a:lnTo>
                    <a:pt x="9884" y="28751"/>
                  </a:lnTo>
                  <a:lnTo>
                    <a:pt x="12061" y="29512"/>
                  </a:lnTo>
                  <a:lnTo>
                    <a:pt x="14272" y="30272"/>
                  </a:lnTo>
                  <a:lnTo>
                    <a:pt x="18626" y="31689"/>
                  </a:lnTo>
                  <a:lnTo>
                    <a:pt x="22462" y="32898"/>
                  </a:lnTo>
                  <a:lnTo>
                    <a:pt x="25227" y="33762"/>
                  </a:lnTo>
                  <a:lnTo>
                    <a:pt x="26056" y="34039"/>
                  </a:lnTo>
                  <a:lnTo>
                    <a:pt x="26402" y="3421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37" name="Google Shape;2466;p11">
              <a:extLst>
                <a:ext uri="{FF2B5EF4-FFF2-40B4-BE49-F238E27FC236}">
                  <a16:creationId xmlns:a16="http://schemas.microsoft.com/office/drawing/2014/main" id="{0E63D751-07AC-A621-EE4D-4E8CA511EDCD}"/>
                </a:ext>
              </a:extLst>
            </p:cNvPr>
            <p:cNvSpPr/>
            <p:nvPr/>
          </p:nvSpPr>
          <p:spPr>
            <a:xfrm>
              <a:off x="1210475" y="2415175"/>
              <a:ext cx="134800" cy="251425"/>
            </a:xfrm>
            <a:custGeom>
              <a:avLst/>
              <a:gdLst/>
              <a:ahLst/>
              <a:cxnLst/>
              <a:rect l="l" t="t" r="r" b="b"/>
              <a:pathLst>
                <a:path w="5392" h="10057" extrusionOk="0">
                  <a:moveTo>
                    <a:pt x="3733" y="0"/>
                  </a:moveTo>
                  <a:lnTo>
                    <a:pt x="3629" y="35"/>
                  </a:lnTo>
                  <a:lnTo>
                    <a:pt x="3526" y="104"/>
                  </a:lnTo>
                  <a:lnTo>
                    <a:pt x="3422" y="207"/>
                  </a:lnTo>
                  <a:lnTo>
                    <a:pt x="3318" y="346"/>
                  </a:lnTo>
                  <a:lnTo>
                    <a:pt x="3076" y="760"/>
                  </a:lnTo>
                  <a:lnTo>
                    <a:pt x="2593" y="1797"/>
                  </a:lnTo>
                  <a:lnTo>
                    <a:pt x="2074" y="2799"/>
                  </a:lnTo>
                  <a:lnTo>
                    <a:pt x="1072" y="4665"/>
                  </a:lnTo>
                  <a:lnTo>
                    <a:pt x="1" y="6600"/>
                  </a:lnTo>
                  <a:lnTo>
                    <a:pt x="105" y="6808"/>
                  </a:lnTo>
                  <a:lnTo>
                    <a:pt x="346" y="7257"/>
                  </a:lnTo>
                  <a:lnTo>
                    <a:pt x="554" y="7568"/>
                  </a:lnTo>
                  <a:lnTo>
                    <a:pt x="796" y="7844"/>
                  </a:lnTo>
                  <a:lnTo>
                    <a:pt x="1038" y="8155"/>
                  </a:lnTo>
                  <a:lnTo>
                    <a:pt x="1349" y="8397"/>
                  </a:lnTo>
                  <a:lnTo>
                    <a:pt x="1729" y="8639"/>
                  </a:lnTo>
                  <a:lnTo>
                    <a:pt x="2212" y="8916"/>
                  </a:lnTo>
                  <a:lnTo>
                    <a:pt x="3318" y="9469"/>
                  </a:lnTo>
                  <a:lnTo>
                    <a:pt x="4355" y="9883"/>
                  </a:lnTo>
                  <a:lnTo>
                    <a:pt x="4701" y="10021"/>
                  </a:lnTo>
                  <a:lnTo>
                    <a:pt x="4942" y="10056"/>
                  </a:lnTo>
                  <a:lnTo>
                    <a:pt x="5081" y="10056"/>
                  </a:lnTo>
                  <a:lnTo>
                    <a:pt x="5184" y="9987"/>
                  </a:lnTo>
                  <a:lnTo>
                    <a:pt x="5288" y="9918"/>
                  </a:lnTo>
                  <a:lnTo>
                    <a:pt x="5323" y="9814"/>
                  </a:lnTo>
                  <a:lnTo>
                    <a:pt x="5357" y="9676"/>
                  </a:lnTo>
                  <a:lnTo>
                    <a:pt x="5392" y="9503"/>
                  </a:lnTo>
                  <a:lnTo>
                    <a:pt x="5357" y="9158"/>
                  </a:lnTo>
                  <a:lnTo>
                    <a:pt x="5288" y="8777"/>
                  </a:lnTo>
                  <a:lnTo>
                    <a:pt x="5184" y="8363"/>
                  </a:lnTo>
                  <a:lnTo>
                    <a:pt x="5046" y="8017"/>
                  </a:lnTo>
                  <a:lnTo>
                    <a:pt x="4873" y="7706"/>
                  </a:lnTo>
                  <a:lnTo>
                    <a:pt x="4735" y="7395"/>
                  </a:lnTo>
                  <a:lnTo>
                    <a:pt x="4631" y="7050"/>
                  </a:lnTo>
                  <a:lnTo>
                    <a:pt x="4562" y="6635"/>
                  </a:lnTo>
                  <a:lnTo>
                    <a:pt x="4528" y="6117"/>
                  </a:lnTo>
                  <a:lnTo>
                    <a:pt x="4528" y="5529"/>
                  </a:lnTo>
                  <a:lnTo>
                    <a:pt x="4597" y="4873"/>
                  </a:lnTo>
                  <a:lnTo>
                    <a:pt x="4701" y="4078"/>
                  </a:lnTo>
                  <a:lnTo>
                    <a:pt x="4873" y="3214"/>
                  </a:lnTo>
                  <a:lnTo>
                    <a:pt x="4770" y="2454"/>
                  </a:lnTo>
                  <a:lnTo>
                    <a:pt x="4666" y="1728"/>
                  </a:lnTo>
                  <a:lnTo>
                    <a:pt x="4459" y="1002"/>
                  </a:lnTo>
                  <a:lnTo>
                    <a:pt x="4355" y="657"/>
                  </a:lnTo>
                  <a:lnTo>
                    <a:pt x="4217" y="380"/>
                  </a:lnTo>
                  <a:lnTo>
                    <a:pt x="4079" y="173"/>
                  </a:lnTo>
                  <a:lnTo>
                    <a:pt x="3975" y="69"/>
                  </a:lnTo>
                  <a:lnTo>
                    <a:pt x="3906" y="35"/>
                  </a:lnTo>
                  <a:lnTo>
                    <a:pt x="3802" y="0"/>
                  </a:lnTo>
                  <a:close/>
                </a:path>
              </a:pathLst>
            </a:custGeom>
            <a:solidFill>
              <a:srgbClr val="8A3A1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38" name="Google Shape;2467;p11">
              <a:extLst>
                <a:ext uri="{FF2B5EF4-FFF2-40B4-BE49-F238E27FC236}">
                  <a16:creationId xmlns:a16="http://schemas.microsoft.com/office/drawing/2014/main" id="{692B8FE3-4224-46D2-0142-DDB4C0F001DC}"/>
                </a:ext>
              </a:extLst>
            </p:cNvPr>
            <p:cNvSpPr/>
            <p:nvPr/>
          </p:nvSpPr>
          <p:spPr>
            <a:xfrm>
              <a:off x="1210475" y="2415175"/>
              <a:ext cx="134800" cy="251425"/>
            </a:xfrm>
            <a:custGeom>
              <a:avLst/>
              <a:gdLst/>
              <a:ahLst/>
              <a:cxnLst/>
              <a:rect l="l" t="t" r="r" b="b"/>
              <a:pathLst>
                <a:path w="5392" h="10057" fill="none" extrusionOk="0">
                  <a:moveTo>
                    <a:pt x="4873" y="3214"/>
                  </a:moveTo>
                  <a:lnTo>
                    <a:pt x="4873" y="3214"/>
                  </a:lnTo>
                  <a:lnTo>
                    <a:pt x="4701" y="4078"/>
                  </a:lnTo>
                  <a:lnTo>
                    <a:pt x="4597" y="4873"/>
                  </a:lnTo>
                  <a:lnTo>
                    <a:pt x="4528" y="5529"/>
                  </a:lnTo>
                  <a:lnTo>
                    <a:pt x="4528" y="6117"/>
                  </a:lnTo>
                  <a:lnTo>
                    <a:pt x="4562" y="6635"/>
                  </a:lnTo>
                  <a:lnTo>
                    <a:pt x="4631" y="7050"/>
                  </a:lnTo>
                  <a:lnTo>
                    <a:pt x="4735" y="7395"/>
                  </a:lnTo>
                  <a:lnTo>
                    <a:pt x="4873" y="7706"/>
                  </a:lnTo>
                  <a:lnTo>
                    <a:pt x="4873" y="7706"/>
                  </a:lnTo>
                  <a:lnTo>
                    <a:pt x="5046" y="8017"/>
                  </a:lnTo>
                  <a:lnTo>
                    <a:pt x="5184" y="8363"/>
                  </a:lnTo>
                  <a:lnTo>
                    <a:pt x="5288" y="8777"/>
                  </a:lnTo>
                  <a:lnTo>
                    <a:pt x="5357" y="9158"/>
                  </a:lnTo>
                  <a:lnTo>
                    <a:pt x="5392" y="9503"/>
                  </a:lnTo>
                  <a:lnTo>
                    <a:pt x="5357" y="9676"/>
                  </a:lnTo>
                  <a:lnTo>
                    <a:pt x="5323" y="9814"/>
                  </a:lnTo>
                  <a:lnTo>
                    <a:pt x="5288" y="9918"/>
                  </a:lnTo>
                  <a:lnTo>
                    <a:pt x="5184" y="9987"/>
                  </a:lnTo>
                  <a:lnTo>
                    <a:pt x="5081" y="10056"/>
                  </a:lnTo>
                  <a:lnTo>
                    <a:pt x="4942" y="10056"/>
                  </a:lnTo>
                  <a:lnTo>
                    <a:pt x="4942" y="10056"/>
                  </a:lnTo>
                  <a:lnTo>
                    <a:pt x="4701" y="10021"/>
                  </a:lnTo>
                  <a:lnTo>
                    <a:pt x="4355" y="9883"/>
                  </a:lnTo>
                  <a:lnTo>
                    <a:pt x="3318" y="9469"/>
                  </a:lnTo>
                  <a:lnTo>
                    <a:pt x="2212" y="8916"/>
                  </a:lnTo>
                  <a:lnTo>
                    <a:pt x="1729" y="8639"/>
                  </a:lnTo>
                  <a:lnTo>
                    <a:pt x="1349" y="8397"/>
                  </a:lnTo>
                  <a:lnTo>
                    <a:pt x="1349" y="8397"/>
                  </a:lnTo>
                  <a:lnTo>
                    <a:pt x="1038" y="8155"/>
                  </a:lnTo>
                  <a:lnTo>
                    <a:pt x="796" y="7844"/>
                  </a:lnTo>
                  <a:lnTo>
                    <a:pt x="554" y="7568"/>
                  </a:lnTo>
                  <a:lnTo>
                    <a:pt x="346" y="7257"/>
                  </a:lnTo>
                  <a:lnTo>
                    <a:pt x="105" y="6808"/>
                  </a:lnTo>
                  <a:lnTo>
                    <a:pt x="1" y="6600"/>
                  </a:lnTo>
                  <a:lnTo>
                    <a:pt x="1" y="6600"/>
                  </a:lnTo>
                  <a:lnTo>
                    <a:pt x="1072" y="4665"/>
                  </a:lnTo>
                  <a:lnTo>
                    <a:pt x="2074" y="2799"/>
                  </a:lnTo>
                  <a:lnTo>
                    <a:pt x="2593" y="1797"/>
                  </a:lnTo>
                  <a:lnTo>
                    <a:pt x="3076" y="760"/>
                  </a:lnTo>
                  <a:lnTo>
                    <a:pt x="3076" y="760"/>
                  </a:lnTo>
                  <a:lnTo>
                    <a:pt x="3318" y="346"/>
                  </a:lnTo>
                  <a:lnTo>
                    <a:pt x="3422" y="207"/>
                  </a:lnTo>
                  <a:lnTo>
                    <a:pt x="3526" y="104"/>
                  </a:lnTo>
                  <a:lnTo>
                    <a:pt x="3629" y="35"/>
                  </a:lnTo>
                  <a:lnTo>
                    <a:pt x="3733" y="0"/>
                  </a:lnTo>
                  <a:lnTo>
                    <a:pt x="3802" y="0"/>
                  </a:lnTo>
                  <a:lnTo>
                    <a:pt x="3906" y="35"/>
                  </a:lnTo>
                  <a:lnTo>
                    <a:pt x="3975" y="69"/>
                  </a:lnTo>
                  <a:lnTo>
                    <a:pt x="4079" y="173"/>
                  </a:lnTo>
                  <a:lnTo>
                    <a:pt x="4217" y="380"/>
                  </a:lnTo>
                  <a:lnTo>
                    <a:pt x="4355" y="657"/>
                  </a:lnTo>
                  <a:lnTo>
                    <a:pt x="4459" y="1002"/>
                  </a:lnTo>
                  <a:lnTo>
                    <a:pt x="4666" y="1728"/>
                  </a:lnTo>
                  <a:lnTo>
                    <a:pt x="4770" y="2454"/>
                  </a:lnTo>
                  <a:lnTo>
                    <a:pt x="4873" y="3214"/>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39" name="Google Shape;2468;p11">
              <a:extLst>
                <a:ext uri="{FF2B5EF4-FFF2-40B4-BE49-F238E27FC236}">
                  <a16:creationId xmlns:a16="http://schemas.microsoft.com/office/drawing/2014/main" id="{3498472B-7DCF-A493-0D80-8F1B6C722DDF}"/>
                </a:ext>
              </a:extLst>
            </p:cNvPr>
            <p:cNvSpPr/>
            <p:nvPr/>
          </p:nvSpPr>
          <p:spPr>
            <a:xfrm>
              <a:off x="1323650" y="2495500"/>
              <a:ext cx="8675" cy="58775"/>
            </a:xfrm>
            <a:custGeom>
              <a:avLst/>
              <a:gdLst/>
              <a:ahLst/>
              <a:cxnLst/>
              <a:rect l="l" t="t" r="r" b="b"/>
              <a:pathLst>
                <a:path w="347" h="2351" extrusionOk="0">
                  <a:moveTo>
                    <a:pt x="346" y="1"/>
                  </a:moveTo>
                  <a:lnTo>
                    <a:pt x="208" y="657"/>
                  </a:lnTo>
                  <a:lnTo>
                    <a:pt x="150" y="1176"/>
                  </a:lnTo>
                  <a:lnTo>
                    <a:pt x="346" y="1"/>
                  </a:lnTo>
                  <a:close/>
                  <a:moveTo>
                    <a:pt x="150" y="1176"/>
                  </a:moveTo>
                  <a:lnTo>
                    <a:pt x="139" y="1245"/>
                  </a:lnTo>
                  <a:lnTo>
                    <a:pt x="70" y="1832"/>
                  </a:lnTo>
                  <a:lnTo>
                    <a:pt x="70" y="1832"/>
                  </a:lnTo>
                  <a:lnTo>
                    <a:pt x="139" y="1279"/>
                  </a:lnTo>
                  <a:lnTo>
                    <a:pt x="150" y="1176"/>
                  </a:lnTo>
                  <a:close/>
                  <a:moveTo>
                    <a:pt x="70" y="1832"/>
                  </a:moveTo>
                  <a:lnTo>
                    <a:pt x="1" y="2351"/>
                  </a:lnTo>
                  <a:lnTo>
                    <a:pt x="35" y="2351"/>
                  </a:lnTo>
                  <a:lnTo>
                    <a:pt x="70" y="1832"/>
                  </a:lnTo>
                  <a:close/>
                </a:path>
              </a:pathLst>
            </a:custGeom>
            <a:solidFill>
              <a:srgbClr val="C1C1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40" name="Google Shape;2469;p11">
              <a:extLst>
                <a:ext uri="{FF2B5EF4-FFF2-40B4-BE49-F238E27FC236}">
                  <a16:creationId xmlns:a16="http://schemas.microsoft.com/office/drawing/2014/main" id="{454ABF48-AD4E-6A71-9525-E8FA5B7DDEA9}"/>
                </a:ext>
              </a:extLst>
            </p:cNvPr>
            <p:cNvSpPr/>
            <p:nvPr/>
          </p:nvSpPr>
          <p:spPr>
            <a:xfrm>
              <a:off x="1323650" y="2495500"/>
              <a:ext cx="8675" cy="58775"/>
            </a:xfrm>
            <a:custGeom>
              <a:avLst/>
              <a:gdLst/>
              <a:ahLst/>
              <a:cxnLst/>
              <a:rect l="l" t="t" r="r" b="b"/>
              <a:pathLst>
                <a:path w="347" h="2351" fill="none" extrusionOk="0">
                  <a:moveTo>
                    <a:pt x="346" y="1"/>
                  </a:moveTo>
                  <a:lnTo>
                    <a:pt x="346" y="1"/>
                  </a:lnTo>
                  <a:lnTo>
                    <a:pt x="208" y="657"/>
                  </a:lnTo>
                  <a:lnTo>
                    <a:pt x="139" y="1279"/>
                  </a:lnTo>
                  <a:lnTo>
                    <a:pt x="70" y="1832"/>
                  </a:lnTo>
                  <a:lnTo>
                    <a:pt x="1" y="2351"/>
                  </a:lnTo>
                  <a:lnTo>
                    <a:pt x="1" y="2351"/>
                  </a:lnTo>
                  <a:lnTo>
                    <a:pt x="35" y="2351"/>
                  </a:lnTo>
                  <a:lnTo>
                    <a:pt x="35" y="2351"/>
                  </a:lnTo>
                  <a:lnTo>
                    <a:pt x="70" y="1832"/>
                  </a:lnTo>
                  <a:lnTo>
                    <a:pt x="139" y="1245"/>
                  </a:lnTo>
                  <a:lnTo>
                    <a:pt x="139" y="1245"/>
                  </a:lnTo>
                  <a:lnTo>
                    <a:pt x="346"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41" name="Google Shape;2470;p11">
              <a:extLst>
                <a:ext uri="{FF2B5EF4-FFF2-40B4-BE49-F238E27FC236}">
                  <a16:creationId xmlns:a16="http://schemas.microsoft.com/office/drawing/2014/main" id="{26856534-D9D3-D466-843F-8FE963AA621D}"/>
                </a:ext>
              </a:extLst>
            </p:cNvPr>
            <p:cNvSpPr/>
            <p:nvPr/>
          </p:nvSpPr>
          <p:spPr>
            <a:xfrm>
              <a:off x="1283050" y="2479100"/>
              <a:ext cx="49275" cy="75175"/>
            </a:xfrm>
            <a:custGeom>
              <a:avLst/>
              <a:gdLst/>
              <a:ahLst/>
              <a:cxnLst/>
              <a:rect l="l" t="t" r="r" b="b"/>
              <a:pathLst>
                <a:path w="1971" h="3007" extrusionOk="0">
                  <a:moveTo>
                    <a:pt x="553" y="0"/>
                  </a:moveTo>
                  <a:lnTo>
                    <a:pt x="415" y="35"/>
                  </a:lnTo>
                  <a:lnTo>
                    <a:pt x="312" y="139"/>
                  </a:lnTo>
                  <a:lnTo>
                    <a:pt x="208" y="311"/>
                  </a:lnTo>
                  <a:lnTo>
                    <a:pt x="104" y="519"/>
                  </a:lnTo>
                  <a:lnTo>
                    <a:pt x="35" y="726"/>
                  </a:lnTo>
                  <a:lnTo>
                    <a:pt x="1" y="968"/>
                  </a:lnTo>
                  <a:lnTo>
                    <a:pt x="1" y="1210"/>
                  </a:lnTo>
                  <a:lnTo>
                    <a:pt x="35" y="1417"/>
                  </a:lnTo>
                  <a:lnTo>
                    <a:pt x="242" y="1694"/>
                  </a:lnTo>
                  <a:lnTo>
                    <a:pt x="588" y="2143"/>
                  </a:lnTo>
                  <a:lnTo>
                    <a:pt x="830" y="2385"/>
                  </a:lnTo>
                  <a:lnTo>
                    <a:pt x="1072" y="2627"/>
                  </a:lnTo>
                  <a:lnTo>
                    <a:pt x="1348" y="2834"/>
                  </a:lnTo>
                  <a:lnTo>
                    <a:pt x="1625" y="3007"/>
                  </a:lnTo>
                  <a:lnTo>
                    <a:pt x="1694" y="2488"/>
                  </a:lnTo>
                  <a:lnTo>
                    <a:pt x="1763" y="1935"/>
                  </a:lnTo>
                  <a:lnTo>
                    <a:pt x="1832" y="1313"/>
                  </a:lnTo>
                  <a:lnTo>
                    <a:pt x="1970" y="657"/>
                  </a:lnTo>
                  <a:lnTo>
                    <a:pt x="1728" y="450"/>
                  </a:lnTo>
                  <a:lnTo>
                    <a:pt x="1590" y="346"/>
                  </a:lnTo>
                  <a:lnTo>
                    <a:pt x="1452" y="311"/>
                  </a:lnTo>
                  <a:lnTo>
                    <a:pt x="1072" y="277"/>
                  </a:lnTo>
                  <a:lnTo>
                    <a:pt x="865" y="208"/>
                  </a:lnTo>
                  <a:lnTo>
                    <a:pt x="761" y="173"/>
                  </a:lnTo>
                  <a:lnTo>
                    <a:pt x="692" y="104"/>
                  </a:lnTo>
                  <a:lnTo>
                    <a:pt x="623" y="35"/>
                  </a:lnTo>
                  <a:lnTo>
                    <a:pt x="553" y="0"/>
                  </a:lnTo>
                  <a:close/>
                </a:path>
              </a:pathLst>
            </a:custGeom>
            <a:solidFill>
              <a:srgbClr val="6C322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42" name="Google Shape;2471;p11">
              <a:extLst>
                <a:ext uri="{FF2B5EF4-FFF2-40B4-BE49-F238E27FC236}">
                  <a16:creationId xmlns:a16="http://schemas.microsoft.com/office/drawing/2014/main" id="{FB1D1506-8118-CFA2-7ADC-6E984DA49FF2}"/>
                </a:ext>
              </a:extLst>
            </p:cNvPr>
            <p:cNvSpPr/>
            <p:nvPr/>
          </p:nvSpPr>
          <p:spPr>
            <a:xfrm>
              <a:off x="1283050" y="2479100"/>
              <a:ext cx="49275" cy="75175"/>
            </a:xfrm>
            <a:custGeom>
              <a:avLst/>
              <a:gdLst/>
              <a:ahLst/>
              <a:cxnLst/>
              <a:rect l="l" t="t" r="r" b="b"/>
              <a:pathLst>
                <a:path w="1971" h="3007" fill="none" extrusionOk="0">
                  <a:moveTo>
                    <a:pt x="553" y="0"/>
                  </a:moveTo>
                  <a:lnTo>
                    <a:pt x="553" y="0"/>
                  </a:lnTo>
                  <a:lnTo>
                    <a:pt x="415" y="35"/>
                  </a:lnTo>
                  <a:lnTo>
                    <a:pt x="312" y="139"/>
                  </a:lnTo>
                  <a:lnTo>
                    <a:pt x="208" y="311"/>
                  </a:lnTo>
                  <a:lnTo>
                    <a:pt x="104" y="519"/>
                  </a:lnTo>
                  <a:lnTo>
                    <a:pt x="35" y="726"/>
                  </a:lnTo>
                  <a:lnTo>
                    <a:pt x="1" y="968"/>
                  </a:lnTo>
                  <a:lnTo>
                    <a:pt x="1" y="1210"/>
                  </a:lnTo>
                  <a:lnTo>
                    <a:pt x="35" y="1417"/>
                  </a:lnTo>
                  <a:lnTo>
                    <a:pt x="35" y="1417"/>
                  </a:lnTo>
                  <a:lnTo>
                    <a:pt x="242" y="1694"/>
                  </a:lnTo>
                  <a:lnTo>
                    <a:pt x="588" y="2143"/>
                  </a:lnTo>
                  <a:lnTo>
                    <a:pt x="830" y="2385"/>
                  </a:lnTo>
                  <a:lnTo>
                    <a:pt x="1072" y="2627"/>
                  </a:lnTo>
                  <a:lnTo>
                    <a:pt x="1348" y="2834"/>
                  </a:lnTo>
                  <a:lnTo>
                    <a:pt x="1625" y="3007"/>
                  </a:lnTo>
                  <a:lnTo>
                    <a:pt x="1625" y="3007"/>
                  </a:lnTo>
                  <a:lnTo>
                    <a:pt x="1694" y="2488"/>
                  </a:lnTo>
                  <a:lnTo>
                    <a:pt x="1763" y="1935"/>
                  </a:lnTo>
                  <a:lnTo>
                    <a:pt x="1832" y="1313"/>
                  </a:lnTo>
                  <a:lnTo>
                    <a:pt x="1970" y="657"/>
                  </a:lnTo>
                  <a:lnTo>
                    <a:pt x="1970" y="657"/>
                  </a:lnTo>
                  <a:lnTo>
                    <a:pt x="1970" y="657"/>
                  </a:lnTo>
                  <a:lnTo>
                    <a:pt x="1970" y="657"/>
                  </a:lnTo>
                  <a:lnTo>
                    <a:pt x="1728" y="450"/>
                  </a:lnTo>
                  <a:lnTo>
                    <a:pt x="1590" y="346"/>
                  </a:lnTo>
                  <a:lnTo>
                    <a:pt x="1452" y="311"/>
                  </a:lnTo>
                  <a:lnTo>
                    <a:pt x="1452" y="311"/>
                  </a:lnTo>
                  <a:lnTo>
                    <a:pt x="1072" y="277"/>
                  </a:lnTo>
                  <a:lnTo>
                    <a:pt x="865" y="208"/>
                  </a:lnTo>
                  <a:lnTo>
                    <a:pt x="761" y="173"/>
                  </a:lnTo>
                  <a:lnTo>
                    <a:pt x="692" y="104"/>
                  </a:lnTo>
                  <a:lnTo>
                    <a:pt x="692" y="104"/>
                  </a:lnTo>
                  <a:lnTo>
                    <a:pt x="623" y="35"/>
                  </a:lnTo>
                  <a:lnTo>
                    <a:pt x="553"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43" name="Google Shape;2472;p11">
              <a:extLst>
                <a:ext uri="{FF2B5EF4-FFF2-40B4-BE49-F238E27FC236}">
                  <a16:creationId xmlns:a16="http://schemas.microsoft.com/office/drawing/2014/main" id="{A4A1774E-88D2-626A-93B4-1E44289624DF}"/>
                </a:ext>
              </a:extLst>
            </p:cNvPr>
            <p:cNvSpPr/>
            <p:nvPr/>
          </p:nvSpPr>
          <p:spPr>
            <a:xfrm>
              <a:off x="1243300" y="2803925"/>
              <a:ext cx="171950" cy="188350"/>
            </a:xfrm>
            <a:custGeom>
              <a:avLst/>
              <a:gdLst/>
              <a:ahLst/>
              <a:cxnLst/>
              <a:rect l="l" t="t" r="r" b="b"/>
              <a:pathLst>
                <a:path w="6878" h="7534" extrusionOk="0">
                  <a:moveTo>
                    <a:pt x="312" y="1"/>
                  </a:moveTo>
                  <a:lnTo>
                    <a:pt x="105" y="968"/>
                  </a:lnTo>
                  <a:lnTo>
                    <a:pt x="1" y="1763"/>
                  </a:lnTo>
                  <a:lnTo>
                    <a:pt x="1" y="2385"/>
                  </a:lnTo>
                  <a:lnTo>
                    <a:pt x="36" y="2903"/>
                  </a:lnTo>
                  <a:lnTo>
                    <a:pt x="139" y="3283"/>
                  </a:lnTo>
                  <a:lnTo>
                    <a:pt x="243" y="3629"/>
                  </a:lnTo>
                  <a:lnTo>
                    <a:pt x="381" y="3871"/>
                  </a:lnTo>
                  <a:lnTo>
                    <a:pt x="485" y="4078"/>
                  </a:lnTo>
                  <a:lnTo>
                    <a:pt x="588" y="4182"/>
                  </a:lnTo>
                  <a:lnTo>
                    <a:pt x="761" y="4320"/>
                  </a:lnTo>
                  <a:lnTo>
                    <a:pt x="1314" y="4700"/>
                  </a:lnTo>
                  <a:lnTo>
                    <a:pt x="2109" y="5149"/>
                  </a:lnTo>
                  <a:lnTo>
                    <a:pt x="3007" y="5668"/>
                  </a:lnTo>
                  <a:lnTo>
                    <a:pt x="5046" y="6670"/>
                  </a:lnTo>
                  <a:lnTo>
                    <a:pt x="6878" y="7534"/>
                  </a:lnTo>
                  <a:lnTo>
                    <a:pt x="6878" y="7534"/>
                  </a:lnTo>
                  <a:lnTo>
                    <a:pt x="5012" y="6359"/>
                  </a:lnTo>
                  <a:lnTo>
                    <a:pt x="3526" y="5357"/>
                  </a:lnTo>
                  <a:lnTo>
                    <a:pt x="2938" y="4942"/>
                  </a:lnTo>
                  <a:lnTo>
                    <a:pt x="2420" y="4527"/>
                  </a:lnTo>
                  <a:lnTo>
                    <a:pt x="1971" y="4113"/>
                  </a:lnTo>
                  <a:lnTo>
                    <a:pt x="1591" y="3733"/>
                  </a:lnTo>
                  <a:lnTo>
                    <a:pt x="1280" y="3352"/>
                  </a:lnTo>
                  <a:lnTo>
                    <a:pt x="1038" y="2972"/>
                  </a:lnTo>
                  <a:lnTo>
                    <a:pt x="830" y="2558"/>
                  </a:lnTo>
                  <a:lnTo>
                    <a:pt x="658" y="2108"/>
                  </a:lnTo>
                  <a:lnTo>
                    <a:pt x="519" y="1659"/>
                  </a:lnTo>
                  <a:lnTo>
                    <a:pt x="416" y="1175"/>
                  </a:lnTo>
                  <a:lnTo>
                    <a:pt x="347" y="623"/>
                  </a:lnTo>
                  <a:lnTo>
                    <a:pt x="312" y="1"/>
                  </a:lnTo>
                  <a:close/>
                </a:path>
              </a:pathLst>
            </a:custGeom>
            <a:solidFill>
              <a:srgbClr val="C18C1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44" name="Google Shape;2473;p11">
              <a:extLst>
                <a:ext uri="{FF2B5EF4-FFF2-40B4-BE49-F238E27FC236}">
                  <a16:creationId xmlns:a16="http://schemas.microsoft.com/office/drawing/2014/main" id="{0FD47295-A3AA-54C2-CD42-16993AC3C08A}"/>
                </a:ext>
              </a:extLst>
            </p:cNvPr>
            <p:cNvSpPr/>
            <p:nvPr/>
          </p:nvSpPr>
          <p:spPr>
            <a:xfrm>
              <a:off x="1243300" y="2803925"/>
              <a:ext cx="171950" cy="188350"/>
            </a:xfrm>
            <a:custGeom>
              <a:avLst/>
              <a:gdLst/>
              <a:ahLst/>
              <a:cxnLst/>
              <a:rect l="l" t="t" r="r" b="b"/>
              <a:pathLst>
                <a:path w="6878" h="7534" fill="none" extrusionOk="0">
                  <a:moveTo>
                    <a:pt x="312" y="1"/>
                  </a:moveTo>
                  <a:lnTo>
                    <a:pt x="312" y="1"/>
                  </a:lnTo>
                  <a:lnTo>
                    <a:pt x="105" y="968"/>
                  </a:lnTo>
                  <a:lnTo>
                    <a:pt x="1" y="1763"/>
                  </a:lnTo>
                  <a:lnTo>
                    <a:pt x="1" y="2385"/>
                  </a:lnTo>
                  <a:lnTo>
                    <a:pt x="36" y="2903"/>
                  </a:lnTo>
                  <a:lnTo>
                    <a:pt x="139" y="3283"/>
                  </a:lnTo>
                  <a:lnTo>
                    <a:pt x="243" y="3629"/>
                  </a:lnTo>
                  <a:lnTo>
                    <a:pt x="381" y="3871"/>
                  </a:lnTo>
                  <a:lnTo>
                    <a:pt x="485" y="4078"/>
                  </a:lnTo>
                  <a:lnTo>
                    <a:pt x="485" y="4078"/>
                  </a:lnTo>
                  <a:lnTo>
                    <a:pt x="588" y="4182"/>
                  </a:lnTo>
                  <a:lnTo>
                    <a:pt x="761" y="4320"/>
                  </a:lnTo>
                  <a:lnTo>
                    <a:pt x="1314" y="4700"/>
                  </a:lnTo>
                  <a:lnTo>
                    <a:pt x="2109" y="5149"/>
                  </a:lnTo>
                  <a:lnTo>
                    <a:pt x="3007" y="5668"/>
                  </a:lnTo>
                  <a:lnTo>
                    <a:pt x="5046" y="6670"/>
                  </a:lnTo>
                  <a:lnTo>
                    <a:pt x="6878" y="7534"/>
                  </a:lnTo>
                  <a:lnTo>
                    <a:pt x="6878" y="7534"/>
                  </a:lnTo>
                  <a:lnTo>
                    <a:pt x="5012" y="6359"/>
                  </a:lnTo>
                  <a:lnTo>
                    <a:pt x="3526" y="5357"/>
                  </a:lnTo>
                  <a:lnTo>
                    <a:pt x="2938" y="4942"/>
                  </a:lnTo>
                  <a:lnTo>
                    <a:pt x="2420" y="4527"/>
                  </a:lnTo>
                  <a:lnTo>
                    <a:pt x="1971" y="4113"/>
                  </a:lnTo>
                  <a:lnTo>
                    <a:pt x="1591" y="3733"/>
                  </a:lnTo>
                  <a:lnTo>
                    <a:pt x="1280" y="3352"/>
                  </a:lnTo>
                  <a:lnTo>
                    <a:pt x="1038" y="2972"/>
                  </a:lnTo>
                  <a:lnTo>
                    <a:pt x="830" y="2558"/>
                  </a:lnTo>
                  <a:lnTo>
                    <a:pt x="658" y="2108"/>
                  </a:lnTo>
                  <a:lnTo>
                    <a:pt x="519" y="1659"/>
                  </a:lnTo>
                  <a:lnTo>
                    <a:pt x="416" y="1175"/>
                  </a:lnTo>
                  <a:lnTo>
                    <a:pt x="347" y="623"/>
                  </a:lnTo>
                  <a:lnTo>
                    <a:pt x="312"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45" name="Google Shape;2474;p11">
              <a:extLst>
                <a:ext uri="{FF2B5EF4-FFF2-40B4-BE49-F238E27FC236}">
                  <a16:creationId xmlns:a16="http://schemas.microsoft.com/office/drawing/2014/main" id="{E44023B5-B96B-FBEA-C8E9-223331F9D5BF}"/>
                </a:ext>
              </a:extLst>
            </p:cNvPr>
            <p:cNvSpPr/>
            <p:nvPr/>
          </p:nvSpPr>
          <p:spPr>
            <a:xfrm>
              <a:off x="1174200" y="3004350"/>
              <a:ext cx="25" cy="21625"/>
            </a:xfrm>
            <a:custGeom>
              <a:avLst/>
              <a:gdLst/>
              <a:ahLst/>
              <a:cxnLst/>
              <a:rect l="l" t="t" r="r" b="b"/>
              <a:pathLst>
                <a:path w="1" h="865" extrusionOk="0">
                  <a:moveTo>
                    <a:pt x="0" y="1"/>
                  </a:moveTo>
                  <a:lnTo>
                    <a:pt x="0" y="1"/>
                  </a:lnTo>
                  <a:lnTo>
                    <a:pt x="0" y="865"/>
                  </a:lnTo>
                  <a:lnTo>
                    <a:pt x="0" y="865"/>
                  </a:lnTo>
                  <a:lnTo>
                    <a:pt x="0" y="1"/>
                  </a:lnTo>
                  <a:lnTo>
                    <a:pt x="0" y="1"/>
                  </a:lnTo>
                  <a:lnTo>
                    <a:pt x="0" y="1"/>
                  </a:lnTo>
                  <a:close/>
                </a:path>
              </a:pathLst>
            </a:custGeom>
            <a:solidFill>
              <a:srgbClr val="C1C1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46" name="Google Shape;2475;p11">
              <a:extLst>
                <a:ext uri="{FF2B5EF4-FFF2-40B4-BE49-F238E27FC236}">
                  <a16:creationId xmlns:a16="http://schemas.microsoft.com/office/drawing/2014/main" id="{54D6675B-8F65-BCC8-9B69-319CC72D8149}"/>
                </a:ext>
              </a:extLst>
            </p:cNvPr>
            <p:cNvSpPr/>
            <p:nvPr/>
          </p:nvSpPr>
          <p:spPr>
            <a:xfrm>
              <a:off x="1174200" y="3004350"/>
              <a:ext cx="25" cy="21625"/>
            </a:xfrm>
            <a:custGeom>
              <a:avLst/>
              <a:gdLst/>
              <a:ahLst/>
              <a:cxnLst/>
              <a:rect l="l" t="t" r="r" b="b"/>
              <a:pathLst>
                <a:path w="1" h="865" fill="none" extrusionOk="0">
                  <a:moveTo>
                    <a:pt x="0" y="1"/>
                  </a:moveTo>
                  <a:lnTo>
                    <a:pt x="0" y="1"/>
                  </a:lnTo>
                  <a:lnTo>
                    <a:pt x="0" y="865"/>
                  </a:lnTo>
                  <a:lnTo>
                    <a:pt x="0" y="865"/>
                  </a:lnTo>
                  <a:lnTo>
                    <a:pt x="0" y="1"/>
                  </a:lnTo>
                  <a:lnTo>
                    <a:pt x="0" y="1"/>
                  </a:lnTo>
                  <a:lnTo>
                    <a:pt x="0"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47" name="Google Shape;2476;p11">
              <a:extLst>
                <a:ext uri="{FF2B5EF4-FFF2-40B4-BE49-F238E27FC236}">
                  <a16:creationId xmlns:a16="http://schemas.microsoft.com/office/drawing/2014/main" id="{AA03065D-2C89-B053-ED30-9DA8CEB411E3}"/>
                </a:ext>
              </a:extLst>
            </p:cNvPr>
            <p:cNvSpPr/>
            <p:nvPr/>
          </p:nvSpPr>
          <p:spPr>
            <a:xfrm>
              <a:off x="1173325" y="3004350"/>
              <a:ext cx="310175" cy="120975"/>
            </a:xfrm>
            <a:custGeom>
              <a:avLst/>
              <a:gdLst/>
              <a:ahLst/>
              <a:cxnLst/>
              <a:rect l="l" t="t" r="r" b="b"/>
              <a:pathLst>
                <a:path w="12407" h="4839" extrusionOk="0">
                  <a:moveTo>
                    <a:pt x="35" y="1"/>
                  </a:moveTo>
                  <a:lnTo>
                    <a:pt x="35" y="865"/>
                  </a:lnTo>
                  <a:lnTo>
                    <a:pt x="1" y="1279"/>
                  </a:lnTo>
                  <a:lnTo>
                    <a:pt x="35" y="1279"/>
                  </a:lnTo>
                  <a:lnTo>
                    <a:pt x="243" y="1314"/>
                  </a:lnTo>
                  <a:lnTo>
                    <a:pt x="727" y="1417"/>
                  </a:lnTo>
                  <a:lnTo>
                    <a:pt x="2143" y="1832"/>
                  </a:lnTo>
                  <a:lnTo>
                    <a:pt x="6256" y="3042"/>
                  </a:lnTo>
                  <a:lnTo>
                    <a:pt x="10333" y="4286"/>
                  </a:lnTo>
                  <a:lnTo>
                    <a:pt x="11750" y="4666"/>
                  </a:lnTo>
                  <a:lnTo>
                    <a:pt x="12165" y="4804"/>
                  </a:lnTo>
                  <a:lnTo>
                    <a:pt x="12407" y="4838"/>
                  </a:lnTo>
                  <a:lnTo>
                    <a:pt x="10506" y="4078"/>
                  </a:lnTo>
                  <a:lnTo>
                    <a:pt x="6256" y="2489"/>
                  </a:lnTo>
                  <a:lnTo>
                    <a:pt x="1971" y="830"/>
                  </a:lnTo>
                  <a:lnTo>
                    <a:pt x="588" y="277"/>
                  </a:lnTo>
                  <a:lnTo>
                    <a:pt x="174" y="70"/>
                  </a:lnTo>
                  <a:lnTo>
                    <a:pt x="35" y="1"/>
                  </a:lnTo>
                  <a:close/>
                </a:path>
              </a:pathLst>
            </a:custGeom>
            <a:solidFill>
              <a:srgbClr val="C18C1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48" name="Google Shape;2477;p11">
              <a:extLst>
                <a:ext uri="{FF2B5EF4-FFF2-40B4-BE49-F238E27FC236}">
                  <a16:creationId xmlns:a16="http://schemas.microsoft.com/office/drawing/2014/main" id="{4306DA56-5B9E-FBE9-EF3B-67C696074FCC}"/>
                </a:ext>
              </a:extLst>
            </p:cNvPr>
            <p:cNvSpPr/>
            <p:nvPr/>
          </p:nvSpPr>
          <p:spPr>
            <a:xfrm>
              <a:off x="1173325" y="3004350"/>
              <a:ext cx="310175" cy="120975"/>
            </a:xfrm>
            <a:custGeom>
              <a:avLst/>
              <a:gdLst/>
              <a:ahLst/>
              <a:cxnLst/>
              <a:rect l="l" t="t" r="r" b="b"/>
              <a:pathLst>
                <a:path w="12407" h="4839" fill="none" extrusionOk="0">
                  <a:moveTo>
                    <a:pt x="35" y="1"/>
                  </a:moveTo>
                  <a:lnTo>
                    <a:pt x="35" y="1"/>
                  </a:lnTo>
                  <a:lnTo>
                    <a:pt x="35" y="865"/>
                  </a:lnTo>
                  <a:lnTo>
                    <a:pt x="35" y="865"/>
                  </a:lnTo>
                  <a:lnTo>
                    <a:pt x="1" y="1279"/>
                  </a:lnTo>
                  <a:lnTo>
                    <a:pt x="1" y="1279"/>
                  </a:lnTo>
                  <a:lnTo>
                    <a:pt x="35" y="1279"/>
                  </a:lnTo>
                  <a:lnTo>
                    <a:pt x="35" y="1279"/>
                  </a:lnTo>
                  <a:lnTo>
                    <a:pt x="243" y="1314"/>
                  </a:lnTo>
                  <a:lnTo>
                    <a:pt x="727" y="1417"/>
                  </a:lnTo>
                  <a:lnTo>
                    <a:pt x="2143" y="1832"/>
                  </a:lnTo>
                  <a:lnTo>
                    <a:pt x="6256" y="3042"/>
                  </a:lnTo>
                  <a:lnTo>
                    <a:pt x="6256" y="3042"/>
                  </a:lnTo>
                  <a:lnTo>
                    <a:pt x="10333" y="4286"/>
                  </a:lnTo>
                  <a:lnTo>
                    <a:pt x="11750" y="4666"/>
                  </a:lnTo>
                  <a:lnTo>
                    <a:pt x="12165" y="4804"/>
                  </a:lnTo>
                  <a:lnTo>
                    <a:pt x="12407" y="4838"/>
                  </a:lnTo>
                  <a:lnTo>
                    <a:pt x="12407" y="4838"/>
                  </a:lnTo>
                  <a:lnTo>
                    <a:pt x="12407" y="4838"/>
                  </a:lnTo>
                  <a:lnTo>
                    <a:pt x="12407" y="4838"/>
                  </a:lnTo>
                  <a:lnTo>
                    <a:pt x="10506" y="4078"/>
                  </a:lnTo>
                  <a:lnTo>
                    <a:pt x="6256" y="2489"/>
                  </a:lnTo>
                  <a:lnTo>
                    <a:pt x="1971" y="830"/>
                  </a:lnTo>
                  <a:lnTo>
                    <a:pt x="588" y="277"/>
                  </a:lnTo>
                  <a:lnTo>
                    <a:pt x="174" y="70"/>
                  </a:lnTo>
                  <a:lnTo>
                    <a:pt x="35"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49" name="Google Shape;2478;p11">
              <a:extLst>
                <a:ext uri="{FF2B5EF4-FFF2-40B4-BE49-F238E27FC236}">
                  <a16:creationId xmlns:a16="http://schemas.microsoft.com/office/drawing/2014/main" id="{36D05790-C42D-46B9-3C49-487FD2FFB29F}"/>
                </a:ext>
              </a:extLst>
            </p:cNvPr>
            <p:cNvSpPr/>
            <p:nvPr/>
          </p:nvSpPr>
          <p:spPr>
            <a:xfrm>
              <a:off x="1481750" y="2769375"/>
              <a:ext cx="1750" cy="3475"/>
            </a:xfrm>
            <a:custGeom>
              <a:avLst/>
              <a:gdLst/>
              <a:ahLst/>
              <a:cxnLst/>
              <a:rect l="l" t="t" r="r" b="b"/>
              <a:pathLst>
                <a:path w="70" h="139" extrusionOk="0">
                  <a:moveTo>
                    <a:pt x="1" y="0"/>
                  </a:moveTo>
                  <a:lnTo>
                    <a:pt x="70" y="138"/>
                  </a:lnTo>
                  <a:lnTo>
                    <a:pt x="35" y="0"/>
                  </a:lnTo>
                  <a:close/>
                </a:path>
              </a:pathLst>
            </a:custGeom>
            <a:solidFill>
              <a:srgbClr val="C1C1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50" name="Google Shape;2479;p11">
              <a:extLst>
                <a:ext uri="{FF2B5EF4-FFF2-40B4-BE49-F238E27FC236}">
                  <a16:creationId xmlns:a16="http://schemas.microsoft.com/office/drawing/2014/main" id="{B0D663FA-A3AB-77F8-8DF1-D620FB234273}"/>
                </a:ext>
              </a:extLst>
            </p:cNvPr>
            <p:cNvSpPr/>
            <p:nvPr/>
          </p:nvSpPr>
          <p:spPr>
            <a:xfrm>
              <a:off x="1481750" y="2769375"/>
              <a:ext cx="1750" cy="3475"/>
            </a:xfrm>
            <a:custGeom>
              <a:avLst/>
              <a:gdLst/>
              <a:ahLst/>
              <a:cxnLst/>
              <a:rect l="l" t="t" r="r" b="b"/>
              <a:pathLst>
                <a:path w="70" h="139" fill="none" extrusionOk="0">
                  <a:moveTo>
                    <a:pt x="35" y="0"/>
                  </a:moveTo>
                  <a:lnTo>
                    <a:pt x="35" y="0"/>
                  </a:lnTo>
                  <a:lnTo>
                    <a:pt x="1" y="0"/>
                  </a:lnTo>
                  <a:lnTo>
                    <a:pt x="1" y="0"/>
                  </a:lnTo>
                  <a:lnTo>
                    <a:pt x="70" y="138"/>
                  </a:lnTo>
                  <a:lnTo>
                    <a:pt x="70" y="138"/>
                  </a:lnTo>
                  <a:lnTo>
                    <a:pt x="35" y="0"/>
                  </a:lnTo>
                  <a:lnTo>
                    <a:pt x="35" y="0"/>
                  </a:lnTo>
                  <a:lnTo>
                    <a:pt x="35"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51" name="Google Shape;2480;p11">
              <a:extLst>
                <a:ext uri="{FF2B5EF4-FFF2-40B4-BE49-F238E27FC236}">
                  <a16:creationId xmlns:a16="http://schemas.microsoft.com/office/drawing/2014/main" id="{745B20C7-B49C-FF89-D49A-BE384AD72DB5}"/>
                </a:ext>
              </a:extLst>
            </p:cNvPr>
            <p:cNvSpPr/>
            <p:nvPr/>
          </p:nvSpPr>
          <p:spPr>
            <a:xfrm>
              <a:off x="1410050" y="2691625"/>
              <a:ext cx="72600" cy="77775"/>
            </a:xfrm>
            <a:custGeom>
              <a:avLst/>
              <a:gdLst/>
              <a:ahLst/>
              <a:cxnLst/>
              <a:rect l="l" t="t" r="r" b="b"/>
              <a:pathLst>
                <a:path w="2904" h="3111" extrusionOk="0">
                  <a:moveTo>
                    <a:pt x="0" y="0"/>
                  </a:moveTo>
                  <a:lnTo>
                    <a:pt x="830" y="760"/>
                  </a:lnTo>
                  <a:lnTo>
                    <a:pt x="1521" y="1382"/>
                  </a:lnTo>
                  <a:lnTo>
                    <a:pt x="1866" y="1728"/>
                  </a:lnTo>
                  <a:lnTo>
                    <a:pt x="2177" y="2108"/>
                  </a:lnTo>
                  <a:lnTo>
                    <a:pt x="2523" y="2557"/>
                  </a:lnTo>
                  <a:lnTo>
                    <a:pt x="2869" y="3110"/>
                  </a:lnTo>
                  <a:lnTo>
                    <a:pt x="2903" y="3110"/>
                  </a:lnTo>
                  <a:lnTo>
                    <a:pt x="2454" y="1970"/>
                  </a:lnTo>
                  <a:lnTo>
                    <a:pt x="2177" y="1313"/>
                  </a:lnTo>
                  <a:lnTo>
                    <a:pt x="2074" y="933"/>
                  </a:lnTo>
                  <a:lnTo>
                    <a:pt x="1832" y="795"/>
                  </a:lnTo>
                  <a:lnTo>
                    <a:pt x="1244" y="484"/>
                  </a:lnTo>
                  <a:lnTo>
                    <a:pt x="553" y="173"/>
                  </a:lnTo>
                  <a:lnTo>
                    <a:pt x="242" y="69"/>
                  </a:lnTo>
                  <a:lnTo>
                    <a:pt x="0" y="0"/>
                  </a:lnTo>
                  <a:close/>
                </a:path>
              </a:pathLst>
            </a:custGeom>
            <a:solidFill>
              <a:srgbClr val="C18C1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52" name="Google Shape;2481;p11">
              <a:extLst>
                <a:ext uri="{FF2B5EF4-FFF2-40B4-BE49-F238E27FC236}">
                  <a16:creationId xmlns:a16="http://schemas.microsoft.com/office/drawing/2014/main" id="{698FA6BF-6378-F0E6-D070-E3486FB0485B}"/>
                </a:ext>
              </a:extLst>
            </p:cNvPr>
            <p:cNvSpPr/>
            <p:nvPr/>
          </p:nvSpPr>
          <p:spPr>
            <a:xfrm>
              <a:off x="1410050" y="2691625"/>
              <a:ext cx="72600" cy="77775"/>
            </a:xfrm>
            <a:custGeom>
              <a:avLst/>
              <a:gdLst/>
              <a:ahLst/>
              <a:cxnLst/>
              <a:rect l="l" t="t" r="r" b="b"/>
              <a:pathLst>
                <a:path w="2904" h="3111" fill="none" extrusionOk="0">
                  <a:moveTo>
                    <a:pt x="0" y="0"/>
                  </a:moveTo>
                  <a:lnTo>
                    <a:pt x="0" y="0"/>
                  </a:lnTo>
                  <a:lnTo>
                    <a:pt x="830" y="760"/>
                  </a:lnTo>
                  <a:lnTo>
                    <a:pt x="1521" y="1382"/>
                  </a:lnTo>
                  <a:lnTo>
                    <a:pt x="1866" y="1728"/>
                  </a:lnTo>
                  <a:lnTo>
                    <a:pt x="2177" y="2108"/>
                  </a:lnTo>
                  <a:lnTo>
                    <a:pt x="2523" y="2557"/>
                  </a:lnTo>
                  <a:lnTo>
                    <a:pt x="2869" y="3110"/>
                  </a:lnTo>
                  <a:lnTo>
                    <a:pt x="2869" y="3110"/>
                  </a:lnTo>
                  <a:lnTo>
                    <a:pt x="2903" y="3110"/>
                  </a:lnTo>
                  <a:lnTo>
                    <a:pt x="2903" y="3110"/>
                  </a:lnTo>
                  <a:lnTo>
                    <a:pt x="2903" y="3110"/>
                  </a:lnTo>
                  <a:lnTo>
                    <a:pt x="2903" y="3110"/>
                  </a:lnTo>
                  <a:lnTo>
                    <a:pt x="2454" y="1970"/>
                  </a:lnTo>
                  <a:lnTo>
                    <a:pt x="2177" y="1313"/>
                  </a:lnTo>
                  <a:lnTo>
                    <a:pt x="2074" y="933"/>
                  </a:lnTo>
                  <a:lnTo>
                    <a:pt x="2074" y="933"/>
                  </a:lnTo>
                  <a:lnTo>
                    <a:pt x="1832" y="795"/>
                  </a:lnTo>
                  <a:lnTo>
                    <a:pt x="1244" y="484"/>
                  </a:lnTo>
                  <a:lnTo>
                    <a:pt x="553" y="173"/>
                  </a:lnTo>
                  <a:lnTo>
                    <a:pt x="242" y="69"/>
                  </a:lnTo>
                  <a:lnTo>
                    <a:pt x="0"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53" name="Google Shape;2482;p11">
              <a:extLst>
                <a:ext uri="{FF2B5EF4-FFF2-40B4-BE49-F238E27FC236}">
                  <a16:creationId xmlns:a16="http://schemas.microsoft.com/office/drawing/2014/main" id="{B79095C6-1002-9950-B44F-19995CD3336D}"/>
                </a:ext>
              </a:extLst>
            </p:cNvPr>
            <p:cNvSpPr/>
            <p:nvPr/>
          </p:nvSpPr>
          <p:spPr>
            <a:xfrm>
              <a:off x="1150875" y="3134800"/>
              <a:ext cx="12125" cy="48400"/>
            </a:xfrm>
            <a:custGeom>
              <a:avLst/>
              <a:gdLst/>
              <a:ahLst/>
              <a:cxnLst/>
              <a:rect l="l" t="t" r="r" b="b"/>
              <a:pathLst>
                <a:path w="485" h="1936" extrusionOk="0">
                  <a:moveTo>
                    <a:pt x="484" y="1"/>
                  </a:moveTo>
                  <a:lnTo>
                    <a:pt x="484" y="1"/>
                  </a:lnTo>
                  <a:lnTo>
                    <a:pt x="277" y="968"/>
                  </a:lnTo>
                  <a:lnTo>
                    <a:pt x="0" y="1936"/>
                  </a:lnTo>
                  <a:lnTo>
                    <a:pt x="0" y="1936"/>
                  </a:lnTo>
                  <a:lnTo>
                    <a:pt x="277" y="968"/>
                  </a:lnTo>
                  <a:lnTo>
                    <a:pt x="484" y="1"/>
                  </a:lnTo>
                  <a:close/>
                </a:path>
              </a:pathLst>
            </a:custGeom>
            <a:solidFill>
              <a:srgbClr val="E6E6E9"/>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54" name="Google Shape;2483;p11">
              <a:extLst>
                <a:ext uri="{FF2B5EF4-FFF2-40B4-BE49-F238E27FC236}">
                  <a16:creationId xmlns:a16="http://schemas.microsoft.com/office/drawing/2014/main" id="{9D903389-CAA2-E601-C0EC-7FD04BDC06AB}"/>
                </a:ext>
              </a:extLst>
            </p:cNvPr>
            <p:cNvSpPr/>
            <p:nvPr/>
          </p:nvSpPr>
          <p:spPr>
            <a:xfrm>
              <a:off x="1150875" y="3134800"/>
              <a:ext cx="12125" cy="48400"/>
            </a:xfrm>
            <a:custGeom>
              <a:avLst/>
              <a:gdLst/>
              <a:ahLst/>
              <a:cxnLst/>
              <a:rect l="l" t="t" r="r" b="b"/>
              <a:pathLst>
                <a:path w="485" h="1936" fill="none" extrusionOk="0">
                  <a:moveTo>
                    <a:pt x="484" y="1"/>
                  </a:moveTo>
                  <a:lnTo>
                    <a:pt x="484" y="1"/>
                  </a:lnTo>
                  <a:lnTo>
                    <a:pt x="277" y="968"/>
                  </a:lnTo>
                  <a:lnTo>
                    <a:pt x="0" y="1936"/>
                  </a:lnTo>
                  <a:lnTo>
                    <a:pt x="0" y="1936"/>
                  </a:lnTo>
                  <a:lnTo>
                    <a:pt x="277" y="968"/>
                  </a:lnTo>
                  <a:lnTo>
                    <a:pt x="484"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55" name="Google Shape;2484;p11">
              <a:extLst>
                <a:ext uri="{FF2B5EF4-FFF2-40B4-BE49-F238E27FC236}">
                  <a16:creationId xmlns:a16="http://schemas.microsoft.com/office/drawing/2014/main" id="{D57ABCDB-B1B6-7162-6E57-F603362F3147}"/>
                </a:ext>
              </a:extLst>
            </p:cNvPr>
            <p:cNvSpPr/>
            <p:nvPr/>
          </p:nvSpPr>
          <p:spPr>
            <a:xfrm>
              <a:off x="785450" y="3273025"/>
              <a:ext cx="428525" cy="951200"/>
            </a:xfrm>
            <a:custGeom>
              <a:avLst/>
              <a:gdLst/>
              <a:ahLst/>
              <a:cxnLst/>
              <a:rect l="l" t="t" r="r" b="b"/>
              <a:pathLst>
                <a:path w="17141" h="38048" extrusionOk="0">
                  <a:moveTo>
                    <a:pt x="12890" y="1"/>
                  </a:moveTo>
                  <a:lnTo>
                    <a:pt x="12302" y="968"/>
                  </a:lnTo>
                  <a:lnTo>
                    <a:pt x="11784" y="1970"/>
                  </a:lnTo>
                  <a:lnTo>
                    <a:pt x="11335" y="2972"/>
                  </a:lnTo>
                  <a:lnTo>
                    <a:pt x="10920" y="3940"/>
                  </a:lnTo>
                  <a:lnTo>
                    <a:pt x="10574" y="4942"/>
                  </a:lnTo>
                  <a:lnTo>
                    <a:pt x="10263" y="5979"/>
                  </a:lnTo>
                  <a:lnTo>
                    <a:pt x="9987" y="6981"/>
                  </a:lnTo>
                  <a:lnTo>
                    <a:pt x="9710" y="7983"/>
                  </a:lnTo>
                  <a:lnTo>
                    <a:pt x="9503" y="9020"/>
                  </a:lnTo>
                  <a:lnTo>
                    <a:pt x="9296" y="10057"/>
                  </a:lnTo>
                  <a:lnTo>
                    <a:pt x="8950" y="12130"/>
                  </a:lnTo>
                  <a:lnTo>
                    <a:pt x="8639" y="14272"/>
                  </a:lnTo>
                  <a:lnTo>
                    <a:pt x="8294" y="16415"/>
                  </a:lnTo>
                  <a:lnTo>
                    <a:pt x="7914" y="18592"/>
                  </a:lnTo>
                  <a:lnTo>
                    <a:pt x="7672" y="19732"/>
                  </a:lnTo>
                  <a:lnTo>
                    <a:pt x="7430" y="20838"/>
                  </a:lnTo>
                  <a:lnTo>
                    <a:pt x="7119" y="21979"/>
                  </a:lnTo>
                  <a:lnTo>
                    <a:pt x="6773" y="23119"/>
                  </a:lnTo>
                  <a:lnTo>
                    <a:pt x="6393" y="24294"/>
                  </a:lnTo>
                  <a:lnTo>
                    <a:pt x="5944" y="25469"/>
                  </a:lnTo>
                  <a:lnTo>
                    <a:pt x="5460" y="26644"/>
                  </a:lnTo>
                  <a:lnTo>
                    <a:pt x="4907" y="27853"/>
                  </a:lnTo>
                  <a:lnTo>
                    <a:pt x="4285" y="29063"/>
                  </a:lnTo>
                  <a:lnTo>
                    <a:pt x="3594" y="30307"/>
                  </a:lnTo>
                  <a:lnTo>
                    <a:pt x="2834" y="31551"/>
                  </a:lnTo>
                  <a:lnTo>
                    <a:pt x="1970" y="32795"/>
                  </a:lnTo>
                  <a:lnTo>
                    <a:pt x="1037" y="34073"/>
                  </a:lnTo>
                  <a:lnTo>
                    <a:pt x="0" y="35386"/>
                  </a:lnTo>
                  <a:lnTo>
                    <a:pt x="207" y="35628"/>
                  </a:lnTo>
                  <a:lnTo>
                    <a:pt x="449" y="35836"/>
                  </a:lnTo>
                  <a:lnTo>
                    <a:pt x="726" y="36008"/>
                  </a:lnTo>
                  <a:lnTo>
                    <a:pt x="1002" y="36181"/>
                  </a:lnTo>
                  <a:lnTo>
                    <a:pt x="1313" y="36319"/>
                  </a:lnTo>
                  <a:lnTo>
                    <a:pt x="1659" y="36423"/>
                  </a:lnTo>
                  <a:lnTo>
                    <a:pt x="2004" y="36527"/>
                  </a:lnTo>
                  <a:lnTo>
                    <a:pt x="2350" y="36596"/>
                  </a:lnTo>
                  <a:lnTo>
                    <a:pt x="3110" y="36734"/>
                  </a:lnTo>
                  <a:lnTo>
                    <a:pt x="3905" y="36803"/>
                  </a:lnTo>
                  <a:lnTo>
                    <a:pt x="4769" y="36838"/>
                  </a:lnTo>
                  <a:lnTo>
                    <a:pt x="8674" y="36838"/>
                  </a:lnTo>
                  <a:lnTo>
                    <a:pt x="9192" y="36872"/>
                  </a:lnTo>
                  <a:lnTo>
                    <a:pt x="9676" y="36941"/>
                  </a:lnTo>
                  <a:lnTo>
                    <a:pt x="10125" y="37011"/>
                  </a:lnTo>
                  <a:lnTo>
                    <a:pt x="10540" y="37080"/>
                  </a:lnTo>
                  <a:lnTo>
                    <a:pt x="10954" y="37218"/>
                  </a:lnTo>
                  <a:lnTo>
                    <a:pt x="11300" y="37356"/>
                  </a:lnTo>
                  <a:lnTo>
                    <a:pt x="11646" y="37529"/>
                  </a:lnTo>
                  <a:lnTo>
                    <a:pt x="12095" y="37702"/>
                  </a:lnTo>
                  <a:lnTo>
                    <a:pt x="12613" y="37874"/>
                  </a:lnTo>
                  <a:lnTo>
                    <a:pt x="13235" y="38047"/>
                  </a:lnTo>
                  <a:lnTo>
                    <a:pt x="13650" y="37080"/>
                  </a:lnTo>
                  <a:lnTo>
                    <a:pt x="14030" y="36078"/>
                  </a:lnTo>
                  <a:lnTo>
                    <a:pt x="14410" y="35075"/>
                  </a:lnTo>
                  <a:lnTo>
                    <a:pt x="14756" y="34004"/>
                  </a:lnTo>
                  <a:lnTo>
                    <a:pt x="15032" y="32933"/>
                  </a:lnTo>
                  <a:lnTo>
                    <a:pt x="15343" y="31827"/>
                  </a:lnTo>
                  <a:lnTo>
                    <a:pt x="15585" y="30721"/>
                  </a:lnTo>
                  <a:lnTo>
                    <a:pt x="15827" y="29581"/>
                  </a:lnTo>
                  <a:lnTo>
                    <a:pt x="16034" y="28406"/>
                  </a:lnTo>
                  <a:lnTo>
                    <a:pt x="16242" y="27231"/>
                  </a:lnTo>
                  <a:lnTo>
                    <a:pt x="16414" y="26056"/>
                  </a:lnTo>
                  <a:lnTo>
                    <a:pt x="16553" y="24847"/>
                  </a:lnTo>
                  <a:lnTo>
                    <a:pt x="16795" y="22428"/>
                  </a:lnTo>
                  <a:lnTo>
                    <a:pt x="16967" y="19974"/>
                  </a:lnTo>
                  <a:lnTo>
                    <a:pt x="17071" y="17521"/>
                  </a:lnTo>
                  <a:lnTo>
                    <a:pt x="17140" y="15033"/>
                  </a:lnTo>
                  <a:lnTo>
                    <a:pt x="17106" y="12614"/>
                  </a:lnTo>
                  <a:lnTo>
                    <a:pt x="17036" y="10195"/>
                  </a:lnTo>
                  <a:lnTo>
                    <a:pt x="16933" y="7810"/>
                  </a:lnTo>
                  <a:lnTo>
                    <a:pt x="16795" y="5495"/>
                  </a:lnTo>
                  <a:lnTo>
                    <a:pt x="16622" y="3283"/>
                  </a:lnTo>
                  <a:lnTo>
                    <a:pt x="16414" y="1141"/>
                  </a:lnTo>
                  <a:lnTo>
                    <a:pt x="15585" y="1072"/>
                  </a:lnTo>
                  <a:lnTo>
                    <a:pt x="14859" y="968"/>
                  </a:lnTo>
                  <a:lnTo>
                    <a:pt x="14203" y="865"/>
                  </a:lnTo>
                  <a:lnTo>
                    <a:pt x="13650" y="761"/>
                  </a:lnTo>
                  <a:lnTo>
                    <a:pt x="13235" y="588"/>
                  </a:lnTo>
                  <a:lnTo>
                    <a:pt x="13097" y="519"/>
                  </a:lnTo>
                  <a:lnTo>
                    <a:pt x="12959" y="415"/>
                  </a:lnTo>
                  <a:lnTo>
                    <a:pt x="12890" y="312"/>
                  </a:lnTo>
                  <a:lnTo>
                    <a:pt x="12855" y="208"/>
                  </a:lnTo>
                  <a:lnTo>
                    <a:pt x="12855" y="104"/>
                  </a:lnTo>
                  <a:lnTo>
                    <a:pt x="12890" y="1"/>
                  </a:lnTo>
                  <a:close/>
                </a:path>
              </a:pathLst>
            </a:custGeom>
            <a:solidFill>
              <a:srgbClr val="BD450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56" name="Google Shape;2485;p11">
              <a:extLst>
                <a:ext uri="{FF2B5EF4-FFF2-40B4-BE49-F238E27FC236}">
                  <a16:creationId xmlns:a16="http://schemas.microsoft.com/office/drawing/2014/main" id="{87B51669-7852-3BFC-93A8-15942DDE6DBF}"/>
                </a:ext>
              </a:extLst>
            </p:cNvPr>
            <p:cNvSpPr/>
            <p:nvPr/>
          </p:nvSpPr>
          <p:spPr>
            <a:xfrm>
              <a:off x="785450" y="3273025"/>
              <a:ext cx="428525" cy="951200"/>
            </a:xfrm>
            <a:custGeom>
              <a:avLst/>
              <a:gdLst/>
              <a:ahLst/>
              <a:cxnLst/>
              <a:rect l="l" t="t" r="r" b="b"/>
              <a:pathLst>
                <a:path w="17141" h="38048" fill="none" extrusionOk="0">
                  <a:moveTo>
                    <a:pt x="12890" y="1"/>
                  </a:moveTo>
                  <a:lnTo>
                    <a:pt x="12890" y="1"/>
                  </a:lnTo>
                  <a:lnTo>
                    <a:pt x="12302" y="968"/>
                  </a:lnTo>
                  <a:lnTo>
                    <a:pt x="11784" y="1970"/>
                  </a:lnTo>
                  <a:lnTo>
                    <a:pt x="11335" y="2972"/>
                  </a:lnTo>
                  <a:lnTo>
                    <a:pt x="10920" y="3940"/>
                  </a:lnTo>
                  <a:lnTo>
                    <a:pt x="10574" y="4942"/>
                  </a:lnTo>
                  <a:lnTo>
                    <a:pt x="10263" y="5979"/>
                  </a:lnTo>
                  <a:lnTo>
                    <a:pt x="9987" y="6981"/>
                  </a:lnTo>
                  <a:lnTo>
                    <a:pt x="9710" y="7983"/>
                  </a:lnTo>
                  <a:lnTo>
                    <a:pt x="9503" y="9020"/>
                  </a:lnTo>
                  <a:lnTo>
                    <a:pt x="9296" y="10057"/>
                  </a:lnTo>
                  <a:lnTo>
                    <a:pt x="8950" y="12130"/>
                  </a:lnTo>
                  <a:lnTo>
                    <a:pt x="8639" y="14272"/>
                  </a:lnTo>
                  <a:lnTo>
                    <a:pt x="8294" y="16415"/>
                  </a:lnTo>
                  <a:lnTo>
                    <a:pt x="7914" y="18592"/>
                  </a:lnTo>
                  <a:lnTo>
                    <a:pt x="7672" y="19732"/>
                  </a:lnTo>
                  <a:lnTo>
                    <a:pt x="7430" y="20838"/>
                  </a:lnTo>
                  <a:lnTo>
                    <a:pt x="7119" y="21979"/>
                  </a:lnTo>
                  <a:lnTo>
                    <a:pt x="6773" y="23119"/>
                  </a:lnTo>
                  <a:lnTo>
                    <a:pt x="6393" y="24294"/>
                  </a:lnTo>
                  <a:lnTo>
                    <a:pt x="5944" y="25469"/>
                  </a:lnTo>
                  <a:lnTo>
                    <a:pt x="5460" y="26644"/>
                  </a:lnTo>
                  <a:lnTo>
                    <a:pt x="4907" y="27853"/>
                  </a:lnTo>
                  <a:lnTo>
                    <a:pt x="4285" y="29063"/>
                  </a:lnTo>
                  <a:lnTo>
                    <a:pt x="3594" y="30307"/>
                  </a:lnTo>
                  <a:lnTo>
                    <a:pt x="2834" y="31551"/>
                  </a:lnTo>
                  <a:lnTo>
                    <a:pt x="1970" y="32795"/>
                  </a:lnTo>
                  <a:lnTo>
                    <a:pt x="1037" y="34073"/>
                  </a:lnTo>
                  <a:lnTo>
                    <a:pt x="0" y="35386"/>
                  </a:lnTo>
                  <a:lnTo>
                    <a:pt x="0" y="35386"/>
                  </a:lnTo>
                  <a:lnTo>
                    <a:pt x="207" y="35628"/>
                  </a:lnTo>
                  <a:lnTo>
                    <a:pt x="449" y="35836"/>
                  </a:lnTo>
                  <a:lnTo>
                    <a:pt x="726" y="36008"/>
                  </a:lnTo>
                  <a:lnTo>
                    <a:pt x="1002" y="36181"/>
                  </a:lnTo>
                  <a:lnTo>
                    <a:pt x="1313" y="36319"/>
                  </a:lnTo>
                  <a:lnTo>
                    <a:pt x="1659" y="36423"/>
                  </a:lnTo>
                  <a:lnTo>
                    <a:pt x="2004" y="36527"/>
                  </a:lnTo>
                  <a:lnTo>
                    <a:pt x="2350" y="36596"/>
                  </a:lnTo>
                  <a:lnTo>
                    <a:pt x="3110" y="36734"/>
                  </a:lnTo>
                  <a:lnTo>
                    <a:pt x="3905" y="36803"/>
                  </a:lnTo>
                  <a:lnTo>
                    <a:pt x="4769" y="36838"/>
                  </a:lnTo>
                  <a:lnTo>
                    <a:pt x="5598" y="36838"/>
                  </a:lnTo>
                  <a:lnTo>
                    <a:pt x="5598" y="36838"/>
                  </a:lnTo>
                  <a:lnTo>
                    <a:pt x="6600" y="36838"/>
                  </a:lnTo>
                  <a:lnTo>
                    <a:pt x="6600" y="36838"/>
                  </a:lnTo>
                  <a:lnTo>
                    <a:pt x="7568" y="36838"/>
                  </a:lnTo>
                  <a:lnTo>
                    <a:pt x="7568" y="36838"/>
                  </a:lnTo>
                  <a:lnTo>
                    <a:pt x="8674" y="36838"/>
                  </a:lnTo>
                  <a:lnTo>
                    <a:pt x="9192" y="36872"/>
                  </a:lnTo>
                  <a:lnTo>
                    <a:pt x="9676" y="36941"/>
                  </a:lnTo>
                  <a:lnTo>
                    <a:pt x="10125" y="37011"/>
                  </a:lnTo>
                  <a:lnTo>
                    <a:pt x="10540" y="37080"/>
                  </a:lnTo>
                  <a:lnTo>
                    <a:pt x="10954" y="37218"/>
                  </a:lnTo>
                  <a:lnTo>
                    <a:pt x="11300" y="37356"/>
                  </a:lnTo>
                  <a:lnTo>
                    <a:pt x="11300" y="37356"/>
                  </a:lnTo>
                  <a:lnTo>
                    <a:pt x="11646" y="37529"/>
                  </a:lnTo>
                  <a:lnTo>
                    <a:pt x="12095" y="37702"/>
                  </a:lnTo>
                  <a:lnTo>
                    <a:pt x="12613" y="37874"/>
                  </a:lnTo>
                  <a:lnTo>
                    <a:pt x="13235" y="38047"/>
                  </a:lnTo>
                  <a:lnTo>
                    <a:pt x="13235" y="38047"/>
                  </a:lnTo>
                  <a:lnTo>
                    <a:pt x="13650" y="37080"/>
                  </a:lnTo>
                  <a:lnTo>
                    <a:pt x="14030" y="36078"/>
                  </a:lnTo>
                  <a:lnTo>
                    <a:pt x="14410" y="35075"/>
                  </a:lnTo>
                  <a:lnTo>
                    <a:pt x="14756" y="34004"/>
                  </a:lnTo>
                  <a:lnTo>
                    <a:pt x="15032" y="32933"/>
                  </a:lnTo>
                  <a:lnTo>
                    <a:pt x="15343" y="31827"/>
                  </a:lnTo>
                  <a:lnTo>
                    <a:pt x="15585" y="30721"/>
                  </a:lnTo>
                  <a:lnTo>
                    <a:pt x="15827" y="29581"/>
                  </a:lnTo>
                  <a:lnTo>
                    <a:pt x="16034" y="28406"/>
                  </a:lnTo>
                  <a:lnTo>
                    <a:pt x="16242" y="27231"/>
                  </a:lnTo>
                  <a:lnTo>
                    <a:pt x="16414" y="26056"/>
                  </a:lnTo>
                  <a:lnTo>
                    <a:pt x="16553" y="24847"/>
                  </a:lnTo>
                  <a:lnTo>
                    <a:pt x="16795" y="22428"/>
                  </a:lnTo>
                  <a:lnTo>
                    <a:pt x="16967" y="19974"/>
                  </a:lnTo>
                  <a:lnTo>
                    <a:pt x="17071" y="17521"/>
                  </a:lnTo>
                  <a:lnTo>
                    <a:pt x="17140" y="15033"/>
                  </a:lnTo>
                  <a:lnTo>
                    <a:pt x="17106" y="12614"/>
                  </a:lnTo>
                  <a:lnTo>
                    <a:pt x="17036" y="10195"/>
                  </a:lnTo>
                  <a:lnTo>
                    <a:pt x="16933" y="7810"/>
                  </a:lnTo>
                  <a:lnTo>
                    <a:pt x="16795" y="5495"/>
                  </a:lnTo>
                  <a:lnTo>
                    <a:pt x="16622" y="3283"/>
                  </a:lnTo>
                  <a:lnTo>
                    <a:pt x="16414" y="1141"/>
                  </a:lnTo>
                  <a:lnTo>
                    <a:pt x="16414" y="1141"/>
                  </a:lnTo>
                  <a:lnTo>
                    <a:pt x="16414" y="1141"/>
                  </a:lnTo>
                  <a:lnTo>
                    <a:pt x="15585" y="1072"/>
                  </a:lnTo>
                  <a:lnTo>
                    <a:pt x="14859" y="968"/>
                  </a:lnTo>
                  <a:lnTo>
                    <a:pt x="14203" y="865"/>
                  </a:lnTo>
                  <a:lnTo>
                    <a:pt x="13650" y="761"/>
                  </a:lnTo>
                  <a:lnTo>
                    <a:pt x="13235" y="588"/>
                  </a:lnTo>
                  <a:lnTo>
                    <a:pt x="13097" y="519"/>
                  </a:lnTo>
                  <a:lnTo>
                    <a:pt x="12959" y="415"/>
                  </a:lnTo>
                  <a:lnTo>
                    <a:pt x="12890" y="312"/>
                  </a:lnTo>
                  <a:lnTo>
                    <a:pt x="12855" y="208"/>
                  </a:lnTo>
                  <a:lnTo>
                    <a:pt x="12855" y="104"/>
                  </a:lnTo>
                  <a:lnTo>
                    <a:pt x="12890"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57" name="Google Shape;2486;p11">
              <a:extLst>
                <a:ext uri="{FF2B5EF4-FFF2-40B4-BE49-F238E27FC236}">
                  <a16:creationId xmlns:a16="http://schemas.microsoft.com/office/drawing/2014/main" id="{41C7C41B-934D-7269-4CA1-83EB07BDF476}"/>
                </a:ext>
              </a:extLst>
            </p:cNvPr>
            <p:cNvSpPr/>
            <p:nvPr/>
          </p:nvSpPr>
          <p:spPr>
            <a:xfrm>
              <a:off x="1106825" y="3095075"/>
              <a:ext cx="89000" cy="206475"/>
            </a:xfrm>
            <a:custGeom>
              <a:avLst/>
              <a:gdLst/>
              <a:ahLst/>
              <a:cxnLst/>
              <a:rect l="l" t="t" r="r" b="b"/>
              <a:pathLst>
                <a:path w="3560" h="8259" extrusionOk="0">
                  <a:moveTo>
                    <a:pt x="2488" y="0"/>
                  </a:moveTo>
                  <a:lnTo>
                    <a:pt x="2384" y="795"/>
                  </a:lnTo>
                  <a:lnTo>
                    <a:pt x="2246" y="1590"/>
                  </a:lnTo>
                  <a:lnTo>
                    <a:pt x="2039" y="2557"/>
                  </a:lnTo>
                  <a:lnTo>
                    <a:pt x="1762" y="3525"/>
                  </a:lnTo>
                  <a:lnTo>
                    <a:pt x="1417" y="4492"/>
                  </a:lnTo>
                  <a:lnTo>
                    <a:pt x="1037" y="5425"/>
                  </a:lnTo>
                  <a:lnTo>
                    <a:pt x="588" y="6255"/>
                  </a:lnTo>
                  <a:lnTo>
                    <a:pt x="346" y="6669"/>
                  </a:lnTo>
                  <a:lnTo>
                    <a:pt x="69" y="7050"/>
                  </a:lnTo>
                  <a:lnTo>
                    <a:pt x="35" y="7119"/>
                  </a:lnTo>
                  <a:lnTo>
                    <a:pt x="0" y="7222"/>
                  </a:lnTo>
                  <a:lnTo>
                    <a:pt x="0" y="7326"/>
                  </a:lnTo>
                  <a:lnTo>
                    <a:pt x="35" y="7430"/>
                  </a:lnTo>
                  <a:lnTo>
                    <a:pt x="104" y="7533"/>
                  </a:lnTo>
                  <a:lnTo>
                    <a:pt x="242" y="7637"/>
                  </a:lnTo>
                  <a:lnTo>
                    <a:pt x="380" y="7706"/>
                  </a:lnTo>
                  <a:lnTo>
                    <a:pt x="795" y="7879"/>
                  </a:lnTo>
                  <a:lnTo>
                    <a:pt x="1348" y="7983"/>
                  </a:lnTo>
                  <a:lnTo>
                    <a:pt x="2004" y="8086"/>
                  </a:lnTo>
                  <a:lnTo>
                    <a:pt x="2730" y="8190"/>
                  </a:lnTo>
                  <a:lnTo>
                    <a:pt x="3559" y="8259"/>
                  </a:lnTo>
                  <a:lnTo>
                    <a:pt x="3387" y="6428"/>
                  </a:lnTo>
                  <a:lnTo>
                    <a:pt x="3179" y="4700"/>
                  </a:lnTo>
                  <a:lnTo>
                    <a:pt x="2834" y="2212"/>
                  </a:lnTo>
                  <a:lnTo>
                    <a:pt x="2488" y="0"/>
                  </a:lnTo>
                  <a:close/>
                </a:path>
              </a:pathLst>
            </a:custGeom>
            <a:solidFill>
              <a:srgbClr val="E6A50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58" name="Google Shape;2487;p11">
              <a:extLst>
                <a:ext uri="{FF2B5EF4-FFF2-40B4-BE49-F238E27FC236}">
                  <a16:creationId xmlns:a16="http://schemas.microsoft.com/office/drawing/2014/main" id="{D9A11112-FA0F-A825-D504-9E7E42857E25}"/>
                </a:ext>
              </a:extLst>
            </p:cNvPr>
            <p:cNvSpPr/>
            <p:nvPr/>
          </p:nvSpPr>
          <p:spPr>
            <a:xfrm>
              <a:off x="1106825" y="3095075"/>
              <a:ext cx="89000" cy="206475"/>
            </a:xfrm>
            <a:custGeom>
              <a:avLst/>
              <a:gdLst/>
              <a:ahLst/>
              <a:cxnLst/>
              <a:rect l="l" t="t" r="r" b="b"/>
              <a:pathLst>
                <a:path w="3560" h="8259" fill="none" extrusionOk="0">
                  <a:moveTo>
                    <a:pt x="2488" y="0"/>
                  </a:moveTo>
                  <a:lnTo>
                    <a:pt x="2488" y="0"/>
                  </a:lnTo>
                  <a:lnTo>
                    <a:pt x="2384" y="795"/>
                  </a:lnTo>
                  <a:lnTo>
                    <a:pt x="2246" y="1590"/>
                  </a:lnTo>
                  <a:lnTo>
                    <a:pt x="2246" y="1590"/>
                  </a:lnTo>
                  <a:lnTo>
                    <a:pt x="2039" y="2557"/>
                  </a:lnTo>
                  <a:lnTo>
                    <a:pt x="1762" y="3525"/>
                  </a:lnTo>
                  <a:lnTo>
                    <a:pt x="1762" y="3525"/>
                  </a:lnTo>
                  <a:lnTo>
                    <a:pt x="1417" y="4492"/>
                  </a:lnTo>
                  <a:lnTo>
                    <a:pt x="1037" y="5425"/>
                  </a:lnTo>
                  <a:lnTo>
                    <a:pt x="588" y="6255"/>
                  </a:lnTo>
                  <a:lnTo>
                    <a:pt x="346" y="6669"/>
                  </a:lnTo>
                  <a:lnTo>
                    <a:pt x="69" y="7050"/>
                  </a:lnTo>
                  <a:lnTo>
                    <a:pt x="69" y="7050"/>
                  </a:lnTo>
                  <a:lnTo>
                    <a:pt x="35" y="7119"/>
                  </a:lnTo>
                  <a:lnTo>
                    <a:pt x="35" y="7119"/>
                  </a:lnTo>
                  <a:lnTo>
                    <a:pt x="35" y="7119"/>
                  </a:lnTo>
                  <a:lnTo>
                    <a:pt x="35" y="7119"/>
                  </a:lnTo>
                  <a:lnTo>
                    <a:pt x="35" y="7119"/>
                  </a:lnTo>
                  <a:lnTo>
                    <a:pt x="0" y="7222"/>
                  </a:lnTo>
                  <a:lnTo>
                    <a:pt x="0" y="7326"/>
                  </a:lnTo>
                  <a:lnTo>
                    <a:pt x="35" y="7430"/>
                  </a:lnTo>
                  <a:lnTo>
                    <a:pt x="104" y="7533"/>
                  </a:lnTo>
                  <a:lnTo>
                    <a:pt x="242" y="7637"/>
                  </a:lnTo>
                  <a:lnTo>
                    <a:pt x="380" y="7706"/>
                  </a:lnTo>
                  <a:lnTo>
                    <a:pt x="795" y="7879"/>
                  </a:lnTo>
                  <a:lnTo>
                    <a:pt x="1348" y="7983"/>
                  </a:lnTo>
                  <a:lnTo>
                    <a:pt x="2004" y="8086"/>
                  </a:lnTo>
                  <a:lnTo>
                    <a:pt x="2730" y="8190"/>
                  </a:lnTo>
                  <a:lnTo>
                    <a:pt x="3559" y="8259"/>
                  </a:lnTo>
                  <a:lnTo>
                    <a:pt x="3559" y="8259"/>
                  </a:lnTo>
                  <a:lnTo>
                    <a:pt x="3387" y="6428"/>
                  </a:lnTo>
                  <a:lnTo>
                    <a:pt x="3179" y="4700"/>
                  </a:lnTo>
                  <a:lnTo>
                    <a:pt x="3179" y="4700"/>
                  </a:lnTo>
                  <a:lnTo>
                    <a:pt x="2834" y="2212"/>
                  </a:lnTo>
                  <a:lnTo>
                    <a:pt x="2488"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59" name="Google Shape;2488;p11">
              <a:extLst>
                <a:ext uri="{FF2B5EF4-FFF2-40B4-BE49-F238E27FC236}">
                  <a16:creationId xmlns:a16="http://schemas.microsoft.com/office/drawing/2014/main" id="{8B284D15-62F0-E829-8436-A36B4251BA1D}"/>
                </a:ext>
              </a:extLst>
            </p:cNvPr>
            <p:cNvSpPr/>
            <p:nvPr/>
          </p:nvSpPr>
          <p:spPr>
            <a:xfrm>
              <a:off x="1180250" y="2334825"/>
              <a:ext cx="218600" cy="170200"/>
            </a:xfrm>
            <a:custGeom>
              <a:avLst/>
              <a:gdLst/>
              <a:ahLst/>
              <a:cxnLst/>
              <a:rect l="l" t="t" r="r" b="b"/>
              <a:pathLst>
                <a:path w="8744" h="6808" extrusionOk="0">
                  <a:moveTo>
                    <a:pt x="4389" y="0"/>
                  </a:moveTo>
                  <a:lnTo>
                    <a:pt x="0" y="2316"/>
                  </a:lnTo>
                  <a:lnTo>
                    <a:pt x="622" y="3076"/>
                  </a:lnTo>
                  <a:lnTo>
                    <a:pt x="2316" y="5253"/>
                  </a:lnTo>
                  <a:lnTo>
                    <a:pt x="2592" y="5599"/>
                  </a:lnTo>
                  <a:lnTo>
                    <a:pt x="2869" y="5875"/>
                  </a:lnTo>
                  <a:lnTo>
                    <a:pt x="3180" y="6117"/>
                  </a:lnTo>
                  <a:lnTo>
                    <a:pt x="3491" y="6324"/>
                  </a:lnTo>
                  <a:lnTo>
                    <a:pt x="3836" y="6497"/>
                  </a:lnTo>
                  <a:lnTo>
                    <a:pt x="4182" y="6635"/>
                  </a:lnTo>
                  <a:lnTo>
                    <a:pt x="4527" y="6739"/>
                  </a:lnTo>
                  <a:lnTo>
                    <a:pt x="4907" y="6773"/>
                  </a:lnTo>
                  <a:lnTo>
                    <a:pt x="5288" y="6808"/>
                  </a:lnTo>
                  <a:lnTo>
                    <a:pt x="6048" y="6808"/>
                  </a:lnTo>
                  <a:lnTo>
                    <a:pt x="6428" y="6739"/>
                  </a:lnTo>
                  <a:lnTo>
                    <a:pt x="6843" y="6670"/>
                  </a:lnTo>
                  <a:lnTo>
                    <a:pt x="7223" y="6601"/>
                  </a:lnTo>
                  <a:lnTo>
                    <a:pt x="8017" y="6359"/>
                  </a:lnTo>
                  <a:lnTo>
                    <a:pt x="8225" y="6290"/>
                  </a:lnTo>
                  <a:lnTo>
                    <a:pt x="8363" y="6186"/>
                  </a:lnTo>
                  <a:lnTo>
                    <a:pt x="8501" y="6082"/>
                  </a:lnTo>
                  <a:lnTo>
                    <a:pt x="8605" y="5979"/>
                  </a:lnTo>
                  <a:lnTo>
                    <a:pt x="8674" y="5875"/>
                  </a:lnTo>
                  <a:lnTo>
                    <a:pt x="8709" y="5737"/>
                  </a:lnTo>
                  <a:lnTo>
                    <a:pt x="8743" y="5599"/>
                  </a:lnTo>
                  <a:lnTo>
                    <a:pt x="8743" y="5460"/>
                  </a:lnTo>
                  <a:lnTo>
                    <a:pt x="8674" y="5149"/>
                  </a:lnTo>
                  <a:lnTo>
                    <a:pt x="8570" y="4838"/>
                  </a:lnTo>
                  <a:lnTo>
                    <a:pt x="8398" y="4493"/>
                  </a:lnTo>
                  <a:lnTo>
                    <a:pt x="8190" y="4182"/>
                  </a:lnTo>
                  <a:lnTo>
                    <a:pt x="7776" y="3525"/>
                  </a:lnTo>
                  <a:lnTo>
                    <a:pt x="7361" y="2938"/>
                  </a:lnTo>
                  <a:lnTo>
                    <a:pt x="7188" y="2696"/>
                  </a:lnTo>
                  <a:lnTo>
                    <a:pt x="7084" y="2488"/>
                  </a:lnTo>
                  <a:lnTo>
                    <a:pt x="7050" y="2316"/>
                  </a:lnTo>
                  <a:lnTo>
                    <a:pt x="7050" y="2247"/>
                  </a:lnTo>
                  <a:lnTo>
                    <a:pt x="7084" y="2212"/>
                  </a:lnTo>
                  <a:lnTo>
                    <a:pt x="7154" y="2108"/>
                  </a:lnTo>
                  <a:lnTo>
                    <a:pt x="7188" y="2005"/>
                  </a:lnTo>
                  <a:lnTo>
                    <a:pt x="7154" y="1901"/>
                  </a:lnTo>
                  <a:lnTo>
                    <a:pt x="7119" y="1797"/>
                  </a:lnTo>
                  <a:lnTo>
                    <a:pt x="7050" y="1728"/>
                  </a:lnTo>
                  <a:lnTo>
                    <a:pt x="6912" y="1625"/>
                  </a:lnTo>
                  <a:lnTo>
                    <a:pt x="6566" y="1417"/>
                  </a:lnTo>
                  <a:lnTo>
                    <a:pt x="5633" y="864"/>
                  </a:lnTo>
                  <a:lnTo>
                    <a:pt x="5011" y="484"/>
                  </a:lnTo>
                  <a:lnTo>
                    <a:pt x="4389" y="0"/>
                  </a:lnTo>
                  <a:close/>
                </a:path>
              </a:pathLst>
            </a:custGeom>
            <a:solidFill>
              <a:srgbClr val="8A3A1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60" name="Google Shape;2489;p11">
              <a:extLst>
                <a:ext uri="{FF2B5EF4-FFF2-40B4-BE49-F238E27FC236}">
                  <a16:creationId xmlns:a16="http://schemas.microsoft.com/office/drawing/2014/main" id="{D9C91845-8B6E-3AC3-68CB-99804BDB038B}"/>
                </a:ext>
              </a:extLst>
            </p:cNvPr>
            <p:cNvSpPr/>
            <p:nvPr/>
          </p:nvSpPr>
          <p:spPr>
            <a:xfrm>
              <a:off x="836400" y="2294225"/>
              <a:ext cx="466550" cy="533925"/>
            </a:xfrm>
            <a:custGeom>
              <a:avLst/>
              <a:gdLst/>
              <a:ahLst/>
              <a:cxnLst/>
              <a:rect l="l" t="t" r="r" b="b"/>
              <a:pathLst>
                <a:path w="18662" h="21357" extrusionOk="0">
                  <a:moveTo>
                    <a:pt x="15206" y="0"/>
                  </a:moveTo>
                  <a:lnTo>
                    <a:pt x="14826" y="35"/>
                  </a:lnTo>
                  <a:lnTo>
                    <a:pt x="14446" y="104"/>
                  </a:lnTo>
                  <a:lnTo>
                    <a:pt x="14031" y="208"/>
                  </a:lnTo>
                  <a:lnTo>
                    <a:pt x="13616" y="311"/>
                  </a:lnTo>
                  <a:lnTo>
                    <a:pt x="13167" y="484"/>
                  </a:lnTo>
                  <a:lnTo>
                    <a:pt x="12683" y="691"/>
                  </a:lnTo>
                  <a:lnTo>
                    <a:pt x="12338" y="864"/>
                  </a:lnTo>
                  <a:lnTo>
                    <a:pt x="12027" y="1037"/>
                  </a:lnTo>
                  <a:lnTo>
                    <a:pt x="11750" y="1244"/>
                  </a:lnTo>
                  <a:lnTo>
                    <a:pt x="11508" y="1486"/>
                  </a:lnTo>
                  <a:lnTo>
                    <a:pt x="11266" y="1763"/>
                  </a:lnTo>
                  <a:lnTo>
                    <a:pt x="11059" y="2005"/>
                  </a:lnTo>
                  <a:lnTo>
                    <a:pt x="10886" y="2316"/>
                  </a:lnTo>
                  <a:lnTo>
                    <a:pt x="10713" y="2592"/>
                  </a:lnTo>
                  <a:lnTo>
                    <a:pt x="10575" y="2903"/>
                  </a:lnTo>
                  <a:lnTo>
                    <a:pt x="10472" y="3249"/>
                  </a:lnTo>
                  <a:lnTo>
                    <a:pt x="10264" y="3905"/>
                  </a:lnTo>
                  <a:lnTo>
                    <a:pt x="10126" y="4596"/>
                  </a:lnTo>
                  <a:lnTo>
                    <a:pt x="10022" y="5287"/>
                  </a:lnTo>
                  <a:lnTo>
                    <a:pt x="9953" y="5978"/>
                  </a:lnTo>
                  <a:lnTo>
                    <a:pt x="9919" y="6635"/>
                  </a:lnTo>
                  <a:lnTo>
                    <a:pt x="9850" y="7810"/>
                  </a:lnTo>
                  <a:lnTo>
                    <a:pt x="9815" y="8328"/>
                  </a:lnTo>
                  <a:lnTo>
                    <a:pt x="9780" y="8778"/>
                  </a:lnTo>
                  <a:lnTo>
                    <a:pt x="9711" y="9123"/>
                  </a:lnTo>
                  <a:lnTo>
                    <a:pt x="9677" y="9227"/>
                  </a:lnTo>
                  <a:lnTo>
                    <a:pt x="9608" y="9330"/>
                  </a:lnTo>
                  <a:lnTo>
                    <a:pt x="9469" y="9503"/>
                  </a:lnTo>
                  <a:lnTo>
                    <a:pt x="9331" y="9641"/>
                  </a:lnTo>
                  <a:lnTo>
                    <a:pt x="9193" y="9745"/>
                  </a:lnTo>
                  <a:lnTo>
                    <a:pt x="9055" y="9849"/>
                  </a:lnTo>
                  <a:lnTo>
                    <a:pt x="8709" y="9987"/>
                  </a:lnTo>
                  <a:lnTo>
                    <a:pt x="8329" y="10091"/>
                  </a:lnTo>
                  <a:lnTo>
                    <a:pt x="7811" y="10263"/>
                  </a:lnTo>
                  <a:lnTo>
                    <a:pt x="7154" y="10505"/>
                  </a:lnTo>
                  <a:lnTo>
                    <a:pt x="6359" y="10885"/>
                  </a:lnTo>
                  <a:lnTo>
                    <a:pt x="5357" y="11438"/>
                  </a:lnTo>
                  <a:lnTo>
                    <a:pt x="4873" y="11749"/>
                  </a:lnTo>
                  <a:lnTo>
                    <a:pt x="4493" y="12095"/>
                  </a:lnTo>
                  <a:lnTo>
                    <a:pt x="4217" y="12406"/>
                  </a:lnTo>
                  <a:lnTo>
                    <a:pt x="4044" y="12717"/>
                  </a:lnTo>
                  <a:lnTo>
                    <a:pt x="3940" y="13028"/>
                  </a:lnTo>
                  <a:lnTo>
                    <a:pt x="3906" y="13339"/>
                  </a:lnTo>
                  <a:lnTo>
                    <a:pt x="3906" y="13650"/>
                  </a:lnTo>
                  <a:lnTo>
                    <a:pt x="3975" y="13926"/>
                  </a:lnTo>
                  <a:lnTo>
                    <a:pt x="4148" y="14479"/>
                  </a:lnTo>
                  <a:lnTo>
                    <a:pt x="4286" y="14998"/>
                  </a:lnTo>
                  <a:lnTo>
                    <a:pt x="4355" y="15205"/>
                  </a:lnTo>
                  <a:lnTo>
                    <a:pt x="4355" y="15447"/>
                  </a:lnTo>
                  <a:lnTo>
                    <a:pt x="4286" y="15620"/>
                  </a:lnTo>
                  <a:lnTo>
                    <a:pt x="4182" y="15793"/>
                  </a:lnTo>
                  <a:lnTo>
                    <a:pt x="4044" y="15931"/>
                  </a:lnTo>
                  <a:lnTo>
                    <a:pt x="3906" y="16034"/>
                  </a:lnTo>
                  <a:lnTo>
                    <a:pt x="3595" y="16207"/>
                  </a:lnTo>
                  <a:lnTo>
                    <a:pt x="3318" y="16276"/>
                  </a:lnTo>
                  <a:lnTo>
                    <a:pt x="3007" y="16345"/>
                  </a:lnTo>
                  <a:lnTo>
                    <a:pt x="2662" y="16415"/>
                  </a:lnTo>
                  <a:lnTo>
                    <a:pt x="2351" y="16553"/>
                  </a:lnTo>
                  <a:lnTo>
                    <a:pt x="2005" y="16726"/>
                  </a:lnTo>
                  <a:lnTo>
                    <a:pt x="1832" y="16864"/>
                  </a:lnTo>
                  <a:lnTo>
                    <a:pt x="1625" y="17037"/>
                  </a:lnTo>
                  <a:lnTo>
                    <a:pt x="1280" y="17451"/>
                  </a:lnTo>
                  <a:lnTo>
                    <a:pt x="934" y="17935"/>
                  </a:lnTo>
                  <a:lnTo>
                    <a:pt x="588" y="18453"/>
                  </a:lnTo>
                  <a:lnTo>
                    <a:pt x="347" y="19006"/>
                  </a:lnTo>
                  <a:lnTo>
                    <a:pt x="139" y="19525"/>
                  </a:lnTo>
                  <a:lnTo>
                    <a:pt x="70" y="19766"/>
                  </a:lnTo>
                  <a:lnTo>
                    <a:pt x="36" y="20008"/>
                  </a:lnTo>
                  <a:lnTo>
                    <a:pt x="1" y="20250"/>
                  </a:lnTo>
                  <a:lnTo>
                    <a:pt x="1" y="20423"/>
                  </a:lnTo>
                  <a:lnTo>
                    <a:pt x="70" y="20596"/>
                  </a:lnTo>
                  <a:lnTo>
                    <a:pt x="139" y="20769"/>
                  </a:lnTo>
                  <a:lnTo>
                    <a:pt x="277" y="20941"/>
                  </a:lnTo>
                  <a:lnTo>
                    <a:pt x="519" y="21080"/>
                  </a:lnTo>
                  <a:lnTo>
                    <a:pt x="796" y="21183"/>
                  </a:lnTo>
                  <a:lnTo>
                    <a:pt x="1107" y="21252"/>
                  </a:lnTo>
                  <a:lnTo>
                    <a:pt x="1521" y="21322"/>
                  </a:lnTo>
                  <a:lnTo>
                    <a:pt x="1936" y="21356"/>
                  </a:lnTo>
                  <a:lnTo>
                    <a:pt x="2420" y="21356"/>
                  </a:lnTo>
                  <a:lnTo>
                    <a:pt x="2938" y="21322"/>
                  </a:lnTo>
                  <a:lnTo>
                    <a:pt x="3491" y="21252"/>
                  </a:lnTo>
                  <a:lnTo>
                    <a:pt x="4079" y="21149"/>
                  </a:lnTo>
                  <a:lnTo>
                    <a:pt x="4701" y="21045"/>
                  </a:lnTo>
                  <a:lnTo>
                    <a:pt x="5323" y="20872"/>
                  </a:lnTo>
                  <a:lnTo>
                    <a:pt x="6014" y="20700"/>
                  </a:lnTo>
                  <a:lnTo>
                    <a:pt x="6670" y="20492"/>
                  </a:lnTo>
                  <a:lnTo>
                    <a:pt x="7361" y="20285"/>
                  </a:lnTo>
                  <a:lnTo>
                    <a:pt x="8087" y="20008"/>
                  </a:lnTo>
                  <a:lnTo>
                    <a:pt x="8778" y="19732"/>
                  </a:lnTo>
                  <a:lnTo>
                    <a:pt x="9469" y="19386"/>
                  </a:lnTo>
                  <a:lnTo>
                    <a:pt x="10195" y="19041"/>
                  </a:lnTo>
                  <a:lnTo>
                    <a:pt x="10886" y="18695"/>
                  </a:lnTo>
                  <a:lnTo>
                    <a:pt x="11577" y="18281"/>
                  </a:lnTo>
                  <a:lnTo>
                    <a:pt x="12268" y="17866"/>
                  </a:lnTo>
                  <a:lnTo>
                    <a:pt x="12925" y="17382"/>
                  </a:lnTo>
                  <a:lnTo>
                    <a:pt x="13547" y="16898"/>
                  </a:lnTo>
                  <a:lnTo>
                    <a:pt x="14135" y="16415"/>
                  </a:lnTo>
                  <a:lnTo>
                    <a:pt x="14687" y="15965"/>
                  </a:lnTo>
                  <a:lnTo>
                    <a:pt x="15171" y="15481"/>
                  </a:lnTo>
                  <a:lnTo>
                    <a:pt x="15620" y="15067"/>
                  </a:lnTo>
                  <a:lnTo>
                    <a:pt x="16001" y="14652"/>
                  </a:lnTo>
                  <a:lnTo>
                    <a:pt x="16346" y="14237"/>
                  </a:lnTo>
                  <a:lnTo>
                    <a:pt x="16657" y="13857"/>
                  </a:lnTo>
                  <a:lnTo>
                    <a:pt x="16899" y="13477"/>
                  </a:lnTo>
                  <a:lnTo>
                    <a:pt x="17141" y="13132"/>
                  </a:lnTo>
                  <a:lnTo>
                    <a:pt x="17314" y="12786"/>
                  </a:lnTo>
                  <a:lnTo>
                    <a:pt x="17486" y="12441"/>
                  </a:lnTo>
                  <a:lnTo>
                    <a:pt x="17590" y="12130"/>
                  </a:lnTo>
                  <a:lnTo>
                    <a:pt x="17694" y="11819"/>
                  </a:lnTo>
                  <a:lnTo>
                    <a:pt x="17763" y="11542"/>
                  </a:lnTo>
                  <a:lnTo>
                    <a:pt x="17797" y="11266"/>
                  </a:lnTo>
                  <a:lnTo>
                    <a:pt x="17797" y="10989"/>
                  </a:lnTo>
                  <a:lnTo>
                    <a:pt x="17797" y="10471"/>
                  </a:lnTo>
                  <a:lnTo>
                    <a:pt x="17728" y="10022"/>
                  </a:lnTo>
                  <a:lnTo>
                    <a:pt x="17625" y="9607"/>
                  </a:lnTo>
                  <a:lnTo>
                    <a:pt x="17486" y="9192"/>
                  </a:lnTo>
                  <a:lnTo>
                    <a:pt x="17279" y="8501"/>
                  </a:lnTo>
                  <a:lnTo>
                    <a:pt x="17210" y="8156"/>
                  </a:lnTo>
                  <a:lnTo>
                    <a:pt x="17210" y="7879"/>
                  </a:lnTo>
                  <a:lnTo>
                    <a:pt x="17210" y="7706"/>
                  </a:lnTo>
                  <a:lnTo>
                    <a:pt x="17175" y="7534"/>
                  </a:lnTo>
                  <a:lnTo>
                    <a:pt x="17106" y="7223"/>
                  </a:lnTo>
                  <a:lnTo>
                    <a:pt x="17037" y="7050"/>
                  </a:lnTo>
                  <a:lnTo>
                    <a:pt x="16934" y="6912"/>
                  </a:lnTo>
                  <a:lnTo>
                    <a:pt x="16830" y="6808"/>
                  </a:lnTo>
                  <a:lnTo>
                    <a:pt x="16692" y="6704"/>
                  </a:lnTo>
                  <a:lnTo>
                    <a:pt x="16277" y="6497"/>
                  </a:lnTo>
                  <a:lnTo>
                    <a:pt x="16070" y="6359"/>
                  </a:lnTo>
                  <a:lnTo>
                    <a:pt x="15897" y="6220"/>
                  </a:lnTo>
                  <a:lnTo>
                    <a:pt x="15724" y="6082"/>
                  </a:lnTo>
                  <a:lnTo>
                    <a:pt x="15655" y="5909"/>
                  </a:lnTo>
                  <a:lnTo>
                    <a:pt x="15620" y="5806"/>
                  </a:lnTo>
                  <a:lnTo>
                    <a:pt x="15620" y="5702"/>
                  </a:lnTo>
                  <a:lnTo>
                    <a:pt x="15655" y="5598"/>
                  </a:lnTo>
                  <a:lnTo>
                    <a:pt x="15724" y="5495"/>
                  </a:lnTo>
                  <a:lnTo>
                    <a:pt x="15828" y="5322"/>
                  </a:lnTo>
                  <a:lnTo>
                    <a:pt x="15966" y="5184"/>
                  </a:lnTo>
                  <a:lnTo>
                    <a:pt x="16104" y="5080"/>
                  </a:lnTo>
                  <a:lnTo>
                    <a:pt x="16242" y="5011"/>
                  </a:lnTo>
                  <a:lnTo>
                    <a:pt x="16415" y="4942"/>
                  </a:lnTo>
                  <a:lnTo>
                    <a:pt x="16553" y="4942"/>
                  </a:lnTo>
                  <a:lnTo>
                    <a:pt x="16692" y="4976"/>
                  </a:lnTo>
                  <a:lnTo>
                    <a:pt x="16830" y="5011"/>
                  </a:lnTo>
                  <a:lnTo>
                    <a:pt x="16934" y="5080"/>
                  </a:lnTo>
                  <a:lnTo>
                    <a:pt x="17072" y="5080"/>
                  </a:lnTo>
                  <a:lnTo>
                    <a:pt x="17210" y="5045"/>
                  </a:lnTo>
                  <a:lnTo>
                    <a:pt x="17383" y="5011"/>
                  </a:lnTo>
                  <a:lnTo>
                    <a:pt x="17521" y="4942"/>
                  </a:lnTo>
                  <a:lnTo>
                    <a:pt x="17625" y="4873"/>
                  </a:lnTo>
                  <a:lnTo>
                    <a:pt x="17728" y="4769"/>
                  </a:lnTo>
                  <a:lnTo>
                    <a:pt x="17763" y="4631"/>
                  </a:lnTo>
                  <a:lnTo>
                    <a:pt x="17867" y="4389"/>
                  </a:lnTo>
                  <a:lnTo>
                    <a:pt x="17970" y="4147"/>
                  </a:lnTo>
                  <a:lnTo>
                    <a:pt x="18247" y="3490"/>
                  </a:lnTo>
                  <a:lnTo>
                    <a:pt x="18419" y="3110"/>
                  </a:lnTo>
                  <a:lnTo>
                    <a:pt x="18523" y="2730"/>
                  </a:lnTo>
                  <a:lnTo>
                    <a:pt x="18627" y="2281"/>
                  </a:lnTo>
                  <a:lnTo>
                    <a:pt x="18661" y="1797"/>
                  </a:lnTo>
                  <a:lnTo>
                    <a:pt x="18661" y="1659"/>
                  </a:lnTo>
                  <a:lnTo>
                    <a:pt x="18592" y="1486"/>
                  </a:lnTo>
                  <a:lnTo>
                    <a:pt x="18489" y="1279"/>
                  </a:lnTo>
                  <a:lnTo>
                    <a:pt x="18350" y="1106"/>
                  </a:lnTo>
                  <a:lnTo>
                    <a:pt x="18039" y="795"/>
                  </a:lnTo>
                  <a:lnTo>
                    <a:pt x="17728" y="588"/>
                  </a:lnTo>
                  <a:lnTo>
                    <a:pt x="17383" y="380"/>
                  </a:lnTo>
                  <a:lnTo>
                    <a:pt x="16968" y="242"/>
                  </a:lnTo>
                  <a:lnTo>
                    <a:pt x="16484" y="104"/>
                  </a:lnTo>
                  <a:lnTo>
                    <a:pt x="15862" y="0"/>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61" name="Google Shape;2490;p11">
              <a:extLst>
                <a:ext uri="{FF2B5EF4-FFF2-40B4-BE49-F238E27FC236}">
                  <a16:creationId xmlns:a16="http://schemas.microsoft.com/office/drawing/2014/main" id="{111355BD-33A9-1D3B-42AA-3E5E4A8C6C89}"/>
                </a:ext>
              </a:extLst>
            </p:cNvPr>
            <p:cNvSpPr/>
            <p:nvPr/>
          </p:nvSpPr>
          <p:spPr>
            <a:xfrm>
              <a:off x="5011675" y="5126125"/>
              <a:ext cx="203925" cy="344725"/>
            </a:xfrm>
            <a:custGeom>
              <a:avLst/>
              <a:gdLst/>
              <a:ahLst/>
              <a:cxnLst/>
              <a:rect l="l" t="t" r="r" b="b"/>
              <a:pathLst>
                <a:path w="8157" h="13789" extrusionOk="0">
                  <a:moveTo>
                    <a:pt x="1003" y="0"/>
                  </a:moveTo>
                  <a:lnTo>
                    <a:pt x="1" y="9849"/>
                  </a:lnTo>
                  <a:lnTo>
                    <a:pt x="1" y="10229"/>
                  </a:lnTo>
                  <a:lnTo>
                    <a:pt x="1" y="10574"/>
                  </a:lnTo>
                  <a:lnTo>
                    <a:pt x="70" y="10920"/>
                  </a:lnTo>
                  <a:lnTo>
                    <a:pt x="139" y="11265"/>
                  </a:lnTo>
                  <a:lnTo>
                    <a:pt x="277" y="11611"/>
                  </a:lnTo>
                  <a:lnTo>
                    <a:pt x="416" y="11922"/>
                  </a:lnTo>
                  <a:lnTo>
                    <a:pt x="588" y="12199"/>
                  </a:lnTo>
                  <a:lnTo>
                    <a:pt x="796" y="12475"/>
                  </a:lnTo>
                  <a:lnTo>
                    <a:pt x="1038" y="12751"/>
                  </a:lnTo>
                  <a:lnTo>
                    <a:pt x="1280" y="12959"/>
                  </a:lnTo>
                  <a:lnTo>
                    <a:pt x="1556" y="13166"/>
                  </a:lnTo>
                  <a:lnTo>
                    <a:pt x="1867" y="13373"/>
                  </a:lnTo>
                  <a:lnTo>
                    <a:pt x="2178" y="13512"/>
                  </a:lnTo>
                  <a:lnTo>
                    <a:pt x="2524" y="13650"/>
                  </a:lnTo>
                  <a:lnTo>
                    <a:pt x="2869" y="13719"/>
                  </a:lnTo>
                  <a:lnTo>
                    <a:pt x="3215" y="13788"/>
                  </a:lnTo>
                  <a:lnTo>
                    <a:pt x="3975" y="13788"/>
                  </a:lnTo>
                  <a:lnTo>
                    <a:pt x="4320" y="13719"/>
                  </a:lnTo>
                  <a:lnTo>
                    <a:pt x="4666" y="13650"/>
                  </a:lnTo>
                  <a:lnTo>
                    <a:pt x="4977" y="13512"/>
                  </a:lnTo>
                  <a:lnTo>
                    <a:pt x="5288" y="13373"/>
                  </a:lnTo>
                  <a:lnTo>
                    <a:pt x="5599" y="13201"/>
                  </a:lnTo>
                  <a:lnTo>
                    <a:pt x="5876" y="12993"/>
                  </a:lnTo>
                  <a:lnTo>
                    <a:pt x="6117" y="12751"/>
                  </a:lnTo>
                  <a:lnTo>
                    <a:pt x="6359" y="12510"/>
                  </a:lnTo>
                  <a:lnTo>
                    <a:pt x="6567" y="12233"/>
                  </a:lnTo>
                  <a:lnTo>
                    <a:pt x="6739" y="11922"/>
                  </a:lnTo>
                  <a:lnTo>
                    <a:pt x="6878" y="11611"/>
                  </a:lnTo>
                  <a:lnTo>
                    <a:pt x="7016" y="11300"/>
                  </a:lnTo>
                  <a:lnTo>
                    <a:pt x="7120" y="10954"/>
                  </a:lnTo>
                  <a:lnTo>
                    <a:pt x="7154" y="10574"/>
                  </a:lnTo>
                  <a:lnTo>
                    <a:pt x="8156" y="726"/>
                  </a:lnTo>
                  <a:lnTo>
                    <a:pt x="1003" y="0"/>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62" name="Google Shape;2491;p11">
              <a:extLst>
                <a:ext uri="{FF2B5EF4-FFF2-40B4-BE49-F238E27FC236}">
                  <a16:creationId xmlns:a16="http://schemas.microsoft.com/office/drawing/2014/main" id="{59388005-9E35-85F6-9143-868E3C09D428}"/>
                </a:ext>
              </a:extLst>
            </p:cNvPr>
            <p:cNvSpPr/>
            <p:nvPr/>
          </p:nvSpPr>
          <p:spPr>
            <a:xfrm>
              <a:off x="5011675" y="5126125"/>
              <a:ext cx="203925" cy="344725"/>
            </a:xfrm>
            <a:custGeom>
              <a:avLst/>
              <a:gdLst/>
              <a:ahLst/>
              <a:cxnLst/>
              <a:rect l="l" t="t" r="r" b="b"/>
              <a:pathLst>
                <a:path w="8157" h="13789" fill="none" extrusionOk="0">
                  <a:moveTo>
                    <a:pt x="1003" y="0"/>
                  </a:moveTo>
                  <a:lnTo>
                    <a:pt x="8156" y="726"/>
                  </a:lnTo>
                  <a:lnTo>
                    <a:pt x="7154" y="10574"/>
                  </a:lnTo>
                  <a:lnTo>
                    <a:pt x="7154" y="10574"/>
                  </a:lnTo>
                  <a:lnTo>
                    <a:pt x="7120" y="10954"/>
                  </a:lnTo>
                  <a:lnTo>
                    <a:pt x="7016" y="11300"/>
                  </a:lnTo>
                  <a:lnTo>
                    <a:pt x="6878" y="11611"/>
                  </a:lnTo>
                  <a:lnTo>
                    <a:pt x="6739" y="11922"/>
                  </a:lnTo>
                  <a:lnTo>
                    <a:pt x="6567" y="12233"/>
                  </a:lnTo>
                  <a:lnTo>
                    <a:pt x="6359" y="12510"/>
                  </a:lnTo>
                  <a:lnTo>
                    <a:pt x="6117" y="12751"/>
                  </a:lnTo>
                  <a:lnTo>
                    <a:pt x="5876" y="12993"/>
                  </a:lnTo>
                  <a:lnTo>
                    <a:pt x="5599" y="13201"/>
                  </a:lnTo>
                  <a:lnTo>
                    <a:pt x="5288" y="13373"/>
                  </a:lnTo>
                  <a:lnTo>
                    <a:pt x="4977" y="13512"/>
                  </a:lnTo>
                  <a:lnTo>
                    <a:pt x="4666" y="13650"/>
                  </a:lnTo>
                  <a:lnTo>
                    <a:pt x="4320" y="13719"/>
                  </a:lnTo>
                  <a:lnTo>
                    <a:pt x="3975" y="13788"/>
                  </a:lnTo>
                  <a:lnTo>
                    <a:pt x="3595" y="13788"/>
                  </a:lnTo>
                  <a:lnTo>
                    <a:pt x="3249" y="13788"/>
                  </a:lnTo>
                  <a:lnTo>
                    <a:pt x="3215" y="13788"/>
                  </a:lnTo>
                  <a:lnTo>
                    <a:pt x="3215" y="13788"/>
                  </a:lnTo>
                  <a:lnTo>
                    <a:pt x="2869" y="13719"/>
                  </a:lnTo>
                  <a:lnTo>
                    <a:pt x="2524" y="13650"/>
                  </a:lnTo>
                  <a:lnTo>
                    <a:pt x="2178" y="13512"/>
                  </a:lnTo>
                  <a:lnTo>
                    <a:pt x="1867" y="13373"/>
                  </a:lnTo>
                  <a:lnTo>
                    <a:pt x="1556" y="13166"/>
                  </a:lnTo>
                  <a:lnTo>
                    <a:pt x="1280" y="12959"/>
                  </a:lnTo>
                  <a:lnTo>
                    <a:pt x="1038" y="12751"/>
                  </a:lnTo>
                  <a:lnTo>
                    <a:pt x="796" y="12475"/>
                  </a:lnTo>
                  <a:lnTo>
                    <a:pt x="588" y="12199"/>
                  </a:lnTo>
                  <a:lnTo>
                    <a:pt x="416" y="11922"/>
                  </a:lnTo>
                  <a:lnTo>
                    <a:pt x="277" y="11611"/>
                  </a:lnTo>
                  <a:lnTo>
                    <a:pt x="139" y="11265"/>
                  </a:lnTo>
                  <a:lnTo>
                    <a:pt x="70" y="10920"/>
                  </a:lnTo>
                  <a:lnTo>
                    <a:pt x="1" y="10574"/>
                  </a:lnTo>
                  <a:lnTo>
                    <a:pt x="1" y="10229"/>
                  </a:lnTo>
                  <a:lnTo>
                    <a:pt x="1" y="9849"/>
                  </a:lnTo>
                  <a:lnTo>
                    <a:pt x="1003"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63" name="Google Shape;2492;p11">
              <a:extLst>
                <a:ext uri="{FF2B5EF4-FFF2-40B4-BE49-F238E27FC236}">
                  <a16:creationId xmlns:a16="http://schemas.microsoft.com/office/drawing/2014/main" id="{7E9B0C94-E98A-A706-6A29-0CC0195ADF81}"/>
                </a:ext>
              </a:extLst>
            </p:cNvPr>
            <p:cNvSpPr/>
            <p:nvPr/>
          </p:nvSpPr>
          <p:spPr>
            <a:xfrm>
              <a:off x="5024650" y="2352975"/>
              <a:ext cx="450975" cy="2914850"/>
            </a:xfrm>
            <a:custGeom>
              <a:avLst/>
              <a:gdLst/>
              <a:ahLst/>
              <a:cxnLst/>
              <a:rect l="l" t="t" r="r" b="b"/>
              <a:pathLst>
                <a:path w="18039" h="116594" extrusionOk="0">
                  <a:moveTo>
                    <a:pt x="15101" y="0"/>
                  </a:moveTo>
                  <a:lnTo>
                    <a:pt x="14894" y="35"/>
                  </a:lnTo>
                  <a:lnTo>
                    <a:pt x="14687" y="104"/>
                  </a:lnTo>
                  <a:lnTo>
                    <a:pt x="14514" y="173"/>
                  </a:lnTo>
                  <a:lnTo>
                    <a:pt x="14341" y="277"/>
                  </a:lnTo>
                  <a:lnTo>
                    <a:pt x="14168" y="449"/>
                  </a:lnTo>
                  <a:lnTo>
                    <a:pt x="14065" y="622"/>
                  </a:lnTo>
                  <a:lnTo>
                    <a:pt x="13926" y="829"/>
                  </a:lnTo>
                  <a:lnTo>
                    <a:pt x="10955" y="7844"/>
                  </a:lnTo>
                  <a:lnTo>
                    <a:pt x="10886" y="8017"/>
                  </a:lnTo>
                  <a:lnTo>
                    <a:pt x="0" y="115868"/>
                  </a:lnTo>
                  <a:lnTo>
                    <a:pt x="1452" y="116006"/>
                  </a:lnTo>
                  <a:lnTo>
                    <a:pt x="1590" y="116040"/>
                  </a:lnTo>
                  <a:lnTo>
                    <a:pt x="4665" y="116351"/>
                  </a:lnTo>
                  <a:lnTo>
                    <a:pt x="6428" y="116524"/>
                  </a:lnTo>
                  <a:lnTo>
                    <a:pt x="7119" y="116593"/>
                  </a:lnTo>
                  <a:lnTo>
                    <a:pt x="18004" y="9088"/>
                  </a:lnTo>
                  <a:lnTo>
                    <a:pt x="18039" y="8743"/>
                  </a:lnTo>
                  <a:lnTo>
                    <a:pt x="16484" y="1071"/>
                  </a:lnTo>
                  <a:lnTo>
                    <a:pt x="16415" y="864"/>
                  </a:lnTo>
                  <a:lnTo>
                    <a:pt x="16311" y="657"/>
                  </a:lnTo>
                  <a:lnTo>
                    <a:pt x="16173" y="484"/>
                  </a:lnTo>
                  <a:lnTo>
                    <a:pt x="16034" y="346"/>
                  </a:lnTo>
                  <a:lnTo>
                    <a:pt x="15862" y="207"/>
                  </a:lnTo>
                  <a:lnTo>
                    <a:pt x="15689" y="104"/>
                  </a:lnTo>
                  <a:lnTo>
                    <a:pt x="15516" y="69"/>
                  </a:lnTo>
                  <a:lnTo>
                    <a:pt x="15309" y="35"/>
                  </a:lnTo>
                  <a:lnTo>
                    <a:pt x="15101" y="0"/>
                  </a:lnTo>
                  <a:close/>
                </a:path>
              </a:pathLst>
            </a:custGeom>
            <a:solidFill>
              <a:srgbClr val="EB8C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64" name="Google Shape;2493;p11">
              <a:extLst>
                <a:ext uri="{FF2B5EF4-FFF2-40B4-BE49-F238E27FC236}">
                  <a16:creationId xmlns:a16="http://schemas.microsoft.com/office/drawing/2014/main" id="{590BEA6C-9822-2B1F-CDE0-D7A9CE770A42}"/>
                </a:ext>
              </a:extLst>
            </p:cNvPr>
            <p:cNvSpPr/>
            <p:nvPr/>
          </p:nvSpPr>
          <p:spPr>
            <a:xfrm>
              <a:off x="5024650" y="2352975"/>
              <a:ext cx="450975" cy="2914850"/>
            </a:xfrm>
            <a:custGeom>
              <a:avLst/>
              <a:gdLst/>
              <a:ahLst/>
              <a:cxnLst/>
              <a:rect l="l" t="t" r="r" b="b"/>
              <a:pathLst>
                <a:path w="18039" h="116594" fill="none" extrusionOk="0">
                  <a:moveTo>
                    <a:pt x="7119" y="116593"/>
                  </a:moveTo>
                  <a:lnTo>
                    <a:pt x="6428" y="116524"/>
                  </a:lnTo>
                  <a:lnTo>
                    <a:pt x="4665" y="116351"/>
                  </a:lnTo>
                  <a:lnTo>
                    <a:pt x="1590" y="116040"/>
                  </a:lnTo>
                  <a:lnTo>
                    <a:pt x="1452" y="116006"/>
                  </a:lnTo>
                  <a:lnTo>
                    <a:pt x="0" y="115868"/>
                  </a:lnTo>
                  <a:lnTo>
                    <a:pt x="10886" y="8017"/>
                  </a:lnTo>
                  <a:lnTo>
                    <a:pt x="10955" y="7844"/>
                  </a:lnTo>
                  <a:lnTo>
                    <a:pt x="13926" y="829"/>
                  </a:lnTo>
                  <a:lnTo>
                    <a:pt x="13926" y="829"/>
                  </a:lnTo>
                  <a:lnTo>
                    <a:pt x="14065" y="622"/>
                  </a:lnTo>
                  <a:lnTo>
                    <a:pt x="14168" y="449"/>
                  </a:lnTo>
                  <a:lnTo>
                    <a:pt x="14341" y="277"/>
                  </a:lnTo>
                  <a:lnTo>
                    <a:pt x="14514" y="173"/>
                  </a:lnTo>
                  <a:lnTo>
                    <a:pt x="14687" y="104"/>
                  </a:lnTo>
                  <a:lnTo>
                    <a:pt x="14894" y="35"/>
                  </a:lnTo>
                  <a:lnTo>
                    <a:pt x="15101" y="0"/>
                  </a:lnTo>
                  <a:lnTo>
                    <a:pt x="15309" y="35"/>
                  </a:lnTo>
                  <a:lnTo>
                    <a:pt x="15516" y="69"/>
                  </a:lnTo>
                  <a:lnTo>
                    <a:pt x="15689" y="104"/>
                  </a:lnTo>
                  <a:lnTo>
                    <a:pt x="15862" y="207"/>
                  </a:lnTo>
                  <a:lnTo>
                    <a:pt x="16034" y="346"/>
                  </a:lnTo>
                  <a:lnTo>
                    <a:pt x="16173" y="484"/>
                  </a:lnTo>
                  <a:lnTo>
                    <a:pt x="16311" y="657"/>
                  </a:lnTo>
                  <a:lnTo>
                    <a:pt x="16415" y="864"/>
                  </a:lnTo>
                  <a:lnTo>
                    <a:pt x="16484" y="1071"/>
                  </a:lnTo>
                  <a:lnTo>
                    <a:pt x="18039" y="8743"/>
                  </a:lnTo>
                  <a:lnTo>
                    <a:pt x="18004" y="9088"/>
                  </a:lnTo>
                  <a:lnTo>
                    <a:pt x="7119" y="116593"/>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65" name="Google Shape;2494;p11">
              <a:extLst>
                <a:ext uri="{FF2B5EF4-FFF2-40B4-BE49-F238E27FC236}">
                  <a16:creationId xmlns:a16="http://schemas.microsoft.com/office/drawing/2014/main" id="{2C9929D1-E590-8A05-CDB8-3335E098817C}"/>
                </a:ext>
              </a:extLst>
            </p:cNvPr>
            <p:cNvSpPr/>
            <p:nvPr/>
          </p:nvSpPr>
          <p:spPr>
            <a:xfrm>
              <a:off x="5296775" y="2296800"/>
              <a:ext cx="178850" cy="298950"/>
            </a:xfrm>
            <a:custGeom>
              <a:avLst/>
              <a:gdLst/>
              <a:ahLst/>
              <a:cxnLst/>
              <a:rect l="l" t="t" r="r" b="b"/>
              <a:pathLst>
                <a:path w="7154" h="11958" extrusionOk="0">
                  <a:moveTo>
                    <a:pt x="4493" y="1"/>
                  </a:moveTo>
                  <a:lnTo>
                    <a:pt x="4355" y="35"/>
                  </a:lnTo>
                  <a:lnTo>
                    <a:pt x="4216" y="70"/>
                  </a:lnTo>
                  <a:lnTo>
                    <a:pt x="4078" y="139"/>
                  </a:lnTo>
                  <a:lnTo>
                    <a:pt x="3975" y="208"/>
                  </a:lnTo>
                  <a:lnTo>
                    <a:pt x="3871" y="312"/>
                  </a:lnTo>
                  <a:lnTo>
                    <a:pt x="3767" y="450"/>
                  </a:lnTo>
                  <a:lnTo>
                    <a:pt x="3698" y="588"/>
                  </a:lnTo>
                  <a:lnTo>
                    <a:pt x="1" y="10264"/>
                  </a:lnTo>
                  <a:lnTo>
                    <a:pt x="381" y="10299"/>
                  </a:lnTo>
                  <a:lnTo>
                    <a:pt x="588" y="10299"/>
                  </a:lnTo>
                  <a:lnTo>
                    <a:pt x="726" y="10264"/>
                  </a:lnTo>
                  <a:lnTo>
                    <a:pt x="795" y="10230"/>
                  </a:lnTo>
                  <a:lnTo>
                    <a:pt x="864" y="10160"/>
                  </a:lnTo>
                  <a:lnTo>
                    <a:pt x="1072" y="10160"/>
                  </a:lnTo>
                  <a:lnTo>
                    <a:pt x="1210" y="10195"/>
                  </a:lnTo>
                  <a:lnTo>
                    <a:pt x="1348" y="10264"/>
                  </a:lnTo>
                  <a:lnTo>
                    <a:pt x="1556" y="10471"/>
                  </a:lnTo>
                  <a:lnTo>
                    <a:pt x="1694" y="10575"/>
                  </a:lnTo>
                  <a:lnTo>
                    <a:pt x="1832" y="10679"/>
                  </a:lnTo>
                  <a:lnTo>
                    <a:pt x="2039" y="10748"/>
                  </a:lnTo>
                  <a:lnTo>
                    <a:pt x="2316" y="10782"/>
                  </a:lnTo>
                  <a:lnTo>
                    <a:pt x="2558" y="10782"/>
                  </a:lnTo>
                  <a:lnTo>
                    <a:pt x="2730" y="10713"/>
                  </a:lnTo>
                  <a:lnTo>
                    <a:pt x="2869" y="10575"/>
                  </a:lnTo>
                  <a:lnTo>
                    <a:pt x="2972" y="10437"/>
                  </a:lnTo>
                  <a:lnTo>
                    <a:pt x="3076" y="10264"/>
                  </a:lnTo>
                  <a:lnTo>
                    <a:pt x="3180" y="10160"/>
                  </a:lnTo>
                  <a:lnTo>
                    <a:pt x="3283" y="10091"/>
                  </a:lnTo>
                  <a:lnTo>
                    <a:pt x="3387" y="10091"/>
                  </a:lnTo>
                  <a:lnTo>
                    <a:pt x="3491" y="10057"/>
                  </a:lnTo>
                  <a:lnTo>
                    <a:pt x="3629" y="10057"/>
                  </a:lnTo>
                  <a:lnTo>
                    <a:pt x="3767" y="10091"/>
                  </a:lnTo>
                  <a:lnTo>
                    <a:pt x="3905" y="10160"/>
                  </a:lnTo>
                  <a:lnTo>
                    <a:pt x="4009" y="10264"/>
                  </a:lnTo>
                  <a:lnTo>
                    <a:pt x="4113" y="10368"/>
                  </a:lnTo>
                  <a:lnTo>
                    <a:pt x="4320" y="10644"/>
                  </a:lnTo>
                  <a:lnTo>
                    <a:pt x="4493" y="10990"/>
                  </a:lnTo>
                  <a:lnTo>
                    <a:pt x="4666" y="11301"/>
                  </a:lnTo>
                  <a:lnTo>
                    <a:pt x="4838" y="11612"/>
                  </a:lnTo>
                  <a:lnTo>
                    <a:pt x="4942" y="11716"/>
                  </a:lnTo>
                  <a:lnTo>
                    <a:pt x="5046" y="11819"/>
                  </a:lnTo>
                  <a:lnTo>
                    <a:pt x="5184" y="11888"/>
                  </a:lnTo>
                  <a:lnTo>
                    <a:pt x="5288" y="11957"/>
                  </a:lnTo>
                  <a:lnTo>
                    <a:pt x="5495" y="11957"/>
                  </a:lnTo>
                  <a:lnTo>
                    <a:pt x="5668" y="11888"/>
                  </a:lnTo>
                  <a:lnTo>
                    <a:pt x="5806" y="11819"/>
                  </a:lnTo>
                  <a:lnTo>
                    <a:pt x="5979" y="11681"/>
                  </a:lnTo>
                  <a:lnTo>
                    <a:pt x="6186" y="11508"/>
                  </a:lnTo>
                  <a:lnTo>
                    <a:pt x="6428" y="11370"/>
                  </a:lnTo>
                  <a:lnTo>
                    <a:pt x="6739" y="11232"/>
                  </a:lnTo>
                  <a:lnTo>
                    <a:pt x="7119" y="11128"/>
                  </a:lnTo>
                  <a:lnTo>
                    <a:pt x="7154" y="10990"/>
                  </a:lnTo>
                  <a:lnTo>
                    <a:pt x="5460" y="796"/>
                  </a:lnTo>
                  <a:lnTo>
                    <a:pt x="5426" y="623"/>
                  </a:lnTo>
                  <a:lnTo>
                    <a:pt x="5357" y="485"/>
                  </a:lnTo>
                  <a:lnTo>
                    <a:pt x="5253" y="346"/>
                  </a:lnTo>
                  <a:lnTo>
                    <a:pt x="5184" y="243"/>
                  </a:lnTo>
                  <a:lnTo>
                    <a:pt x="5046" y="139"/>
                  </a:lnTo>
                  <a:lnTo>
                    <a:pt x="4908" y="70"/>
                  </a:lnTo>
                  <a:lnTo>
                    <a:pt x="4769" y="35"/>
                  </a:lnTo>
                  <a:lnTo>
                    <a:pt x="4631" y="1"/>
                  </a:lnTo>
                  <a:close/>
                </a:path>
              </a:pathLst>
            </a:custGeom>
            <a:solidFill>
              <a:srgbClr val="F1BAC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66" name="Google Shape;2495;p11">
              <a:extLst>
                <a:ext uri="{FF2B5EF4-FFF2-40B4-BE49-F238E27FC236}">
                  <a16:creationId xmlns:a16="http://schemas.microsoft.com/office/drawing/2014/main" id="{8484C7F3-CF30-967A-BDC5-24695835D3F3}"/>
                </a:ext>
              </a:extLst>
            </p:cNvPr>
            <p:cNvSpPr/>
            <p:nvPr/>
          </p:nvSpPr>
          <p:spPr>
            <a:xfrm>
              <a:off x="5296775" y="2296800"/>
              <a:ext cx="178850" cy="298950"/>
            </a:xfrm>
            <a:custGeom>
              <a:avLst/>
              <a:gdLst/>
              <a:ahLst/>
              <a:cxnLst/>
              <a:rect l="l" t="t" r="r" b="b"/>
              <a:pathLst>
                <a:path w="7154" h="11958" fill="none" extrusionOk="0">
                  <a:moveTo>
                    <a:pt x="1" y="10264"/>
                  </a:moveTo>
                  <a:lnTo>
                    <a:pt x="3698" y="588"/>
                  </a:lnTo>
                  <a:lnTo>
                    <a:pt x="3698" y="588"/>
                  </a:lnTo>
                  <a:lnTo>
                    <a:pt x="3767" y="450"/>
                  </a:lnTo>
                  <a:lnTo>
                    <a:pt x="3871" y="312"/>
                  </a:lnTo>
                  <a:lnTo>
                    <a:pt x="3975" y="208"/>
                  </a:lnTo>
                  <a:lnTo>
                    <a:pt x="4078" y="139"/>
                  </a:lnTo>
                  <a:lnTo>
                    <a:pt x="4216" y="70"/>
                  </a:lnTo>
                  <a:lnTo>
                    <a:pt x="4355" y="35"/>
                  </a:lnTo>
                  <a:lnTo>
                    <a:pt x="4493" y="1"/>
                  </a:lnTo>
                  <a:lnTo>
                    <a:pt x="4631" y="1"/>
                  </a:lnTo>
                  <a:lnTo>
                    <a:pt x="4769" y="35"/>
                  </a:lnTo>
                  <a:lnTo>
                    <a:pt x="4908" y="70"/>
                  </a:lnTo>
                  <a:lnTo>
                    <a:pt x="5046" y="139"/>
                  </a:lnTo>
                  <a:lnTo>
                    <a:pt x="5184" y="243"/>
                  </a:lnTo>
                  <a:lnTo>
                    <a:pt x="5253" y="346"/>
                  </a:lnTo>
                  <a:lnTo>
                    <a:pt x="5357" y="485"/>
                  </a:lnTo>
                  <a:lnTo>
                    <a:pt x="5426" y="623"/>
                  </a:lnTo>
                  <a:lnTo>
                    <a:pt x="5460" y="796"/>
                  </a:lnTo>
                  <a:lnTo>
                    <a:pt x="7154" y="10990"/>
                  </a:lnTo>
                  <a:lnTo>
                    <a:pt x="7119" y="11128"/>
                  </a:lnTo>
                  <a:lnTo>
                    <a:pt x="7119" y="11128"/>
                  </a:lnTo>
                  <a:lnTo>
                    <a:pt x="6739" y="11232"/>
                  </a:lnTo>
                  <a:lnTo>
                    <a:pt x="6428" y="11370"/>
                  </a:lnTo>
                  <a:lnTo>
                    <a:pt x="6186" y="11508"/>
                  </a:lnTo>
                  <a:lnTo>
                    <a:pt x="5979" y="11681"/>
                  </a:lnTo>
                  <a:lnTo>
                    <a:pt x="5806" y="11819"/>
                  </a:lnTo>
                  <a:lnTo>
                    <a:pt x="5668" y="11888"/>
                  </a:lnTo>
                  <a:lnTo>
                    <a:pt x="5495" y="11957"/>
                  </a:lnTo>
                  <a:lnTo>
                    <a:pt x="5288" y="11957"/>
                  </a:lnTo>
                  <a:lnTo>
                    <a:pt x="5288" y="11957"/>
                  </a:lnTo>
                  <a:lnTo>
                    <a:pt x="5184" y="11888"/>
                  </a:lnTo>
                  <a:lnTo>
                    <a:pt x="5046" y="11819"/>
                  </a:lnTo>
                  <a:lnTo>
                    <a:pt x="4942" y="11716"/>
                  </a:lnTo>
                  <a:lnTo>
                    <a:pt x="4838" y="11612"/>
                  </a:lnTo>
                  <a:lnTo>
                    <a:pt x="4666" y="11301"/>
                  </a:lnTo>
                  <a:lnTo>
                    <a:pt x="4493" y="10990"/>
                  </a:lnTo>
                  <a:lnTo>
                    <a:pt x="4320" y="10644"/>
                  </a:lnTo>
                  <a:lnTo>
                    <a:pt x="4113" y="10368"/>
                  </a:lnTo>
                  <a:lnTo>
                    <a:pt x="4009" y="10264"/>
                  </a:lnTo>
                  <a:lnTo>
                    <a:pt x="3905" y="10160"/>
                  </a:lnTo>
                  <a:lnTo>
                    <a:pt x="3767" y="10091"/>
                  </a:lnTo>
                  <a:lnTo>
                    <a:pt x="3629" y="10057"/>
                  </a:lnTo>
                  <a:lnTo>
                    <a:pt x="3629" y="10057"/>
                  </a:lnTo>
                  <a:lnTo>
                    <a:pt x="3491" y="10057"/>
                  </a:lnTo>
                  <a:lnTo>
                    <a:pt x="3387" y="10091"/>
                  </a:lnTo>
                  <a:lnTo>
                    <a:pt x="3283" y="10091"/>
                  </a:lnTo>
                  <a:lnTo>
                    <a:pt x="3180" y="10160"/>
                  </a:lnTo>
                  <a:lnTo>
                    <a:pt x="3076" y="10264"/>
                  </a:lnTo>
                  <a:lnTo>
                    <a:pt x="2972" y="10437"/>
                  </a:lnTo>
                  <a:lnTo>
                    <a:pt x="2972" y="10437"/>
                  </a:lnTo>
                  <a:lnTo>
                    <a:pt x="2869" y="10575"/>
                  </a:lnTo>
                  <a:lnTo>
                    <a:pt x="2730" y="10713"/>
                  </a:lnTo>
                  <a:lnTo>
                    <a:pt x="2558" y="10782"/>
                  </a:lnTo>
                  <a:lnTo>
                    <a:pt x="2454" y="10782"/>
                  </a:lnTo>
                  <a:lnTo>
                    <a:pt x="2316" y="10782"/>
                  </a:lnTo>
                  <a:lnTo>
                    <a:pt x="2316" y="10782"/>
                  </a:lnTo>
                  <a:lnTo>
                    <a:pt x="2039" y="10748"/>
                  </a:lnTo>
                  <a:lnTo>
                    <a:pt x="1832" y="10679"/>
                  </a:lnTo>
                  <a:lnTo>
                    <a:pt x="1694" y="10575"/>
                  </a:lnTo>
                  <a:lnTo>
                    <a:pt x="1556" y="10471"/>
                  </a:lnTo>
                  <a:lnTo>
                    <a:pt x="1348" y="10264"/>
                  </a:lnTo>
                  <a:lnTo>
                    <a:pt x="1210" y="10195"/>
                  </a:lnTo>
                  <a:lnTo>
                    <a:pt x="1072" y="10160"/>
                  </a:lnTo>
                  <a:lnTo>
                    <a:pt x="1072" y="10160"/>
                  </a:lnTo>
                  <a:lnTo>
                    <a:pt x="934" y="10160"/>
                  </a:lnTo>
                  <a:lnTo>
                    <a:pt x="864" y="10160"/>
                  </a:lnTo>
                  <a:lnTo>
                    <a:pt x="795" y="10230"/>
                  </a:lnTo>
                  <a:lnTo>
                    <a:pt x="795" y="10230"/>
                  </a:lnTo>
                  <a:lnTo>
                    <a:pt x="726" y="10264"/>
                  </a:lnTo>
                  <a:lnTo>
                    <a:pt x="588" y="10299"/>
                  </a:lnTo>
                  <a:lnTo>
                    <a:pt x="381" y="10299"/>
                  </a:lnTo>
                  <a:lnTo>
                    <a:pt x="1" y="10264"/>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67" name="Google Shape;2496;p11">
              <a:extLst>
                <a:ext uri="{FF2B5EF4-FFF2-40B4-BE49-F238E27FC236}">
                  <a16:creationId xmlns:a16="http://schemas.microsoft.com/office/drawing/2014/main" id="{EB9EA8E6-99B8-1698-1088-6692A37E2EBB}"/>
                </a:ext>
              </a:extLst>
            </p:cNvPr>
            <p:cNvSpPr/>
            <p:nvPr/>
          </p:nvSpPr>
          <p:spPr>
            <a:xfrm>
              <a:off x="5368475" y="2269175"/>
              <a:ext cx="74325" cy="107150"/>
            </a:xfrm>
            <a:custGeom>
              <a:avLst/>
              <a:gdLst/>
              <a:ahLst/>
              <a:cxnLst/>
              <a:rect l="l" t="t" r="r" b="b"/>
              <a:pathLst>
                <a:path w="2973" h="4286" extrusionOk="0">
                  <a:moveTo>
                    <a:pt x="1901" y="0"/>
                  </a:moveTo>
                  <a:lnTo>
                    <a:pt x="1729" y="35"/>
                  </a:lnTo>
                  <a:lnTo>
                    <a:pt x="1556" y="69"/>
                  </a:lnTo>
                  <a:lnTo>
                    <a:pt x="1452" y="173"/>
                  </a:lnTo>
                  <a:lnTo>
                    <a:pt x="1348" y="346"/>
                  </a:lnTo>
                  <a:lnTo>
                    <a:pt x="35" y="3801"/>
                  </a:lnTo>
                  <a:lnTo>
                    <a:pt x="1" y="3870"/>
                  </a:lnTo>
                  <a:lnTo>
                    <a:pt x="35" y="3905"/>
                  </a:lnTo>
                  <a:lnTo>
                    <a:pt x="70" y="3940"/>
                  </a:lnTo>
                  <a:lnTo>
                    <a:pt x="139" y="3940"/>
                  </a:lnTo>
                  <a:lnTo>
                    <a:pt x="796" y="3801"/>
                  </a:lnTo>
                  <a:lnTo>
                    <a:pt x="1348" y="3767"/>
                  </a:lnTo>
                  <a:lnTo>
                    <a:pt x="1521" y="3801"/>
                  </a:lnTo>
                  <a:lnTo>
                    <a:pt x="1694" y="3870"/>
                  </a:lnTo>
                  <a:lnTo>
                    <a:pt x="2005" y="4078"/>
                  </a:lnTo>
                  <a:lnTo>
                    <a:pt x="2178" y="4181"/>
                  </a:lnTo>
                  <a:lnTo>
                    <a:pt x="2351" y="4251"/>
                  </a:lnTo>
                  <a:lnTo>
                    <a:pt x="2592" y="4285"/>
                  </a:lnTo>
                  <a:lnTo>
                    <a:pt x="2903" y="4216"/>
                  </a:lnTo>
                  <a:lnTo>
                    <a:pt x="2938" y="4181"/>
                  </a:lnTo>
                  <a:lnTo>
                    <a:pt x="2973" y="4112"/>
                  </a:lnTo>
                  <a:lnTo>
                    <a:pt x="2351" y="449"/>
                  </a:lnTo>
                  <a:lnTo>
                    <a:pt x="2281" y="277"/>
                  </a:lnTo>
                  <a:lnTo>
                    <a:pt x="2178" y="138"/>
                  </a:lnTo>
                  <a:lnTo>
                    <a:pt x="2040" y="69"/>
                  </a:lnTo>
                  <a:lnTo>
                    <a:pt x="1901" y="0"/>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68" name="Google Shape;2497;p11">
              <a:extLst>
                <a:ext uri="{FF2B5EF4-FFF2-40B4-BE49-F238E27FC236}">
                  <a16:creationId xmlns:a16="http://schemas.microsoft.com/office/drawing/2014/main" id="{30F700F0-3696-8DCB-C2C5-A0B249E66B4B}"/>
                </a:ext>
              </a:extLst>
            </p:cNvPr>
            <p:cNvSpPr/>
            <p:nvPr/>
          </p:nvSpPr>
          <p:spPr>
            <a:xfrm>
              <a:off x="5024650" y="2550800"/>
              <a:ext cx="298925" cy="2703200"/>
            </a:xfrm>
            <a:custGeom>
              <a:avLst/>
              <a:gdLst/>
              <a:ahLst/>
              <a:cxnLst/>
              <a:rect l="l" t="t" r="r" b="b"/>
              <a:pathLst>
                <a:path w="11957" h="108128" extrusionOk="0">
                  <a:moveTo>
                    <a:pt x="11957" y="0"/>
                  </a:moveTo>
                  <a:lnTo>
                    <a:pt x="11715" y="35"/>
                  </a:lnTo>
                  <a:lnTo>
                    <a:pt x="11680" y="70"/>
                  </a:lnTo>
                  <a:lnTo>
                    <a:pt x="11577" y="139"/>
                  </a:lnTo>
                  <a:lnTo>
                    <a:pt x="11335" y="139"/>
                  </a:lnTo>
                  <a:lnTo>
                    <a:pt x="10886" y="104"/>
                  </a:lnTo>
                  <a:lnTo>
                    <a:pt x="2661" y="81554"/>
                  </a:lnTo>
                  <a:lnTo>
                    <a:pt x="2454" y="83558"/>
                  </a:lnTo>
                  <a:lnTo>
                    <a:pt x="0" y="107955"/>
                  </a:lnTo>
                  <a:lnTo>
                    <a:pt x="1452" y="108093"/>
                  </a:lnTo>
                  <a:lnTo>
                    <a:pt x="1590" y="108127"/>
                  </a:lnTo>
                  <a:lnTo>
                    <a:pt x="2143" y="103428"/>
                  </a:lnTo>
                  <a:lnTo>
                    <a:pt x="2661" y="98486"/>
                  </a:lnTo>
                  <a:lnTo>
                    <a:pt x="3145" y="93406"/>
                  </a:lnTo>
                  <a:lnTo>
                    <a:pt x="3629" y="88258"/>
                  </a:lnTo>
                  <a:lnTo>
                    <a:pt x="4527" y="78236"/>
                  </a:lnTo>
                  <a:lnTo>
                    <a:pt x="4976" y="73571"/>
                  </a:lnTo>
                  <a:lnTo>
                    <a:pt x="5391" y="69286"/>
                  </a:lnTo>
                  <a:lnTo>
                    <a:pt x="6082" y="62824"/>
                  </a:lnTo>
                  <a:lnTo>
                    <a:pt x="6981" y="54323"/>
                  </a:lnTo>
                  <a:lnTo>
                    <a:pt x="8052" y="44440"/>
                  </a:lnTo>
                  <a:lnTo>
                    <a:pt x="9158" y="33935"/>
                  </a:lnTo>
                  <a:lnTo>
                    <a:pt x="10194" y="23499"/>
                  </a:lnTo>
                  <a:lnTo>
                    <a:pt x="10678" y="18557"/>
                  </a:lnTo>
                  <a:lnTo>
                    <a:pt x="11058" y="13892"/>
                  </a:lnTo>
                  <a:lnTo>
                    <a:pt x="11438" y="9642"/>
                  </a:lnTo>
                  <a:lnTo>
                    <a:pt x="11680" y="5841"/>
                  </a:lnTo>
                  <a:lnTo>
                    <a:pt x="11888" y="2592"/>
                  </a:lnTo>
                  <a:lnTo>
                    <a:pt x="11922" y="1210"/>
                  </a:lnTo>
                  <a:lnTo>
                    <a:pt x="11957" y="0"/>
                  </a:lnTo>
                  <a:close/>
                </a:path>
              </a:pathLst>
            </a:custGeom>
            <a:solidFill>
              <a:srgbClr val="D9820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69" name="Google Shape;2498;p11">
              <a:extLst>
                <a:ext uri="{FF2B5EF4-FFF2-40B4-BE49-F238E27FC236}">
                  <a16:creationId xmlns:a16="http://schemas.microsoft.com/office/drawing/2014/main" id="{97DBBE04-76D1-F29B-D442-236EAAB7F11A}"/>
                </a:ext>
              </a:extLst>
            </p:cNvPr>
            <p:cNvSpPr/>
            <p:nvPr/>
          </p:nvSpPr>
          <p:spPr>
            <a:xfrm>
              <a:off x="5024650" y="2550800"/>
              <a:ext cx="298925" cy="2703200"/>
            </a:xfrm>
            <a:custGeom>
              <a:avLst/>
              <a:gdLst/>
              <a:ahLst/>
              <a:cxnLst/>
              <a:rect l="l" t="t" r="r" b="b"/>
              <a:pathLst>
                <a:path w="11957" h="108128" fill="none" extrusionOk="0">
                  <a:moveTo>
                    <a:pt x="11957" y="0"/>
                  </a:moveTo>
                  <a:lnTo>
                    <a:pt x="11715" y="35"/>
                  </a:lnTo>
                  <a:lnTo>
                    <a:pt x="11715" y="35"/>
                  </a:lnTo>
                  <a:lnTo>
                    <a:pt x="11680" y="70"/>
                  </a:lnTo>
                  <a:lnTo>
                    <a:pt x="11680" y="70"/>
                  </a:lnTo>
                  <a:lnTo>
                    <a:pt x="11577" y="139"/>
                  </a:lnTo>
                  <a:lnTo>
                    <a:pt x="11335" y="139"/>
                  </a:lnTo>
                  <a:lnTo>
                    <a:pt x="11335" y="139"/>
                  </a:lnTo>
                  <a:lnTo>
                    <a:pt x="10886" y="104"/>
                  </a:lnTo>
                  <a:lnTo>
                    <a:pt x="2661" y="81554"/>
                  </a:lnTo>
                  <a:lnTo>
                    <a:pt x="2454" y="83558"/>
                  </a:lnTo>
                  <a:lnTo>
                    <a:pt x="0" y="107955"/>
                  </a:lnTo>
                  <a:lnTo>
                    <a:pt x="1452" y="108093"/>
                  </a:lnTo>
                  <a:lnTo>
                    <a:pt x="1590" y="108127"/>
                  </a:lnTo>
                  <a:lnTo>
                    <a:pt x="1590" y="108127"/>
                  </a:lnTo>
                  <a:lnTo>
                    <a:pt x="2143" y="103428"/>
                  </a:lnTo>
                  <a:lnTo>
                    <a:pt x="2661" y="98486"/>
                  </a:lnTo>
                  <a:lnTo>
                    <a:pt x="3145" y="93406"/>
                  </a:lnTo>
                  <a:lnTo>
                    <a:pt x="3629" y="88258"/>
                  </a:lnTo>
                  <a:lnTo>
                    <a:pt x="4527" y="78236"/>
                  </a:lnTo>
                  <a:lnTo>
                    <a:pt x="4976" y="73571"/>
                  </a:lnTo>
                  <a:lnTo>
                    <a:pt x="5391" y="69286"/>
                  </a:lnTo>
                  <a:lnTo>
                    <a:pt x="5391" y="69286"/>
                  </a:lnTo>
                  <a:lnTo>
                    <a:pt x="6082" y="62824"/>
                  </a:lnTo>
                  <a:lnTo>
                    <a:pt x="6981" y="54323"/>
                  </a:lnTo>
                  <a:lnTo>
                    <a:pt x="8052" y="44440"/>
                  </a:lnTo>
                  <a:lnTo>
                    <a:pt x="9158" y="33935"/>
                  </a:lnTo>
                  <a:lnTo>
                    <a:pt x="10194" y="23499"/>
                  </a:lnTo>
                  <a:lnTo>
                    <a:pt x="10678" y="18557"/>
                  </a:lnTo>
                  <a:lnTo>
                    <a:pt x="11058" y="13892"/>
                  </a:lnTo>
                  <a:lnTo>
                    <a:pt x="11438" y="9642"/>
                  </a:lnTo>
                  <a:lnTo>
                    <a:pt x="11680" y="5841"/>
                  </a:lnTo>
                  <a:lnTo>
                    <a:pt x="11888" y="2592"/>
                  </a:lnTo>
                  <a:lnTo>
                    <a:pt x="11922" y="1210"/>
                  </a:lnTo>
                  <a:lnTo>
                    <a:pt x="11957" y="0"/>
                  </a:lnTo>
                  <a:lnTo>
                    <a:pt x="11957"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70" name="Google Shape;2499;p11">
              <a:extLst>
                <a:ext uri="{FF2B5EF4-FFF2-40B4-BE49-F238E27FC236}">
                  <a16:creationId xmlns:a16="http://schemas.microsoft.com/office/drawing/2014/main" id="{96066900-1A34-539C-F07D-94EA9608C723}"/>
                </a:ext>
              </a:extLst>
            </p:cNvPr>
            <p:cNvSpPr/>
            <p:nvPr/>
          </p:nvSpPr>
          <p:spPr>
            <a:xfrm>
              <a:off x="5296775" y="2551675"/>
              <a:ext cx="20750" cy="2600"/>
            </a:xfrm>
            <a:custGeom>
              <a:avLst/>
              <a:gdLst/>
              <a:ahLst/>
              <a:cxnLst/>
              <a:rect l="l" t="t" r="r" b="b"/>
              <a:pathLst>
                <a:path w="830" h="104" extrusionOk="0">
                  <a:moveTo>
                    <a:pt x="830" y="0"/>
                  </a:moveTo>
                  <a:lnTo>
                    <a:pt x="1" y="69"/>
                  </a:lnTo>
                  <a:lnTo>
                    <a:pt x="450" y="104"/>
                  </a:lnTo>
                  <a:lnTo>
                    <a:pt x="692" y="104"/>
                  </a:lnTo>
                  <a:lnTo>
                    <a:pt x="795" y="35"/>
                  </a:lnTo>
                  <a:lnTo>
                    <a:pt x="830" y="0"/>
                  </a:lnTo>
                  <a:close/>
                </a:path>
              </a:pathLst>
            </a:custGeom>
            <a:solidFill>
              <a:srgbClr val="DEACB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71" name="Google Shape;2500;p11">
              <a:extLst>
                <a:ext uri="{FF2B5EF4-FFF2-40B4-BE49-F238E27FC236}">
                  <a16:creationId xmlns:a16="http://schemas.microsoft.com/office/drawing/2014/main" id="{06E92FB9-C4E4-3E01-DD94-F889AEC8F62D}"/>
                </a:ext>
              </a:extLst>
            </p:cNvPr>
            <p:cNvSpPr/>
            <p:nvPr/>
          </p:nvSpPr>
          <p:spPr>
            <a:xfrm>
              <a:off x="5296775" y="2551675"/>
              <a:ext cx="20750" cy="2600"/>
            </a:xfrm>
            <a:custGeom>
              <a:avLst/>
              <a:gdLst/>
              <a:ahLst/>
              <a:cxnLst/>
              <a:rect l="l" t="t" r="r" b="b"/>
              <a:pathLst>
                <a:path w="830" h="104" fill="none" extrusionOk="0">
                  <a:moveTo>
                    <a:pt x="830" y="0"/>
                  </a:moveTo>
                  <a:lnTo>
                    <a:pt x="1" y="69"/>
                  </a:lnTo>
                  <a:lnTo>
                    <a:pt x="1" y="69"/>
                  </a:lnTo>
                  <a:lnTo>
                    <a:pt x="1" y="69"/>
                  </a:lnTo>
                  <a:lnTo>
                    <a:pt x="1" y="69"/>
                  </a:lnTo>
                  <a:lnTo>
                    <a:pt x="450" y="104"/>
                  </a:lnTo>
                  <a:lnTo>
                    <a:pt x="450" y="104"/>
                  </a:lnTo>
                  <a:lnTo>
                    <a:pt x="692" y="104"/>
                  </a:lnTo>
                  <a:lnTo>
                    <a:pt x="795" y="35"/>
                  </a:lnTo>
                  <a:lnTo>
                    <a:pt x="795" y="35"/>
                  </a:lnTo>
                  <a:lnTo>
                    <a:pt x="830"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72" name="Google Shape;2501;p11">
              <a:extLst>
                <a:ext uri="{FF2B5EF4-FFF2-40B4-BE49-F238E27FC236}">
                  <a16:creationId xmlns:a16="http://schemas.microsoft.com/office/drawing/2014/main" id="{AE1E39ED-866E-E391-2029-C648FF948C0F}"/>
                </a:ext>
              </a:extLst>
            </p:cNvPr>
            <p:cNvSpPr/>
            <p:nvPr/>
          </p:nvSpPr>
          <p:spPr>
            <a:xfrm>
              <a:off x="5323550" y="2550800"/>
              <a:ext cx="25" cy="25"/>
            </a:xfrm>
            <a:custGeom>
              <a:avLst/>
              <a:gdLst/>
              <a:ahLst/>
              <a:cxnLst/>
              <a:rect l="l" t="t" r="r" b="b"/>
              <a:pathLst>
                <a:path w="1" h="1" fill="none" extrusionOk="0">
                  <a:moveTo>
                    <a:pt x="1" y="0"/>
                  </a:moveTo>
                  <a:lnTo>
                    <a:pt x="1" y="0"/>
                  </a:lnTo>
                  <a:lnTo>
                    <a:pt x="1" y="0"/>
                  </a:lnTo>
                  <a:lnTo>
                    <a:pt x="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73" name="Google Shape;2502;p11">
              <a:extLst>
                <a:ext uri="{FF2B5EF4-FFF2-40B4-BE49-F238E27FC236}">
                  <a16:creationId xmlns:a16="http://schemas.microsoft.com/office/drawing/2014/main" id="{02A14FD8-D9CD-B0B1-0D88-095FD3B35260}"/>
                </a:ext>
              </a:extLst>
            </p:cNvPr>
            <p:cNvSpPr/>
            <p:nvPr/>
          </p:nvSpPr>
          <p:spPr>
            <a:xfrm>
              <a:off x="5263950" y="3018175"/>
              <a:ext cx="203050" cy="190075"/>
            </a:xfrm>
            <a:custGeom>
              <a:avLst/>
              <a:gdLst/>
              <a:ahLst/>
              <a:cxnLst/>
              <a:rect l="l" t="t" r="r" b="b"/>
              <a:pathLst>
                <a:path w="8122" h="7603" extrusionOk="0">
                  <a:moveTo>
                    <a:pt x="7119" y="0"/>
                  </a:moveTo>
                  <a:lnTo>
                    <a:pt x="7050" y="35"/>
                  </a:lnTo>
                  <a:lnTo>
                    <a:pt x="6635" y="312"/>
                  </a:lnTo>
                  <a:lnTo>
                    <a:pt x="6255" y="588"/>
                  </a:lnTo>
                  <a:lnTo>
                    <a:pt x="5529" y="1175"/>
                  </a:lnTo>
                  <a:lnTo>
                    <a:pt x="4942" y="1659"/>
                  </a:lnTo>
                  <a:lnTo>
                    <a:pt x="4700" y="1832"/>
                  </a:lnTo>
                  <a:lnTo>
                    <a:pt x="4493" y="1936"/>
                  </a:lnTo>
                  <a:lnTo>
                    <a:pt x="4424" y="1936"/>
                  </a:lnTo>
                  <a:lnTo>
                    <a:pt x="4389" y="1901"/>
                  </a:lnTo>
                  <a:lnTo>
                    <a:pt x="4354" y="1867"/>
                  </a:lnTo>
                  <a:lnTo>
                    <a:pt x="4389" y="1763"/>
                  </a:lnTo>
                  <a:lnTo>
                    <a:pt x="4527" y="1245"/>
                  </a:lnTo>
                  <a:lnTo>
                    <a:pt x="4562" y="934"/>
                  </a:lnTo>
                  <a:lnTo>
                    <a:pt x="4562" y="795"/>
                  </a:lnTo>
                  <a:lnTo>
                    <a:pt x="4562" y="657"/>
                  </a:lnTo>
                  <a:lnTo>
                    <a:pt x="4493" y="553"/>
                  </a:lnTo>
                  <a:lnTo>
                    <a:pt x="4424" y="484"/>
                  </a:lnTo>
                  <a:lnTo>
                    <a:pt x="4285" y="450"/>
                  </a:lnTo>
                  <a:lnTo>
                    <a:pt x="4078" y="415"/>
                  </a:lnTo>
                  <a:lnTo>
                    <a:pt x="3905" y="484"/>
                  </a:lnTo>
                  <a:lnTo>
                    <a:pt x="3698" y="588"/>
                  </a:lnTo>
                  <a:lnTo>
                    <a:pt x="3525" y="726"/>
                  </a:lnTo>
                  <a:lnTo>
                    <a:pt x="3352" y="934"/>
                  </a:lnTo>
                  <a:lnTo>
                    <a:pt x="3007" y="1452"/>
                  </a:lnTo>
                  <a:lnTo>
                    <a:pt x="2592" y="2108"/>
                  </a:lnTo>
                  <a:lnTo>
                    <a:pt x="2143" y="2800"/>
                  </a:lnTo>
                  <a:lnTo>
                    <a:pt x="1866" y="3180"/>
                  </a:lnTo>
                  <a:lnTo>
                    <a:pt x="1555" y="3525"/>
                  </a:lnTo>
                  <a:lnTo>
                    <a:pt x="1244" y="3871"/>
                  </a:lnTo>
                  <a:lnTo>
                    <a:pt x="864" y="4216"/>
                  </a:lnTo>
                  <a:lnTo>
                    <a:pt x="450" y="4527"/>
                  </a:lnTo>
                  <a:lnTo>
                    <a:pt x="0" y="4804"/>
                  </a:lnTo>
                  <a:lnTo>
                    <a:pt x="70" y="5288"/>
                  </a:lnTo>
                  <a:lnTo>
                    <a:pt x="139" y="5806"/>
                  </a:lnTo>
                  <a:lnTo>
                    <a:pt x="242" y="6359"/>
                  </a:lnTo>
                  <a:lnTo>
                    <a:pt x="415" y="6877"/>
                  </a:lnTo>
                  <a:lnTo>
                    <a:pt x="519" y="7119"/>
                  </a:lnTo>
                  <a:lnTo>
                    <a:pt x="622" y="7292"/>
                  </a:lnTo>
                  <a:lnTo>
                    <a:pt x="761" y="7465"/>
                  </a:lnTo>
                  <a:lnTo>
                    <a:pt x="899" y="7568"/>
                  </a:lnTo>
                  <a:lnTo>
                    <a:pt x="1072" y="7603"/>
                  </a:lnTo>
                  <a:lnTo>
                    <a:pt x="1244" y="7568"/>
                  </a:lnTo>
                  <a:lnTo>
                    <a:pt x="2419" y="7050"/>
                  </a:lnTo>
                  <a:lnTo>
                    <a:pt x="4009" y="6324"/>
                  </a:lnTo>
                  <a:lnTo>
                    <a:pt x="5599" y="5564"/>
                  </a:lnTo>
                  <a:lnTo>
                    <a:pt x="6221" y="5253"/>
                  </a:lnTo>
                  <a:lnTo>
                    <a:pt x="6670" y="5011"/>
                  </a:lnTo>
                  <a:lnTo>
                    <a:pt x="6877" y="4873"/>
                  </a:lnTo>
                  <a:lnTo>
                    <a:pt x="7084" y="4700"/>
                  </a:lnTo>
                  <a:lnTo>
                    <a:pt x="7292" y="4527"/>
                  </a:lnTo>
                  <a:lnTo>
                    <a:pt x="7430" y="4355"/>
                  </a:lnTo>
                  <a:lnTo>
                    <a:pt x="7568" y="4147"/>
                  </a:lnTo>
                  <a:lnTo>
                    <a:pt x="7706" y="3940"/>
                  </a:lnTo>
                  <a:lnTo>
                    <a:pt x="7914" y="3525"/>
                  </a:lnTo>
                  <a:lnTo>
                    <a:pt x="8017" y="3076"/>
                  </a:lnTo>
                  <a:lnTo>
                    <a:pt x="8087" y="2627"/>
                  </a:lnTo>
                  <a:lnTo>
                    <a:pt x="8121" y="2212"/>
                  </a:lnTo>
                  <a:lnTo>
                    <a:pt x="8087" y="1763"/>
                  </a:lnTo>
                  <a:lnTo>
                    <a:pt x="8017" y="1383"/>
                  </a:lnTo>
                  <a:lnTo>
                    <a:pt x="7914" y="1003"/>
                  </a:lnTo>
                  <a:lnTo>
                    <a:pt x="7776" y="657"/>
                  </a:lnTo>
                  <a:lnTo>
                    <a:pt x="7637" y="381"/>
                  </a:lnTo>
                  <a:lnTo>
                    <a:pt x="7499" y="173"/>
                  </a:lnTo>
                  <a:lnTo>
                    <a:pt x="7326" y="35"/>
                  </a:lnTo>
                  <a:lnTo>
                    <a:pt x="7188" y="0"/>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74" name="Google Shape;2503;p11">
              <a:extLst>
                <a:ext uri="{FF2B5EF4-FFF2-40B4-BE49-F238E27FC236}">
                  <a16:creationId xmlns:a16="http://schemas.microsoft.com/office/drawing/2014/main" id="{4CBF9AAD-9AAE-C898-F956-DC1C670519FB}"/>
                </a:ext>
              </a:extLst>
            </p:cNvPr>
            <p:cNvSpPr/>
            <p:nvPr/>
          </p:nvSpPr>
          <p:spPr>
            <a:xfrm>
              <a:off x="4577150" y="3092475"/>
              <a:ext cx="749025" cy="341275"/>
            </a:xfrm>
            <a:custGeom>
              <a:avLst/>
              <a:gdLst/>
              <a:ahLst/>
              <a:cxnLst/>
              <a:rect l="l" t="t" r="r" b="b"/>
              <a:pathLst>
                <a:path w="29961" h="13651" extrusionOk="0">
                  <a:moveTo>
                    <a:pt x="27403" y="0"/>
                  </a:moveTo>
                  <a:lnTo>
                    <a:pt x="27300" y="35"/>
                  </a:lnTo>
                  <a:lnTo>
                    <a:pt x="27230" y="69"/>
                  </a:lnTo>
                  <a:lnTo>
                    <a:pt x="26194" y="899"/>
                  </a:lnTo>
                  <a:lnTo>
                    <a:pt x="24881" y="1901"/>
                  </a:lnTo>
                  <a:lnTo>
                    <a:pt x="23326" y="3041"/>
                  </a:lnTo>
                  <a:lnTo>
                    <a:pt x="21701" y="4147"/>
                  </a:lnTo>
                  <a:lnTo>
                    <a:pt x="20872" y="4700"/>
                  </a:lnTo>
                  <a:lnTo>
                    <a:pt x="20043" y="5184"/>
                  </a:lnTo>
                  <a:lnTo>
                    <a:pt x="19248" y="5633"/>
                  </a:lnTo>
                  <a:lnTo>
                    <a:pt x="18522" y="6048"/>
                  </a:lnTo>
                  <a:lnTo>
                    <a:pt x="17831" y="6359"/>
                  </a:lnTo>
                  <a:lnTo>
                    <a:pt x="17175" y="6635"/>
                  </a:lnTo>
                  <a:lnTo>
                    <a:pt x="16622" y="6773"/>
                  </a:lnTo>
                  <a:lnTo>
                    <a:pt x="16380" y="6808"/>
                  </a:lnTo>
                  <a:lnTo>
                    <a:pt x="16172" y="6843"/>
                  </a:lnTo>
                  <a:lnTo>
                    <a:pt x="15896" y="6808"/>
                  </a:lnTo>
                  <a:lnTo>
                    <a:pt x="15516" y="6704"/>
                  </a:lnTo>
                  <a:lnTo>
                    <a:pt x="15032" y="6601"/>
                  </a:lnTo>
                  <a:lnTo>
                    <a:pt x="14479" y="6393"/>
                  </a:lnTo>
                  <a:lnTo>
                    <a:pt x="13857" y="6186"/>
                  </a:lnTo>
                  <a:lnTo>
                    <a:pt x="13201" y="5909"/>
                  </a:lnTo>
                  <a:lnTo>
                    <a:pt x="12440" y="5564"/>
                  </a:lnTo>
                  <a:lnTo>
                    <a:pt x="11680" y="5184"/>
                  </a:lnTo>
                  <a:lnTo>
                    <a:pt x="10851" y="4769"/>
                  </a:lnTo>
                  <a:lnTo>
                    <a:pt x="10021" y="4320"/>
                  </a:lnTo>
                  <a:lnTo>
                    <a:pt x="9192" y="3802"/>
                  </a:lnTo>
                  <a:lnTo>
                    <a:pt x="8328" y="3214"/>
                  </a:lnTo>
                  <a:lnTo>
                    <a:pt x="7464" y="2592"/>
                  </a:lnTo>
                  <a:lnTo>
                    <a:pt x="6635" y="1936"/>
                  </a:lnTo>
                  <a:lnTo>
                    <a:pt x="5840" y="1244"/>
                  </a:lnTo>
                  <a:lnTo>
                    <a:pt x="5080" y="484"/>
                  </a:lnTo>
                  <a:lnTo>
                    <a:pt x="4251" y="588"/>
                  </a:lnTo>
                  <a:lnTo>
                    <a:pt x="3387" y="691"/>
                  </a:lnTo>
                  <a:lnTo>
                    <a:pt x="2419" y="864"/>
                  </a:lnTo>
                  <a:lnTo>
                    <a:pt x="1935" y="1002"/>
                  </a:lnTo>
                  <a:lnTo>
                    <a:pt x="1451" y="1141"/>
                  </a:lnTo>
                  <a:lnTo>
                    <a:pt x="1037" y="1313"/>
                  </a:lnTo>
                  <a:lnTo>
                    <a:pt x="657" y="1521"/>
                  </a:lnTo>
                  <a:lnTo>
                    <a:pt x="346" y="1728"/>
                  </a:lnTo>
                  <a:lnTo>
                    <a:pt x="242" y="1866"/>
                  </a:lnTo>
                  <a:lnTo>
                    <a:pt x="138" y="2005"/>
                  </a:lnTo>
                  <a:lnTo>
                    <a:pt x="69" y="2143"/>
                  </a:lnTo>
                  <a:lnTo>
                    <a:pt x="35" y="2281"/>
                  </a:lnTo>
                  <a:lnTo>
                    <a:pt x="0" y="2419"/>
                  </a:lnTo>
                  <a:lnTo>
                    <a:pt x="35" y="2592"/>
                  </a:lnTo>
                  <a:lnTo>
                    <a:pt x="69" y="2799"/>
                  </a:lnTo>
                  <a:lnTo>
                    <a:pt x="173" y="3007"/>
                  </a:lnTo>
                  <a:lnTo>
                    <a:pt x="518" y="3594"/>
                  </a:lnTo>
                  <a:lnTo>
                    <a:pt x="1002" y="4285"/>
                  </a:lnTo>
                  <a:lnTo>
                    <a:pt x="1624" y="5080"/>
                  </a:lnTo>
                  <a:lnTo>
                    <a:pt x="2384" y="5944"/>
                  </a:lnTo>
                  <a:lnTo>
                    <a:pt x="3248" y="6877"/>
                  </a:lnTo>
                  <a:lnTo>
                    <a:pt x="4216" y="7845"/>
                  </a:lnTo>
                  <a:lnTo>
                    <a:pt x="5287" y="8778"/>
                  </a:lnTo>
                  <a:lnTo>
                    <a:pt x="6428" y="9745"/>
                  </a:lnTo>
                  <a:lnTo>
                    <a:pt x="7602" y="10609"/>
                  </a:lnTo>
                  <a:lnTo>
                    <a:pt x="8224" y="11058"/>
                  </a:lnTo>
                  <a:lnTo>
                    <a:pt x="8847" y="11439"/>
                  </a:lnTo>
                  <a:lnTo>
                    <a:pt x="9503" y="11819"/>
                  </a:lnTo>
                  <a:lnTo>
                    <a:pt x="10125" y="12164"/>
                  </a:lnTo>
                  <a:lnTo>
                    <a:pt x="10782" y="12510"/>
                  </a:lnTo>
                  <a:lnTo>
                    <a:pt x="11438" y="12786"/>
                  </a:lnTo>
                  <a:lnTo>
                    <a:pt x="12060" y="13028"/>
                  </a:lnTo>
                  <a:lnTo>
                    <a:pt x="12717" y="13235"/>
                  </a:lnTo>
                  <a:lnTo>
                    <a:pt x="13373" y="13408"/>
                  </a:lnTo>
                  <a:lnTo>
                    <a:pt x="14030" y="13546"/>
                  </a:lnTo>
                  <a:lnTo>
                    <a:pt x="14652" y="13616"/>
                  </a:lnTo>
                  <a:lnTo>
                    <a:pt x="15274" y="13650"/>
                  </a:lnTo>
                  <a:lnTo>
                    <a:pt x="15585" y="13616"/>
                  </a:lnTo>
                  <a:lnTo>
                    <a:pt x="15931" y="13581"/>
                  </a:lnTo>
                  <a:lnTo>
                    <a:pt x="16311" y="13477"/>
                  </a:lnTo>
                  <a:lnTo>
                    <a:pt x="16691" y="13339"/>
                  </a:lnTo>
                  <a:lnTo>
                    <a:pt x="17624" y="12959"/>
                  </a:lnTo>
                  <a:lnTo>
                    <a:pt x="18626" y="12475"/>
                  </a:lnTo>
                  <a:lnTo>
                    <a:pt x="19732" y="11922"/>
                  </a:lnTo>
                  <a:lnTo>
                    <a:pt x="20872" y="11300"/>
                  </a:lnTo>
                  <a:lnTo>
                    <a:pt x="22047" y="10609"/>
                  </a:lnTo>
                  <a:lnTo>
                    <a:pt x="23222" y="9883"/>
                  </a:lnTo>
                  <a:lnTo>
                    <a:pt x="25468" y="8432"/>
                  </a:lnTo>
                  <a:lnTo>
                    <a:pt x="27438" y="7084"/>
                  </a:lnTo>
                  <a:lnTo>
                    <a:pt x="28924" y="6048"/>
                  </a:lnTo>
                  <a:lnTo>
                    <a:pt x="29719" y="5426"/>
                  </a:lnTo>
                  <a:lnTo>
                    <a:pt x="29788" y="5357"/>
                  </a:lnTo>
                  <a:lnTo>
                    <a:pt x="29857" y="5218"/>
                  </a:lnTo>
                  <a:lnTo>
                    <a:pt x="29926" y="5080"/>
                  </a:lnTo>
                  <a:lnTo>
                    <a:pt x="29960" y="4907"/>
                  </a:lnTo>
                  <a:lnTo>
                    <a:pt x="29960" y="4562"/>
                  </a:lnTo>
                  <a:lnTo>
                    <a:pt x="29891" y="4113"/>
                  </a:lnTo>
                  <a:lnTo>
                    <a:pt x="29788" y="3629"/>
                  </a:lnTo>
                  <a:lnTo>
                    <a:pt x="29649" y="3145"/>
                  </a:lnTo>
                  <a:lnTo>
                    <a:pt x="29442" y="2627"/>
                  </a:lnTo>
                  <a:lnTo>
                    <a:pt x="29235" y="2143"/>
                  </a:lnTo>
                  <a:lnTo>
                    <a:pt x="28958" y="1659"/>
                  </a:lnTo>
                  <a:lnTo>
                    <a:pt x="28716" y="1210"/>
                  </a:lnTo>
                  <a:lnTo>
                    <a:pt x="28440" y="795"/>
                  </a:lnTo>
                  <a:lnTo>
                    <a:pt x="28164" y="450"/>
                  </a:lnTo>
                  <a:lnTo>
                    <a:pt x="27887" y="208"/>
                  </a:lnTo>
                  <a:lnTo>
                    <a:pt x="27645" y="35"/>
                  </a:lnTo>
                  <a:lnTo>
                    <a:pt x="27542" y="0"/>
                  </a:lnTo>
                  <a:close/>
                </a:path>
              </a:pathLst>
            </a:custGeom>
            <a:solidFill>
              <a:srgbClr val="E0301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75" name="Google Shape;2504;p11">
              <a:extLst>
                <a:ext uri="{FF2B5EF4-FFF2-40B4-BE49-F238E27FC236}">
                  <a16:creationId xmlns:a16="http://schemas.microsoft.com/office/drawing/2014/main" id="{F8597CC5-B0EB-91A0-34D0-5C1DE8372DB7}"/>
                </a:ext>
              </a:extLst>
            </p:cNvPr>
            <p:cNvSpPr/>
            <p:nvPr/>
          </p:nvSpPr>
          <p:spPr>
            <a:xfrm>
              <a:off x="3670900" y="2765050"/>
              <a:ext cx="137375" cy="338675"/>
            </a:xfrm>
            <a:custGeom>
              <a:avLst/>
              <a:gdLst/>
              <a:ahLst/>
              <a:cxnLst/>
              <a:rect l="l" t="t" r="r" b="b"/>
              <a:pathLst>
                <a:path w="5495" h="13547" extrusionOk="0">
                  <a:moveTo>
                    <a:pt x="2765" y="0"/>
                  </a:moveTo>
                  <a:lnTo>
                    <a:pt x="2696" y="35"/>
                  </a:lnTo>
                  <a:lnTo>
                    <a:pt x="2592" y="208"/>
                  </a:lnTo>
                  <a:lnTo>
                    <a:pt x="2523" y="415"/>
                  </a:lnTo>
                  <a:lnTo>
                    <a:pt x="2488" y="657"/>
                  </a:lnTo>
                  <a:lnTo>
                    <a:pt x="2454" y="968"/>
                  </a:lnTo>
                  <a:lnTo>
                    <a:pt x="2488" y="1694"/>
                  </a:lnTo>
                  <a:lnTo>
                    <a:pt x="2592" y="3145"/>
                  </a:lnTo>
                  <a:lnTo>
                    <a:pt x="2592" y="3767"/>
                  </a:lnTo>
                  <a:lnTo>
                    <a:pt x="2558" y="3974"/>
                  </a:lnTo>
                  <a:lnTo>
                    <a:pt x="2488" y="4113"/>
                  </a:lnTo>
                  <a:lnTo>
                    <a:pt x="2385" y="4251"/>
                  </a:lnTo>
                  <a:lnTo>
                    <a:pt x="2247" y="4355"/>
                  </a:lnTo>
                  <a:lnTo>
                    <a:pt x="2074" y="4424"/>
                  </a:lnTo>
                  <a:lnTo>
                    <a:pt x="1866" y="4458"/>
                  </a:lnTo>
                  <a:lnTo>
                    <a:pt x="1452" y="4527"/>
                  </a:lnTo>
                  <a:lnTo>
                    <a:pt x="1037" y="4562"/>
                  </a:lnTo>
                  <a:lnTo>
                    <a:pt x="830" y="4596"/>
                  </a:lnTo>
                  <a:lnTo>
                    <a:pt x="622" y="4666"/>
                  </a:lnTo>
                  <a:lnTo>
                    <a:pt x="450" y="4735"/>
                  </a:lnTo>
                  <a:lnTo>
                    <a:pt x="277" y="4873"/>
                  </a:lnTo>
                  <a:lnTo>
                    <a:pt x="173" y="5011"/>
                  </a:lnTo>
                  <a:lnTo>
                    <a:pt x="70" y="5218"/>
                  </a:lnTo>
                  <a:lnTo>
                    <a:pt x="0" y="5495"/>
                  </a:lnTo>
                  <a:lnTo>
                    <a:pt x="0" y="5806"/>
                  </a:lnTo>
                  <a:lnTo>
                    <a:pt x="35" y="5944"/>
                  </a:lnTo>
                  <a:lnTo>
                    <a:pt x="70" y="6082"/>
                  </a:lnTo>
                  <a:lnTo>
                    <a:pt x="173" y="6359"/>
                  </a:lnTo>
                  <a:lnTo>
                    <a:pt x="346" y="6635"/>
                  </a:lnTo>
                  <a:lnTo>
                    <a:pt x="553" y="6946"/>
                  </a:lnTo>
                  <a:lnTo>
                    <a:pt x="761" y="7326"/>
                  </a:lnTo>
                  <a:lnTo>
                    <a:pt x="1003" y="7776"/>
                  </a:lnTo>
                  <a:lnTo>
                    <a:pt x="1210" y="8329"/>
                  </a:lnTo>
                  <a:lnTo>
                    <a:pt x="1383" y="8985"/>
                  </a:lnTo>
                  <a:lnTo>
                    <a:pt x="1486" y="9503"/>
                  </a:lnTo>
                  <a:lnTo>
                    <a:pt x="1555" y="10125"/>
                  </a:lnTo>
                  <a:lnTo>
                    <a:pt x="1694" y="11508"/>
                  </a:lnTo>
                  <a:lnTo>
                    <a:pt x="1866" y="12752"/>
                  </a:lnTo>
                  <a:lnTo>
                    <a:pt x="1936" y="13201"/>
                  </a:lnTo>
                  <a:lnTo>
                    <a:pt x="2005" y="13339"/>
                  </a:lnTo>
                  <a:lnTo>
                    <a:pt x="2039" y="13443"/>
                  </a:lnTo>
                  <a:lnTo>
                    <a:pt x="2143" y="13512"/>
                  </a:lnTo>
                  <a:lnTo>
                    <a:pt x="2281" y="13547"/>
                  </a:lnTo>
                  <a:lnTo>
                    <a:pt x="2488" y="13547"/>
                  </a:lnTo>
                  <a:lnTo>
                    <a:pt x="2696" y="13512"/>
                  </a:lnTo>
                  <a:lnTo>
                    <a:pt x="3283" y="13374"/>
                  </a:lnTo>
                  <a:lnTo>
                    <a:pt x="3871" y="13166"/>
                  </a:lnTo>
                  <a:lnTo>
                    <a:pt x="4977" y="12752"/>
                  </a:lnTo>
                  <a:lnTo>
                    <a:pt x="5495" y="12579"/>
                  </a:lnTo>
                  <a:lnTo>
                    <a:pt x="5322" y="11784"/>
                  </a:lnTo>
                  <a:lnTo>
                    <a:pt x="5115" y="10851"/>
                  </a:lnTo>
                  <a:lnTo>
                    <a:pt x="4838" y="9918"/>
                  </a:lnTo>
                  <a:lnTo>
                    <a:pt x="4527" y="8985"/>
                  </a:lnTo>
                  <a:lnTo>
                    <a:pt x="4251" y="8156"/>
                  </a:lnTo>
                  <a:lnTo>
                    <a:pt x="4044" y="7326"/>
                  </a:lnTo>
                  <a:lnTo>
                    <a:pt x="3940" y="6877"/>
                  </a:lnTo>
                  <a:lnTo>
                    <a:pt x="3905" y="6463"/>
                  </a:lnTo>
                  <a:lnTo>
                    <a:pt x="3871" y="6048"/>
                  </a:lnTo>
                  <a:lnTo>
                    <a:pt x="3905" y="5633"/>
                  </a:lnTo>
                  <a:lnTo>
                    <a:pt x="3940" y="4977"/>
                  </a:lnTo>
                  <a:lnTo>
                    <a:pt x="3871" y="4147"/>
                  </a:lnTo>
                  <a:lnTo>
                    <a:pt x="3802" y="3249"/>
                  </a:lnTo>
                  <a:lnTo>
                    <a:pt x="3663" y="2316"/>
                  </a:lnTo>
                  <a:lnTo>
                    <a:pt x="3491" y="1452"/>
                  </a:lnTo>
                  <a:lnTo>
                    <a:pt x="3352" y="726"/>
                  </a:lnTo>
                  <a:lnTo>
                    <a:pt x="3180" y="242"/>
                  </a:lnTo>
                  <a:lnTo>
                    <a:pt x="3111" y="70"/>
                  </a:lnTo>
                  <a:lnTo>
                    <a:pt x="3041" y="0"/>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76" name="Google Shape;2505;p11">
              <a:extLst>
                <a:ext uri="{FF2B5EF4-FFF2-40B4-BE49-F238E27FC236}">
                  <a16:creationId xmlns:a16="http://schemas.microsoft.com/office/drawing/2014/main" id="{BD961CE6-4207-0A8C-F2FF-5AF1B2050A5D}"/>
                </a:ext>
              </a:extLst>
            </p:cNvPr>
            <p:cNvSpPr/>
            <p:nvPr/>
          </p:nvSpPr>
          <p:spPr>
            <a:xfrm>
              <a:off x="3986225" y="5196100"/>
              <a:ext cx="131350" cy="218575"/>
            </a:xfrm>
            <a:custGeom>
              <a:avLst/>
              <a:gdLst/>
              <a:ahLst/>
              <a:cxnLst/>
              <a:rect l="l" t="t" r="r" b="b"/>
              <a:pathLst>
                <a:path w="5254" h="8743" extrusionOk="0">
                  <a:moveTo>
                    <a:pt x="312" y="0"/>
                  </a:moveTo>
                  <a:lnTo>
                    <a:pt x="139" y="2454"/>
                  </a:lnTo>
                  <a:lnTo>
                    <a:pt x="1" y="4527"/>
                  </a:lnTo>
                  <a:lnTo>
                    <a:pt x="1" y="5460"/>
                  </a:lnTo>
                  <a:lnTo>
                    <a:pt x="1" y="6220"/>
                  </a:lnTo>
                  <a:lnTo>
                    <a:pt x="1210" y="8743"/>
                  </a:lnTo>
                  <a:lnTo>
                    <a:pt x="4597" y="6773"/>
                  </a:lnTo>
                  <a:lnTo>
                    <a:pt x="5253" y="104"/>
                  </a:lnTo>
                  <a:lnTo>
                    <a:pt x="312" y="0"/>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77" name="Google Shape;2506;p11">
              <a:extLst>
                <a:ext uri="{FF2B5EF4-FFF2-40B4-BE49-F238E27FC236}">
                  <a16:creationId xmlns:a16="http://schemas.microsoft.com/office/drawing/2014/main" id="{31D52557-1720-98A9-18B4-7E16D465940C}"/>
                </a:ext>
              </a:extLst>
            </p:cNvPr>
            <p:cNvSpPr/>
            <p:nvPr/>
          </p:nvSpPr>
          <p:spPr>
            <a:xfrm>
              <a:off x="3751250" y="5332600"/>
              <a:ext cx="366325" cy="139975"/>
            </a:xfrm>
            <a:custGeom>
              <a:avLst/>
              <a:gdLst/>
              <a:ahLst/>
              <a:cxnLst/>
              <a:rect l="l" t="t" r="r" b="b"/>
              <a:pathLst>
                <a:path w="14653" h="5599" extrusionOk="0">
                  <a:moveTo>
                    <a:pt x="8881" y="0"/>
                  </a:moveTo>
                  <a:lnTo>
                    <a:pt x="8777" y="35"/>
                  </a:lnTo>
                  <a:lnTo>
                    <a:pt x="8708" y="104"/>
                  </a:lnTo>
                  <a:lnTo>
                    <a:pt x="8674" y="242"/>
                  </a:lnTo>
                  <a:lnTo>
                    <a:pt x="8639" y="588"/>
                  </a:lnTo>
                  <a:lnTo>
                    <a:pt x="8605" y="829"/>
                  </a:lnTo>
                  <a:lnTo>
                    <a:pt x="8536" y="1106"/>
                  </a:lnTo>
                  <a:lnTo>
                    <a:pt x="8466" y="1244"/>
                  </a:lnTo>
                  <a:lnTo>
                    <a:pt x="8397" y="1382"/>
                  </a:lnTo>
                  <a:lnTo>
                    <a:pt x="8259" y="1521"/>
                  </a:lnTo>
                  <a:lnTo>
                    <a:pt x="8086" y="1659"/>
                  </a:lnTo>
                  <a:lnTo>
                    <a:pt x="7706" y="1866"/>
                  </a:lnTo>
                  <a:lnTo>
                    <a:pt x="7222" y="2073"/>
                  </a:lnTo>
                  <a:lnTo>
                    <a:pt x="6670" y="2246"/>
                  </a:lnTo>
                  <a:lnTo>
                    <a:pt x="6082" y="2384"/>
                  </a:lnTo>
                  <a:lnTo>
                    <a:pt x="5426" y="2488"/>
                  </a:lnTo>
                  <a:lnTo>
                    <a:pt x="4734" y="2557"/>
                  </a:lnTo>
                  <a:lnTo>
                    <a:pt x="3387" y="2695"/>
                  </a:lnTo>
                  <a:lnTo>
                    <a:pt x="2177" y="2799"/>
                  </a:lnTo>
                  <a:lnTo>
                    <a:pt x="1175" y="2834"/>
                  </a:lnTo>
                  <a:lnTo>
                    <a:pt x="588" y="2868"/>
                  </a:lnTo>
                  <a:lnTo>
                    <a:pt x="484" y="2937"/>
                  </a:lnTo>
                  <a:lnTo>
                    <a:pt x="380" y="3006"/>
                  </a:lnTo>
                  <a:lnTo>
                    <a:pt x="277" y="3145"/>
                  </a:lnTo>
                  <a:lnTo>
                    <a:pt x="173" y="3318"/>
                  </a:lnTo>
                  <a:lnTo>
                    <a:pt x="104" y="3490"/>
                  </a:lnTo>
                  <a:lnTo>
                    <a:pt x="35" y="3732"/>
                  </a:lnTo>
                  <a:lnTo>
                    <a:pt x="35" y="3940"/>
                  </a:lnTo>
                  <a:lnTo>
                    <a:pt x="0" y="4181"/>
                  </a:lnTo>
                  <a:lnTo>
                    <a:pt x="35" y="4423"/>
                  </a:lnTo>
                  <a:lnTo>
                    <a:pt x="138" y="4665"/>
                  </a:lnTo>
                  <a:lnTo>
                    <a:pt x="242" y="4873"/>
                  </a:lnTo>
                  <a:lnTo>
                    <a:pt x="415" y="5045"/>
                  </a:lnTo>
                  <a:lnTo>
                    <a:pt x="657" y="5218"/>
                  </a:lnTo>
                  <a:lnTo>
                    <a:pt x="933" y="5356"/>
                  </a:lnTo>
                  <a:lnTo>
                    <a:pt x="1313" y="5425"/>
                  </a:lnTo>
                  <a:lnTo>
                    <a:pt x="1728" y="5460"/>
                  </a:lnTo>
                  <a:lnTo>
                    <a:pt x="7430" y="5529"/>
                  </a:lnTo>
                  <a:lnTo>
                    <a:pt x="13304" y="5598"/>
                  </a:lnTo>
                  <a:lnTo>
                    <a:pt x="13477" y="5564"/>
                  </a:lnTo>
                  <a:lnTo>
                    <a:pt x="13650" y="5529"/>
                  </a:lnTo>
                  <a:lnTo>
                    <a:pt x="13823" y="5460"/>
                  </a:lnTo>
                  <a:lnTo>
                    <a:pt x="13961" y="5391"/>
                  </a:lnTo>
                  <a:lnTo>
                    <a:pt x="14099" y="5253"/>
                  </a:lnTo>
                  <a:lnTo>
                    <a:pt x="14203" y="5114"/>
                  </a:lnTo>
                  <a:lnTo>
                    <a:pt x="14307" y="4976"/>
                  </a:lnTo>
                  <a:lnTo>
                    <a:pt x="14341" y="4803"/>
                  </a:lnTo>
                  <a:lnTo>
                    <a:pt x="14514" y="4181"/>
                  </a:lnTo>
                  <a:lnTo>
                    <a:pt x="14583" y="3490"/>
                  </a:lnTo>
                  <a:lnTo>
                    <a:pt x="14652" y="2765"/>
                  </a:lnTo>
                  <a:lnTo>
                    <a:pt x="14618" y="2108"/>
                  </a:lnTo>
                  <a:lnTo>
                    <a:pt x="14583" y="1521"/>
                  </a:lnTo>
                  <a:lnTo>
                    <a:pt x="14514" y="1244"/>
                  </a:lnTo>
                  <a:lnTo>
                    <a:pt x="14445" y="1037"/>
                  </a:lnTo>
                  <a:lnTo>
                    <a:pt x="14376" y="864"/>
                  </a:lnTo>
                  <a:lnTo>
                    <a:pt x="14307" y="726"/>
                  </a:lnTo>
                  <a:lnTo>
                    <a:pt x="14203" y="622"/>
                  </a:lnTo>
                  <a:lnTo>
                    <a:pt x="14065" y="588"/>
                  </a:lnTo>
                  <a:lnTo>
                    <a:pt x="13650" y="484"/>
                  </a:lnTo>
                  <a:lnTo>
                    <a:pt x="13166" y="415"/>
                  </a:lnTo>
                  <a:lnTo>
                    <a:pt x="11991" y="380"/>
                  </a:lnTo>
                  <a:lnTo>
                    <a:pt x="11335" y="346"/>
                  </a:lnTo>
                  <a:lnTo>
                    <a:pt x="10609" y="277"/>
                  </a:lnTo>
                  <a:lnTo>
                    <a:pt x="9849" y="173"/>
                  </a:lnTo>
                  <a:lnTo>
                    <a:pt x="9054" y="0"/>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78" name="Google Shape;2507;p11">
              <a:extLst>
                <a:ext uri="{FF2B5EF4-FFF2-40B4-BE49-F238E27FC236}">
                  <a16:creationId xmlns:a16="http://schemas.microsoft.com/office/drawing/2014/main" id="{85E2F0B8-4240-9444-3D71-07C05365DCB5}"/>
                </a:ext>
              </a:extLst>
            </p:cNvPr>
            <p:cNvSpPr/>
            <p:nvPr/>
          </p:nvSpPr>
          <p:spPr>
            <a:xfrm>
              <a:off x="4654025" y="5114025"/>
              <a:ext cx="162450" cy="235875"/>
            </a:xfrm>
            <a:custGeom>
              <a:avLst/>
              <a:gdLst/>
              <a:ahLst/>
              <a:cxnLst/>
              <a:rect l="l" t="t" r="r" b="b"/>
              <a:pathLst>
                <a:path w="6498" h="9435" extrusionOk="0">
                  <a:moveTo>
                    <a:pt x="4700" y="0"/>
                  </a:moveTo>
                  <a:lnTo>
                    <a:pt x="1" y="1521"/>
                  </a:lnTo>
                  <a:lnTo>
                    <a:pt x="726" y="3871"/>
                  </a:lnTo>
                  <a:lnTo>
                    <a:pt x="1348" y="5840"/>
                  </a:lnTo>
                  <a:lnTo>
                    <a:pt x="1694" y="6739"/>
                  </a:lnTo>
                  <a:lnTo>
                    <a:pt x="1970" y="7465"/>
                  </a:lnTo>
                  <a:lnTo>
                    <a:pt x="4009" y="9434"/>
                  </a:lnTo>
                  <a:lnTo>
                    <a:pt x="6497" y="6497"/>
                  </a:lnTo>
                  <a:lnTo>
                    <a:pt x="4700" y="0"/>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79" name="Google Shape;2508;p11">
              <a:extLst>
                <a:ext uri="{FF2B5EF4-FFF2-40B4-BE49-F238E27FC236}">
                  <a16:creationId xmlns:a16="http://schemas.microsoft.com/office/drawing/2014/main" id="{17E2988B-8A49-93A8-0D12-CC15CA7FCFAA}"/>
                </a:ext>
              </a:extLst>
            </p:cNvPr>
            <p:cNvSpPr/>
            <p:nvPr/>
          </p:nvSpPr>
          <p:spPr>
            <a:xfrm>
              <a:off x="4509750" y="5258300"/>
              <a:ext cx="346450" cy="218575"/>
            </a:xfrm>
            <a:custGeom>
              <a:avLst/>
              <a:gdLst/>
              <a:ahLst/>
              <a:cxnLst/>
              <a:rect l="l" t="t" r="r" b="b"/>
              <a:pathLst>
                <a:path w="13858" h="8743" extrusionOk="0">
                  <a:moveTo>
                    <a:pt x="12061" y="0"/>
                  </a:moveTo>
                  <a:lnTo>
                    <a:pt x="11646" y="35"/>
                  </a:lnTo>
                  <a:lnTo>
                    <a:pt x="11162" y="138"/>
                  </a:lnTo>
                  <a:lnTo>
                    <a:pt x="10022" y="484"/>
                  </a:lnTo>
                  <a:lnTo>
                    <a:pt x="9400" y="657"/>
                  </a:lnTo>
                  <a:lnTo>
                    <a:pt x="8709" y="830"/>
                  </a:lnTo>
                  <a:lnTo>
                    <a:pt x="7949" y="1002"/>
                  </a:lnTo>
                  <a:lnTo>
                    <a:pt x="7154" y="1106"/>
                  </a:lnTo>
                  <a:lnTo>
                    <a:pt x="6981" y="1141"/>
                  </a:lnTo>
                  <a:lnTo>
                    <a:pt x="6877" y="1210"/>
                  </a:lnTo>
                  <a:lnTo>
                    <a:pt x="6877" y="1279"/>
                  </a:lnTo>
                  <a:lnTo>
                    <a:pt x="6877" y="1417"/>
                  </a:lnTo>
                  <a:lnTo>
                    <a:pt x="6947" y="1797"/>
                  </a:lnTo>
                  <a:lnTo>
                    <a:pt x="7016" y="2005"/>
                  </a:lnTo>
                  <a:lnTo>
                    <a:pt x="7050" y="2281"/>
                  </a:lnTo>
                  <a:lnTo>
                    <a:pt x="7050" y="2454"/>
                  </a:lnTo>
                  <a:lnTo>
                    <a:pt x="7016" y="2627"/>
                  </a:lnTo>
                  <a:lnTo>
                    <a:pt x="6947" y="2765"/>
                  </a:lnTo>
                  <a:lnTo>
                    <a:pt x="6843" y="2938"/>
                  </a:lnTo>
                  <a:lnTo>
                    <a:pt x="6566" y="3283"/>
                  </a:lnTo>
                  <a:lnTo>
                    <a:pt x="6186" y="3629"/>
                  </a:lnTo>
                  <a:lnTo>
                    <a:pt x="5737" y="3940"/>
                  </a:lnTo>
                  <a:lnTo>
                    <a:pt x="5219" y="4285"/>
                  </a:lnTo>
                  <a:lnTo>
                    <a:pt x="4631" y="4596"/>
                  </a:lnTo>
                  <a:lnTo>
                    <a:pt x="4044" y="4907"/>
                  </a:lnTo>
                  <a:lnTo>
                    <a:pt x="2800" y="5460"/>
                  </a:lnTo>
                  <a:lnTo>
                    <a:pt x="1694" y="5944"/>
                  </a:lnTo>
                  <a:lnTo>
                    <a:pt x="761" y="6324"/>
                  </a:lnTo>
                  <a:lnTo>
                    <a:pt x="208" y="6566"/>
                  </a:lnTo>
                  <a:lnTo>
                    <a:pt x="139" y="6635"/>
                  </a:lnTo>
                  <a:lnTo>
                    <a:pt x="70" y="6739"/>
                  </a:lnTo>
                  <a:lnTo>
                    <a:pt x="35" y="6912"/>
                  </a:lnTo>
                  <a:lnTo>
                    <a:pt x="1" y="7084"/>
                  </a:lnTo>
                  <a:lnTo>
                    <a:pt x="1" y="7292"/>
                  </a:lnTo>
                  <a:lnTo>
                    <a:pt x="35" y="7499"/>
                  </a:lnTo>
                  <a:lnTo>
                    <a:pt x="104" y="7741"/>
                  </a:lnTo>
                  <a:lnTo>
                    <a:pt x="173" y="7948"/>
                  </a:lnTo>
                  <a:lnTo>
                    <a:pt x="277" y="8156"/>
                  </a:lnTo>
                  <a:lnTo>
                    <a:pt x="450" y="8363"/>
                  </a:lnTo>
                  <a:lnTo>
                    <a:pt x="623" y="8536"/>
                  </a:lnTo>
                  <a:lnTo>
                    <a:pt x="865" y="8639"/>
                  </a:lnTo>
                  <a:lnTo>
                    <a:pt x="1141" y="8708"/>
                  </a:lnTo>
                  <a:lnTo>
                    <a:pt x="1452" y="8743"/>
                  </a:lnTo>
                  <a:lnTo>
                    <a:pt x="1832" y="8708"/>
                  </a:lnTo>
                  <a:lnTo>
                    <a:pt x="2247" y="8605"/>
                  </a:lnTo>
                  <a:lnTo>
                    <a:pt x="7638" y="6808"/>
                  </a:lnTo>
                  <a:lnTo>
                    <a:pt x="13132" y="4942"/>
                  </a:lnTo>
                  <a:lnTo>
                    <a:pt x="13305" y="4873"/>
                  </a:lnTo>
                  <a:lnTo>
                    <a:pt x="13478" y="4769"/>
                  </a:lnTo>
                  <a:lnTo>
                    <a:pt x="13581" y="4665"/>
                  </a:lnTo>
                  <a:lnTo>
                    <a:pt x="13720" y="4527"/>
                  </a:lnTo>
                  <a:lnTo>
                    <a:pt x="13789" y="4389"/>
                  </a:lnTo>
                  <a:lnTo>
                    <a:pt x="13858" y="4216"/>
                  </a:lnTo>
                  <a:lnTo>
                    <a:pt x="13858" y="4043"/>
                  </a:lnTo>
                  <a:lnTo>
                    <a:pt x="13858" y="3871"/>
                  </a:lnTo>
                  <a:lnTo>
                    <a:pt x="13789" y="3214"/>
                  </a:lnTo>
                  <a:lnTo>
                    <a:pt x="13616" y="2523"/>
                  </a:lnTo>
                  <a:lnTo>
                    <a:pt x="13409" y="1866"/>
                  </a:lnTo>
                  <a:lnTo>
                    <a:pt x="13132" y="1244"/>
                  </a:lnTo>
                  <a:lnTo>
                    <a:pt x="12890" y="691"/>
                  </a:lnTo>
                  <a:lnTo>
                    <a:pt x="12752" y="484"/>
                  </a:lnTo>
                  <a:lnTo>
                    <a:pt x="12579" y="277"/>
                  </a:lnTo>
                  <a:lnTo>
                    <a:pt x="12441" y="138"/>
                  </a:lnTo>
                  <a:lnTo>
                    <a:pt x="12303" y="35"/>
                  </a:lnTo>
                  <a:lnTo>
                    <a:pt x="12199" y="0"/>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80" name="Google Shape;2509;p11">
              <a:extLst>
                <a:ext uri="{FF2B5EF4-FFF2-40B4-BE49-F238E27FC236}">
                  <a16:creationId xmlns:a16="http://schemas.microsoft.com/office/drawing/2014/main" id="{5ED51EC4-2A56-E022-B22A-5CBE9034AF1A}"/>
                </a:ext>
              </a:extLst>
            </p:cNvPr>
            <p:cNvSpPr/>
            <p:nvPr/>
          </p:nvSpPr>
          <p:spPr>
            <a:xfrm>
              <a:off x="3969800" y="3703250"/>
              <a:ext cx="854450" cy="1612075"/>
            </a:xfrm>
            <a:custGeom>
              <a:avLst/>
              <a:gdLst/>
              <a:ahLst/>
              <a:cxnLst/>
              <a:rect l="l" t="t" r="r" b="b"/>
              <a:pathLst>
                <a:path w="34178" h="64483" extrusionOk="0">
                  <a:moveTo>
                    <a:pt x="16657" y="1"/>
                  </a:moveTo>
                  <a:lnTo>
                    <a:pt x="12579" y="2247"/>
                  </a:lnTo>
                  <a:lnTo>
                    <a:pt x="12027" y="3767"/>
                  </a:lnTo>
                  <a:lnTo>
                    <a:pt x="11439" y="5599"/>
                  </a:lnTo>
                  <a:lnTo>
                    <a:pt x="10817" y="7672"/>
                  </a:lnTo>
                  <a:lnTo>
                    <a:pt x="10161" y="9953"/>
                  </a:lnTo>
                  <a:lnTo>
                    <a:pt x="9538" y="12337"/>
                  </a:lnTo>
                  <a:lnTo>
                    <a:pt x="8882" y="14825"/>
                  </a:lnTo>
                  <a:lnTo>
                    <a:pt x="7638" y="19940"/>
                  </a:lnTo>
                  <a:lnTo>
                    <a:pt x="6463" y="24881"/>
                  </a:lnTo>
                  <a:lnTo>
                    <a:pt x="5495" y="29305"/>
                  </a:lnTo>
                  <a:lnTo>
                    <a:pt x="4770" y="32795"/>
                  </a:lnTo>
                  <a:lnTo>
                    <a:pt x="4355" y="35006"/>
                  </a:lnTo>
                  <a:lnTo>
                    <a:pt x="1971" y="50142"/>
                  </a:lnTo>
                  <a:lnTo>
                    <a:pt x="588" y="58781"/>
                  </a:lnTo>
                  <a:lnTo>
                    <a:pt x="174" y="61649"/>
                  </a:lnTo>
                  <a:lnTo>
                    <a:pt x="1" y="62893"/>
                  </a:lnTo>
                  <a:lnTo>
                    <a:pt x="1" y="62962"/>
                  </a:lnTo>
                  <a:lnTo>
                    <a:pt x="70" y="63032"/>
                  </a:lnTo>
                  <a:lnTo>
                    <a:pt x="277" y="63170"/>
                  </a:lnTo>
                  <a:lnTo>
                    <a:pt x="623" y="63343"/>
                  </a:lnTo>
                  <a:lnTo>
                    <a:pt x="1038" y="63515"/>
                  </a:lnTo>
                  <a:lnTo>
                    <a:pt x="1556" y="63723"/>
                  </a:lnTo>
                  <a:lnTo>
                    <a:pt x="2109" y="63861"/>
                  </a:lnTo>
                  <a:lnTo>
                    <a:pt x="2731" y="64034"/>
                  </a:lnTo>
                  <a:lnTo>
                    <a:pt x="3387" y="64172"/>
                  </a:lnTo>
                  <a:lnTo>
                    <a:pt x="4044" y="64310"/>
                  </a:lnTo>
                  <a:lnTo>
                    <a:pt x="4701" y="64379"/>
                  </a:lnTo>
                  <a:lnTo>
                    <a:pt x="5323" y="64448"/>
                  </a:lnTo>
                  <a:lnTo>
                    <a:pt x="5910" y="64483"/>
                  </a:lnTo>
                  <a:lnTo>
                    <a:pt x="6394" y="64448"/>
                  </a:lnTo>
                  <a:lnTo>
                    <a:pt x="6843" y="64379"/>
                  </a:lnTo>
                  <a:lnTo>
                    <a:pt x="7016" y="64345"/>
                  </a:lnTo>
                  <a:lnTo>
                    <a:pt x="7189" y="64276"/>
                  </a:lnTo>
                  <a:lnTo>
                    <a:pt x="7292" y="64172"/>
                  </a:lnTo>
                  <a:lnTo>
                    <a:pt x="7396" y="64103"/>
                  </a:lnTo>
                  <a:lnTo>
                    <a:pt x="7465" y="63930"/>
                  </a:lnTo>
                  <a:lnTo>
                    <a:pt x="7569" y="63654"/>
                  </a:lnTo>
                  <a:lnTo>
                    <a:pt x="7742" y="62859"/>
                  </a:lnTo>
                  <a:lnTo>
                    <a:pt x="7949" y="61753"/>
                  </a:lnTo>
                  <a:lnTo>
                    <a:pt x="8156" y="60336"/>
                  </a:lnTo>
                  <a:lnTo>
                    <a:pt x="8605" y="56846"/>
                  </a:lnTo>
                  <a:lnTo>
                    <a:pt x="9158" y="52768"/>
                  </a:lnTo>
                  <a:lnTo>
                    <a:pt x="9469" y="50660"/>
                  </a:lnTo>
                  <a:lnTo>
                    <a:pt x="9780" y="48518"/>
                  </a:lnTo>
                  <a:lnTo>
                    <a:pt x="10126" y="46410"/>
                  </a:lnTo>
                  <a:lnTo>
                    <a:pt x="10472" y="44406"/>
                  </a:lnTo>
                  <a:lnTo>
                    <a:pt x="10852" y="42540"/>
                  </a:lnTo>
                  <a:lnTo>
                    <a:pt x="11266" y="40846"/>
                  </a:lnTo>
                  <a:lnTo>
                    <a:pt x="11474" y="40086"/>
                  </a:lnTo>
                  <a:lnTo>
                    <a:pt x="11681" y="39395"/>
                  </a:lnTo>
                  <a:lnTo>
                    <a:pt x="11888" y="38773"/>
                  </a:lnTo>
                  <a:lnTo>
                    <a:pt x="12130" y="38220"/>
                  </a:lnTo>
                  <a:lnTo>
                    <a:pt x="14618" y="32415"/>
                  </a:lnTo>
                  <a:lnTo>
                    <a:pt x="17797" y="25020"/>
                  </a:lnTo>
                  <a:lnTo>
                    <a:pt x="21633" y="15931"/>
                  </a:lnTo>
                  <a:lnTo>
                    <a:pt x="21219" y="19283"/>
                  </a:lnTo>
                  <a:lnTo>
                    <a:pt x="20769" y="22946"/>
                  </a:lnTo>
                  <a:lnTo>
                    <a:pt x="20320" y="26713"/>
                  </a:lnTo>
                  <a:lnTo>
                    <a:pt x="19905" y="30410"/>
                  </a:lnTo>
                  <a:lnTo>
                    <a:pt x="19733" y="32138"/>
                  </a:lnTo>
                  <a:lnTo>
                    <a:pt x="19594" y="33797"/>
                  </a:lnTo>
                  <a:lnTo>
                    <a:pt x="19491" y="35352"/>
                  </a:lnTo>
                  <a:lnTo>
                    <a:pt x="19456" y="36769"/>
                  </a:lnTo>
                  <a:lnTo>
                    <a:pt x="19456" y="38047"/>
                  </a:lnTo>
                  <a:lnTo>
                    <a:pt x="19525" y="39119"/>
                  </a:lnTo>
                  <a:lnTo>
                    <a:pt x="19560" y="39568"/>
                  </a:lnTo>
                  <a:lnTo>
                    <a:pt x="19629" y="39982"/>
                  </a:lnTo>
                  <a:lnTo>
                    <a:pt x="19733" y="40328"/>
                  </a:lnTo>
                  <a:lnTo>
                    <a:pt x="19836" y="40604"/>
                  </a:lnTo>
                  <a:lnTo>
                    <a:pt x="20838" y="43300"/>
                  </a:lnTo>
                  <a:lnTo>
                    <a:pt x="22013" y="46548"/>
                  </a:lnTo>
                  <a:lnTo>
                    <a:pt x="24501" y="53563"/>
                  </a:lnTo>
                  <a:lnTo>
                    <a:pt x="27370" y="61891"/>
                  </a:lnTo>
                  <a:lnTo>
                    <a:pt x="27577" y="61960"/>
                  </a:lnTo>
                  <a:lnTo>
                    <a:pt x="27784" y="62029"/>
                  </a:lnTo>
                  <a:lnTo>
                    <a:pt x="28268" y="62133"/>
                  </a:lnTo>
                  <a:lnTo>
                    <a:pt x="28786" y="62133"/>
                  </a:lnTo>
                  <a:lnTo>
                    <a:pt x="29339" y="62099"/>
                  </a:lnTo>
                  <a:lnTo>
                    <a:pt x="29927" y="62029"/>
                  </a:lnTo>
                  <a:lnTo>
                    <a:pt x="30549" y="61891"/>
                  </a:lnTo>
                  <a:lnTo>
                    <a:pt x="31136" y="61753"/>
                  </a:lnTo>
                  <a:lnTo>
                    <a:pt x="31724" y="61546"/>
                  </a:lnTo>
                  <a:lnTo>
                    <a:pt x="32277" y="61373"/>
                  </a:lnTo>
                  <a:lnTo>
                    <a:pt x="32795" y="61166"/>
                  </a:lnTo>
                  <a:lnTo>
                    <a:pt x="33624" y="60785"/>
                  </a:lnTo>
                  <a:lnTo>
                    <a:pt x="33901" y="60613"/>
                  </a:lnTo>
                  <a:lnTo>
                    <a:pt x="34108" y="60509"/>
                  </a:lnTo>
                  <a:lnTo>
                    <a:pt x="34177" y="60405"/>
                  </a:lnTo>
                  <a:lnTo>
                    <a:pt x="34177" y="60371"/>
                  </a:lnTo>
                  <a:lnTo>
                    <a:pt x="34143" y="60336"/>
                  </a:lnTo>
                  <a:lnTo>
                    <a:pt x="33452" y="58332"/>
                  </a:lnTo>
                  <a:lnTo>
                    <a:pt x="32622" y="55775"/>
                  </a:lnTo>
                  <a:lnTo>
                    <a:pt x="31724" y="52837"/>
                  </a:lnTo>
                  <a:lnTo>
                    <a:pt x="30791" y="49693"/>
                  </a:lnTo>
                  <a:lnTo>
                    <a:pt x="29892" y="46583"/>
                  </a:lnTo>
                  <a:lnTo>
                    <a:pt x="29132" y="43645"/>
                  </a:lnTo>
                  <a:lnTo>
                    <a:pt x="28821" y="42332"/>
                  </a:lnTo>
                  <a:lnTo>
                    <a:pt x="28545" y="41123"/>
                  </a:lnTo>
                  <a:lnTo>
                    <a:pt x="28337" y="40086"/>
                  </a:lnTo>
                  <a:lnTo>
                    <a:pt x="28199" y="39188"/>
                  </a:lnTo>
                  <a:lnTo>
                    <a:pt x="28199" y="38704"/>
                  </a:lnTo>
                  <a:lnTo>
                    <a:pt x="28199" y="38082"/>
                  </a:lnTo>
                  <a:lnTo>
                    <a:pt x="28233" y="37287"/>
                  </a:lnTo>
                  <a:lnTo>
                    <a:pt x="28303" y="36354"/>
                  </a:lnTo>
                  <a:lnTo>
                    <a:pt x="28510" y="34108"/>
                  </a:lnTo>
                  <a:lnTo>
                    <a:pt x="28821" y="31447"/>
                  </a:lnTo>
                  <a:lnTo>
                    <a:pt x="29201" y="28475"/>
                  </a:lnTo>
                  <a:lnTo>
                    <a:pt x="29650" y="25261"/>
                  </a:lnTo>
                  <a:lnTo>
                    <a:pt x="30687" y="18558"/>
                  </a:lnTo>
                  <a:lnTo>
                    <a:pt x="31689" y="12026"/>
                  </a:lnTo>
                  <a:lnTo>
                    <a:pt x="32622" y="6428"/>
                  </a:lnTo>
                  <a:lnTo>
                    <a:pt x="33521" y="1037"/>
                  </a:lnTo>
                  <a:lnTo>
                    <a:pt x="16657" y="1"/>
                  </a:lnTo>
                  <a:close/>
                </a:path>
              </a:pathLst>
            </a:custGeom>
            <a:solidFill>
              <a:srgbClr val="2D2D2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81" name="Google Shape;2510;p11">
              <a:extLst>
                <a:ext uri="{FF2B5EF4-FFF2-40B4-BE49-F238E27FC236}">
                  <a16:creationId xmlns:a16="http://schemas.microsoft.com/office/drawing/2014/main" id="{ED329F3F-A7C3-B468-99FA-F5109301376B}"/>
                </a:ext>
              </a:extLst>
            </p:cNvPr>
            <p:cNvSpPr/>
            <p:nvPr/>
          </p:nvSpPr>
          <p:spPr>
            <a:xfrm>
              <a:off x="3969800" y="3703250"/>
              <a:ext cx="854450" cy="1612075"/>
            </a:xfrm>
            <a:custGeom>
              <a:avLst/>
              <a:gdLst/>
              <a:ahLst/>
              <a:cxnLst/>
              <a:rect l="l" t="t" r="r" b="b"/>
              <a:pathLst>
                <a:path w="34178" h="64483" fill="none" extrusionOk="0">
                  <a:moveTo>
                    <a:pt x="12579" y="2247"/>
                  </a:moveTo>
                  <a:lnTo>
                    <a:pt x="12579" y="2247"/>
                  </a:lnTo>
                  <a:lnTo>
                    <a:pt x="12027" y="3767"/>
                  </a:lnTo>
                  <a:lnTo>
                    <a:pt x="11439" y="5599"/>
                  </a:lnTo>
                  <a:lnTo>
                    <a:pt x="10817" y="7672"/>
                  </a:lnTo>
                  <a:lnTo>
                    <a:pt x="10161" y="9953"/>
                  </a:lnTo>
                  <a:lnTo>
                    <a:pt x="9538" y="12337"/>
                  </a:lnTo>
                  <a:lnTo>
                    <a:pt x="8882" y="14825"/>
                  </a:lnTo>
                  <a:lnTo>
                    <a:pt x="7638" y="19940"/>
                  </a:lnTo>
                  <a:lnTo>
                    <a:pt x="6463" y="24881"/>
                  </a:lnTo>
                  <a:lnTo>
                    <a:pt x="5495" y="29305"/>
                  </a:lnTo>
                  <a:lnTo>
                    <a:pt x="4770" y="32795"/>
                  </a:lnTo>
                  <a:lnTo>
                    <a:pt x="4355" y="35006"/>
                  </a:lnTo>
                  <a:lnTo>
                    <a:pt x="4355" y="35006"/>
                  </a:lnTo>
                  <a:lnTo>
                    <a:pt x="1971" y="50142"/>
                  </a:lnTo>
                  <a:lnTo>
                    <a:pt x="588" y="58781"/>
                  </a:lnTo>
                  <a:lnTo>
                    <a:pt x="174" y="61649"/>
                  </a:lnTo>
                  <a:lnTo>
                    <a:pt x="1" y="62893"/>
                  </a:lnTo>
                  <a:lnTo>
                    <a:pt x="1" y="62893"/>
                  </a:lnTo>
                  <a:lnTo>
                    <a:pt x="1" y="62962"/>
                  </a:lnTo>
                  <a:lnTo>
                    <a:pt x="70" y="63032"/>
                  </a:lnTo>
                  <a:lnTo>
                    <a:pt x="277" y="63170"/>
                  </a:lnTo>
                  <a:lnTo>
                    <a:pt x="623" y="63343"/>
                  </a:lnTo>
                  <a:lnTo>
                    <a:pt x="1038" y="63515"/>
                  </a:lnTo>
                  <a:lnTo>
                    <a:pt x="1556" y="63723"/>
                  </a:lnTo>
                  <a:lnTo>
                    <a:pt x="2109" y="63861"/>
                  </a:lnTo>
                  <a:lnTo>
                    <a:pt x="2731" y="64034"/>
                  </a:lnTo>
                  <a:lnTo>
                    <a:pt x="3387" y="64172"/>
                  </a:lnTo>
                  <a:lnTo>
                    <a:pt x="4044" y="64310"/>
                  </a:lnTo>
                  <a:lnTo>
                    <a:pt x="4701" y="64379"/>
                  </a:lnTo>
                  <a:lnTo>
                    <a:pt x="5323" y="64448"/>
                  </a:lnTo>
                  <a:lnTo>
                    <a:pt x="5910" y="64483"/>
                  </a:lnTo>
                  <a:lnTo>
                    <a:pt x="6394" y="64448"/>
                  </a:lnTo>
                  <a:lnTo>
                    <a:pt x="6843" y="64379"/>
                  </a:lnTo>
                  <a:lnTo>
                    <a:pt x="7016" y="64345"/>
                  </a:lnTo>
                  <a:lnTo>
                    <a:pt x="7189" y="64276"/>
                  </a:lnTo>
                  <a:lnTo>
                    <a:pt x="7292" y="64172"/>
                  </a:lnTo>
                  <a:lnTo>
                    <a:pt x="7396" y="64103"/>
                  </a:lnTo>
                  <a:lnTo>
                    <a:pt x="7396" y="64103"/>
                  </a:lnTo>
                  <a:lnTo>
                    <a:pt x="7465" y="63930"/>
                  </a:lnTo>
                  <a:lnTo>
                    <a:pt x="7569" y="63654"/>
                  </a:lnTo>
                  <a:lnTo>
                    <a:pt x="7742" y="62859"/>
                  </a:lnTo>
                  <a:lnTo>
                    <a:pt x="7949" y="61753"/>
                  </a:lnTo>
                  <a:lnTo>
                    <a:pt x="8156" y="60336"/>
                  </a:lnTo>
                  <a:lnTo>
                    <a:pt x="8605" y="56846"/>
                  </a:lnTo>
                  <a:lnTo>
                    <a:pt x="9158" y="52768"/>
                  </a:lnTo>
                  <a:lnTo>
                    <a:pt x="9469" y="50660"/>
                  </a:lnTo>
                  <a:lnTo>
                    <a:pt x="9780" y="48518"/>
                  </a:lnTo>
                  <a:lnTo>
                    <a:pt x="10126" y="46410"/>
                  </a:lnTo>
                  <a:lnTo>
                    <a:pt x="10472" y="44406"/>
                  </a:lnTo>
                  <a:lnTo>
                    <a:pt x="10852" y="42540"/>
                  </a:lnTo>
                  <a:lnTo>
                    <a:pt x="11266" y="40846"/>
                  </a:lnTo>
                  <a:lnTo>
                    <a:pt x="11474" y="40086"/>
                  </a:lnTo>
                  <a:lnTo>
                    <a:pt x="11681" y="39395"/>
                  </a:lnTo>
                  <a:lnTo>
                    <a:pt x="11888" y="38773"/>
                  </a:lnTo>
                  <a:lnTo>
                    <a:pt x="12130" y="38220"/>
                  </a:lnTo>
                  <a:lnTo>
                    <a:pt x="12130" y="38220"/>
                  </a:lnTo>
                  <a:lnTo>
                    <a:pt x="14618" y="32415"/>
                  </a:lnTo>
                  <a:lnTo>
                    <a:pt x="17797" y="25020"/>
                  </a:lnTo>
                  <a:lnTo>
                    <a:pt x="21633" y="15931"/>
                  </a:lnTo>
                  <a:lnTo>
                    <a:pt x="21633" y="15931"/>
                  </a:lnTo>
                  <a:lnTo>
                    <a:pt x="21219" y="19283"/>
                  </a:lnTo>
                  <a:lnTo>
                    <a:pt x="20769" y="22946"/>
                  </a:lnTo>
                  <a:lnTo>
                    <a:pt x="20320" y="26713"/>
                  </a:lnTo>
                  <a:lnTo>
                    <a:pt x="19905" y="30410"/>
                  </a:lnTo>
                  <a:lnTo>
                    <a:pt x="19733" y="32138"/>
                  </a:lnTo>
                  <a:lnTo>
                    <a:pt x="19594" y="33797"/>
                  </a:lnTo>
                  <a:lnTo>
                    <a:pt x="19491" y="35352"/>
                  </a:lnTo>
                  <a:lnTo>
                    <a:pt x="19456" y="36769"/>
                  </a:lnTo>
                  <a:lnTo>
                    <a:pt x="19456" y="38047"/>
                  </a:lnTo>
                  <a:lnTo>
                    <a:pt x="19525" y="39119"/>
                  </a:lnTo>
                  <a:lnTo>
                    <a:pt x="19560" y="39568"/>
                  </a:lnTo>
                  <a:lnTo>
                    <a:pt x="19629" y="39982"/>
                  </a:lnTo>
                  <a:lnTo>
                    <a:pt x="19733" y="40328"/>
                  </a:lnTo>
                  <a:lnTo>
                    <a:pt x="19836" y="40604"/>
                  </a:lnTo>
                  <a:lnTo>
                    <a:pt x="19836" y="40604"/>
                  </a:lnTo>
                  <a:lnTo>
                    <a:pt x="20838" y="43300"/>
                  </a:lnTo>
                  <a:lnTo>
                    <a:pt x="22013" y="46548"/>
                  </a:lnTo>
                  <a:lnTo>
                    <a:pt x="24501" y="53563"/>
                  </a:lnTo>
                  <a:lnTo>
                    <a:pt x="27370" y="61891"/>
                  </a:lnTo>
                  <a:lnTo>
                    <a:pt x="27370" y="61891"/>
                  </a:lnTo>
                  <a:lnTo>
                    <a:pt x="27577" y="61960"/>
                  </a:lnTo>
                  <a:lnTo>
                    <a:pt x="27784" y="62029"/>
                  </a:lnTo>
                  <a:lnTo>
                    <a:pt x="28268" y="62133"/>
                  </a:lnTo>
                  <a:lnTo>
                    <a:pt x="28786" y="62133"/>
                  </a:lnTo>
                  <a:lnTo>
                    <a:pt x="29339" y="62099"/>
                  </a:lnTo>
                  <a:lnTo>
                    <a:pt x="29927" y="62029"/>
                  </a:lnTo>
                  <a:lnTo>
                    <a:pt x="30549" y="61891"/>
                  </a:lnTo>
                  <a:lnTo>
                    <a:pt x="31136" y="61753"/>
                  </a:lnTo>
                  <a:lnTo>
                    <a:pt x="31724" y="61546"/>
                  </a:lnTo>
                  <a:lnTo>
                    <a:pt x="32277" y="61373"/>
                  </a:lnTo>
                  <a:lnTo>
                    <a:pt x="32795" y="61166"/>
                  </a:lnTo>
                  <a:lnTo>
                    <a:pt x="33624" y="60785"/>
                  </a:lnTo>
                  <a:lnTo>
                    <a:pt x="33901" y="60613"/>
                  </a:lnTo>
                  <a:lnTo>
                    <a:pt x="34108" y="60509"/>
                  </a:lnTo>
                  <a:lnTo>
                    <a:pt x="34177" y="60405"/>
                  </a:lnTo>
                  <a:lnTo>
                    <a:pt x="34177" y="60371"/>
                  </a:lnTo>
                  <a:lnTo>
                    <a:pt x="34143" y="60336"/>
                  </a:lnTo>
                  <a:lnTo>
                    <a:pt x="34143" y="60336"/>
                  </a:lnTo>
                  <a:lnTo>
                    <a:pt x="33452" y="58332"/>
                  </a:lnTo>
                  <a:lnTo>
                    <a:pt x="32622" y="55775"/>
                  </a:lnTo>
                  <a:lnTo>
                    <a:pt x="31724" y="52837"/>
                  </a:lnTo>
                  <a:lnTo>
                    <a:pt x="30791" y="49693"/>
                  </a:lnTo>
                  <a:lnTo>
                    <a:pt x="29892" y="46583"/>
                  </a:lnTo>
                  <a:lnTo>
                    <a:pt x="29132" y="43645"/>
                  </a:lnTo>
                  <a:lnTo>
                    <a:pt x="28821" y="42332"/>
                  </a:lnTo>
                  <a:lnTo>
                    <a:pt x="28545" y="41123"/>
                  </a:lnTo>
                  <a:lnTo>
                    <a:pt x="28337" y="40086"/>
                  </a:lnTo>
                  <a:lnTo>
                    <a:pt x="28199" y="39188"/>
                  </a:lnTo>
                  <a:lnTo>
                    <a:pt x="28199" y="39188"/>
                  </a:lnTo>
                  <a:lnTo>
                    <a:pt x="28199" y="38704"/>
                  </a:lnTo>
                  <a:lnTo>
                    <a:pt x="28199" y="38082"/>
                  </a:lnTo>
                  <a:lnTo>
                    <a:pt x="28233" y="37287"/>
                  </a:lnTo>
                  <a:lnTo>
                    <a:pt x="28303" y="36354"/>
                  </a:lnTo>
                  <a:lnTo>
                    <a:pt x="28510" y="34108"/>
                  </a:lnTo>
                  <a:lnTo>
                    <a:pt x="28821" y="31447"/>
                  </a:lnTo>
                  <a:lnTo>
                    <a:pt x="29201" y="28475"/>
                  </a:lnTo>
                  <a:lnTo>
                    <a:pt x="29650" y="25261"/>
                  </a:lnTo>
                  <a:lnTo>
                    <a:pt x="30687" y="18558"/>
                  </a:lnTo>
                  <a:lnTo>
                    <a:pt x="31689" y="12026"/>
                  </a:lnTo>
                  <a:lnTo>
                    <a:pt x="32622" y="6428"/>
                  </a:lnTo>
                  <a:lnTo>
                    <a:pt x="33521" y="1037"/>
                  </a:lnTo>
                  <a:lnTo>
                    <a:pt x="16657" y="1"/>
                  </a:lnTo>
                  <a:lnTo>
                    <a:pt x="12579" y="2247"/>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82" name="Google Shape;2511;p11">
              <a:extLst>
                <a:ext uri="{FF2B5EF4-FFF2-40B4-BE49-F238E27FC236}">
                  <a16:creationId xmlns:a16="http://schemas.microsoft.com/office/drawing/2014/main" id="{8D68D051-F9C4-1CD0-1C40-E2C536D6EEF9}"/>
                </a:ext>
              </a:extLst>
            </p:cNvPr>
            <p:cNvSpPr/>
            <p:nvPr/>
          </p:nvSpPr>
          <p:spPr>
            <a:xfrm>
              <a:off x="4486425" y="4220750"/>
              <a:ext cx="9525" cy="75175"/>
            </a:xfrm>
            <a:custGeom>
              <a:avLst/>
              <a:gdLst/>
              <a:ahLst/>
              <a:cxnLst/>
              <a:rect l="l" t="t" r="r" b="b"/>
              <a:pathLst>
                <a:path w="381" h="3007" extrusionOk="0">
                  <a:moveTo>
                    <a:pt x="381" y="0"/>
                  </a:moveTo>
                  <a:lnTo>
                    <a:pt x="1" y="3006"/>
                  </a:lnTo>
                  <a:lnTo>
                    <a:pt x="208" y="1486"/>
                  </a:lnTo>
                  <a:lnTo>
                    <a:pt x="381" y="0"/>
                  </a:lnTo>
                  <a:close/>
                </a:path>
              </a:pathLst>
            </a:custGeom>
            <a:solidFill>
              <a:srgbClr val="71718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83" name="Google Shape;2512;p11">
              <a:extLst>
                <a:ext uri="{FF2B5EF4-FFF2-40B4-BE49-F238E27FC236}">
                  <a16:creationId xmlns:a16="http://schemas.microsoft.com/office/drawing/2014/main" id="{E0CD232A-515D-BA71-E78C-26F97C23B5FF}"/>
                </a:ext>
              </a:extLst>
            </p:cNvPr>
            <p:cNvSpPr/>
            <p:nvPr/>
          </p:nvSpPr>
          <p:spPr>
            <a:xfrm>
              <a:off x="4486425" y="4220750"/>
              <a:ext cx="9525" cy="75175"/>
            </a:xfrm>
            <a:custGeom>
              <a:avLst/>
              <a:gdLst/>
              <a:ahLst/>
              <a:cxnLst/>
              <a:rect l="l" t="t" r="r" b="b"/>
              <a:pathLst>
                <a:path w="381" h="3007" fill="none" extrusionOk="0">
                  <a:moveTo>
                    <a:pt x="381" y="0"/>
                  </a:moveTo>
                  <a:lnTo>
                    <a:pt x="381" y="0"/>
                  </a:lnTo>
                  <a:lnTo>
                    <a:pt x="208" y="1486"/>
                  </a:lnTo>
                  <a:lnTo>
                    <a:pt x="1" y="3006"/>
                  </a:lnTo>
                  <a:lnTo>
                    <a:pt x="1" y="3006"/>
                  </a:lnTo>
                  <a:lnTo>
                    <a:pt x="38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84" name="Google Shape;2513;p11">
              <a:extLst>
                <a:ext uri="{FF2B5EF4-FFF2-40B4-BE49-F238E27FC236}">
                  <a16:creationId xmlns:a16="http://schemas.microsoft.com/office/drawing/2014/main" id="{C99301B3-CEA6-F4F3-4760-237120830AB0}"/>
                </a:ext>
              </a:extLst>
            </p:cNvPr>
            <p:cNvSpPr/>
            <p:nvPr/>
          </p:nvSpPr>
          <p:spPr>
            <a:xfrm>
              <a:off x="4486425" y="3977125"/>
              <a:ext cx="79500" cy="318800"/>
            </a:xfrm>
            <a:custGeom>
              <a:avLst/>
              <a:gdLst/>
              <a:ahLst/>
              <a:cxnLst/>
              <a:rect l="l" t="t" r="r" b="b"/>
              <a:pathLst>
                <a:path w="3180" h="12752" extrusionOk="0">
                  <a:moveTo>
                    <a:pt x="3180" y="0"/>
                  </a:moveTo>
                  <a:lnTo>
                    <a:pt x="3076" y="380"/>
                  </a:lnTo>
                  <a:lnTo>
                    <a:pt x="2661" y="1451"/>
                  </a:lnTo>
                  <a:lnTo>
                    <a:pt x="2385" y="2177"/>
                  </a:lnTo>
                  <a:lnTo>
                    <a:pt x="2005" y="3041"/>
                  </a:lnTo>
                  <a:lnTo>
                    <a:pt x="1521" y="3974"/>
                  </a:lnTo>
                  <a:lnTo>
                    <a:pt x="968" y="4976"/>
                  </a:lnTo>
                  <a:lnTo>
                    <a:pt x="865" y="6117"/>
                  </a:lnTo>
                  <a:lnTo>
                    <a:pt x="726" y="7292"/>
                  </a:lnTo>
                  <a:lnTo>
                    <a:pt x="381" y="9745"/>
                  </a:lnTo>
                  <a:lnTo>
                    <a:pt x="1" y="12751"/>
                  </a:lnTo>
                  <a:lnTo>
                    <a:pt x="3180" y="0"/>
                  </a:lnTo>
                  <a:close/>
                </a:path>
              </a:pathLst>
            </a:custGeom>
            <a:solidFill>
              <a:srgbClr val="24243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85" name="Google Shape;2514;p11">
              <a:extLst>
                <a:ext uri="{FF2B5EF4-FFF2-40B4-BE49-F238E27FC236}">
                  <a16:creationId xmlns:a16="http://schemas.microsoft.com/office/drawing/2014/main" id="{3ED6E918-AFDC-C69B-4D21-4C0802784B00}"/>
                </a:ext>
              </a:extLst>
            </p:cNvPr>
            <p:cNvSpPr/>
            <p:nvPr/>
          </p:nvSpPr>
          <p:spPr>
            <a:xfrm>
              <a:off x="4486425" y="3977125"/>
              <a:ext cx="79500" cy="318800"/>
            </a:xfrm>
            <a:custGeom>
              <a:avLst/>
              <a:gdLst/>
              <a:ahLst/>
              <a:cxnLst/>
              <a:rect l="l" t="t" r="r" b="b"/>
              <a:pathLst>
                <a:path w="3180" h="12752" fill="none" extrusionOk="0">
                  <a:moveTo>
                    <a:pt x="3180" y="0"/>
                  </a:moveTo>
                  <a:lnTo>
                    <a:pt x="3180" y="0"/>
                  </a:lnTo>
                  <a:lnTo>
                    <a:pt x="3076" y="380"/>
                  </a:lnTo>
                  <a:lnTo>
                    <a:pt x="2661" y="1451"/>
                  </a:lnTo>
                  <a:lnTo>
                    <a:pt x="2385" y="2177"/>
                  </a:lnTo>
                  <a:lnTo>
                    <a:pt x="2005" y="3041"/>
                  </a:lnTo>
                  <a:lnTo>
                    <a:pt x="1521" y="3974"/>
                  </a:lnTo>
                  <a:lnTo>
                    <a:pt x="968" y="4976"/>
                  </a:lnTo>
                  <a:lnTo>
                    <a:pt x="968" y="4976"/>
                  </a:lnTo>
                  <a:lnTo>
                    <a:pt x="865" y="6117"/>
                  </a:lnTo>
                  <a:lnTo>
                    <a:pt x="726" y="7292"/>
                  </a:lnTo>
                  <a:lnTo>
                    <a:pt x="381" y="9745"/>
                  </a:lnTo>
                  <a:lnTo>
                    <a:pt x="381" y="9745"/>
                  </a:lnTo>
                  <a:lnTo>
                    <a:pt x="1" y="12751"/>
                  </a:lnTo>
                  <a:lnTo>
                    <a:pt x="1" y="12751"/>
                  </a:lnTo>
                  <a:lnTo>
                    <a:pt x="1" y="12751"/>
                  </a:lnTo>
                  <a:lnTo>
                    <a:pt x="3180"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86" name="Google Shape;2515;p11">
              <a:extLst>
                <a:ext uri="{FF2B5EF4-FFF2-40B4-BE49-F238E27FC236}">
                  <a16:creationId xmlns:a16="http://schemas.microsoft.com/office/drawing/2014/main" id="{D73A1611-E9BB-8C64-DE50-8EB5E31CA913}"/>
                </a:ext>
              </a:extLst>
            </p:cNvPr>
            <p:cNvSpPr/>
            <p:nvPr/>
          </p:nvSpPr>
          <p:spPr>
            <a:xfrm>
              <a:off x="4413000" y="2757275"/>
              <a:ext cx="188350" cy="340400"/>
            </a:xfrm>
            <a:custGeom>
              <a:avLst/>
              <a:gdLst/>
              <a:ahLst/>
              <a:cxnLst/>
              <a:rect l="l" t="t" r="r" b="b"/>
              <a:pathLst>
                <a:path w="7534" h="13616" extrusionOk="0">
                  <a:moveTo>
                    <a:pt x="4562" y="0"/>
                  </a:moveTo>
                  <a:lnTo>
                    <a:pt x="4078" y="35"/>
                  </a:lnTo>
                  <a:lnTo>
                    <a:pt x="3629" y="104"/>
                  </a:lnTo>
                  <a:lnTo>
                    <a:pt x="3214" y="208"/>
                  </a:lnTo>
                  <a:lnTo>
                    <a:pt x="2765" y="311"/>
                  </a:lnTo>
                  <a:lnTo>
                    <a:pt x="2385" y="450"/>
                  </a:lnTo>
                  <a:lnTo>
                    <a:pt x="2074" y="622"/>
                  </a:lnTo>
                  <a:lnTo>
                    <a:pt x="1763" y="761"/>
                  </a:lnTo>
                  <a:lnTo>
                    <a:pt x="1555" y="933"/>
                  </a:lnTo>
                  <a:lnTo>
                    <a:pt x="1383" y="1106"/>
                  </a:lnTo>
                  <a:lnTo>
                    <a:pt x="1314" y="1279"/>
                  </a:lnTo>
                  <a:lnTo>
                    <a:pt x="1037" y="2247"/>
                  </a:lnTo>
                  <a:lnTo>
                    <a:pt x="830" y="3007"/>
                  </a:lnTo>
                  <a:lnTo>
                    <a:pt x="588" y="3629"/>
                  </a:lnTo>
                  <a:lnTo>
                    <a:pt x="415" y="4113"/>
                  </a:lnTo>
                  <a:lnTo>
                    <a:pt x="139" y="4735"/>
                  </a:lnTo>
                  <a:lnTo>
                    <a:pt x="35" y="4907"/>
                  </a:lnTo>
                  <a:lnTo>
                    <a:pt x="0" y="5046"/>
                  </a:lnTo>
                  <a:lnTo>
                    <a:pt x="173" y="5149"/>
                  </a:lnTo>
                  <a:lnTo>
                    <a:pt x="311" y="5184"/>
                  </a:lnTo>
                  <a:lnTo>
                    <a:pt x="450" y="5184"/>
                  </a:lnTo>
                  <a:lnTo>
                    <a:pt x="450" y="5253"/>
                  </a:lnTo>
                  <a:lnTo>
                    <a:pt x="450" y="5426"/>
                  </a:lnTo>
                  <a:lnTo>
                    <a:pt x="346" y="6186"/>
                  </a:lnTo>
                  <a:lnTo>
                    <a:pt x="242" y="6946"/>
                  </a:lnTo>
                  <a:lnTo>
                    <a:pt x="242" y="7672"/>
                  </a:lnTo>
                  <a:lnTo>
                    <a:pt x="242" y="7983"/>
                  </a:lnTo>
                  <a:lnTo>
                    <a:pt x="277" y="8259"/>
                  </a:lnTo>
                  <a:lnTo>
                    <a:pt x="346" y="8501"/>
                  </a:lnTo>
                  <a:lnTo>
                    <a:pt x="450" y="8709"/>
                  </a:lnTo>
                  <a:lnTo>
                    <a:pt x="553" y="8881"/>
                  </a:lnTo>
                  <a:lnTo>
                    <a:pt x="726" y="8985"/>
                  </a:lnTo>
                  <a:lnTo>
                    <a:pt x="933" y="9054"/>
                  </a:lnTo>
                  <a:lnTo>
                    <a:pt x="1175" y="9054"/>
                  </a:lnTo>
                  <a:lnTo>
                    <a:pt x="1486" y="9020"/>
                  </a:lnTo>
                  <a:lnTo>
                    <a:pt x="1832" y="8881"/>
                  </a:lnTo>
                  <a:lnTo>
                    <a:pt x="2212" y="8709"/>
                  </a:lnTo>
                  <a:lnTo>
                    <a:pt x="2696" y="8432"/>
                  </a:lnTo>
                  <a:lnTo>
                    <a:pt x="2419" y="10575"/>
                  </a:lnTo>
                  <a:lnTo>
                    <a:pt x="3007" y="13616"/>
                  </a:lnTo>
                  <a:lnTo>
                    <a:pt x="7154" y="13270"/>
                  </a:lnTo>
                  <a:lnTo>
                    <a:pt x="7084" y="12994"/>
                  </a:lnTo>
                  <a:lnTo>
                    <a:pt x="7015" y="12683"/>
                  </a:lnTo>
                  <a:lnTo>
                    <a:pt x="6946" y="12026"/>
                  </a:lnTo>
                  <a:lnTo>
                    <a:pt x="6946" y="11266"/>
                  </a:lnTo>
                  <a:lnTo>
                    <a:pt x="6981" y="10436"/>
                  </a:lnTo>
                  <a:lnTo>
                    <a:pt x="7015" y="9538"/>
                  </a:lnTo>
                  <a:lnTo>
                    <a:pt x="7119" y="8605"/>
                  </a:lnTo>
                  <a:lnTo>
                    <a:pt x="7326" y="6670"/>
                  </a:lnTo>
                  <a:lnTo>
                    <a:pt x="7465" y="4804"/>
                  </a:lnTo>
                  <a:lnTo>
                    <a:pt x="7534" y="3905"/>
                  </a:lnTo>
                  <a:lnTo>
                    <a:pt x="7534" y="3111"/>
                  </a:lnTo>
                  <a:lnTo>
                    <a:pt x="7499" y="2350"/>
                  </a:lnTo>
                  <a:lnTo>
                    <a:pt x="7395" y="1728"/>
                  </a:lnTo>
                  <a:lnTo>
                    <a:pt x="7326" y="1452"/>
                  </a:lnTo>
                  <a:lnTo>
                    <a:pt x="7223" y="1210"/>
                  </a:lnTo>
                  <a:lnTo>
                    <a:pt x="7119" y="1003"/>
                  </a:lnTo>
                  <a:lnTo>
                    <a:pt x="6981" y="830"/>
                  </a:lnTo>
                  <a:lnTo>
                    <a:pt x="6808" y="657"/>
                  </a:lnTo>
                  <a:lnTo>
                    <a:pt x="6670" y="519"/>
                  </a:lnTo>
                  <a:lnTo>
                    <a:pt x="6290" y="311"/>
                  </a:lnTo>
                  <a:lnTo>
                    <a:pt x="5910" y="173"/>
                  </a:lnTo>
                  <a:lnTo>
                    <a:pt x="5460" y="70"/>
                  </a:lnTo>
                  <a:lnTo>
                    <a:pt x="5011" y="0"/>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87" name="Google Shape;2516;p11">
              <a:extLst>
                <a:ext uri="{FF2B5EF4-FFF2-40B4-BE49-F238E27FC236}">
                  <a16:creationId xmlns:a16="http://schemas.microsoft.com/office/drawing/2014/main" id="{7BBCE3E3-FAE7-8126-D6B4-E9B947ACAD0E}"/>
                </a:ext>
              </a:extLst>
            </p:cNvPr>
            <p:cNvSpPr/>
            <p:nvPr/>
          </p:nvSpPr>
          <p:spPr>
            <a:xfrm>
              <a:off x="4413000" y="2757275"/>
              <a:ext cx="188350" cy="340400"/>
            </a:xfrm>
            <a:custGeom>
              <a:avLst/>
              <a:gdLst/>
              <a:ahLst/>
              <a:cxnLst/>
              <a:rect l="l" t="t" r="r" b="b"/>
              <a:pathLst>
                <a:path w="7534" h="13616" fill="none" extrusionOk="0">
                  <a:moveTo>
                    <a:pt x="1314" y="1279"/>
                  </a:moveTo>
                  <a:lnTo>
                    <a:pt x="1314" y="1279"/>
                  </a:lnTo>
                  <a:lnTo>
                    <a:pt x="1037" y="2247"/>
                  </a:lnTo>
                  <a:lnTo>
                    <a:pt x="830" y="3007"/>
                  </a:lnTo>
                  <a:lnTo>
                    <a:pt x="588" y="3629"/>
                  </a:lnTo>
                  <a:lnTo>
                    <a:pt x="415" y="4113"/>
                  </a:lnTo>
                  <a:lnTo>
                    <a:pt x="139" y="4735"/>
                  </a:lnTo>
                  <a:lnTo>
                    <a:pt x="35" y="4907"/>
                  </a:lnTo>
                  <a:lnTo>
                    <a:pt x="0" y="5046"/>
                  </a:lnTo>
                  <a:lnTo>
                    <a:pt x="0" y="5046"/>
                  </a:lnTo>
                  <a:lnTo>
                    <a:pt x="173" y="5149"/>
                  </a:lnTo>
                  <a:lnTo>
                    <a:pt x="311" y="5184"/>
                  </a:lnTo>
                  <a:lnTo>
                    <a:pt x="380" y="5184"/>
                  </a:lnTo>
                  <a:lnTo>
                    <a:pt x="450" y="5184"/>
                  </a:lnTo>
                  <a:lnTo>
                    <a:pt x="450" y="5253"/>
                  </a:lnTo>
                  <a:lnTo>
                    <a:pt x="450" y="5426"/>
                  </a:lnTo>
                  <a:lnTo>
                    <a:pt x="346" y="6186"/>
                  </a:lnTo>
                  <a:lnTo>
                    <a:pt x="346" y="6186"/>
                  </a:lnTo>
                  <a:lnTo>
                    <a:pt x="242" y="6946"/>
                  </a:lnTo>
                  <a:lnTo>
                    <a:pt x="242" y="7672"/>
                  </a:lnTo>
                  <a:lnTo>
                    <a:pt x="242" y="7983"/>
                  </a:lnTo>
                  <a:lnTo>
                    <a:pt x="277" y="8259"/>
                  </a:lnTo>
                  <a:lnTo>
                    <a:pt x="346" y="8501"/>
                  </a:lnTo>
                  <a:lnTo>
                    <a:pt x="450" y="8709"/>
                  </a:lnTo>
                  <a:lnTo>
                    <a:pt x="553" y="8881"/>
                  </a:lnTo>
                  <a:lnTo>
                    <a:pt x="726" y="8985"/>
                  </a:lnTo>
                  <a:lnTo>
                    <a:pt x="933" y="9054"/>
                  </a:lnTo>
                  <a:lnTo>
                    <a:pt x="1175" y="9054"/>
                  </a:lnTo>
                  <a:lnTo>
                    <a:pt x="1486" y="9020"/>
                  </a:lnTo>
                  <a:lnTo>
                    <a:pt x="1832" y="8881"/>
                  </a:lnTo>
                  <a:lnTo>
                    <a:pt x="2212" y="8709"/>
                  </a:lnTo>
                  <a:lnTo>
                    <a:pt x="2696" y="8432"/>
                  </a:lnTo>
                  <a:lnTo>
                    <a:pt x="2696" y="8432"/>
                  </a:lnTo>
                  <a:lnTo>
                    <a:pt x="2419" y="10575"/>
                  </a:lnTo>
                  <a:lnTo>
                    <a:pt x="3007" y="13616"/>
                  </a:lnTo>
                  <a:lnTo>
                    <a:pt x="7154" y="13270"/>
                  </a:lnTo>
                  <a:lnTo>
                    <a:pt x="7154" y="13270"/>
                  </a:lnTo>
                  <a:lnTo>
                    <a:pt x="7084" y="12994"/>
                  </a:lnTo>
                  <a:lnTo>
                    <a:pt x="7015" y="12683"/>
                  </a:lnTo>
                  <a:lnTo>
                    <a:pt x="6946" y="12026"/>
                  </a:lnTo>
                  <a:lnTo>
                    <a:pt x="6946" y="11266"/>
                  </a:lnTo>
                  <a:lnTo>
                    <a:pt x="6981" y="10436"/>
                  </a:lnTo>
                  <a:lnTo>
                    <a:pt x="7015" y="9538"/>
                  </a:lnTo>
                  <a:lnTo>
                    <a:pt x="7119" y="8605"/>
                  </a:lnTo>
                  <a:lnTo>
                    <a:pt x="7326" y="6670"/>
                  </a:lnTo>
                  <a:lnTo>
                    <a:pt x="7465" y="4804"/>
                  </a:lnTo>
                  <a:lnTo>
                    <a:pt x="7534" y="3905"/>
                  </a:lnTo>
                  <a:lnTo>
                    <a:pt x="7534" y="3111"/>
                  </a:lnTo>
                  <a:lnTo>
                    <a:pt x="7499" y="2350"/>
                  </a:lnTo>
                  <a:lnTo>
                    <a:pt x="7395" y="1728"/>
                  </a:lnTo>
                  <a:lnTo>
                    <a:pt x="7326" y="1452"/>
                  </a:lnTo>
                  <a:lnTo>
                    <a:pt x="7223" y="1210"/>
                  </a:lnTo>
                  <a:lnTo>
                    <a:pt x="7119" y="1003"/>
                  </a:lnTo>
                  <a:lnTo>
                    <a:pt x="6981" y="830"/>
                  </a:lnTo>
                  <a:lnTo>
                    <a:pt x="6981" y="830"/>
                  </a:lnTo>
                  <a:lnTo>
                    <a:pt x="6808" y="657"/>
                  </a:lnTo>
                  <a:lnTo>
                    <a:pt x="6670" y="519"/>
                  </a:lnTo>
                  <a:lnTo>
                    <a:pt x="6290" y="311"/>
                  </a:lnTo>
                  <a:lnTo>
                    <a:pt x="5910" y="173"/>
                  </a:lnTo>
                  <a:lnTo>
                    <a:pt x="5460" y="70"/>
                  </a:lnTo>
                  <a:lnTo>
                    <a:pt x="5011" y="0"/>
                  </a:lnTo>
                  <a:lnTo>
                    <a:pt x="4562" y="0"/>
                  </a:lnTo>
                  <a:lnTo>
                    <a:pt x="4078" y="35"/>
                  </a:lnTo>
                  <a:lnTo>
                    <a:pt x="3629" y="104"/>
                  </a:lnTo>
                  <a:lnTo>
                    <a:pt x="3214" y="208"/>
                  </a:lnTo>
                  <a:lnTo>
                    <a:pt x="2765" y="311"/>
                  </a:lnTo>
                  <a:lnTo>
                    <a:pt x="2385" y="450"/>
                  </a:lnTo>
                  <a:lnTo>
                    <a:pt x="2074" y="622"/>
                  </a:lnTo>
                  <a:lnTo>
                    <a:pt x="1763" y="761"/>
                  </a:lnTo>
                  <a:lnTo>
                    <a:pt x="1555" y="933"/>
                  </a:lnTo>
                  <a:lnTo>
                    <a:pt x="1383" y="1106"/>
                  </a:lnTo>
                  <a:lnTo>
                    <a:pt x="1314" y="1279"/>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88" name="Google Shape;2517;p11">
              <a:extLst>
                <a:ext uri="{FF2B5EF4-FFF2-40B4-BE49-F238E27FC236}">
                  <a16:creationId xmlns:a16="http://schemas.microsoft.com/office/drawing/2014/main" id="{1B303441-3116-1D72-5627-3056E70FAB7C}"/>
                </a:ext>
              </a:extLst>
            </p:cNvPr>
            <p:cNvSpPr/>
            <p:nvPr/>
          </p:nvSpPr>
          <p:spPr>
            <a:xfrm>
              <a:off x="4423375" y="2708025"/>
              <a:ext cx="216000" cy="269575"/>
            </a:xfrm>
            <a:custGeom>
              <a:avLst/>
              <a:gdLst/>
              <a:ahLst/>
              <a:cxnLst/>
              <a:rect l="l" t="t" r="r" b="b"/>
              <a:pathLst>
                <a:path w="8640" h="10783" extrusionOk="0">
                  <a:moveTo>
                    <a:pt x="1624" y="1"/>
                  </a:moveTo>
                  <a:lnTo>
                    <a:pt x="1451" y="35"/>
                  </a:lnTo>
                  <a:lnTo>
                    <a:pt x="1140" y="139"/>
                  </a:lnTo>
                  <a:lnTo>
                    <a:pt x="864" y="277"/>
                  </a:lnTo>
                  <a:lnTo>
                    <a:pt x="587" y="485"/>
                  </a:lnTo>
                  <a:lnTo>
                    <a:pt x="380" y="692"/>
                  </a:lnTo>
                  <a:lnTo>
                    <a:pt x="242" y="865"/>
                  </a:lnTo>
                  <a:lnTo>
                    <a:pt x="173" y="1072"/>
                  </a:lnTo>
                  <a:lnTo>
                    <a:pt x="104" y="1245"/>
                  </a:lnTo>
                  <a:lnTo>
                    <a:pt x="138" y="1418"/>
                  </a:lnTo>
                  <a:lnTo>
                    <a:pt x="138" y="1590"/>
                  </a:lnTo>
                  <a:lnTo>
                    <a:pt x="242" y="1867"/>
                  </a:lnTo>
                  <a:lnTo>
                    <a:pt x="276" y="1970"/>
                  </a:lnTo>
                  <a:lnTo>
                    <a:pt x="173" y="2143"/>
                  </a:lnTo>
                  <a:lnTo>
                    <a:pt x="69" y="2316"/>
                  </a:lnTo>
                  <a:lnTo>
                    <a:pt x="35" y="2454"/>
                  </a:lnTo>
                  <a:lnTo>
                    <a:pt x="0" y="2592"/>
                  </a:lnTo>
                  <a:lnTo>
                    <a:pt x="0" y="2731"/>
                  </a:lnTo>
                  <a:lnTo>
                    <a:pt x="0" y="2869"/>
                  </a:lnTo>
                  <a:lnTo>
                    <a:pt x="138" y="3111"/>
                  </a:lnTo>
                  <a:lnTo>
                    <a:pt x="311" y="3318"/>
                  </a:lnTo>
                  <a:lnTo>
                    <a:pt x="518" y="3560"/>
                  </a:lnTo>
                  <a:lnTo>
                    <a:pt x="1002" y="4009"/>
                  </a:lnTo>
                  <a:lnTo>
                    <a:pt x="1279" y="4251"/>
                  </a:lnTo>
                  <a:lnTo>
                    <a:pt x="1521" y="4389"/>
                  </a:lnTo>
                  <a:lnTo>
                    <a:pt x="1935" y="4597"/>
                  </a:lnTo>
                  <a:lnTo>
                    <a:pt x="2108" y="4700"/>
                  </a:lnTo>
                  <a:lnTo>
                    <a:pt x="2246" y="4839"/>
                  </a:lnTo>
                  <a:lnTo>
                    <a:pt x="2281" y="4908"/>
                  </a:lnTo>
                  <a:lnTo>
                    <a:pt x="2281" y="5011"/>
                  </a:lnTo>
                  <a:lnTo>
                    <a:pt x="2281" y="5288"/>
                  </a:lnTo>
                  <a:lnTo>
                    <a:pt x="2212" y="5806"/>
                  </a:lnTo>
                  <a:lnTo>
                    <a:pt x="2212" y="5979"/>
                  </a:lnTo>
                  <a:lnTo>
                    <a:pt x="2246" y="6117"/>
                  </a:lnTo>
                  <a:lnTo>
                    <a:pt x="2350" y="6221"/>
                  </a:lnTo>
                  <a:lnTo>
                    <a:pt x="2523" y="6290"/>
                  </a:lnTo>
                  <a:lnTo>
                    <a:pt x="2730" y="6359"/>
                  </a:lnTo>
                  <a:lnTo>
                    <a:pt x="3076" y="6394"/>
                  </a:lnTo>
                  <a:lnTo>
                    <a:pt x="3283" y="6255"/>
                  </a:lnTo>
                  <a:lnTo>
                    <a:pt x="3456" y="6152"/>
                  </a:lnTo>
                  <a:lnTo>
                    <a:pt x="3628" y="6117"/>
                  </a:lnTo>
                  <a:lnTo>
                    <a:pt x="3801" y="6117"/>
                  </a:lnTo>
                  <a:lnTo>
                    <a:pt x="3939" y="6152"/>
                  </a:lnTo>
                  <a:lnTo>
                    <a:pt x="4078" y="6255"/>
                  </a:lnTo>
                  <a:lnTo>
                    <a:pt x="4181" y="6359"/>
                  </a:lnTo>
                  <a:lnTo>
                    <a:pt x="4250" y="6497"/>
                  </a:lnTo>
                  <a:lnTo>
                    <a:pt x="4320" y="6670"/>
                  </a:lnTo>
                  <a:lnTo>
                    <a:pt x="4354" y="6843"/>
                  </a:lnTo>
                  <a:lnTo>
                    <a:pt x="4354" y="7016"/>
                  </a:lnTo>
                  <a:lnTo>
                    <a:pt x="4320" y="7223"/>
                  </a:lnTo>
                  <a:lnTo>
                    <a:pt x="4216" y="7396"/>
                  </a:lnTo>
                  <a:lnTo>
                    <a:pt x="4112" y="7569"/>
                  </a:lnTo>
                  <a:lnTo>
                    <a:pt x="3974" y="7741"/>
                  </a:lnTo>
                  <a:lnTo>
                    <a:pt x="3801" y="7880"/>
                  </a:lnTo>
                  <a:lnTo>
                    <a:pt x="3801" y="8225"/>
                  </a:lnTo>
                  <a:lnTo>
                    <a:pt x="3836" y="8674"/>
                  </a:lnTo>
                  <a:lnTo>
                    <a:pt x="3974" y="9124"/>
                  </a:lnTo>
                  <a:lnTo>
                    <a:pt x="4181" y="9573"/>
                  </a:lnTo>
                  <a:lnTo>
                    <a:pt x="4423" y="10022"/>
                  </a:lnTo>
                  <a:lnTo>
                    <a:pt x="4561" y="10195"/>
                  </a:lnTo>
                  <a:lnTo>
                    <a:pt x="4734" y="10368"/>
                  </a:lnTo>
                  <a:lnTo>
                    <a:pt x="4907" y="10540"/>
                  </a:lnTo>
                  <a:lnTo>
                    <a:pt x="5114" y="10644"/>
                  </a:lnTo>
                  <a:lnTo>
                    <a:pt x="5322" y="10748"/>
                  </a:lnTo>
                  <a:lnTo>
                    <a:pt x="5564" y="10782"/>
                  </a:lnTo>
                  <a:lnTo>
                    <a:pt x="5978" y="10782"/>
                  </a:lnTo>
                  <a:lnTo>
                    <a:pt x="6186" y="10713"/>
                  </a:lnTo>
                  <a:lnTo>
                    <a:pt x="6393" y="10610"/>
                  </a:lnTo>
                  <a:lnTo>
                    <a:pt x="6566" y="10471"/>
                  </a:lnTo>
                  <a:lnTo>
                    <a:pt x="6704" y="10299"/>
                  </a:lnTo>
                  <a:lnTo>
                    <a:pt x="6877" y="10126"/>
                  </a:lnTo>
                  <a:lnTo>
                    <a:pt x="6980" y="9918"/>
                  </a:lnTo>
                  <a:lnTo>
                    <a:pt x="7119" y="9677"/>
                  </a:lnTo>
                  <a:lnTo>
                    <a:pt x="7222" y="9435"/>
                  </a:lnTo>
                  <a:lnTo>
                    <a:pt x="7361" y="8882"/>
                  </a:lnTo>
                  <a:lnTo>
                    <a:pt x="7464" y="8294"/>
                  </a:lnTo>
                  <a:lnTo>
                    <a:pt x="7499" y="7672"/>
                  </a:lnTo>
                  <a:lnTo>
                    <a:pt x="7499" y="7396"/>
                  </a:lnTo>
                  <a:lnTo>
                    <a:pt x="7568" y="7119"/>
                  </a:lnTo>
                  <a:lnTo>
                    <a:pt x="7637" y="6912"/>
                  </a:lnTo>
                  <a:lnTo>
                    <a:pt x="7741" y="6705"/>
                  </a:lnTo>
                  <a:lnTo>
                    <a:pt x="8017" y="6359"/>
                  </a:lnTo>
                  <a:lnTo>
                    <a:pt x="8259" y="5979"/>
                  </a:lnTo>
                  <a:lnTo>
                    <a:pt x="8397" y="5772"/>
                  </a:lnTo>
                  <a:lnTo>
                    <a:pt x="8501" y="5564"/>
                  </a:lnTo>
                  <a:lnTo>
                    <a:pt x="8605" y="5288"/>
                  </a:lnTo>
                  <a:lnTo>
                    <a:pt x="8639" y="5011"/>
                  </a:lnTo>
                  <a:lnTo>
                    <a:pt x="8639" y="4666"/>
                  </a:lnTo>
                  <a:lnTo>
                    <a:pt x="8605" y="4286"/>
                  </a:lnTo>
                  <a:lnTo>
                    <a:pt x="8535" y="3837"/>
                  </a:lnTo>
                  <a:lnTo>
                    <a:pt x="8397" y="3318"/>
                  </a:lnTo>
                  <a:lnTo>
                    <a:pt x="8294" y="3042"/>
                  </a:lnTo>
                  <a:lnTo>
                    <a:pt x="8190" y="2834"/>
                  </a:lnTo>
                  <a:lnTo>
                    <a:pt x="8086" y="2662"/>
                  </a:lnTo>
                  <a:lnTo>
                    <a:pt x="7983" y="2558"/>
                  </a:lnTo>
                  <a:lnTo>
                    <a:pt x="7879" y="2454"/>
                  </a:lnTo>
                  <a:lnTo>
                    <a:pt x="7741" y="2420"/>
                  </a:lnTo>
                  <a:lnTo>
                    <a:pt x="7533" y="2351"/>
                  </a:lnTo>
                  <a:lnTo>
                    <a:pt x="7326" y="2247"/>
                  </a:lnTo>
                  <a:lnTo>
                    <a:pt x="7222" y="2212"/>
                  </a:lnTo>
                  <a:lnTo>
                    <a:pt x="7153" y="2109"/>
                  </a:lnTo>
                  <a:lnTo>
                    <a:pt x="7050" y="1970"/>
                  </a:lnTo>
                  <a:lnTo>
                    <a:pt x="6946" y="1832"/>
                  </a:lnTo>
                  <a:lnTo>
                    <a:pt x="6877" y="1590"/>
                  </a:lnTo>
                  <a:lnTo>
                    <a:pt x="6808" y="1314"/>
                  </a:lnTo>
                  <a:lnTo>
                    <a:pt x="6739" y="1037"/>
                  </a:lnTo>
                  <a:lnTo>
                    <a:pt x="6635" y="796"/>
                  </a:lnTo>
                  <a:lnTo>
                    <a:pt x="6531" y="623"/>
                  </a:lnTo>
                  <a:lnTo>
                    <a:pt x="6393" y="450"/>
                  </a:lnTo>
                  <a:lnTo>
                    <a:pt x="6255" y="312"/>
                  </a:lnTo>
                  <a:lnTo>
                    <a:pt x="6117" y="208"/>
                  </a:lnTo>
                  <a:lnTo>
                    <a:pt x="5944" y="104"/>
                  </a:lnTo>
                  <a:lnTo>
                    <a:pt x="5771" y="70"/>
                  </a:lnTo>
                  <a:lnTo>
                    <a:pt x="5564" y="35"/>
                  </a:lnTo>
                  <a:lnTo>
                    <a:pt x="5356" y="35"/>
                  </a:lnTo>
                  <a:lnTo>
                    <a:pt x="5149" y="70"/>
                  </a:lnTo>
                  <a:lnTo>
                    <a:pt x="4942" y="139"/>
                  </a:lnTo>
                  <a:lnTo>
                    <a:pt x="4734" y="208"/>
                  </a:lnTo>
                  <a:lnTo>
                    <a:pt x="4527" y="312"/>
                  </a:lnTo>
                  <a:lnTo>
                    <a:pt x="4320" y="450"/>
                  </a:lnTo>
                  <a:lnTo>
                    <a:pt x="4112" y="623"/>
                  </a:lnTo>
                  <a:lnTo>
                    <a:pt x="3732" y="899"/>
                  </a:lnTo>
                  <a:lnTo>
                    <a:pt x="3456" y="1037"/>
                  </a:lnTo>
                  <a:lnTo>
                    <a:pt x="3352" y="1072"/>
                  </a:lnTo>
                  <a:lnTo>
                    <a:pt x="3248" y="1072"/>
                  </a:lnTo>
                  <a:lnTo>
                    <a:pt x="3179" y="1037"/>
                  </a:lnTo>
                  <a:lnTo>
                    <a:pt x="3110" y="1003"/>
                  </a:lnTo>
                  <a:lnTo>
                    <a:pt x="2972" y="899"/>
                  </a:lnTo>
                  <a:lnTo>
                    <a:pt x="2834" y="692"/>
                  </a:lnTo>
                  <a:lnTo>
                    <a:pt x="2661" y="485"/>
                  </a:lnTo>
                  <a:lnTo>
                    <a:pt x="2384" y="243"/>
                  </a:lnTo>
                  <a:lnTo>
                    <a:pt x="2246" y="139"/>
                  </a:lnTo>
                  <a:lnTo>
                    <a:pt x="2108" y="70"/>
                  </a:lnTo>
                  <a:lnTo>
                    <a:pt x="1935" y="1"/>
                  </a:lnTo>
                  <a:close/>
                </a:path>
              </a:pathLst>
            </a:custGeom>
            <a:solidFill>
              <a:srgbClr val="6D352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89" name="Google Shape;2518;p11">
              <a:extLst>
                <a:ext uri="{FF2B5EF4-FFF2-40B4-BE49-F238E27FC236}">
                  <a16:creationId xmlns:a16="http://schemas.microsoft.com/office/drawing/2014/main" id="{311B8ED6-8442-8624-BBFD-842F12C6790D}"/>
                </a:ext>
              </a:extLst>
            </p:cNvPr>
            <p:cNvSpPr/>
            <p:nvPr/>
          </p:nvSpPr>
          <p:spPr>
            <a:xfrm>
              <a:off x="4475200" y="2953375"/>
              <a:ext cx="54450" cy="63950"/>
            </a:xfrm>
            <a:custGeom>
              <a:avLst/>
              <a:gdLst/>
              <a:ahLst/>
              <a:cxnLst/>
              <a:rect l="l" t="t" r="r" b="b"/>
              <a:pathLst>
                <a:path w="2178" h="2558" extrusionOk="0">
                  <a:moveTo>
                    <a:pt x="1175" y="1"/>
                  </a:moveTo>
                  <a:lnTo>
                    <a:pt x="1003" y="35"/>
                  </a:lnTo>
                  <a:lnTo>
                    <a:pt x="761" y="139"/>
                  </a:lnTo>
                  <a:lnTo>
                    <a:pt x="519" y="312"/>
                  </a:lnTo>
                  <a:lnTo>
                    <a:pt x="208" y="588"/>
                  </a:lnTo>
                  <a:lnTo>
                    <a:pt x="35" y="2281"/>
                  </a:lnTo>
                  <a:lnTo>
                    <a:pt x="0" y="2558"/>
                  </a:lnTo>
                  <a:lnTo>
                    <a:pt x="0" y="2558"/>
                  </a:lnTo>
                  <a:lnTo>
                    <a:pt x="761" y="2523"/>
                  </a:lnTo>
                  <a:lnTo>
                    <a:pt x="1348" y="2523"/>
                  </a:lnTo>
                  <a:lnTo>
                    <a:pt x="1625" y="2316"/>
                  </a:lnTo>
                  <a:lnTo>
                    <a:pt x="1866" y="2109"/>
                  </a:lnTo>
                  <a:lnTo>
                    <a:pt x="2039" y="1867"/>
                  </a:lnTo>
                  <a:lnTo>
                    <a:pt x="2108" y="1763"/>
                  </a:lnTo>
                  <a:lnTo>
                    <a:pt x="2177" y="1625"/>
                  </a:lnTo>
                  <a:lnTo>
                    <a:pt x="2177" y="1487"/>
                  </a:lnTo>
                  <a:lnTo>
                    <a:pt x="2177" y="1348"/>
                  </a:lnTo>
                  <a:lnTo>
                    <a:pt x="2177" y="1176"/>
                  </a:lnTo>
                  <a:lnTo>
                    <a:pt x="2108" y="1003"/>
                  </a:lnTo>
                  <a:lnTo>
                    <a:pt x="2005" y="830"/>
                  </a:lnTo>
                  <a:lnTo>
                    <a:pt x="1901" y="623"/>
                  </a:lnTo>
                  <a:lnTo>
                    <a:pt x="1521" y="174"/>
                  </a:lnTo>
                  <a:lnTo>
                    <a:pt x="1383" y="70"/>
                  </a:lnTo>
                  <a:lnTo>
                    <a:pt x="1279" y="35"/>
                  </a:lnTo>
                  <a:lnTo>
                    <a:pt x="1175" y="1"/>
                  </a:lnTo>
                  <a:close/>
                </a:path>
              </a:pathLst>
            </a:custGeom>
            <a:solidFill>
              <a:srgbClr val="CE979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90" name="Google Shape;2519;p11">
              <a:extLst>
                <a:ext uri="{FF2B5EF4-FFF2-40B4-BE49-F238E27FC236}">
                  <a16:creationId xmlns:a16="http://schemas.microsoft.com/office/drawing/2014/main" id="{A5CC10F2-32D8-0AC1-883B-6C8CCF4DC1C6}"/>
                </a:ext>
              </a:extLst>
            </p:cNvPr>
            <p:cNvSpPr/>
            <p:nvPr/>
          </p:nvSpPr>
          <p:spPr>
            <a:xfrm>
              <a:off x="4475200" y="2953375"/>
              <a:ext cx="54450" cy="63950"/>
            </a:xfrm>
            <a:custGeom>
              <a:avLst/>
              <a:gdLst/>
              <a:ahLst/>
              <a:cxnLst/>
              <a:rect l="l" t="t" r="r" b="b"/>
              <a:pathLst>
                <a:path w="2178" h="2558" fill="none" extrusionOk="0">
                  <a:moveTo>
                    <a:pt x="1175" y="1"/>
                  </a:moveTo>
                  <a:lnTo>
                    <a:pt x="1175" y="1"/>
                  </a:lnTo>
                  <a:lnTo>
                    <a:pt x="1003" y="35"/>
                  </a:lnTo>
                  <a:lnTo>
                    <a:pt x="761" y="139"/>
                  </a:lnTo>
                  <a:lnTo>
                    <a:pt x="519" y="312"/>
                  </a:lnTo>
                  <a:lnTo>
                    <a:pt x="208" y="588"/>
                  </a:lnTo>
                  <a:lnTo>
                    <a:pt x="208" y="588"/>
                  </a:lnTo>
                  <a:lnTo>
                    <a:pt x="208" y="588"/>
                  </a:lnTo>
                  <a:lnTo>
                    <a:pt x="208" y="588"/>
                  </a:lnTo>
                  <a:lnTo>
                    <a:pt x="35" y="2281"/>
                  </a:lnTo>
                  <a:lnTo>
                    <a:pt x="35" y="2281"/>
                  </a:lnTo>
                  <a:lnTo>
                    <a:pt x="0" y="2558"/>
                  </a:lnTo>
                  <a:lnTo>
                    <a:pt x="0" y="2558"/>
                  </a:lnTo>
                  <a:lnTo>
                    <a:pt x="761" y="2523"/>
                  </a:lnTo>
                  <a:lnTo>
                    <a:pt x="761" y="2523"/>
                  </a:lnTo>
                  <a:lnTo>
                    <a:pt x="1348" y="2523"/>
                  </a:lnTo>
                  <a:lnTo>
                    <a:pt x="1348" y="2523"/>
                  </a:lnTo>
                  <a:lnTo>
                    <a:pt x="1625" y="2316"/>
                  </a:lnTo>
                  <a:lnTo>
                    <a:pt x="1866" y="2109"/>
                  </a:lnTo>
                  <a:lnTo>
                    <a:pt x="2039" y="1867"/>
                  </a:lnTo>
                  <a:lnTo>
                    <a:pt x="2108" y="1763"/>
                  </a:lnTo>
                  <a:lnTo>
                    <a:pt x="2177" y="1625"/>
                  </a:lnTo>
                  <a:lnTo>
                    <a:pt x="2177" y="1487"/>
                  </a:lnTo>
                  <a:lnTo>
                    <a:pt x="2177" y="1348"/>
                  </a:lnTo>
                  <a:lnTo>
                    <a:pt x="2177" y="1176"/>
                  </a:lnTo>
                  <a:lnTo>
                    <a:pt x="2108" y="1003"/>
                  </a:lnTo>
                  <a:lnTo>
                    <a:pt x="2005" y="830"/>
                  </a:lnTo>
                  <a:lnTo>
                    <a:pt x="1901" y="623"/>
                  </a:lnTo>
                  <a:lnTo>
                    <a:pt x="1521" y="174"/>
                  </a:lnTo>
                  <a:lnTo>
                    <a:pt x="1521" y="174"/>
                  </a:lnTo>
                  <a:lnTo>
                    <a:pt x="1383" y="70"/>
                  </a:lnTo>
                  <a:lnTo>
                    <a:pt x="1279" y="35"/>
                  </a:lnTo>
                  <a:lnTo>
                    <a:pt x="1175"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91" name="Google Shape;2520;p11">
              <a:extLst>
                <a:ext uri="{FF2B5EF4-FFF2-40B4-BE49-F238E27FC236}">
                  <a16:creationId xmlns:a16="http://schemas.microsoft.com/office/drawing/2014/main" id="{C0346DEF-2477-2833-6F8E-960D2D4904D0}"/>
                </a:ext>
              </a:extLst>
            </p:cNvPr>
            <p:cNvSpPr/>
            <p:nvPr/>
          </p:nvSpPr>
          <p:spPr>
            <a:xfrm>
              <a:off x="3682125" y="2970650"/>
              <a:ext cx="1142125" cy="869125"/>
            </a:xfrm>
            <a:custGeom>
              <a:avLst/>
              <a:gdLst/>
              <a:ahLst/>
              <a:cxnLst/>
              <a:rect l="l" t="t" r="r" b="b"/>
              <a:pathLst>
                <a:path w="45685" h="34765" extrusionOk="0">
                  <a:moveTo>
                    <a:pt x="4839" y="1"/>
                  </a:moveTo>
                  <a:lnTo>
                    <a:pt x="4597" y="70"/>
                  </a:lnTo>
                  <a:lnTo>
                    <a:pt x="3940" y="277"/>
                  </a:lnTo>
                  <a:lnTo>
                    <a:pt x="3145" y="588"/>
                  </a:lnTo>
                  <a:lnTo>
                    <a:pt x="2316" y="968"/>
                  </a:lnTo>
                  <a:lnTo>
                    <a:pt x="1487" y="1418"/>
                  </a:lnTo>
                  <a:lnTo>
                    <a:pt x="795" y="1832"/>
                  </a:lnTo>
                  <a:lnTo>
                    <a:pt x="277" y="2178"/>
                  </a:lnTo>
                  <a:lnTo>
                    <a:pt x="104" y="2351"/>
                  </a:lnTo>
                  <a:lnTo>
                    <a:pt x="1" y="2454"/>
                  </a:lnTo>
                  <a:lnTo>
                    <a:pt x="312" y="3802"/>
                  </a:lnTo>
                  <a:lnTo>
                    <a:pt x="623" y="4908"/>
                  </a:lnTo>
                  <a:lnTo>
                    <a:pt x="968" y="6290"/>
                  </a:lnTo>
                  <a:lnTo>
                    <a:pt x="1417" y="7845"/>
                  </a:lnTo>
                  <a:lnTo>
                    <a:pt x="1970" y="9504"/>
                  </a:lnTo>
                  <a:lnTo>
                    <a:pt x="2592" y="11266"/>
                  </a:lnTo>
                  <a:lnTo>
                    <a:pt x="3284" y="13029"/>
                  </a:lnTo>
                  <a:lnTo>
                    <a:pt x="3664" y="13893"/>
                  </a:lnTo>
                  <a:lnTo>
                    <a:pt x="4044" y="14722"/>
                  </a:lnTo>
                  <a:lnTo>
                    <a:pt x="4458" y="15551"/>
                  </a:lnTo>
                  <a:lnTo>
                    <a:pt x="4908" y="16346"/>
                  </a:lnTo>
                  <a:lnTo>
                    <a:pt x="5357" y="17106"/>
                  </a:lnTo>
                  <a:lnTo>
                    <a:pt x="5841" y="17797"/>
                  </a:lnTo>
                  <a:lnTo>
                    <a:pt x="6324" y="18454"/>
                  </a:lnTo>
                  <a:lnTo>
                    <a:pt x="6843" y="19041"/>
                  </a:lnTo>
                  <a:lnTo>
                    <a:pt x="7361" y="19560"/>
                  </a:lnTo>
                  <a:lnTo>
                    <a:pt x="7914" y="20009"/>
                  </a:lnTo>
                  <a:lnTo>
                    <a:pt x="8467" y="20389"/>
                  </a:lnTo>
                  <a:lnTo>
                    <a:pt x="8778" y="20527"/>
                  </a:lnTo>
                  <a:lnTo>
                    <a:pt x="9054" y="20666"/>
                  </a:lnTo>
                  <a:lnTo>
                    <a:pt x="9365" y="20769"/>
                  </a:lnTo>
                  <a:lnTo>
                    <a:pt x="9676" y="20838"/>
                  </a:lnTo>
                  <a:lnTo>
                    <a:pt x="9987" y="20873"/>
                  </a:lnTo>
                  <a:lnTo>
                    <a:pt x="10298" y="20908"/>
                  </a:lnTo>
                  <a:lnTo>
                    <a:pt x="10609" y="20908"/>
                  </a:lnTo>
                  <a:lnTo>
                    <a:pt x="10920" y="20873"/>
                  </a:lnTo>
                  <a:lnTo>
                    <a:pt x="11231" y="20804"/>
                  </a:lnTo>
                  <a:lnTo>
                    <a:pt x="11577" y="20735"/>
                  </a:lnTo>
                  <a:lnTo>
                    <a:pt x="12026" y="20562"/>
                  </a:lnTo>
                  <a:lnTo>
                    <a:pt x="12510" y="20355"/>
                  </a:lnTo>
                  <a:lnTo>
                    <a:pt x="13512" y="19905"/>
                  </a:lnTo>
                  <a:lnTo>
                    <a:pt x="14583" y="19352"/>
                  </a:lnTo>
                  <a:lnTo>
                    <a:pt x="15655" y="18730"/>
                  </a:lnTo>
                  <a:lnTo>
                    <a:pt x="16726" y="18074"/>
                  </a:lnTo>
                  <a:lnTo>
                    <a:pt x="17797" y="17383"/>
                  </a:lnTo>
                  <a:lnTo>
                    <a:pt x="19905" y="16001"/>
                  </a:lnTo>
                  <a:lnTo>
                    <a:pt x="21806" y="14791"/>
                  </a:lnTo>
                  <a:lnTo>
                    <a:pt x="22635" y="14307"/>
                  </a:lnTo>
                  <a:lnTo>
                    <a:pt x="23361" y="13927"/>
                  </a:lnTo>
                  <a:lnTo>
                    <a:pt x="23672" y="13789"/>
                  </a:lnTo>
                  <a:lnTo>
                    <a:pt x="23948" y="13685"/>
                  </a:lnTo>
                  <a:lnTo>
                    <a:pt x="24225" y="13616"/>
                  </a:lnTo>
                  <a:lnTo>
                    <a:pt x="24432" y="13582"/>
                  </a:lnTo>
                  <a:lnTo>
                    <a:pt x="24639" y="13582"/>
                  </a:lnTo>
                  <a:lnTo>
                    <a:pt x="24778" y="13651"/>
                  </a:lnTo>
                  <a:lnTo>
                    <a:pt x="24881" y="13754"/>
                  </a:lnTo>
                  <a:lnTo>
                    <a:pt x="24950" y="13893"/>
                  </a:lnTo>
                  <a:lnTo>
                    <a:pt x="24950" y="14791"/>
                  </a:lnTo>
                  <a:lnTo>
                    <a:pt x="25019" y="15655"/>
                  </a:lnTo>
                  <a:lnTo>
                    <a:pt x="25123" y="17314"/>
                  </a:lnTo>
                  <a:lnTo>
                    <a:pt x="25296" y="18972"/>
                  </a:lnTo>
                  <a:lnTo>
                    <a:pt x="25330" y="19836"/>
                  </a:lnTo>
                  <a:lnTo>
                    <a:pt x="25365" y="20769"/>
                  </a:lnTo>
                  <a:lnTo>
                    <a:pt x="25365" y="21771"/>
                  </a:lnTo>
                  <a:lnTo>
                    <a:pt x="25365" y="22808"/>
                  </a:lnTo>
                  <a:lnTo>
                    <a:pt x="25296" y="23983"/>
                  </a:lnTo>
                  <a:lnTo>
                    <a:pt x="25158" y="25227"/>
                  </a:lnTo>
                  <a:lnTo>
                    <a:pt x="25019" y="26609"/>
                  </a:lnTo>
                  <a:lnTo>
                    <a:pt x="24778" y="28095"/>
                  </a:lnTo>
                  <a:lnTo>
                    <a:pt x="24467" y="29754"/>
                  </a:lnTo>
                  <a:lnTo>
                    <a:pt x="24086" y="31551"/>
                  </a:lnTo>
                  <a:lnTo>
                    <a:pt x="24674" y="32000"/>
                  </a:lnTo>
                  <a:lnTo>
                    <a:pt x="25261" y="32415"/>
                  </a:lnTo>
                  <a:lnTo>
                    <a:pt x="25953" y="32795"/>
                  </a:lnTo>
                  <a:lnTo>
                    <a:pt x="26644" y="33106"/>
                  </a:lnTo>
                  <a:lnTo>
                    <a:pt x="27404" y="33417"/>
                  </a:lnTo>
                  <a:lnTo>
                    <a:pt x="28164" y="33693"/>
                  </a:lnTo>
                  <a:lnTo>
                    <a:pt x="28993" y="33935"/>
                  </a:lnTo>
                  <a:lnTo>
                    <a:pt x="29823" y="34143"/>
                  </a:lnTo>
                  <a:lnTo>
                    <a:pt x="30687" y="34315"/>
                  </a:lnTo>
                  <a:lnTo>
                    <a:pt x="31551" y="34454"/>
                  </a:lnTo>
                  <a:lnTo>
                    <a:pt x="32449" y="34592"/>
                  </a:lnTo>
                  <a:lnTo>
                    <a:pt x="33313" y="34661"/>
                  </a:lnTo>
                  <a:lnTo>
                    <a:pt x="34211" y="34730"/>
                  </a:lnTo>
                  <a:lnTo>
                    <a:pt x="35110" y="34765"/>
                  </a:lnTo>
                  <a:lnTo>
                    <a:pt x="36872" y="34765"/>
                  </a:lnTo>
                  <a:lnTo>
                    <a:pt x="37736" y="34696"/>
                  </a:lnTo>
                  <a:lnTo>
                    <a:pt x="38566" y="34661"/>
                  </a:lnTo>
                  <a:lnTo>
                    <a:pt x="39360" y="34557"/>
                  </a:lnTo>
                  <a:lnTo>
                    <a:pt x="40155" y="34454"/>
                  </a:lnTo>
                  <a:lnTo>
                    <a:pt x="40915" y="34315"/>
                  </a:lnTo>
                  <a:lnTo>
                    <a:pt x="41607" y="34177"/>
                  </a:lnTo>
                  <a:lnTo>
                    <a:pt x="42298" y="34004"/>
                  </a:lnTo>
                  <a:lnTo>
                    <a:pt x="42920" y="33832"/>
                  </a:lnTo>
                  <a:lnTo>
                    <a:pt x="43473" y="33659"/>
                  </a:lnTo>
                  <a:lnTo>
                    <a:pt x="43991" y="33417"/>
                  </a:lnTo>
                  <a:lnTo>
                    <a:pt x="44440" y="33210"/>
                  </a:lnTo>
                  <a:lnTo>
                    <a:pt x="44820" y="32968"/>
                  </a:lnTo>
                  <a:lnTo>
                    <a:pt x="45166" y="32726"/>
                  </a:lnTo>
                  <a:lnTo>
                    <a:pt x="45408" y="32449"/>
                  </a:lnTo>
                  <a:lnTo>
                    <a:pt x="45546" y="32173"/>
                  </a:lnTo>
                  <a:lnTo>
                    <a:pt x="45615" y="32035"/>
                  </a:lnTo>
                  <a:lnTo>
                    <a:pt x="45650" y="31896"/>
                  </a:lnTo>
                  <a:lnTo>
                    <a:pt x="45684" y="31171"/>
                  </a:lnTo>
                  <a:lnTo>
                    <a:pt x="45684" y="30100"/>
                  </a:lnTo>
                  <a:lnTo>
                    <a:pt x="45650" y="28821"/>
                  </a:lnTo>
                  <a:lnTo>
                    <a:pt x="45546" y="27300"/>
                  </a:lnTo>
                  <a:lnTo>
                    <a:pt x="45270" y="23810"/>
                  </a:lnTo>
                  <a:lnTo>
                    <a:pt x="44889" y="20009"/>
                  </a:lnTo>
                  <a:lnTo>
                    <a:pt x="44440" y="16242"/>
                  </a:lnTo>
                  <a:lnTo>
                    <a:pt x="43991" y="12856"/>
                  </a:lnTo>
                  <a:lnTo>
                    <a:pt x="43784" y="11439"/>
                  </a:lnTo>
                  <a:lnTo>
                    <a:pt x="43576" y="10264"/>
                  </a:lnTo>
                  <a:lnTo>
                    <a:pt x="43403" y="9366"/>
                  </a:lnTo>
                  <a:lnTo>
                    <a:pt x="43231" y="8778"/>
                  </a:lnTo>
                  <a:lnTo>
                    <a:pt x="42989" y="8225"/>
                  </a:lnTo>
                  <a:lnTo>
                    <a:pt x="42712" y="7707"/>
                  </a:lnTo>
                  <a:lnTo>
                    <a:pt x="42367" y="7154"/>
                  </a:lnTo>
                  <a:lnTo>
                    <a:pt x="41987" y="6636"/>
                  </a:lnTo>
                  <a:lnTo>
                    <a:pt x="41537" y="6117"/>
                  </a:lnTo>
                  <a:lnTo>
                    <a:pt x="41088" y="5599"/>
                  </a:lnTo>
                  <a:lnTo>
                    <a:pt x="40639" y="5115"/>
                  </a:lnTo>
                  <a:lnTo>
                    <a:pt x="40155" y="4666"/>
                  </a:lnTo>
                  <a:lnTo>
                    <a:pt x="39222" y="3837"/>
                  </a:lnTo>
                  <a:lnTo>
                    <a:pt x="38324" y="3146"/>
                  </a:lnTo>
                  <a:lnTo>
                    <a:pt x="37598" y="2662"/>
                  </a:lnTo>
                  <a:lnTo>
                    <a:pt x="37287" y="2489"/>
                  </a:lnTo>
                  <a:lnTo>
                    <a:pt x="37080" y="2385"/>
                  </a:lnTo>
                  <a:lnTo>
                    <a:pt x="36838" y="2282"/>
                  </a:lnTo>
                  <a:lnTo>
                    <a:pt x="36492" y="2213"/>
                  </a:lnTo>
                  <a:lnTo>
                    <a:pt x="35559" y="2040"/>
                  </a:lnTo>
                  <a:lnTo>
                    <a:pt x="34384" y="1901"/>
                  </a:lnTo>
                  <a:lnTo>
                    <a:pt x="33071" y="1832"/>
                  </a:lnTo>
                  <a:lnTo>
                    <a:pt x="32345" y="1832"/>
                  </a:lnTo>
                  <a:lnTo>
                    <a:pt x="31654" y="1867"/>
                  </a:lnTo>
                  <a:lnTo>
                    <a:pt x="30963" y="1901"/>
                  </a:lnTo>
                  <a:lnTo>
                    <a:pt x="30272" y="1971"/>
                  </a:lnTo>
                  <a:lnTo>
                    <a:pt x="29615" y="2109"/>
                  </a:lnTo>
                  <a:lnTo>
                    <a:pt x="28993" y="2247"/>
                  </a:lnTo>
                  <a:lnTo>
                    <a:pt x="28406" y="2454"/>
                  </a:lnTo>
                  <a:lnTo>
                    <a:pt x="27888" y="2696"/>
                  </a:lnTo>
                  <a:lnTo>
                    <a:pt x="26955" y="3180"/>
                  </a:lnTo>
                  <a:lnTo>
                    <a:pt x="26091" y="3595"/>
                  </a:lnTo>
                  <a:lnTo>
                    <a:pt x="25261" y="4009"/>
                  </a:lnTo>
                  <a:lnTo>
                    <a:pt x="24432" y="4424"/>
                  </a:lnTo>
                  <a:lnTo>
                    <a:pt x="23603" y="4908"/>
                  </a:lnTo>
                  <a:lnTo>
                    <a:pt x="22739" y="5461"/>
                  </a:lnTo>
                  <a:lnTo>
                    <a:pt x="22290" y="5772"/>
                  </a:lnTo>
                  <a:lnTo>
                    <a:pt x="21840" y="6152"/>
                  </a:lnTo>
                  <a:lnTo>
                    <a:pt x="21391" y="6567"/>
                  </a:lnTo>
                  <a:lnTo>
                    <a:pt x="20907" y="7016"/>
                  </a:lnTo>
                  <a:lnTo>
                    <a:pt x="18972" y="8951"/>
                  </a:lnTo>
                  <a:lnTo>
                    <a:pt x="17866" y="10022"/>
                  </a:lnTo>
                  <a:lnTo>
                    <a:pt x="16691" y="11059"/>
                  </a:lnTo>
                  <a:lnTo>
                    <a:pt x="16069" y="11577"/>
                  </a:lnTo>
                  <a:lnTo>
                    <a:pt x="15447" y="12061"/>
                  </a:lnTo>
                  <a:lnTo>
                    <a:pt x="14825" y="12510"/>
                  </a:lnTo>
                  <a:lnTo>
                    <a:pt x="14203" y="12925"/>
                  </a:lnTo>
                  <a:lnTo>
                    <a:pt x="13581" y="13305"/>
                  </a:lnTo>
                  <a:lnTo>
                    <a:pt x="12959" y="13616"/>
                  </a:lnTo>
                  <a:lnTo>
                    <a:pt x="12337" y="13893"/>
                  </a:lnTo>
                  <a:lnTo>
                    <a:pt x="11750" y="14065"/>
                  </a:lnTo>
                  <a:lnTo>
                    <a:pt x="11473" y="14065"/>
                  </a:lnTo>
                  <a:lnTo>
                    <a:pt x="11197" y="13996"/>
                  </a:lnTo>
                  <a:lnTo>
                    <a:pt x="10920" y="13858"/>
                  </a:lnTo>
                  <a:lnTo>
                    <a:pt x="10644" y="13651"/>
                  </a:lnTo>
                  <a:lnTo>
                    <a:pt x="10368" y="13374"/>
                  </a:lnTo>
                  <a:lnTo>
                    <a:pt x="10091" y="13029"/>
                  </a:lnTo>
                  <a:lnTo>
                    <a:pt x="9780" y="12614"/>
                  </a:lnTo>
                  <a:lnTo>
                    <a:pt x="9504" y="12165"/>
                  </a:lnTo>
                  <a:lnTo>
                    <a:pt x="9227" y="11646"/>
                  </a:lnTo>
                  <a:lnTo>
                    <a:pt x="8951" y="11093"/>
                  </a:lnTo>
                  <a:lnTo>
                    <a:pt x="8398" y="9919"/>
                  </a:lnTo>
                  <a:lnTo>
                    <a:pt x="7845" y="8605"/>
                  </a:lnTo>
                  <a:lnTo>
                    <a:pt x="7327" y="7292"/>
                  </a:lnTo>
                  <a:lnTo>
                    <a:pt x="6877" y="5945"/>
                  </a:lnTo>
                  <a:lnTo>
                    <a:pt x="6428" y="4631"/>
                  </a:lnTo>
                  <a:lnTo>
                    <a:pt x="5702" y="2282"/>
                  </a:lnTo>
                  <a:lnTo>
                    <a:pt x="5219" y="623"/>
                  </a:lnTo>
                  <a:lnTo>
                    <a:pt x="5046" y="1"/>
                  </a:lnTo>
                  <a:close/>
                </a:path>
              </a:pathLst>
            </a:custGeom>
            <a:solidFill>
              <a:srgbClr val="E0301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92" name="Google Shape;2521;p11">
              <a:extLst>
                <a:ext uri="{FF2B5EF4-FFF2-40B4-BE49-F238E27FC236}">
                  <a16:creationId xmlns:a16="http://schemas.microsoft.com/office/drawing/2014/main" id="{7E0E274E-8207-5267-B1F5-ECEB5FD9EE41}"/>
                </a:ext>
              </a:extLst>
            </p:cNvPr>
            <p:cNvSpPr/>
            <p:nvPr/>
          </p:nvSpPr>
          <p:spPr>
            <a:xfrm>
              <a:off x="3682125" y="2970650"/>
              <a:ext cx="1142125" cy="869125"/>
            </a:xfrm>
            <a:custGeom>
              <a:avLst/>
              <a:gdLst/>
              <a:ahLst/>
              <a:cxnLst/>
              <a:rect l="l" t="t" r="r" b="b"/>
              <a:pathLst>
                <a:path w="45685" h="34765" fill="none" extrusionOk="0">
                  <a:moveTo>
                    <a:pt x="37080" y="2385"/>
                  </a:moveTo>
                  <a:lnTo>
                    <a:pt x="37080" y="2385"/>
                  </a:lnTo>
                  <a:lnTo>
                    <a:pt x="36838" y="2282"/>
                  </a:lnTo>
                  <a:lnTo>
                    <a:pt x="36492" y="2213"/>
                  </a:lnTo>
                  <a:lnTo>
                    <a:pt x="35559" y="2040"/>
                  </a:lnTo>
                  <a:lnTo>
                    <a:pt x="34384" y="1901"/>
                  </a:lnTo>
                  <a:lnTo>
                    <a:pt x="33071" y="1832"/>
                  </a:lnTo>
                  <a:lnTo>
                    <a:pt x="32345" y="1832"/>
                  </a:lnTo>
                  <a:lnTo>
                    <a:pt x="31654" y="1867"/>
                  </a:lnTo>
                  <a:lnTo>
                    <a:pt x="30963" y="1901"/>
                  </a:lnTo>
                  <a:lnTo>
                    <a:pt x="30272" y="1971"/>
                  </a:lnTo>
                  <a:lnTo>
                    <a:pt x="29615" y="2109"/>
                  </a:lnTo>
                  <a:lnTo>
                    <a:pt x="28993" y="2247"/>
                  </a:lnTo>
                  <a:lnTo>
                    <a:pt x="28406" y="2454"/>
                  </a:lnTo>
                  <a:lnTo>
                    <a:pt x="27888" y="2696"/>
                  </a:lnTo>
                  <a:lnTo>
                    <a:pt x="27888" y="2696"/>
                  </a:lnTo>
                  <a:lnTo>
                    <a:pt x="26955" y="3180"/>
                  </a:lnTo>
                  <a:lnTo>
                    <a:pt x="26091" y="3595"/>
                  </a:lnTo>
                  <a:lnTo>
                    <a:pt x="25261" y="4009"/>
                  </a:lnTo>
                  <a:lnTo>
                    <a:pt x="24432" y="4424"/>
                  </a:lnTo>
                  <a:lnTo>
                    <a:pt x="23603" y="4908"/>
                  </a:lnTo>
                  <a:lnTo>
                    <a:pt x="22739" y="5461"/>
                  </a:lnTo>
                  <a:lnTo>
                    <a:pt x="22290" y="5772"/>
                  </a:lnTo>
                  <a:lnTo>
                    <a:pt x="21840" y="6152"/>
                  </a:lnTo>
                  <a:lnTo>
                    <a:pt x="21391" y="6567"/>
                  </a:lnTo>
                  <a:lnTo>
                    <a:pt x="20907" y="7016"/>
                  </a:lnTo>
                  <a:lnTo>
                    <a:pt x="20907" y="7016"/>
                  </a:lnTo>
                  <a:lnTo>
                    <a:pt x="18972" y="8951"/>
                  </a:lnTo>
                  <a:lnTo>
                    <a:pt x="17866" y="10022"/>
                  </a:lnTo>
                  <a:lnTo>
                    <a:pt x="16691" y="11059"/>
                  </a:lnTo>
                  <a:lnTo>
                    <a:pt x="16069" y="11577"/>
                  </a:lnTo>
                  <a:lnTo>
                    <a:pt x="15447" y="12061"/>
                  </a:lnTo>
                  <a:lnTo>
                    <a:pt x="14825" y="12510"/>
                  </a:lnTo>
                  <a:lnTo>
                    <a:pt x="14203" y="12925"/>
                  </a:lnTo>
                  <a:lnTo>
                    <a:pt x="13581" y="13305"/>
                  </a:lnTo>
                  <a:lnTo>
                    <a:pt x="12959" y="13616"/>
                  </a:lnTo>
                  <a:lnTo>
                    <a:pt x="12337" y="13893"/>
                  </a:lnTo>
                  <a:lnTo>
                    <a:pt x="11750" y="14065"/>
                  </a:lnTo>
                  <a:lnTo>
                    <a:pt x="11750" y="14065"/>
                  </a:lnTo>
                  <a:lnTo>
                    <a:pt x="11612" y="14065"/>
                  </a:lnTo>
                  <a:lnTo>
                    <a:pt x="11473" y="14065"/>
                  </a:lnTo>
                  <a:lnTo>
                    <a:pt x="11197" y="13996"/>
                  </a:lnTo>
                  <a:lnTo>
                    <a:pt x="10920" y="13858"/>
                  </a:lnTo>
                  <a:lnTo>
                    <a:pt x="10644" y="13651"/>
                  </a:lnTo>
                  <a:lnTo>
                    <a:pt x="10368" y="13374"/>
                  </a:lnTo>
                  <a:lnTo>
                    <a:pt x="10091" y="13029"/>
                  </a:lnTo>
                  <a:lnTo>
                    <a:pt x="9780" y="12614"/>
                  </a:lnTo>
                  <a:lnTo>
                    <a:pt x="9504" y="12165"/>
                  </a:lnTo>
                  <a:lnTo>
                    <a:pt x="9227" y="11646"/>
                  </a:lnTo>
                  <a:lnTo>
                    <a:pt x="8951" y="11093"/>
                  </a:lnTo>
                  <a:lnTo>
                    <a:pt x="8398" y="9919"/>
                  </a:lnTo>
                  <a:lnTo>
                    <a:pt x="7845" y="8605"/>
                  </a:lnTo>
                  <a:lnTo>
                    <a:pt x="7327" y="7292"/>
                  </a:lnTo>
                  <a:lnTo>
                    <a:pt x="6877" y="5945"/>
                  </a:lnTo>
                  <a:lnTo>
                    <a:pt x="6428" y="4631"/>
                  </a:lnTo>
                  <a:lnTo>
                    <a:pt x="5702" y="2282"/>
                  </a:lnTo>
                  <a:lnTo>
                    <a:pt x="5219" y="623"/>
                  </a:lnTo>
                  <a:lnTo>
                    <a:pt x="5046" y="1"/>
                  </a:lnTo>
                  <a:lnTo>
                    <a:pt x="5046" y="1"/>
                  </a:lnTo>
                  <a:lnTo>
                    <a:pt x="4839" y="1"/>
                  </a:lnTo>
                  <a:lnTo>
                    <a:pt x="4597" y="70"/>
                  </a:lnTo>
                  <a:lnTo>
                    <a:pt x="3940" y="277"/>
                  </a:lnTo>
                  <a:lnTo>
                    <a:pt x="3145" y="588"/>
                  </a:lnTo>
                  <a:lnTo>
                    <a:pt x="2316" y="968"/>
                  </a:lnTo>
                  <a:lnTo>
                    <a:pt x="1487" y="1418"/>
                  </a:lnTo>
                  <a:lnTo>
                    <a:pt x="795" y="1832"/>
                  </a:lnTo>
                  <a:lnTo>
                    <a:pt x="277" y="2178"/>
                  </a:lnTo>
                  <a:lnTo>
                    <a:pt x="104" y="2351"/>
                  </a:lnTo>
                  <a:lnTo>
                    <a:pt x="1" y="2454"/>
                  </a:lnTo>
                  <a:lnTo>
                    <a:pt x="1" y="2454"/>
                  </a:lnTo>
                  <a:lnTo>
                    <a:pt x="312" y="3802"/>
                  </a:lnTo>
                  <a:lnTo>
                    <a:pt x="623" y="4908"/>
                  </a:lnTo>
                  <a:lnTo>
                    <a:pt x="968" y="6290"/>
                  </a:lnTo>
                  <a:lnTo>
                    <a:pt x="1417" y="7845"/>
                  </a:lnTo>
                  <a:lnTo>
                    <a:pt x="1970" y="9504"/>
                  </a:lnTo>
                  <a:lnTo>
                    <a:pt x="2592" y="11266"/>
                  </a:lnTo>
                  <a:lnTo>
                    <a:pt x="3284" y="13029"/>
                  </a:lnTo>
                  <a:lnTo>
                    <a:pt x="3664" y="13893"/>
                  </a:lnTo>
                  <a:lnTo>
                    <a:pt x="4044" y="14722"/>
                  </a:lnTo>
                  <a:lnTo>
                    <a:pt x="4458" y="15551"/>
                  </a:lnTo>
                  <a:lnTo>
                    <a:pt x="4908" y="16346"/>
                  </a:lnTo>
                  <a:lnTo>
                    <a:pt x="5357" y="17106"/>
                  </a:lnTo>
                  <a:lnTo>
                    <a:pt x="5841" y="17797"/>
                  </a:lnTo>
                  <a:lnTo>
                    <a:pt x="6324" y="18454"/>
                  </a:lnTo>
                  <a:lnTo>
                    <a:pt x="6843" y="19041"/>
                  </a:lnTo>
                  <a:lnTo>
                    <a:pt x="7361" y="19560"/>
                  </a:lnTo>
                  <a:lnTo>
                    <a:pt x="7914" y="20009"/>
                  </a:lnTo>
                  <a:lnTo>
                    <a:pt x="8467" y="20389"/>
                  </a:lnTo>
                  <a:lnTo>
                    <a:pt x="8778" y="20527"/>
                  </a:lnTo>
                  <a:lnTo>
                    <a:pt x="9054" y="20666"/>
                  </a:lnTo>
                  <a:lnTo>
                    <a:pt x="9365" y="20769"/>
                  </a:lnTo>
                  <a:lnTo>
                    <a:pt x="9676" y="20838"/>
                  </a:lnTo>
                  <a:lnTo>
                    <a:pt x="9987" y="20873"/>
                  </a:lnTo>
                  <a:lnTo>
                    <a:pt x="10298" y="20908"/>
                  </a:lnTo>
                  <a:lnTo>
                    <a:pt x="10609" y="20908"/>
                  </a:lnTo>
                  <a:lnTo>
                    <a:pt x="10920" y="20873"/>
                  </a:lnTo>
                  <a:lnTo>
                    <a:pt x="11231" y="20804"/>
                  </a:lnTo>
                  <a:lnTo>
                    <a:pt x="11577" y="20735"/>
                  </a:lnTo>
                  <a:lnTo>
                    <a:pt x="11577" y="20735"/>
                  </a:lnTo>
                  <a:lnTo>
                    <a:pt x="12026" y="20562"/>
                  </a:lnTo>
                  <a:lnTo>
                    <a:pt x="12510" y="20355"/>
                  </a:lnTo>
                  <a:lnTo>
                    <a:pt x="13512" y="19905"/>
                  </a:lnTo>
                  <a:lnTo>
                    <a:pt x="14583" y="19352"/>
                  </a:lnTo>
                  <a:lnTo>
                    <a:pt x="15655" y="18730"/>
                  </a:lnTo>
                  <a:lnTo>
                    <a:pt x="16726" y="18074"/>
                  </a:lnTo>
                  <a:lnTo>
                    <a:pt x="17797" y="17383"/>
                  </a:lnTo>
                  <a:lnTo>
                    <a:pt x="19905" y="16001"/>
                  </a:lnTo>
                  <a:lnTo>
                    <a:pt x="21806" y="14791"/>
                  </a:lnTo>
                  <a:lnTo>
                    <a:pt x="22635" y="14307"/>
                  </a:lnTo>
                  <a:lnTo>
                    <a:pt x="23361" y="13927"/>
                  </a:lnTo>
                  <a:lnTo>
                    <a:pt x="23672" y="13789"/>
                  </a:lnTo>
                  <a:lnTo>
                    <a:pt x="23948" y="13685"/>
                  </a:lnTo>
                  <a:lnTo>
                    <a:pt x="24225" y="13616"/>
                  </a:lnTo>
                  <a:lnTo>
                    <a:pt x="24432" y="13582"/>
                  </a:lnTo>
                  <a:lnTo>
                    <a:pt x="24639" y="13582"/>
                  </a:lnTo>
                  <a:lnTo>
                    <a:pt x="24778" y="13651"/>
                  </a:lnTo>
                  <a:lnTo>
                    <a:pt x="24881" y="13754"/>
                  </a:lnTo>
                  <a:lnTo>
                    <a:pt x="24950" y="13893"/>
                  </a:lnTo>
                  <a:lnTo>
                    <a:pt x="24950" y="13893"/>
                  </a:lnTo>
                  <a:lnTo>
                    <a:pt x="24950" y="14791"/>
                  </a:lnTo>
                  <a:lnTo>
                    <a:pt x="25019" y="15655"/>
                  </a:lnTo>
                  <a:lnTo>
                    <a:pt x="25123" y="17314"/>
                  </a:lnTo>
                  <a:lnTo>
                    <a:pt x="25296" y="18972"/>
                  </a:lnTo>
                  <a:lnTo>
                    <a:pt x="25330" y="19836"/>
                  </a:lnTo>
                  <a:lnTo>
                    <a:pt x="25365" y="20769"/>
                  </a:lnTo>
                  <a:lnTo>
                    <a:pt x="25365" y="21771"/>
                  </a:lnTo>
                  <a:lnTo>
                    <a:pt x="25365" y="22808"/>
                  </a:lnTo>
                  <a:lnTo>
                    <a:pt x="25296" y="23983"/>
                  </a:lnTo>
                  <a:lnTo>
                    <a:pt x="25158" y="25227"/>
                  </a:lnTo>
                  <a:lnTo>
                    <a:pt x="25019" y="26609"/>
                  </a:lnTo>
                  <a:lnTo>
                    <a:pt x="24778" y="28095"/>
                  </a:lnTo>
                  <a:lnTo>
                    <a:pt x="24467" y="29754"/>
                  </a:lnTo>
                  <a:lnTo>
                    <a:pt x="24086" y="31551"/>
                  </a:lnTo>
                  <a:lnTo>
                    <a:pt x="24086" y="31551"/>
                  </a:lnTo>
                  <a:lnTo>
                    <a:pt x="24674" y="32000"/>
                  </a:lnTo>
                  <a:lnTo>
                    <a:pt x="25261" y="32415"/>
                  </a:lnTo>
                  <a:lnTo>
                    <a:pt x="25953" y="32795"/>
                  </a:lnTo>
                  <a:lnTo>
                    <a:pt x="26644" y="33106"/>
                  </a:lnTo>
                  <a:lnTo>
                    <a:pt x="27404" y="33417"/>
                  </a:lnTo>
                  <a:lnTo>
                    <a:pt x="28164" y="33693"/>
                  </a:lnTo>
                  <a:lnTo>
                    <a:pt x="28993" y="33935"/>
                  </a:lnTo>
                  <a:lnTo>
                    <a:pt x="29823" y="34143"/>
                  </a:lnTo>
                  <a:lnTo>
                    <a:pt x="30687" y="34315"/>
                  </a:lnTo>
                  <a:lnTo>
                    <a:pt x="31551" y="34454"/>
                  </a:lnTo>
                  <a:lnTo>
                    <a:pt x="32449" y="34592"/>
                  </a:lnTo>
                  <a:lnTo>
                    <a:pt x="33313" y="34661"/>
                  </a:lnTo>
                  <a:lnTo>
                    <a:pt x="34211" y="34730"/>
                  </a:lnTo>
                  <a:lnTo>
                    <a:pt x="35110" y="34765"/>
                  </a:lnTo>
                  <a:lnTo>
                    <a:pt x="36008" y="34765"/>
                  </a:lnTo>
                  <a:lnTo>
                    <a:pt x="36872" y="34765"/>
                  </a:lnTo>
                  <a:lnTo>
                    <a:pt x="37736" y="34696"/>
                  </a:lnTo>
                  <a:lnTo>
                    <a:pt x="38566" y="34661"/>
                  </a:lnTo>
                  <a:lnTo>
                    <a:pt x="39360" y="34557"/>
                  </a:lnTo>
                  <a:lnTo>
                    <a:pt x="40155" y="34454"/>
                  </a:lnTo>
                  <a:lnTo>
                    <a:pt x="40915" y="34315"/>
                  </a:lnTo>
                  <a:lnTo>
                    <a:pt x="41607" y="34177"/>
                  </a:lnTo>
                  <a:lnTo>
                    <a:pt x="42298" y="34004"/>
                  </a:lnTo>
                  <a:lnTo>
                    <a:pt x="42920" y="33832"/>
                  </a:lnTo>
                  <a:lnTo>
                    <a:pt x="43473" y="33659"/>
                  </a:lnTo>
                  <a:lnTo>
                    <a:pt x="43991" y="33417"/>
                  </a:lnTo>
                  <a:lnTo>
                    <a:pt x="44440" y="33210"/>
                  </a:lnTo>
                  <a:lnTo>
                    <a:pt x="44820" y="32968"/>
                  </a:lnTo>
                  <a:lnTo>
                    <a:pt x="45166" y="32726"/>
                  </a:lnTo>
                  <a:lnTo>
                    <a:pt x="45408" y="32449"/>
                  </a:lnTo>
                  <a:lnTo>
                    <a:pt x="45546" y="32173"/>
                  </a:lnTo>
                  <a:lnTo>
                    <a:pt x="45615" y="32035"/>
                  </a:lnTo>
                  <a:lnTo>
                    <a:pt x="45650" y="31896"/>
                  </a:lnTo>
                  <a:lnTo>
                    <a:pt x="45650" y="31896"/>
                  </a:lnTo>
                  <a:lnTo>
                    <a:pt x="45684" y="31171"/>
                  </a:lnTo>
                  <a:lnTo>
                    <a:pt x="45684" y="30100"/>
                  </a:lnTo>
                  <a:lnTo>
                    <a:pt x="45650" y="28821"/>
                  </a:lnTo>
                  <a:lnTo>
                    <a:pt x="45546" y="27300"/>
                  </a:lnTo>
                  <a:lnTo>
                    <a:pt x="45270" y="23810"/>
                  </a:lnTo>
                  <a:lnTo>
                    <a:pt x="44889" y="20009"/>
                  </a:lnTo>
                  <a:lnTo>
                    <a:pt x="44440" y="16242"/>
                  </a:lnTo>
                  <a:lnTo>
                    <a:pt x="43991" y="12856"/>
                  </a:lnTo>
                  <a:lnTo>
                    <a:pt x="43784" y="11439"/>
                  </a:lnTo>
                  <a:lnTo>
                    <a:pt x="43576" y="10264"/>
                  </a:lnTo>
                  <a:lnTo>
                    <a:pt x="43403" y="9366"/>
                  </a:lnTo>
                  <a:lnTo>
                    <a:pt x="43231" y="8778"/>
                  </a:lnTo>
                  <a:lnTo>
                    <a:pt x="43231" y="8778"/>
                  </a:lnTo>
                  <a:lnTo>
                    <a:pt x="42989" y="8225"/>
                  </a:lnTo>
                  <a:lnTo>
                    <a:pt x="42712" y="7707"/>
                  </a:lnTo>
                  <a:lnTo>
                    <a:pt x="42367" y="7154"/>
                  </a:lnTo>
                  <a:lnTo>
                    <a:pt x="41987" y="6636"/>
                  </a:lnTo>
                  <a:lnTo>
                    <a:pt x="41537" y="6117"/>
                  </a:lnTo>
                  <a:lnTo>
                    <a:pt x="41088" y="5599"/>
                  </a:lnTo>
                  <a:lnTo>
                    <a:pt x="40639" y="5115"/>
                  </a:lnTo>
                  <a:lnTo>
                    <a:pt x="40155" y="4666"/>
                  </a:lnTo>
                  <a:lnTo>
                    <a:pt x="39222" y="3837"/>
                  </a:lnTo>
                  <a:lnTo>
                    <a:pt x="38324" y="3146"/>
                  </a:lnTo>
                  <a:lnTo>
                    <a:pt x="37598" y="2662"/>
                  </a:lnTo>
                  <a:lnTo>
                    <a:pt x="37287" y="2489"/>
                  </a:lnTo>
                  <a:lnTo>
                    <a:pt x="37080" y="2385"/>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93" name="Google Shape;2522;p11">
              <a:extLst>
                <a:ext uri="{FF2B5EF4-FFF2-40B4-BE49-F238E27FC236}">
                  <a16:creationId xmlns:a16="http://schemas.microsoft.com/office/drawing/2014/main" id="{4967F171-278E-D6C9-65BE-C09E96929181}"/>
                </a:ext>
              </a:extLst>
            </p:cNvPr>
            <p:cNvSpPr/>
            <p:nvPr/>
          </p:nvSpPr>
          <p:spPr>
            <a:xfrm>
              <a:off x="4294650" y="3308450"/>
              <a:ext cx="84675" cy="400875"/>
            </a:xfrm>
            <a:custGeom>
              <a:avLst/>
              <a:gdLst/>
              <a:ahLst/>
              <a:cxnLst/>
              <a:rect l="l" t="t" r="r" b="b"/>
              <a:pathLst>
                <a:path w="3387" h="16035" extrusionOk="0">
                  <a:moveTo>
                    <a:pt x="207" y="0"/>
                  </a:moveTo>
                  <a:lnTo>
                    <a:pt x="311" y="70"/>
                  </a:lnTo>
                  <a:lnTo>
                    <a:pt x="380" y="173"/>
                  </a:lnTo>
                  <a:lnTo>
                    <a:pt x="449" y="381"/>
                  </a:lnTo>
                  <a:lnTo>
                    <a:pt x="449" y="1175"/>
                  </a:lnTo>
                  <a:lnTo>
                    <a:pt x="518" y="1970"/>
                  </a:lnTo>
                  <a:lnTo>
                    <a:pt x="622" y="3525"/>
                  </a:lnTo>
                  <a:lnTo>
                    <a:pt x="760" y="5149"/>
                  </a:lnTo>
                  <a:lnTo>
                    <a:pt x="899" y="6912"/>
                  </a:lnTo>
                  <a:lnTo>
                    <a:pt x="899" y="7810"/>
                  </a:lnTo>
                  <a:lnTo>
                    <a:pt x="933" y="8778"/>
                  </a:lnTo>
                  <a:lnTo>
                    <a:pt x="899" y="9814"/>
                  </a:lnTo>
                  <a:lnTo>
                    <a:pt x="829" y="10920"/>
                  </a:lnTo>
                  <a:lnTo>
                    <a:pt x="691" y="12061"/>
                  </a:lnTo>
                  <a:lnTo>
                    <a:pt x="518" y="13305"/>
                  </a:lnTo>
                  <a:lnTo>
                    <a:pt x="311" y="14618"/>
                  </a:lnTo>
                  <a:lnTo>
                    <a:pt x="0" y="16035"/>
                  </a:lnTo>
                  <a:lnTo>
                    <a:pt x="104" y="15966"/>
                  </a:lnTo>
                  <a:lnTo>
                    <a:pt x="207" y="15827"/>
                  </a:lnTo>
                  <a:lnTo>
                    <a:pt x="449" y="15378"/>
                  </a:lnTo>
                  <a:lnTo>
                    <a:pt x="726" y="14825"/>
                  </a:lnTo>
                  <a:lnTo>
                    <a:pt x="968" y="14341"/>
                  </a:lnTo>
                  <a:lnTo>
                    <a:pt x="1210" y="13892"/>
                  </a:lnTo>
                  <a:lnTo>
                    <a:pt x="1452" y="13270"/>
                  </a:lnTo>
                  <a:lnTo>
                    <a:pt x="1693" y="12544"/>
                  </a:lnTo>
                  <a:lnTo>
                    <a:pt x="1935" y="11681"/>
                  </a:lnTo>
                  <a:lnTo>
                    <a:pt x="2177" y="10747"/>
                  </a:lnTo>
                  <a:lnTo>
                    <a:pt x="2385" y="9780"/>
                  </a:lnTo>
                  <a:lnTo>
                    <a:pt x="2799" y="7707"/>
                  </a:lnTo>
                  <a:lnTo>
                    <a:pt x="3110" y="5737"/>
                  </a:lnTo>
                  <a:lnTo>
                    <a:pt x="3318" y="3974"/>
                  </a:lnTo>
                  <a:lnTo>
                    <a:pt x="3387" y="3249"/>
                  </a:lnTo>
                  <a:lnTo>
                    <a:pt x="3387" y="2661"/>
                  </a:lnTo>
                  <a:lnTo>
                    <a:pt x="3387" y="2247"/>
                  </a:lnTo>
                  <a:lnTo>
                    <a:pt x="3352" y="2108"/>
                  </a:lnTo>
                  <a:lnTo>
                    <a:pt x="3318" y="2005"/>
                  </a:lnTo>
                  <a:lnTo>
                    <a:pt x="3179" y="1728"/>
                  </a:lnTo>
                  <a:lnTo>
                    <a:pt x="3007" y="1452"/>
                  </a:lnTo>
                  <a:lnTo>
                    <a:pt x="2765" y="1244"/>
                  </a:lnTo>
                  <a:lnTo>
                    <a:pt x="2454" y="1003"/>
                  </a:lnTo>
                  <a:lnTo>
                    <a:pt x="2074" y="795"/>
                  </a:lnTo>
                  <a:lnTo>
                    <a:pt x="1590" y="553"/>
                  </a:lnTo>
                  <a:lnTo>
                    <a:pt x="968" y="277"/>
                  </a:lnTo>
                  <a:lnTo>
                    <a:pt x="207" y="0"/>
                  </a:lnTo>
                  <a:close/>
                </a:path>
              </a:pathLst>
            </a:custGeom>
            <a:solidFill>
              <a:srgbClr val="AA2B2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94" name="Google Shape;2523;p11">
              <a:extLst>
                <a:ext uri="{FF2B5EF4-FFF2-40B4-BE49-F238E27FC236}">
                  <a16:creationId xmlns:a16="http://schemas.microsoft.com/office/drawing/2014/main" id="{56F52617-92F3-A589-B38B-E09A62299BE0}"/>
                </a:ext>
              </a:extLst>
            </p:cNvPr>
            <p:cNvSpPr/>
            <p:nvPr/>
          </p:nvSpPr>
          <p:spPr>
            <a:xfrm>
              <a:off x="4294650" y="3308450"/>
              <a:ext cx="84675" cy="400875"/>
            </a:xfrm>
            <a:custGeom>
              <a:avLst/>
              <a:gdLst/>
              <a:ahLst/>
              <a:cxnLst/>
              <a:rect l="l" t="t" r="r" b="b"/>
              <a:pathLst>
                <a:path w="3387" h="16035" fill="none" extrusionOk="0">
                  <a:moveTo>
                    <a:pt x="207" y="0"/>
                  </a:moveTo>
                  <a:lnTo>
                    <a:pt x="207" y="0"/>
                  </a:lnTo>
                  <a:lnTo>
                    <a:pt x="311" y="70"/>
                  </a:lnTo>
                  <a:lnTo>
                    <a:pt x="380" y="173"/>
                  </a:lnTo>
                  <a:lnTo>
                    <a:pt x="449" y="381"/>
                  </a:lnTo>
                  <a:lnTo>
                    <a:pt x="449" y="381"/>
                  </a:lnTo>
                  <a:lnTo>
                    <a:pt x="449" y="1175"/>
                  </a:lnTo>
                  <a:lnTo>
                    <a:pt x="518" y="1970"/>
                  </a:lnTo>
                  <a:lnTo>
                    <a:pt x="622" y="3525"/>
                  </a:lnTo>
                  <a:lnTo>
                    <a:pt x="760" y="5149"/>
                  </a:lnTo>
                  <a:lnTo>
                    <a:pt x="899" y="6912"/>
                  </a:lnTo>
                  <a:lnTo>
                    <a:pt x="899" y="7810"/>
                  </a:lnTo>
                  <a:lnTo>
                    <a:pt x="933" y="8778"/>
                  </a:lnTo>
                  <a:lnTo>
                    <a:pt x="899" y="9814"/>
                  </a:lnTo>
                  <a:lnTo>
                    <a:pt x="829" y="10920"/>
                  </a:lnTo>
                  <a:lnTo>
                    <a:pt x="691" y="12061"/>
                  </a:lnTo>
                  <a:lnTo>
                    <a:pt x="518" y="13305"/>
                  </a:lnTo>
                  <a:lnTo>
                    <a:pt x="311" y="14618"/>
                  </a:lnTo>
                  <a:lnTo>
                    <a:pt x="0" y="16035"/>
                  </a:lnTo>
                  <a:lnTo>
                    <a:pt x="0" y="16035"/>
                  </a:lnTo>
                  <a:lnTo>
                    <a:pt x="104" y="15966"/>
                  </a:lnTo>
                  <a:lnTo>
                    <a:pt x="207" y="15827"/>
                  </a:lnTo>
                  <a:lnTo>
                    <a:pt x="449" y="15378"/>
                  </a:lnTo>
                  <a:lnTo>
                    <a:pt x="726" y="14825"/>
                  </a:lnTo>
                  <a:lnTo>
                    <a:pt x="968" y="14341"/>
                  </a:lnTo>
                  <a:lnTo>
                    <a:pt x="968" y="14341"/>
                  </a:lnTo>
                  <a:lnTo>
                    <a:pt x="1210" y="13892"/>
                  </a:lnTo>
                  <a:lnTo>
                    <a:pt x="1452" y="13270"/>
                  </a:lnTo>
                  <a:lnTo>
                    <a:pt x="1693" y="12544"/>
                  </a:lnTo>
                  <a:lnTo>
                    <a:pt x="1935" y="11681"/>
                  </a:lnTo>
                  <a:lnTo>
                    <a:pt x="2177" y="10747"/>
                  </a:lnTo>
                  <a:lnTo>
                    <a:pt x="2385" y="9780"/>
                  </a:lnTo>
                  <a:lnTo>
                    <a:pt x="2799" y="7707"/>
                  </a:lnTo>
                  <a:lnTo>
                    <a:pt x="3110" y="5737"/>
                  </a:lnTo>
                  <a:lnTo>
                    <a:pt x="3318" y="3974"/>
                  </a:lnTo>
                  <a:lnTo>
                    <a:pt x="3387" y="3249"/>
                  </a:lnTo>
                  <a:lnTo>
                    <a:pt x="3387" y="2661"/>
                  </a:lnTo>
                  <a:lnTo>
                    <a:pt x="3387" y="2247"/>
                  </a:lnTo>
                  <a:lnTo>
                    <a:pt x="3352" y="2108"/>
                  </a:lnTo>
                  <a:lnTo>
                    <a:pt x="3318" y="2005"/>
                  </a:lnTo>
                  <a:lnTo>
                    <a:pt x="3318" y="2005"/>
                  </a:lnTo>
                  <a:lnTo>
                    <a:pt x="3179" y="1728"/>
                  </a:lnTo>
                  <a:lnTo>
                    <a:pt x="3007" y="1452"/>
                  </a:lnTo>
                  <a:lnTo>
                    <a:pt x="2765" y="1244"/>
                  </a:lnTo>
                  <a:lnTo>
                    <a:pt x="2454" y="1003"/>
                  </a:lnTo>
                  <a:lnTo>
                    <a:pt x="2074" y="795"/>
                  </a:lnTo>
                  <a:lnTo>
                    <a:pt x="1590" y="553"/>
                  </a:lnTo>
                  <a:lnTo>
                    <a:pt x="968" y="277"/>
                  </a:lnTo>
                  <a:lnTo>
                    <a:pt x="207"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grpSp>
      <p:pic>
        <p:nvPicPr>
          <p:cNvPr id="295" name="Google Shape;2524;p11">
            <a:extLst>
              <a:ext uri="{FF2B5EF4-FFF2-40B4-BE49-F238E27FC236}">
                <a16:creationId xmlns:a16="http://schemas.microsoft.com/office/drawing/2014/main" id="{420800B7-5393-2781-7D2E-5835664F2BFD}"/>
              </a:ext>
            </a:extLst>
          </p:cNvPr>
          <p:cNvPicPr preferRelativeResize="0"/>
          <p:nvPr/>
        </p:nvPicPr>
        <p:blipFill rotWithShape="1">
          <a:blip r:embed="rId6">
            <a:alphaModFix amt="80000"/>
          </a:blip>
          <a:srcRect/>
          <a:stretch/>
        </p:blipFill>
        <p:spPr>
          <a:xfrm>
            <a:off x="4454412" y="2317707"/>
            <a:ext cx="381498" cy="628526"/>
          </a:xfrm>
          <a:prstGeom prst="rect">
            <a:avLst/>
          </a:prstGeom>
          <a:noFill/>
          <a:ln>
            <a:noFill/>
          </a:ln>
        </p:spPr>
      </p:pic>
      <p:grpSp>
        <p:nvGrpSpPr>
          <p:cNvPr id="296" name="Google Shape;2525;p11">
            <a:extLst>
              <a:ext uri="{FF2B5EF4-FFF2-40B4-BE49-F238E27FC236}">
                <a16:creationId xmlns:a16="http://schemas.microsoft.com/office/drawing/2014/main" id="{F293C7B7-FB21-A1F3-2F67-1B069C5078B2}"/>
              </a:ext>
            </a:extLst>
          </p:cNvPr>
          <p:cNvGrpSpPr/>
          <p:nvPr/>
        </p:nvGrpSpPr>
        <p:grpSpPr>
          <a:xfrm>
            <a:off x="1607074" y="2370371"/>
            <a:ext cx="825103" cy="596009"/>
            <a:chOff x="238125" y="275125"/>
            <a:chExt cx="7143750" cy="5164725"/>
          </a:xfrm>
        </p:grpSpPr>
        <p:sp>
          <p:nvSpPr>
            <p:cNvPr id="297" name="Google Shape;2526;p11">
              <a:extLst>
                <a:ext uri="{FF2B5EF4-FFF2-40B4-BE49-F238E27FC236}">
                  <a16:creationId xmlns:a16="http://schemas.microsoft.com/office/drawing/2014/main" id="{9E85B7CD-6CC4-D5CE-0D6E-36ABF7ED049C}"/>
                </a:ext>
              </a:extLst>
            </p:cNvPr>
            <p:cNvSpPr/>
            <p:nvPr/>
          </p:nvSpPr>
          <p:spPr>
            <a:xfrm>
              <a:off x="3024925" y="793050"/>
              <a:ext cx="823250" cy="1504725"/>
            </a:xfrm>
            <a:custGeom>
              <a:avLst/>
              <a:gdLst/>
              <a:ahLst/>
              <a:cxnLst/>
              <a:rect l="l" t="t" r="r" b="b"/>
              <a:pathLst>
                <a:path w="32930" h="60189" extrusionOk="0">
                  <a:moveTo>
                    <a:pt x="32930" y="0"/>
                  </a:moveTo>
                  <a:lnTo>
                    <a:pt x="32639" y="109"/>
                  </a:lnTo>
                  <a:lnTo>
                    <a:pt x="32493" y="1563"/>
                  </a:lnTo>
                  <a:lnTo>
                    <a:pt x="32275" y="3053"/>
                  </a:lnTo>
                  <a:lnTo>
                    <a:pt x="32021" y="4689"/>
                  </a:lnTo>
                  <a:lnTo>
                    <a:pt x="31730" y="6397"/>
                  </a:lnTo>
                  <a:lnTo>
                    <a:pt x="31367" y="8178"/>
                  </a:lnTo>
                  <a:lnTo>
                    <a:pt x="31003" y="10068"/>
                  </a:lnTo>
                  <a:lnTo>
                    <a:pt x="30131" y="13957"/>
                  </a:lnTo>
                  <a:lnTo>
                    <a:pt x="29150" y="18064"/>
                  </a:lnTo>
                  <a:lnTo>
                    <a:pt x="28059" y="22244"/>
                  </a:lnTo>
                  <a:lnTo>
                    <a:pt x="26896" y="26496"/>
                  </a:lnTo>
                  <a:lnTo>
                    <a:pt x="25697" y="30749"/>
                  </a:lnTo>
                  <a:lnTo>
                    <a:pt x="24425" y="34892"/>
                  </a:lnTo>
                  <a:lnTo>
                    <a:pt x="23189" y="38890"/>
                  </a:lnTo>
                  <a:lnTo>
                    <a:pt x="21953" y="42670"/>
                  </a:lnTo>
                  <a:lnTo>
                    <a:pt x="20717" y="46123"/>
                  </a:lnTo>
                  <a:lnTo>
                    <a:pt x="19591" y="49248"/>
                  </a:lnTo>
                  <a:lnTo>
                    <a:pt x="18500" y="51938"/>
                  </a:lnTo>
                  <a:lnTo>
                    <a:pt x="18028" y="53101"/>
                  </a:lnTo>
                  <a:lnTo>
                    <a:pt x="17555" y="54119"/>
                  </a:lnTo>
                  <a:lnTo>
                    <a:pt x="17119" y="55027"/>
                  </a:lnTo>
                  <a:lnTo>
                    <a:pt x="16719" y="55754"/>
                  </a:lnTo>
                  <a:lnTo>
                    <a:pt x="16538" y="56009"/>
                  </a:lnTo>
                  <a:lnTo>
                    <a:pt x="16320" y="56300"/>
                  </a:lnTo>
                  <a:lnTo>
                    <a:pt x="16101" y="56518"/>
                  </a:lnTo>
                  <a:lnTo>
                    <a:pt x="15847" y="56772"/>
                  </a:lnTo>
                  <a:lnTo>
                    <a:pt x="15556" y="56990"/>
                  </a:lnTo>
                  <a:lnTo>
                    <a:pt x="15229" y="57245"/>
                  </a:lnTo>
                  <a:lnTo>
                    <a:pt x="14539" y="57644"/>
                  </a:lnTo>
                  <a:lnTo>
                    <a:pt x="13739" y="58044"/>
                  </a:lnTo>
                  <a:lnTo>
                    <a:pt x="12867" y="58371"/>
                  </a:lnTo>
                  <a:lnTo>
                    <a:pt x="11885" y="58698"/>
                  </a:lnTo>
                  <a:lnTo>
                    <a:pt x="10831" y="58953"/>
                  </a:lnTo>
                  <a:lnTo>
                    <a:pt x="9705" y="59207"/>
                  </a:lnTo>
                  <a:lnTo>
                    <a:pt x="8505" y="59425"/>
                  </a:lnTo>
                  <a:lnTo>
                    <a:pt x="7233" y="59607"/>
                  </a:lnTo>
                  <a:lnTo>
                    <a:pt x="5888" y="59789"/>
                  </a:lnTo>
                  <a:lnTo>
                    <a:pt x="4471" y="59898"/>
                  </a:lnTo>
                  <a:lnTo>
                    <a:pt x="3053" y="60007"/>
                  </a:lnTo>
                  <a:lnTo>
                    <a:pt x="1563" y="60116"/>
                  </a:lnTo>
                  <a:lnTo>
                    <a:pt x="0" y="60152"/>
                  </a:lnTo>
                  <a:lnTo>
                    <a:pt x="37" y="60152"/>
                  </a:lnTo>
                  <a:lnTo>
                    <a:pt x="1854" y="60189"/>
                  </a:lnTo>
                  <a:lnTo>
                    <a:pt x="3998" y="60152"/>
                  </a:lnTo>
                  <a:lnTo>
                    <a:pt x="6034" y="60080"/>
                  </a:lnTo>
                  <a:lnTo>
                    <a:pt x="7887" y="60007"/>
                  </a:lnTo>
                  <a:lnTo>
                    <a:pt x="9632" y="59861"/>
                  </a:lnTo>
                  <a:lnTo>
                    <a:pt x="11267" y="59680"/>
                  </a:lnTo>
                  <a:lnTo>
                    <a:pt x="12721" y="59462"/>
                  </a:lnTo>
                  <a:lnTo>
                    <a:pt x="14102" y="59207"/>
                  </a:lnTo>
                  <a:lnTo>
                    <a:pt x="15338" y="58916"/>
                  </a:lnTo>
                  <a:lnTo>
                    <a:pt x="16465" y="58589"/>
                  </a:lnTo>
                  <a:lnTo>
                    <a:pt x="17483" y="58262"/>
                  </a:lnTo>
                  <a:lnTo>
                    <a:pt x="18391" y="57862"/>
                  </a:lnTo>
                  <a:lnTo>
                    <a:pt x="19227" y="57463"/>
                  </a:lnTo>
                  <a:lnTo>
                    <a:pt x="19918" y="57026"/>
                  </a:lnTo>
                  <a:lnTo>
                    <a:pt x="20572" y="56554"/>
                  </a:lnTo>
                  <a:lnTo>
                    <a:pt x="21081" y="56081"/>
                  </a:lnTo>
                  <a:lnTo>
                    <a:pt x="21553" y="55573"/>
                  </a:lnTo>
                  <a:lnTo>
                    <a:pt x="22171" y="54700"/>
                  </a:lnTo>
                  <a:lnTo>
                    <a:pt x="22862" y="53646"/>
                  </a:lnTo>
                  <a:lnTo>
                    <a:pt x="23225" y="53065"/>
                  </a:lnTo>
                  <a:lnTo>
                    <a:pt x="23589" y="52374"/>
                  </a:lnTo>
                  <a:lnTo>
                    <a:pt x="23988" y="51647"/>
                  </a:lnTo>
                  <a:lnTo>
                    <a:pt x="24352" y="50848"/>
                  </a:lnTo>
                  <a:lnTo>
                    <a:pt x="24752" y="49975"/>
                  </a:lnTo>
                  <a:lnTo>
                    <a:pt x="25152" y="48994"/>
                  </a:lnTo>
                  <a:lnTo>
                    <a:pt x="25551" y="47976"/>
                  </a:lnTo>
                  <a:lnTo>
                    <a:pt x="25951" y="46850"/>
                  </a:lnTo>
                  <a:lnTo>
                    <a:pt x="26351" y="45650"/>
                  </a:lnTo>
                  <a:lnTo>
                    <a:pt x="26751" y="44342"/>
                  </a:lnTo>
                  <a:lnTo>
                    <a:pt x="27151" y="42924"/>
                  </a:lnTo>
                  <a:lnTo>
                    <a:pt x="27587" y="41434"/>
                  </a:lnTo>
                  <a:lnTo>
                    <a:pt x="27987" y="39799"/>
                  </a:lnTo>
                  <a:lnTo>
                    <a:pt x="28350" y="38090"/>
                  </a:lnTo>
                  <a:lnTo>
                    <a:pt x="28750" y="36237"/>
                  </a:lnTo>
                  <a:lnTo>
                    <a:pt x="29150" y="34274"/>
                  </a:lnTo>
                  <a:lnTo>
                    <a:pt x="29513" y="32202"/>
                  </a:lnTo>
                  <a:lnTo>
                    <a:pt x="29913" y="29985"/>
                  </a:lnTo>
                  <a:lnTo>
                    <a:pt x="30276" y="27659"/>
                  </a:lnTo>
                  <a:lnTo>
                    <a:pt x="30603" y="25188"/>
                  </a:lnTo>
                  <a:lnTo>
                    <a:pt x="30967" y="22571"/>
                  </a:lnTo>
                  <a:lnTo>
                    <a:pt x="31294" y="19808"/>
                  </a:lnTo>
                  <a:lnTo>
                    <a:pt x="31621" y="16901"/>
                  </a:lnTo>
                  <a:lnTo>
                    <a:pt x="31912" y="13848"/>
                  </a:lnTo>
                  <a:lnTo>
                    <a:pt x="32203" y="10649"/>
                  </a:lnTo>
                  <a:lnTo>
                    <a:pt x="32457" y="7269"/>
                  </a:lnTo>
                  <a:lnTo>
                    <a:pt x="32711" y="3707"/>
                  </a:lnTo>
                  <a:lnTo>
                    <a:pt x="32930" y="0"/>
                  </a:lnTo>
                  <a:close/>
                </a:path>
              </a:pathLst>
            </a:custGeom>
            <a:solidFill>
              <a:srgbClr val="D7D7DA"/>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98" name="Google Shape;2527;p11">
              <a:extLst>
                <a:ext uri="{FF2B5EF4-FFF2-40B4-BE49-F238E27FC236}">
                  <a16:creationId xmlns:a16="http://schemas.microsoft.com/office/drawing/2014/main" id="{CAEA852B-BCB7-1D27-E0E5-A10CC86152A7}"/>
                </a:ext>
              </a:extLst>
            </p:cNvPr>
            <p:cNvSpPr/>
            <p:nvPr/>
          </p:nvSpPr>
          <p:spPr>
            <a:xfrm>
              <a:off x="3024925" y="793050"/>
              <a:ext cx="823250" cy="1504725"/>
            </a:xfrm>
            <a:custGeom>
              <a:avLst/>
              <a:gdLst/>
              <a:ahLst/>
              <a:cxnLst/>
              <a:rect l="l" t="t" r="r" b="b"/>
              <a:pathLst>
                <a:path w="32930" h="60189" fill="none" extrusionOk="0">
                  <a:moveTo>
                    <a:pt x="32930" y="0"/>
                  </a:moveTo>
                  <a:lnTo>
                    <a:pt x="32639" y="109"/>
                  </a:lnTo>
                  <a:lnTo>
                    <a:pt x="32639" y="109"/>
                  </a:lnTo>
                  <a:lnTo>
                    <a:pt x="32493" y="1563"/>
                  </a:lnTo>
                  <a:lnTo>
                    <a:pt x="32275" y="3053"/>
                  </a:lnTo>
                  <a:lnTo>
                    <a:pt x="32021" y="4689"/>
                  </a:lnTo>
                  <a:lnTo>
                    <a:pt x="31730" y="6397"/>
                  </a:lnTo>
                  <a:lnTo>
                    <a:pt x="31367" y="8178"/>
                  </a:lnTo>
                  <a:lnTo>
                    <a:pt x="31003" y="10068"/>
                  </a:lnTo>
                  <a:lnTo>
                    <a:pt x="30131" y="13957"/>
                  </a:lnTo>
                  <a:lnTo>
                    <a:pt x="29150" y="18064"/>
                  </a:lnTo>
                  <a:lnTo>
                    <a:pt x="28059" y="22244"/>
                  </a:lnTo>
                  <a:lnTo>
                    <a:pt x="26896" y="26496"/>
                  </a:lnTo>
                  <a:lnTo>
                    <a:pt x="25697" y="30749"/>
                  </a:lnTo>
                  <a:lnTo>
                    <a:pt x="24425" y="34892"/>
                  </a:lnTo>
                  <a:lnTo>
                    <a:pt x="23189" y="38890"/>
                  </a:lnTo>
                  <a:lnTo>
                    <a:pt x="21953" y="42670"/>
                  </a:lnTo>
                  <a:lnTo>
                    <a:pt x="20717" y="46123"/>
                  </a:lnTo>
                  <a:lnTo>
                    <a:pt x="19591" y="49248"/>
                  </a:lnTo>
                  <a:lnTo>
                    <a:pt x="18500" y="51938"/>
                  </a:lnTo>
                  <a:lnTo>
                    <a:pt x="18028" y="53101"/>
                  </a:lnTo>
                  <a:lnTo>
                    <a:pt x="17555" y="54119"/>
                  </a:lnTo>
                  <a:lnTo>
                    <a:pt x="17119" y="55027"/>
                  </a:lnTo>
                  <a:lnTo>
                    <a:pt x="16719" y="55754"/>
                  </a:lnTo>
                  <a:lnTo>
                    <a:pt x="16719" y="55754"/>
                  </a:lnTo>
                  <a:lnTo>
                    <a:pt x="16538" y="56009"/>
                  </a:lnTo>
                  <a:lnTo>
                    <a:pt x="16320" y="56300"/>
                  </a:lnTo>
                  <a:lnTo>
                    <a:pt x="16101" y="56518"/>
                  </a:lnTo>
                  <a:lnTo>
                    <a:pt x="15847" y="56772"/>
                  </a:lnTo>
                  <a:lnTo>
                    <a:pt x="15556" y="56990"/>
                  </a:lnTo>
                  <a:lnTo>
                    <a:pt x="15229" y="57245"/>
                  </a:lnTo>
                  <a:lnTo>
                    <a:pt x="14539" y="57644"/>
                  </a:lnTo>
                  <a:lnTo>
                    <a:pt x="13739" y="58044"/>
                  </a:lnTo>
                  <a:lnTo>
                    <a:pt x="12867" y="58371"/>
                  </a:lnTo>
                  <a:lnTo>
                    <a:pt x="11885" y="58698"/>
                  </a:lnTo>
                  <a:lnTo>
                    <a:pt x="10831" y="58953"/>
                  </a:lnTo>
                  <a:lnTo>
                    <a:pt x="9705" y="59207"/>
                  </a:lnTo>
                  <a:lnTo>
                    <a:pt x="8505" y="59425"/>
                  </a:lnTo>
                  <a:lnTo>
                    <a:pt x="7233" y="59607"/>
                  </a:lnTo>
                  <a:lnTo>
                    <a:pt x="5888" y="59789"/>
                  </a:lnTo>
                  <a:lnTo>
                    <a:pt x="4471" y="59898"/>
                  </a:lnTo>
                  <a:lnTo>
                    <a:pt x="3053" y="60007"/>
                  </a:lnTo>
                  <a:lnTo>
                    <a:pt x="1563" y="60116"/>
                  </a:lnTo>
                  <a:lnTo>
                    <a:pt x="0" y="60152"/>
                  </a:lnTo>
                  <a:lnTo>
                    <a:pt x="0" y="60152"/>
                  </a:lnTo>
                  <a:lnTo>
                    <a:pt x="37" y="60152"/>
                  </a:lnTo>
                  <a:lnTo>
                    <a:pt x="37" y="60152"/>
                  </a:lnTo>
                  <a:lnTo>
                    <a:pt x="1854" y="60189"/>
                  </a:lnTo>
                  <a:lnTo>
                    <a:pt x="1854" y="60189"/>
                  </a:lnTo>
                  <a:lnTo>
                    <a:pt x="3998" y="60152"/>
                  </a:lnTo>
                  <a:lnTo>
                    <a:pt x="6034" y="60080"/>
                  </a:lnTo>
                  <a:lnTo>
                    <a:pt x="7887" y="60007"/>
                  </a:lnTo>
                  <a:lnTo>
                    <a:pt x="9632" y="59861"/>
                  </a:lnTo>
                  <a:lnTo>
                    <a:pt x="11267" y="59680"/>
                  </a:lnTo>
                  <a:lnTo>
                    <a:pt x="12721" y="59462"/>
                  </a:lnTo>
                  <a:lnTo>
                    <a:pt x="14102" y="59207"/>
                  </a:lnTo>
                  <a:lnTo>
                    <a:pt x="15338" y="58916"/>
                  </a:lnTo>
                  <a:lnTo>
                    <a:pt x="16465" y="58589"/>
                  </a:lnTo>
                  <a:lnTo>
                    <a:pt x="17483" y="58262"/>
                  </a:lnTo>
                  <a:lnTo>
                    <a:pt x="18391" y="57862"/>
                  </a:lnTo>
                  <a:lnTo>
                    <a:pt x="19227" y="57463"/>
                  </a:lnTo>
                  <a:lnTo>
                    <a:pt x="19918" y="57026"/>
                  </a:lnTo>
                  <a:lnTo>
                    <a:pt x="20572" y="56554"/>
                  </a:lnTo>
                  <a:lnTo>
                    <a:pt x="21081" y="56081"/>
                  </a:lnTo>
                  <a:lnTo>
                    <a:pt x="21553" y="55573"/>
                  </a:lnTo>
                  <a:lnTo>
                    <a:pt x="21553" y="55573"/>
                  </a:lnTo>
                  <a:lnTo>
                    <a:pt x="22171" y="54700"/>
                  </a:lnTo>
                  <a:lnTo>
                    <a:pt x="22862" y="53646"/>
                  </a:lnTo>
                  <a:lnTo>
                    <a:pt x="23225" y="53065"/>
                  </a:lnTo>
                  <a:lnTo>
                    <a:pt x="23589" y="52374"/>
                  </a:lnTo>
                  <a:lnTo>
                    <a:pt x="23988" y="51647"/>
                  </a:lnTo>
                  <a:lnTo>
                    <a:pt x="24352" y="50848"/>
                  </a:lnTo>
                  <a:lnTo>
                    <a:pt x="24752" y="49975"/>
                  </a:lnTo>
                  <a:lnTo>
                    <a:pt x="25152" y="48994"/>
                  </a:lnTo>
                  <a:lnTo>
                    <a:pt x="25551" y="47976"/>
                  </a:lnTo>
                  <a:lnTo>
                    <a:pt x="25951" y="46850"/>
                  </a:lnTo>
                  <a:lnTo>
                    <a:pt x="26351" y="45650"/>
                  </a:lnTo>
                  <a:lnTo>
                    <a:pt x="26751" y="44342"/>
                  </a:lnTo>
                  <a:lnTo>
                    <a:pt x="27151" y="42924"/>
                  </a:lnTo>
                  <a:lnTo>
                    <a:pt x="27587" y="41434"/>
                  </a:lnTo>
                  <a:lnTo>
                    <a:pt x="27987" y="39799"/>
                  </a:lnTo>
                  <a:lnTo>
                    <a:pt x="28350" y="38090"/>
                  </a:lnTo>
                  <a:lnTo>
                    <a:pt x="28750" y="36237"/>
                  </a:lnTo>
                  <a:lnTo>
                    <a:pt x="29150" y="34274"/>
                  </a:lnTo>
                  <a:lnTo>
                    <a:pt x="29513" y="32202"/>
                  </a:lnTo>
                  <a:lnTo>
                    <a:pt x="29913" y="29985"/>
                  </a:lnTo>
                  <a:lnTo>
                    <a:pt x="30276" y="27659"/>
                  </a:lnTo>
                  <a:lnTo>
                    <a:pt x="30603" y="25188"/>
                  </a:lnTo>
                  <a:lnTo>
                    <a:pt x="30967" y="22571"/>
                  </a:lnTo>
                  <a:lnTo>
                    <a:pt x="31294" y="19808"/>
                  </a:lnTo>
                  <a:lnTo>
                    <a:pt x="31621" y="16901"/>
                  </a:lnTo>
                  <a:lnTo>
                    <a:pt x="31912" y="13848"/>
                  </a:lnTo>
                  <a:lnTo>
                    <a:pt x="32203" y="10649"/>
                  </a:lnTo>
                  <a:lnTo>
                    <a:pt x="32457" y="7269"/>
                  </a:lnTo>
                  <a:lnTo>
                    <a:pt x="32711" y="3707"/>
                  </a:lnTo>
                  <a:lnTo>
                    <a:pt x="32930"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299" name="Google Shape;2528;p11">
              <a:extLst>
                <a:ext uri="{FF2B5EF4-FFF2-40B4-BE49-F238E27FC236}">
                  <a16:creationId xmlns:a16="http://schemas.microsoft.com/office/drawing/2014/main" id="{29BC2FF2-E5CB-F7F9-52CF-3083AECD0109}"/>
                </a:ext>
              </a:extLst>
            </p:cNvPr>
            <p:cNvSpPr/>
            <p:nvPr/>
          </p:nvSpPr>
          <p:spPr>
            <a:xfrm>
              <a:off x="1927275" y="536800"/>
              <a:ext cx="1918175" cy="1761875"/>
            </a:xfrm>
            <a:custGeom>
              <a:avLst/>
              <a:gdLst/>
              <a:ahLst/>
              <a:cxnLst/>
              <a:rect l="l" t="t" r="r" b="b"/>
              <a:pathLst>
                <a:path w="76727" h="70475" extrusionOk="0">
                  <a:moveTo>
                    <a:pt x="49249" y="1"/>
                  </a:moveTo>
                  <a:lnTo>
                    <a:pt x="46596" y="37"/>
                  </a:lnTo>
                  <a:lnTo>
                    <a:pt x="43943" y="146"/>
                  </a:lnTo>
                  <a:lnTo>
                    <a:pt x="41289" y="255"/>
                  </a:lnTo>
                  <a:lnTo>
                    <a:pt x="38709" y="400"/>
                  </a:lnTo>
                  <a:lnTo>
                    <a:pt x="36201" y="582"/>
                  </a:lnTo>
                  <a:lnTo>
                    <a:pt x="33766" y="764"/>
                  </a:lnTo>
                  <a:lnTo>
                    <a:pt x="31403" y="1018"/>
                  </a:lnTo>
                  <a:lnTo>
                    <a:pt x="29223" y="1273"/>
                  </a:lnTo>
                  <a:lnTo>
                    <a:pt x="27151" y="1563"/>
                  </a:lnTo>
                  <a:lnTo>
                    <a:pt x="25261" y="1891"/>
                  </a:lnTo>
                  <a:lnTo>
                    <a:pt x="23553" y="2254"/>
                  </a:lnTo>
                  <a:lnTo>
                    <a:pt x="22026" y="2617"/>
                  </a:lnTo>
                  <a:lnTo>
                    <a:pt x="20754" y="2981"/>
                  </a:lnTo>
                  <a:lnTo>
                    <a:pt x="20209" y="3199"/>
                  </a:lnTo>
                  <a:lnTo>
                    <a:pt x="19700" y="3381"/>
                  </a:lnTo>
                  <a:lnTo>
                    <a:pt x="19300" y="3599"/>
                  </a:lnTo>
                  <a:lnTo>
                    <a:pt x="18937" y="3817"/>
                  </a:lnTo>
                  <a:lnTo>
                    <a:pt x="18646" y="4035"/>
                  </a:lnTo>
                  <a:lnTo>
                    <a:pt x="18428" y="4253"/>
                  </a:lnTo>
                  <a:lnTo>
                    <a:pt x="18319" y="4471"/>
                  </a:lnTo>
                  <a:lnTo>
                    <a:pt x="18246" y="4689"/>
                  </a:lnTo>
                  <a:lnTo>
                    <a:pt x="18174" y="5525"/>
                  </a:lnTo>
                  <a:lnTo>
                    <a:pt x="18065" y="6434"/>
                  </a:lnTo>
                  <a:lnTo>
                    <a:pt x="17919" y="7342"/>
                  </a:lnTo>
                  <a:lnTo>
                    <a:pt x="17774" y="8324"/>
                  </a:lnTo>
                  <a:lnTo>
                    <a:pt x="17338" y="10323"/>
                  </a:lnTo>
                  <a:lnTo>
                    <a:pt x="16829" y="12467"/>
                  </a:lnTo>
                  <a:lnTo>
                    <a:pt x="16211" y="14684"/>
                  </a:lnTo>
                  <a:lnTo>
                    <a:pt x="15484" y="17010"/>
                  </a:lnTo>
                  <a:lnTo>
                    <a:pt x="14721" y="19409"/>
                  </a:lnTo>
                  <a:lnTo>
                    <a:pt x="13885" y="21844"/>
                  </a:lnTo>
                  <a:lnTo>
                    <a:pt x="12976" y="24352"/>
                  </a:lnTo>
                  <a:lnTo>
                    <a:pt x="12031" y="26933"/>
                  </a:lnTo>
                  <a:lnTo>
                    <a:pt x="10068" y="32094"/>
                  </a:lnTo>
                  <a:lnTo>
                    <a:pt x="8069" y="37255"/>
                  </a:lnTo>
                  <a:lnTo>
                    <a:pt x="6107" y="42343"/>
                  </a:lnTo>
                  <a:lnTo>
                    <a:pt x="4289" y="47214"/>
                  </a:lnTo>
                  <a:lnTo>
                    <a:pt x="3454" y="49540"/>
                  </a:lnTo>
                  <a:lnTo>
                    <a:pt x="2690" y="51793"/>
                  </a:lnTo>
                  <a:lnTo>
                    <a:pt x="2000" y="53938"/>
                  </a:lnTo>
                  <a:lnTo>
                    <a:pt x="1382" y="56009"/>
                  </a:lnTo>
                  <a:lnTo>
                    <a:pt x="873" y="57899"/>
                  </a:lnTo>
                  <a:lnTo>
                    <a:pt x="473" y="59680"/>
                  </a:lnTo>
                  <a:lnTo>
                    <a:pt x="328" y="60516"/>
                  </a:lnTo>
                  <a:lnTo>
                    <a:pt x="182" y="61316"/>
                  </a:lnTo>
                  <a:lnTo>
                    <a:pt x="110" y="62079"/>
                  </a:lnTo>
                  <a:lnTo>
                    <a:pt x="37" y="62806"/>
                  </a:lnTo>
                  <a:lnTo>
                    <a:pt x="1" y="63460"/>
                  </a:lnTo>
                  <a:lnTo>
                    <a:pt x="37" y="64114"/>
                  </a:lnTo>
                  <a:lnTo>
                    <a:pt x="73" y="64696"/>
                  </a:lnTo>
                  <a:lnTo>
                    <a:pt x="146" y="65205"/>
                  </a:lnTo>
                  <a:lnTo>
                    <a:pt x="291" y="65714"/>
                  </a:lnTo>
                  <a:lnTo>
                    <a:pt x="437" y="66113"/>
                  </a:lnTo>
                  <a:lnTo>
                    <a:pt x="655" y="66513"/>
                  </a:lnTo>
                  <a:lnTo>
                    <a:pt x="909" y="66840"/>
                  </a:lnTo>
                  <a:lnTo>
                    <a:pt x="1236" y="67095"/>
                  </a:lnTo>
                  <a:lnTo>
                    <a:pt x="1564" y="67313"/>
                  </a:lnTo>
                  <a:lnTo>
                    <a:pt x="1963" y="67458"/>
                  </a:lnTo>
                  <a:lnTo>
                    <a:pt x="2400" y="67567"/>
                  </a:lnTo>
                  <a:lnTo>
                    <a:pt x="7597" y="68185"/>
                  </a:lnTo>
                  <a:lnTo>
                    <a:pt x="11086" y="68585"/>
                  </a:lnTo>
                  <a:lnTo>
                    <a:pt x="15048" y="69021"/>
                  </a:lnTo>
                  <a:lnTo>
                    <a:pt x="19373" y="69421"/>
                  </a:lnTo>
                  <a:lnTo>
                    <a:pt x="23953" y="69784"/>
                  </a:lnTo>
                  <a:lnTo>
                    <a:pt x="28714" y="70111"/>
                  </a:lnTo>
                  <a:lnTo>
                    <a:pt x="31076" y="70220"/>
                  </a:lnTo>
                  <a:lnTo>
                    <a:pt x="33475" y="70330"/>
                  </a:lnTo>
                  <a:lnTo>
                    <a:pt x="35838" y="70402"/>
                  </a:lnTo>
                  <a:lnTo>
                    <a:pt x="38164" y="70475"/>
                  </a:lnTo>
                  <a:lnTo>
                    <a:pt x="40490" y="70475"/>
                  </a:lnTo>
                  <a:lnTo>
                    <a:pt x="42743" y="70439"/>
                  </a:lnTo>
                  <a:lnTo>
                    <a:pt x="44888" y="70366"/>
                  </a:lnTo>
                  <a:lnTo>
                    <a:pt x="46996" y="70257"/>
                  </a:lnTo>
                  <a:lnTo>
                    <a:pt x="48995" y="70111"/>
                  </a:lnTo>
                  <a:lnTo>
                    <a:pt x="50885" y="69893"/>
                  </a:lnTo>
                  <a:lnTo>
                    <a:pt x="52666" y="69639"/>
                  </a:lnTo>
                  <a:lnTo>
                    <a:pt x="54301" y="69312"/>
                  </a:lnTo>
                  <a:lnTo>
                    <a:pt x="55064" y="69130"/>
                  </a:lnTo>
                  <a:lnTo>
                    <a:pt x="55791" y="68912"/>
                  </a:lnTo>
                  <a:lnTo>
                    <a:pt x="56482" y="68730"/>
                  </a:lnTo>
                  <a:lnTo>
                    <a:pt x="57136" y="68476"/>
                  </a:lnTo>
                  <a:lnTo>
                    <a:pt x="57754" y="68221"/>
                  </a:lnTo>
                  <a:lnTo>
                    <a:pt x="58299" y="67967"/>
                  </a:lnTo>
                  <a:lnTo>
                    <a:pt x="58808" y="67676"/>
                  </a:lnTo>
                  <a:lnTo>
                    <a:pt x="59281" y="67386"/>
                  </a:lnTo>
                  <a:lnTo>
                    <a:pt x="59680" y="67058"/>
                  </a:lnTo>
                  <a:lnTo>
                    <a:pt x="60044" y="66731"/>
                  </a:lnTo>
                  <a:lnTo>
                    <a:pt x="60371" y="66368"/>
                  </a:lnTo>
                  <a:lnTo>
                    <a:pt x="60625" y="66004"/>
                  </a:lnTo>
                  <a:lnTo>
                    <a:pt x="61098" y="65132"/>
                  </a:lnTo>
                  <a:lnTo>
                    <a:pt x="61607" y="64042"/>
                  </a:lnTo>
                  <a:lnTo>
                    <a:pt x="62152" y="62770"/>
                  </a:lnTo>
                  <a:lnTo>
                    <a:pt x="62770" y="61316"/>
                  </a:lnTo>
                  <a:lnTo>
                    <a:pt x="63388" y="59717"/>
                  </a:lnTo>
                  <a:lnTo>
                    <a:pt x="64042" y="57972"/>
                  </a:lnTo>
                  <a:lnTo>
                    <a:pt x="64732" y="56082"/>
                  </a:lnTo>
                  <a:lnTo>
                    <a:pt x="65459" y="54083"/>
                  </a:lnTo>
                  <a:lnTo>
                    <a:pt x="66877" y="49758"/>
                  </a:lnTo>
                  <a:lnTo>
                    <a:pt x="68367" y="45106"/>
                  </a:lnTo>
                  <a:lnTo>
                    <a:pt x="69821" y="40235"/>
                  </a:lnTo>
                  <a:lnTo>
                    <a:pt x="71202" y="35292"/>
                  </a:lnTo>
                  <a:lnTo>
                    <a:pt x="72547" y="30349"/>
                  </a:lnTo>
                  <a:lnTo>
                    <a:pt x="73165" y="27914"/>
                  </a:lnTo>
                  <a:lnTo>
                    <a:pt x="73746" y="25515"/>
                  </a:lnTo>
                  <a:lnTo>
                    <a:pt x="74291" y="23153"/>
                  </a:lnTo>
                  <a:lnTo>
                    <a:pt x="74800" y="20863"/>
                  </a:lnTo>
                  <a:lnTo>
                    <a:pt x="75236" y="18682"/>
                  </a:lnTo>
                  <a:lnTo>
                    <a:pt x="75636" y="16574"/>
                  </a:lnTo>
                  <a:lnTo>
                    <a:pt x="76000" y="14612"/>
                  </a:lnTo>
                  <a:lnTo>
                    <a:pt x="76290" y="12758"/>
                  </a:lnTo>
                  <a:lnTo>
                    <a:pt x="76508" y="11013"/>
                  </a:lnTo>
                  <a:lnTo>
                    <a:pt x="76654" y="9450"/>
                  </a:lnTo>
                  <a:lnTo>
                    <a:pt x="76726" y="8033"/>
                  </a:lnTo>
                  <a:lnTo>
                    <a:pt x="76726" y="6797"/>
                  </a:lnTo>
                  <a:lnTo>
                    <a:pt x="76690" y="6252"/>
                  </a:lnTo>
                  <a:lnTo>
                    <a:pt x="76617" y="5743"/>
                  </a:lnTo>
                  <a:lnTo>
                    <a:pt x="76545" y="5307"/>
                  </a:lnTo>
                  <a:lnTo>
                    <a:pt x="76472" y="4907"/>
                  </a:lnTo>
                  <a:lnTo>
                    <a:pt x="76290" y="4544"/>
                  </a:lnTo>
                  <a:lnTo>
                    <a:pt x="76072" y="4217"/>
                  </a:lnTo>
                  <a:lnTo>
                    <a:pt x="75782" y="3890"/>
                  </a:lnTo>
                  <a:lnTo>
                    <a:pt x="75418" y="3562"/>
                  </a:lnTo>
                  <a:lnTo>
                    <a:pt x="74982" y="3272"/>
                  </a:lnTo>
                  <a:lnTo>
                    <a:pt x="74473" y="2981"/>
                  </a:lnTo>
                  <a:lnTo>
                    <a:pt x="73928" y="2726"/>
                  </a:lnTo>
                  <a:lnTo>
                    <a:pt x="73310" y="2472"/>
                  </a:lnTo>
                  <a:lnTo>
                    <a:pt x="72619" y="2218"/>
                  </a:lnTo>
                  <a:lnTo>
                    <a:pt x="71893" y="2000"/>
                  </a:lnTo>
                  <a:lnTo>
                    <a:pt x="71093" y="1782"/>
                  </a:lnTo>
                  <a:lnTo>
                    <a:pt x="70257" y="1563"/>
                  </a:lnTo>
                  <a:lnTo>
                    <a:pt x="68403" y="1200"/>
                  </a:lnTo>
                  <a:lnTo>
                    <a:pt x="66404" y="909"/>
                  </a:lnTo>
                  <a:lnTo>
                    <a:pt x="64260" y="655"/>
                  </a:lnTo>
                  <a:lnTo>
                    <a:pt x="61970" y="437"/>
                  </a:lnTo>
                  <a:lnTo>
                    <a:pt x="59571" y="255"/>
                  </a:lnTo>
                  <a:lnTo>
                    <a:pt x="57100" y="146"/>
                  </a:lnTo>
                  <a:lnTo>
                    <a:pt x="54519" y="37"/>
                  </a:lnTo>
                  <a:lnTo>
                    <a:pt x="51902" y="1"/>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00" name="Google Shape;2529;p11">
              <a:extLst>
                <a:ext uri="{FF2B5EF4-FFF2-40B4-BE49-F238E27FC236}">
                  <a16:creationId xmlns:a16="http://schemas.microsoft.com/office/drawing/2014/main" id="{36FF6615-65D8-C58D-9DF6-42E609ABB8B0}"/>
                </a:ext>
              </a:extLst>
            </p:cNvPr>
            <p:cNvSpPr/>
            <p:nvPr/>
          </p:nvSpPr>
          <p:spPr>
            <a:xfrm>
              <a:off x="1927275" y="536800"/>
              <a:ext cx="1918175" cy="1761875"/>
            </a:xfrm>
            <a:custGeom>
              <a:avLst/>
              <a:gdLst/>
              <a:ahLst/>
              <a:cxnLst/>
              <a:rect l="l" t="t" r="r" b="b"/>
              <a:pathLst>
                <a:path w="76727" h="70475" fill="none" extrusionOk="0">
                  <a:moveTo>
                    <a:pt x="18246" y="4689"/>
                  </a:moveTo>
                  <a:lnTo>
                    <a:pt x="18246" y="4689"/>
                  </a:lnTo>
                  <a:lnTo>
                    <a:pt x="18174" y="5525"/>
                  </a:lnTo>
                  <a:lnTo>
                    <a:pt x="18065" y="6434"/>
                  </a:lnTo>
                  <a:lnTo>
                    <a:pt x="17919" y="7342"/>
                  </a:lnTo>
                  <a:lnTo>
                    <a:pt x="17774" y="8324"/>
                  </a:lnTo>
                  <a:lnTo>
                    <a:pt x="17338" y="10323"/>
                  </a:lnTo>
                  <a:lnTo>
                    <a:pt x="16829" y="12467"/>
                  </a:lnTo>
                  <a:lnTo>
                    <a:pt x="16211" y="14684"/>
                  </a:lnTo>
                  <a:lnTo>
                    <a:pt x="15484" y="17010"/>
                  </a:lnTo>
                  <a:lnTo>
                    <a:pt x="14721" y="19409"/>
                  </a:lnTo>
                  <a:lnTo>
                    <a:pt x="13885" y="21844"/>
                  </a:lnTo>
                  <a:lnTo>
                    <a:pt x="12976" y="24352"/>
                  </a:lnTo>
                  <a:lnTo>
                    <a:pt x="12031" y="26933"/>
                  </a:lnTo>
                  <a:lnTo>
                    <a:pt x="10068" y="32094"/>
                  </a:lnTo>
                  <a:lnTo>
                    <a:pt x="8069" y="37255"/>
                  </a:lnTo>
                  <a:lnTo>
                    <a:pt x="6107" y="42343"/>
                  </a:lnTo>
                  <a:lnTo>
                    <a:pt x="4289" y="47214"/>
                  </a:lnTo>
                  <a:lnTo>
                    <a:pt x="3454" y="49540"/>
                  </a:lnTo>
                  <a:lnTo>
                    <a:pt x="2690" y="51793"/>
                  </a:lnTo>
                  <a:lnTo>
                    <a:pt x="2000" y="53938"/>
                  </a:lnTo>
                  <a:lnTo>
                    <a:pt x="1382" y="56009"/>
                  </a:lnTo>
                  <a:lnTo>
                    <a:pt x="873" y="57899"/>
                  </a:lnTo>
                  <a:lnTo>
                    <a:pt x="473" y="59680"/>
                  </a:lnTo>
                  <a:lnTo>
                    <a:pt x="328" y="60516"/>
                  </a:lnTo>
                  <a:lnTo>
                    <a:pt x="182" y="61316"/>
                  </a:lnTo>
                  <a:lnTo>
                    <a:pt x="110" y="62079"/>
                  </a:lnTo>
                  <a:lnTo>
                    <a:pt x="37" y="62806"/>
                  </a:lnTo>
                  <a:lnTo>
                    <a:pt x="1" y="63460"/>
                  </a:lnTo>
                  <a:lnTo>
                    <a:pt x="37" y="64114"/>
                  </a:lnTo>
                  <a:lnTo>
                    <a:pt x="73" y="64696"/>
                  </a:lnTo>
                  <a:lnTo>
                    <a:pt x="146" y="65205"/>
                  </a:lnTo>
                  <a:lnTo>
                    <a:pt x="291" y="65714"/>
                  </a:lnTo>
                  <a:lnTo>
                    <a:pt x="437" y="66113"/>
                  </a:lnTo>
                  <a:lnTo>
                    <a:pt x="655" y="66513"/>
                  </a:lnTo>
                  <a:lnTo>
                    <a:pt x="909" y="66840"/>
                  </a:lnTo>
                  <a:lnTo>
                    <a:pt x="1236" y="67095"/>
                  </a:lnTo>
                  <a:lnTo>
                    <a:pt x="1564" y="67313"/>
                  </a:lnTo>
                  <a:lnTo>
                    <a:pt x="1963" y="67458"/>
                  </a:lnTo>
                  <a:lnTo>
                    <a:pt x="2400" y="67567"/>
                  </a:lnTo>
                  <a:lnTo>
                    <a:pt x="2400" y="67567"/>
                  </a:lnTo>
                  <a:lnTo>
                    <a:pt x="7597" y="68185"/>
                  </a:lnTo>
                  <a:lnTo>
                    <a:pt x="11086" y="68585"/>
                  </a:lnTo>
                  <a:lnTo>
                    <a:pt x="15048" y="69021"/>
                  </a:lnTo>
                  <a:lnTo>
                    <a:pt x="19373" y="69421"/>
                  </a:lnTo>
                  <a:lnTo>
                    <a:pt x="23953" y="69784"/>
                  </a:lnTo>
                  <a:lnTo>
                    <a:pt x="28714" y="70111"/>
                  </a:lnTo>
                  <a:lnTo>
                    <a:pt x="31076" y="70220"/>
                  </a:lnTo>
                  <a:lnTo>
                    <a:pt x="33475" y="70330"/>
                  </a:lnTo>
                  <a:lnTo>
                    <a:pt x="35838" y="70402"/>
                  </a:lnTo>
                  <a:lnTo>
                    <a:pt x="38164" y="70475"/>
                  </a:lnTo>
                  <a:lnTo>
                    <a:pt x="40490" y="70475"/>
                  </a:lnTo>
                  <a:lnTo>
                    <a:pt x="42743" y="70439"/>
                  </a:lnTo>
                  <a:lnTo>
                    <a:pt x="44888" y="70366"/>
                  </a:lnTo>
                  <a:lnTo>
                    <a:pt x="46996" y="70257"/>
                  </a:lnTo>
                  <a:lnTo>
                    <a:pt x="48995" y="70111"/>
                  </a:lnTo>
                  <a:lnTo>
                    <a:pt x="50885" y="69893"/>
                  </a:lnTo>
                  <a:lnTo>
                    <a:pt x="52666" y="69639"/>
                  </a:lnTo>
                  <a:lnTo>
                    <a:pt x="54301" y="69312"/>
                  </a:lnTo>
                  <a:lnTo>
                    <a:pt x="55064" y="69130"/>
                  </a:lnTo>
                  <a:lnTo>
                    <a:pt x="55791" y="68912"/>
                  </a:lnTo>
                  <a:lnTo>
                    <a:pt x="56482" y="68730"/>
                  </a:lnTo>
                  <a:lnTo>
                    <a:pt x="57136" y="68476"/>
                  </a:lnTo>
                  <a:lnTo>
                    <a:pt x="57754" y="68221"/>
                  </a:lnTo>
                  <a:lnTo>
                    <a:pt x="58299" y="67967"/>
                  </a:lnTo>
                  <a:lnTo>
                    <a:pt x="58808" y="67676"/>
                  </a:lnTo>
                  <a:lnTo>
                    <a:pt x="59281" y="67386"/>
                  </a:lnTo>
                  <a:lnTo>
                    <a:pt x="59680" y="67058"/>
                  </a:lnTo>
                  <a:lnTo>
                    <a:pt x="60044" y="66731"/>
                  </a:lnTo>
                  <a:lnTo>
                    <a:pt x="60371" y="66368"/>
                  </a:lnTo>
                  <a:lnTo>
                    <a:pt x="60625" y="66004"/>
                  </a:lnTo>
                  <a:lnTo>
                    <a:pt x="60625" y="66004"/>
                  </a:lnTo>
                  <a:lnTo>
                    <a:pt x="61098" y="65132"/>
                  </a:lnTo>
                  <a:lnTo>
                    <a:pt x="61607" y="64042"/>
                  </a:lnTo>
                  <a:lnTo>
                    <a:pt x="62152" y="62770"/>
                  </a:lnTo>
                  <a:lnTo>
                    <a:pt x="62770" y="61316"/>
                  </a:lnTo>
                  <a:lnTo>
                    <a:pt x="63388" y="59717"/>
                  </a:lnTo>
                  <a:lnTo>
                    <a:pt x="64042" y="57972"/>
                  </a:lnTo>
                  <a:lnTo>
                    <a:pt x="64732" y="56082"/>
                  </a:lnTo>
                  <a:lnTo>
                    <a:pt x="65459" y="54083"/>
                  </a:lnTo>
                  <a:lnTo>
                    <a:pt x="66877" y="49758"/>
                  </a:lnTo>
                  <a:lnTo>
                    <a:pt x="68367" y="45106"/>
                  </a:lnTo>
                  <a:lnTo>
                    <a:pt x="69821" y="40235"/>
                  </a:lnTo>
                  <a:lnTo>
                    <a:pt x="71202" y="35292"/>
                  </a:lnTo>
                  <a:lnTo>
                    <a:pt x="72547" y="30349"/>
                  </a:lnTo>
                  <a:lnTo>
                    <a:pt x="73165" y="27914"/>
                  </a:lnTo>
                  <a:lnTo>
                    <a:pt x="73746" y="25515"/>
                  </a:lnTo>
                  <a:lnTo>
                    <a:pt x="74291" y="23153"/>
                  </a:lnTo>
                  <a:lnTo>
                    <a:pt x="74800" y="20863"/>
                  </a:lnTo>
                  <a:lnTo>
                    <a:pt x="75236" y="18682"/>
                  </a:lnTo>
                  <a:lnTo>
                    <a:pt x="75636" y="16574"/>
                  </a:lnTo>
                  <a:lnTo>
                    <a:pt x="76000" y="14612"/>
                  </a:lnTo>
                  <a:lnTo>
                    <a:pt x="76290" y="12758"/>
                  </a:lnTo>
                  <a:lnTo>
                    <a:pt x="76508" y="11013"/>
                  </a:lnTo>
                  <a:lnTo>
                    <a:pt x="76654" y="9450"/>
                  </a:lnTo>
                  <a:lnTo>
                    <a:pt x="76726" y="8033"/>
                  </a:lnTo>
                  <a:lnTo>
                    <a:pt x="76726" y="6797"/>
                  </a:lnTo>
                  <a:lnTo>
                    <a:pt x="76690" y="6252"/>
                  </a:lnTo>
                  <a:lnTo>
                    <a:pt x="76617" y="5743"/>
                  </a:lnTo>
                  <a:lnTo>
                    <a:pt x="76545" y="5307"/>
                  </a:lnTo>
                  <a:lnTo>
                    <a:pt x="76472" y="4907"/>
                  </a:lnTo>
                  <a:lnTo>
                    <a:pt x="76472" y="4907"/>
                  </a:lnTo>
                  <a:lnTo>
                    <a:pt x="76290" y="4544"/>
                  </a:lnTo>
                  <a:lnTo>
                    <a:pt x="76072" y="4217"/>
                  </a:lnTo>
                  <a:lnTo>
                    <a:pt x="75782" y="3890"/>
                  </a:lnTo>
                  <a:lnTo>
                    <a:pt x="75418" y="3562"/>
                  </a:lnTo>
                  <a:lnTo>
                    <a:pt x="74982" y="3272"/>
                  </a:lnTo>
                  <a:lnTo>
                    <a:pt x="74473" y="2981"/>
                  </a:lnTo>
                  <a:lnTo>
                    <a:pt x="73928" y="2726"/>
                  </a:lnTo>
                  <a:lnTo>
                    <a:pt x="73310" y="2472"/>
                  </a:lnTo>
                  <a:lnTo>
                    <a:pt x="72619" y="2218"/>
                  </a:lnTo>
                  <a:lnTo>
                    <a:pt x="71893" y="2000"/>
                  </a:lnTo>
                  <a:lnTo>
                    <a:pt x="71093" y="1782"/>
                  </a:lnTo>
                  <a:lnTo>
                    <a:pt x="70257" y="1563"/>
                  </a:lnTo>
                  <a:lnTo>
                    <a:pt x="68403" y="1200"/>
                  </a:lnTo>
                  <a:lnTo>
                    <a:pt x="66404" y="909"/>
                  </a:lnTo>
                  <a:lnTo>
                    <a:pt x="64260" y="655"/>
                  </a:lnTo>
                  <a:lnTo>
                    <a:pt x="61970" y="437"/>
                  </a:lnTo>
                  <a:lnTo>
                    <a:pt x="59571" y="255"/>
                  </a:lnTo>
                  <a:lnTo>
                    <a:pt x="57100" y="146"/>
                  </a:lnTo>
                  <a:lnTo>
                    <a:pt x="54519" y="37"/>
                  </a:lnTo>
                  <a:lnTo>
                    <a:pt x="51902" y="1"/>
                  </a:lnTo>
                  <a:lnTo>
                    <a:pt x="49249" y="1"/>
                  </a:lnTo>
                  <a:lnTo>
                    <a:pt x="46596" y="37"/>
                  </a:lnTo>
                  <a:lnTo>
                    <a:pt x="43943" y="146"/>
                  </a:lnTo>
                  <a:lnTo>
                    <a:pt x="41289" y="255"/>
                  </a:lnTo>
                  <a:lnTo>
                    <a:pt x="38709" y="400"/>
                  </a:lnTo>
                  <a:lnTo>
                    <a:pt x="36201" y="582"/>
                  </a:lnTo>
                  <a:lnTo>
                    <a:pt x="33766" y="764"/>
                  </a:lnTo>
                  <a:lnTo>
                    <a:pt x="31403" y="1018"/>
                  </a:lnTo>
                  <a:lnTo>
                    <a:pt x="29223" y="1273"/>
                  </a:lnTo>
                  <a:lnTo>
                    <a:pt x="27151" y="1563"/>
                  </a:lnTo>
                  <a:lnTo>
                    <a:pt x="25261" y="1891"/>
                  </a:lnTo>
                  <a:lnTo>
                    <a:pt x="23553" y="2254"/>
                  </a:lnTo>
                  <a:lnTo>
                    <a:pt x="22026" y="2617"/>
                  </a:lnTo>
                  <a:lnTo>
                    <a:pt x="20754" y="2981"/>
                  </a:lnTo>
                  <a:lnTo>
                    <a:pt x="20209" y="3199"/>
                  </a:lnTo>
                  <a:lnTo>
                    <a:pt x="19700" y="3381"/>
                  </a:lnTo>
                  <a:lnTo>
                    <a:pt x="19300" y="3599"/>
                  </a:lnTo>
                  <a:lnTo>
                    <a:pt x="18937" y="3817"/>
                  </a:lnTo>
                  <a:lnTo>
                    <a:pt x="18646" y="4035"/>
                  </a:lnTo>
                  <a:lnTo>
                    <a:pt x="18428" y="4253"/>
                  </a:lnTo>
                  <a:lnTo>
                    <a:pt x="18319" y="4471"/>
                  </a:lnTo>
                  <a:lnTo>
                    <a:pt x="18246" y="4689"/>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01" name="Google Shape;2530;p11">
              <a:extLst>
                <a:ext uri="{FF2B5EF4-FFF2-40B4-BE49-F238E27FC236}">
                  <a16:creationId xmlns:a16="http://schemas.microsoft.com/office/drawing/2014/main" id="{8C75C86B-4373-34D8-E3EE-7DD8E333F2ED}"/>
                </a:ext>
              </a:extLst>
            </p:cNvPr>
            <p:cNvSpPr/>
            <p:nvPr/>
          </p:nvSpPr>
          <p:spPr>
            <a:xfrm>
              <a:off x="2470650" y="970225"/>
              <a:ext cx="1026800" cy="41825"/>
            </a:xfrm>
            <a:custGeom>
              <a:avLst/>
              <a:gdLst/>
              <a:ahLst/>
              <a:cxnLst/>
              <a:rect l="l" t="t" r="r" b="b"/>
              <a:pathLst>
                <a:path w="41072" h="1673" extrusionOk="0">
                  <a:moveTo>
                    <a:pt x="0" y="0"/>
                  </a:moveTo>
                  <a:lnTo>
                    <a:pt x="0" y="1672"/>
                  </a:lnTo>
                  <a:lnTo>
                    <a:pt x="41071" y="1672"/>
                  </a:lnTo>
                  <a:lnTo>
                    <a:pt x="41071" y="0"/>
                  </a:lnTo>
                  <a:close/>
                </a:path>
              </a:pathLst>
            </a:custGeom>
            <a:solidFill>
              <a:srgbClr val="6A6A7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02" name="Google Shape;2531;p11">
              <a:extLst>
                <a:ext uri="{FF2B5EF4-FFF2-40B4-BE49-F238E27FC236}">
                  <a16:creationId xmlns:a16="http://schemas.microsoft.com/office/drawing/2014/main" id="{EF40C730-6C71-1422-9091-BC09DF184D9E}"/>
                </a:ext>
              </a:extLst>
            </p:cNvPr>
            <p:cNvSpPr/>
            <p:nvPr/>
          </p:nvSpPr>
          <p:spPr>
            <a:xfrm>
              <a:off x="2470650" y="970225"/>
              <a:ext cx="1026800" cy="41825"/>
            </a:xfrm>
            <a:custGeom>
              <a:avLst/>
              <a:gdLst/>
              <a:ahLst/>
              <a:cxnLst/>
              <a:rect l="l" t="t" r="r" b="b"/>
              <a:pathLst>
                <a:path w="41072" h="1673" fill="none" extrusionOk="0">
                  <a:moveTo>
                    <a:pt x="41071" y="0"/>
                  </a:moveTo>
                  <a:lnTo>
                    <a:pt x="0" y="0"/>
                  </a:lnTo>
                  <a:lnTo>
                    <a:pt x="0" y="1672"/>
                  </a:lnTo>
                  <a:lnTo>
                    <a:pt x="41071" y="1672"/>
                  </a:lnTo>
                  <a:lnTo>
                    <a:pt x="4107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03" name="Google Shape;2532;p11">
              <a:extLst>
                <a:ext uri="{FF2B5EF4-FFF2-40B4-BE49-F238E27FC236}">
                  <a16:creationId xmlns:a16="http://schemas.microsoft.com/office/drawing/2014/main" id="{AE844DDD-D5C2-1DE3-8ADF-977D915FD973}"/>
                </a:ext>
              </a:extLst>
            </p:cNvPr>
            <p:cNvSpPr/>
            <p:nvPr/>
          </p:nvSpPr>
          <p:spPr>
            <a:xfrm>
              <a:off x="2398875" y="1159225"/>
              <a:ext cx="1026775" cy="42725"/>
            </a:xfrm>
            <a:custGeom>
              <a:avLst/>
              <a:gdLst/>
              <a:ahLst/>
              <a:cxnLst/>
              <a:rect l="l" t="t" r="r" b="b"/>
              <a:pathLst>
                <a:path w="41071" h="1709" extrusionOk="0">
                  <a:moveTo>
                    <a:pt x="0" y="0"/>
                  </a:moveTo>
                  <a:lnTo>
                    <a:pt x="0" y="1709"/>
                  </a:lnTo>
                  <a:lnTo>
                    <a:pt x="41071" y="1709"/>
                  </a:lnTo>
                  <a:lnTo>
                    <a:pt x="41071" y="0"/>
                  </a:lnTo>
                  <a:close/>
                </a:path>
              </a:pathLst>
            </a:custGeom>
            <a:solidFill>
              <a:srgbClr val="6A6A7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04" name="Google Shape;2533;p11">
              <a:extLst>
                <a:ext uri="{FF2B5EF4-FFF2-40B4-BE49-F238E27FC236}">
                  <a16:creationId xmlns:a16="http://schemas.microsoft.com/office/drawing/2014/main" id="{B2486C02-F0A3-1A39-36FC-485B7A21B36A}"/>
                </a:ext>
              </a:extLst>
            </p:cNvPr>
            <p:cNvSpPr/>
            <p:nvPr/>
          </p:nvSpPr>
          <p:spPr>
            <a:xfrm>
              <a:off x="2398875" y="1159225"/>
              <a:ext cx="1026775" cy="42725"/>
            </a:xfrm>
            <a:custGeom>
              <a:avLst/>
              <a:gdLst/>
              <a:ahLst/>
              <a:cxnLst/>
              <a:rect l="l" t="t" r="r" b="b"/>
              <a:pathLst>
                <a:path w="41071" h="1709" fill="none" extrusionOk="0">
                  <a:moveTo>
                    <a:pt x="41071" y="0"/>
                  </a:moveTo>
                  <a:lnTo>
                    <a:pt x="0" y="0"/>
                  </a:lnTo>
                  <a:lnTo>
                    <a:pt x="0" y="1709"/>
                  </a:lnTo>
                  <a:lnTo>
                    <a:pt x="41071" y="1709"/>
                  </a:lnTo>
                  <a:lnTo>
                    <a:pt x="4107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05" name="Google Shape;2534;p11">
              <a:extLst>
                <a:ext uri="{FF2B5EF4-FFF2-40B4-BE49-F238E27FC236}">
                  <a16:creationId xmlns:a16="http://schemas.microsoft.com/office/drawing/2014/main" id="{C98724D3-CF6E-9ADC-F508-79901099B79D}"/>
                </a:ext>
              </a:extLst>
            </p:cNvPr>
            <p:cNvSpPr/>
            <p:nvPr/>
          </p:nvSpPr>
          <p:spPr>
            <a:xfrm>
              <a:off x="2339800" y="1329150"/>
              <a:ext cx="1026800" cy="42725"/>
            </a:xfrm>
            <a:custGeom>
              <a:avLst/>
              <a:gdLst/>
              <a:ahLst/>
              <a:cxnLst/>
              <a:rect l="l" t="t" r="r" b="b"/>
              <a:pathLst>
                <a:path w="41072" h="1709" extrusionOk="0">
                  <a:moveTo>
                    <a:pt x="1" y="0"/>
                  </a:moveTo>
                  <a:lnTo>
                    <a:pt x="1" y="1708"/>
                  </a:lnTo>
                  <a:lnTo>
                    <a:pt x="41071" y="1708"/>
                  </a:lnTo>
                  <a:lnTo>
                    <a:pt x="41071" y="0"/>
                  </a:lnTo>
                  <a:close/>
                </a:path>
              </a:pathLst>
            </a:custGeom>
            <a:solidFill>
              <a:srgbClr val="6A6A7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06" name="Google Shape;2535;p11">
              <a:extLst>
                <a:ext uri="{FF2B5EF4-FFF2-40B4-BE49-F238E27FC236}">
                  <a16:creationId xmlns:a16="http://schemas.microsoft.com/office/drawing/2014/main" id="{AF07E2AB-C889-7653-DA9C-CCF8781C5A11}"/>
                </a:ext>
              </a:extLst>
            </p:cNvPr>
            <p:cNvSpPr/>
            <p:nvPr/>
          </p:nvSpPr>
          <p:spPr>
            <a:xfrm>
              <a:off x="2339800" y="1329150"/>
              <a:ext cx="1026800" cy="42725"/>
            </a:xfrm>
            <a:custGeom>
              <a:avLst/>
              <a:gdLst/>
              <a:ahLst/>
              <a:cxnLst/>
              <a:rect l="l" t="t" r="r" b="b"/>
              <a:pathLst>
                <a:path w="41072" h="1709" fill="none" extrusionOk="0">
                  <a:moveTo>
                    <a:pt x="41071" y="0"/>
                  </a:moveTo>
                  <a:lnTo>
                    <a:pt x="1" y="0"/>
                  </a:lnTo>
                  <a:lnTo>
                    <a:pt x="1" y="1708"/>
                  </a:lnTo>
                  <a:lnTo>
                    <a:pt x="41071" y="1708"/>
                  </a:lnTo>
                  <a:lnTo>
                    <a:pt x="4107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07" name="Google Shape;2536;p11">
              <a:extLst>
                <a:ext uri="{FF2B5EF4-FFF2-40B4-BE49-F238E27FC236}">
                  <a16:creationId xmlns:a16="http://schemas.microsoft.com/office/drawing/2014/main" id="{F888E8A1-32C7-2869-ABDA-A09A7B38FE3A}"/>
                </a:ext>
              </a:extLst>
            </p:cNvPr>
            <p:cNvSpPr/>
            <p:nvPr/>
          </p:nvSpPr>
          <p:spPr>
            <a:xfrm>
              <a:off x="2258925" y="1515400"/>
              <a:ext cx="1026800" cy="41825"/>
            </a:xfrm>
            <a:custGeom>
              <a:avLst/>
              <a:gdLst/>
              <a:ahLst/>
              <a:cxnLst/>
              <a:rect l="l" t="t" r="r" b="b"/>
              <a:pathLst>
                <a:path w="41072" h="1673" extrusionOk="0">
                  <a:moveTo>
                    <a:pt x="1" y="1"/>
                  </a:moveTo>
                  <a:lnTo>
                    <a:pt x="1" y="1673"/>
                  </a:lnTo>
                  <a:lnTo>
                    <a:pt x="41072" y="1673"/>
                  </a:lnTo>
                  <a:lnTo>
                    <a:pt x="41072" y="1"/>
                  </a:lnTo>
                  <a:close/>
                </a:path>
              </a:pathLst>
            </a:custGeom>
            <a:solidFill>
              <a:srgbClr val="6A6A7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08" name="Google Shape;2537;p11">
              <a:extLst>
                <a:ext uri="{FF2B5EF4-FFF2-40B4-BE49-F238E27FC236}">
                  <a16:creationId xmlns:a16="http://schemas.microsoft.com/office/drawing/2014/main" id="{44CF8F3F-391A-BD3A-5777-9F2E5ECA589F}"/>
                </a:ext>
              </a:extLst>
            </p:cNvPr>
            <p:cNvSpPr/>
            <p:nvPr/>
          </p:nvSpPr>
          <p:spPr>
            <a:xfrm>
              <a:off x="2258925" y="1515400"/>
              <a:ext cx="1026800" cy="41825"/>
            </a:xfrm>
            <a:custGeom>
              <a:avLst/>
              <a:gdLst/>
              <a:ahLst/>
              <a:cxnLst/>
              <a:rect l="l" t="t" r="r" b="b"/>
              <a:pathLst>
                <a:path w="41072" h="1673" fill="none" extrusionOk="0">
                  <a:moveTo>
                    <a:pt x="41072" y="1"/>
                  </a:moveTo>
                  <a:lnTo>
                    <a:pt x="1" y="1"/>
                  </a:lnTo>
                  <a:lnTo>
                    <a:pt x="1" y="1673"/>
                  </a:lnTo>
                  <a:lnTo>
                    <a:pt x="41072" y="1673"/>
                  </a:lnTo>
                  <a:lnTo>
                    <a:pt x="41072"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09" name="Google Shape;2538;p11">
              <a:extLst>
                <a:ext uri="{FF2B5EF4-FFF2-40B4-BE49-F238E27FC236}">
                  <a16:creationId xmlns:a16="http://schemas.microsoft.com/office/drawing/2014/main" id="{B41448EE-8827-629B-21FA-D6A98157C001}"/>
                </a:ext>
              </a:extLst>
            </p:cNvPr>
            <p:cNvSpPr/>
            <p:nvPr/>
          </p:nvSpPr>
          <p:spPr>
            <a:xfrm>
              <a:off x="3205750" y="948425"/>
              <a:ext cx="109050" cy="80875"/>
            </a:xfrm>
            <a:custGeom>
              <a:avLst/>
              <a:gdLst/>
              <a:ahLst/>
              <a:cxnLst/>
              <a:rect l="l" t="t" r="r" b="b"/>
              <a:pathLst>
                <a:path w="4362" h="3235" extrusionOk="0">
                  <a:moveTo>
                    <a:pt x="0" y="0"/>
                  </a:moveTo>
                  <a:lnTo>
                    <a:pt x="0" y="3235"/>
                  </a:lnTo>
                  <a:lnTo>
                    <a:pt x="4362" y="3235"/>
                  </a:lnTo>
                  <a:lnTo>
                    <a:pt x="4362" y="0"/>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10" name="Google Shape;2539;p11">
              <a:extLst>
                <a:ext uri="{FF2B5EF4-FFF2-40B4-BE49-F238E27FC236}">
                  <a16:creationId xmlns:a16="http://schemas.microsoft.com/office/drawing/2014/main" id="{8F726FAD-1AD3-C2B5-FF6A-EC67B7F5199D}"/>
                </a:ext>
              </a:extLst>
            </p:cNvPr>
            <p:cNvSpPr/>
            <p:nvPr/>
          </p:nvSpPr>
          <p:spPr>
            <a:xfrm>
              <a:off x="2789575" y="939325"/>
              <a:ext cx="122700" cy="109075"/>
            </a:xfrm>
            <a:custGeom>
              <a:avLst/>
              <a:gdLst/>
              <a:ahLst/>
              <a:cxnLst/>
              <a:rect l="l" t="t" r="r" b="b"/>
              <a:pathLst>
                <a:path w="4908" h="4363" extrusionOk="0">
                  <a:moveTo>
                    <a:pt x="1" y="1"/>
                  </a:moveTo>
                  <a:lnTo>
                    <a:pt x="1" y="4362"/>
                  </a:lnTo>
                  <a:lnTo>
                    <a:pt x="4907" y="4362"/>
                  </a:lnTo>
                  <a:lnTo>
                    <a:pt x="4907" y="1"/>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11" name="Google Shape;2540;p11">
              <a:extLst>
                <a:ext uri="{FF2B5EF4-FFF2-40B4-BE49-F238E27FC236}">
                  <a16:creationId xmlns:a16="http://schemas.microsoft.com/office/drawing/2014/main" id="{6089D3E2-ADB2-37CA-1F51-80AB2596A733}"/>
                </a:ext>
              </a:extLst>
            </p:cNvPr>
            <p:cNvSpPr/>
            <p:nvPr/>
          </p:nvSpPr>
          <p:spPr>
            <a:xfrm>
              <a:off x="2935875" y="1150125"/>
              <a:ext cx="129050" cy="67275"/>
            </a:xfrm>
            <a:custGeom>
              <a:avLst/>
              <a:gdLst/>
              <a:ahLst/>
              <a:cxnLst/>
              <a:rect l="l" t="t" r="r" b="b"/>
              <a:pathLst>
                <a:path w="5162" h="2691" extrusionOk="0">
                  <a:moveTo>
                    <a:pt x="0" y="1"/>
                  </a:moveTo>
                  <a:lnTo>
                    <a:pt x="0" y="2691"/>
                  </a:lnTo>
                  <a:lnTo>
                    <a:pt x="5162" y="2691"/>
                  </a:lnTo>
                  <a:lnTo>
                    <a:pt x="5162" y="1"/>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12" name="Google Shape;2541;p11">
              <a:extLst>
                <a:ext uri="{FF2B5EF4-FFF2-40B4-BE49-F238E27FC236}">
                  <a16:creationId xmlns:a16="http://schemas.microsoft.com/office/drawing/2014/main" id="{EBFECDC5-C0E6-C35E-CF1D-5D4CCF368EA8}"/>
                </a:ext>
              </a:extLst>
            </p:cNvPr>
            <p:cNvSpPr/>
            <p:nvPr/>
          </p:nvSpPr>
          <p:spPr>
            <a:xfrm>
              <a:off x="3209375" y="1313700"/>
              <a:ext cx="69075" cy="86325"/>
            </a:xfrm>
            <a:custGeom>
              <a:avLst/>
              <a:gdLst/>
              <a:ahLst/>
              <a:cxnLst/>
              <a:rect l="l" t="t" r="r" b="b"/>
              <a:pathLst>
                <a:path w="2763" h="3453" extrusionOk="0">
                  <a:moveTo>
                    <a:pt x="0" y="0"/>
                  </a:moveTo>
                  <a:lnTo>
                    <a:pt x="0" y="3453"/>
                  </a:lnTo>
                  <a:lnTo>
                    <a:pt x="2763" y="3453"/>
                  </a:lnTo>
                  <a:lnTo>
                    <a:pt x="2763" y="0"/>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13" name="Google Shape;2542;p11">
              <a:extLst>
                <a:ext uri="{FF2B5EF4-FFF2-40B4-BE49-F238E27FC236}">
                  <a16:creationId xmlns:a16="http://schemas.microsoft.com/office/drawing/2014/main" id="{F065B7D1-F431-7346-4F64-586D795B31BA}"/>
                </a:ext>
              </a:extLst>
            </p:cNvPr>
            <p:cNvSpPr/>
            <p:nvPr/>
          </p:nvSpPr>
          <p:spPr>
            <a:xfrm>
              <a:off x="2565150" y="1304600"/>
              <a:ext cx="139950" cy="92700"/>
            </a:xfrm>
            <a:custGeom>
              <a:avLst/>
              <a:gdLst/>
              <a:ahLst/>
              <a:cxnLst/>
              <a:rect l="l" t="t" r="r" b="b"/>
              <a:pathLst>
                <a:path w="5598" h="3708" extrusionOk="0">
                  <a:moveTo>
                    <a:pt x="0" y="1"/>
                  </a:moveTo>
                  <a:lnTo>
                    <a:pt x="0" y="3708"/>
                  </a:lnTo>
                  <a:lnTo>
                    <a:pt x="5598" y="3708"/>
                  </a:lnTo>
                  <a:lnTo>
                    <a:pt x="5598" y="1"/>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14" name="Google Shape;2543;p11">
              <a:extLst>
                <a:ext uri="{FF2B5EF4-FFF2-40B4-BE49-F238E27FC236}">
                  <a16:creationId xmlns:a16="http://schemas.microsoft.com/office/drawing/2014/main" id="{80181A3C-5D90-4CDC-C834-D67793D5F85D}"/>
                </a:ext>
              </a:extLst>
            </p:cNvPr>
            <p:cNvSpPr/>
            <p:nvPr/>
          </p:nvSpPr>
          <p:spPr>
            <a:xfrm>
              <a:off x="2734150" y="1496325"/>
              <a:ext cx="57275" cy="77275"/>
            </a:xfrm>
            <a:custGeom>
              <a:avLst/>
              <a:gdLst/>
              <a:ahLst/>
              <a:cxnLst/>
              <a:rect l="l" t="t" r="r" b="b"/>
              <a:pathLst>
                <a:path w="2291" h="3091" extrusionOk="0">
                  <a:moveTo>
                    <a:pt x="1" y="1"/>
                  </a:moveTo>
                  <a:lnTo>
                    <a:pt x="1" y="3090"/>
                  </a:lnTo>
                  <a:lnTo>
                    <a:pt x="2290" y="3090"/>
                  </a:lnTo>
                  <a:lnTo>
                    <a:pt x="2290" y="1"/>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15" name="Google Shape;2544;p11">
              <a:extLst>
                <a:ext uri="{FF2B5EF4-FFF2-40B4-BE49-F238E27FC236}">
                  <a16:creationId xmlns:a16="http://schemas.microsoft.com/office/drawing/2014/main" id="{1C2AEB52-3475-DA15-927F-5A4FFAC44C9B}"/>
                </a:ext>
              </a:extLst>
            </p:cNvPr>
            <p:cNvSpPr/>
            <p:nvPr/>
          </p:nvSpPr>
          <p:spPr>
            <a:xfrm>
              <a:off x="3042175" y="1496325"/>
              <a:ext cx="62725" cy="77275"/>
            </a:xfrm>
            <a:custGeom>
              <a:avLst/>
              <a:gdLst/>
              <a:ahLst/>
              <a:cxnLst/>
              <a:rect l="l" t="t" r="r" b="b"/>
              <a:pathLst>
                <a:path w="2509" h="3091" extrusionOk="0">
                  <a:moveTo>
                    <a:pt x="1" y="1"/>
                  </a:moveTo>
                  <a:lnTo>
                    <a:pt x="1" y="3090"/>
                  </a:lnTo>
                  <a:lnTo>
                    <a:pt x="2509" y="3090"/>
                  </a:lnTo>
                  <a:lnTo>
                    <a:pt x="2509" y="1"/>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16" name="Google Shape;2545;p11">
              <a:extLst>
                <a:ext uri="{FF2B5EF4-FFF2-40B4-BE49-F238E27FC236}">
                  <a16:creationId xmlns:a16="http://schemas.microsoft.com/office/drawing/2014/main" id="{BAB3D757-2E1E-4D8D-A292-843FAE9DFB06}"/>
                </a:ext>
              </a:extLst>
            </p:cNvPr>
            <p:cNvSpPr/>
            <p:nvPr/>
          </p:nvSpPr>
          <p:spPr>
            <a:xfrm>
              <a:off x="3278425" y="1313700"/>
              <a:ext cx="147225" cy="86325"/>
            </a:xfrm>
            <a:custGeom>
              <a:avLst/>
              <a:gdLst/>
              <a:ahLst/>
              <a:cxnLst/>
              <a:rect l="l" t="t" r="r" b="b"/>
              <a:pathLst>
                <a:path w="5889" h="3453" extrusionOk="0">
                  <a:moveTo>
                    <a:pt x="1" y="0"/>
                  </a:moveTo>
                  <a:lnTo>
                    <a:pt x="1" y="3453"/>
                  </a:lnTo>
                  <a:lnTo>
                    <a:pt x="5889" y="3453"/>
                  </a:lnTo>
                  <a:lnTo>
                    <a:pt x="5889" y="0"/>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17" name="Google Shape;2546;p11">
              <a:extLst>
                <a:ext uri="{FF2B5EF4-FFF2-40B4-BE49-F238E27FC236}">
                  <a16:creationId xmlns:a16="http://schemas.microsoft.com/office/drawing/2014/main" id="{2E535CF9-055B-3C9F-43ED-CF336440C7E6}"/>
                </a:ext>
              </a:extLst>
            </p:cNvPr>
            <p:cNvSpPr/>
            <p:nvPr/>
          </p:nvSpPr>
          <p:spPr>
            <a:xfrm>
              <a:off x="6558625" y="793050"/>
              <a:ext cx="823250" cy="1504725"/>
            </a:xfrm>
            <a:custGeom>
              <a:avLst/>
              <a:gdLst/>
              <a:ahLst/>
              <a:cxnLst/>
              <a:rect l="l" t="t" r="r" b="b"/>
              <a:pathLst>
                <a:path w="32930" h="60189" extrusionOk="0">
                  <a:moveTo>
                    <a:pt x="32930" y="0"/>
                  </a:moveTo>
                  <a:lnTo>
                    <a:pt x="32639" y="109"/>
                  </a:lnTo>
                  <a:lnTo>
                    <a:pt x="32494" y="1563"/>
                  </a:lnTo>
                  <a:lnTo>
                    <a:pt x="32276" y="3053"/>
                  </a:lnTo>
                  <a:lnTo>
                    <a:pt x="32021" y="4689"/>
                  </a:lnTo>
                  <a:lnTo>
                    <a:pt x="31731" y="6397"/>
                  </a:lnTo>
                  <a:lnTo>
                    <a:pt x="31367" y="8178"/>
                  </a:lnTo>
                  <a:lnTo>
                    <a:pt x="31004" y="10068"/>
                  </a:lnTo>
                  <a:lnTo>
                    <a:pt x="30131" y="13957"/>
                  </a:lnTo>
                  <a:lnTo>
                    <a:pt x="29150" y="18064"/>
                  </a:lnTo>
                  <a:lnTo>
                    <a:pt x="28060" y="22244"/>
                  </a:lnTo>
                  <a:lnTo>
                    <a:pt x="26897" y="26496"/>
                  </a:lnTo>
                  <a:lnTo>
                    <a:pt x="25661" y="30749"/>
                  </a:lnTo>
                  <a:lnTo>
                    <a:pt x="24425" y="34892"/>
                  </a:lnTo>
                  <a:lnTo>
                    <a:pt x="23189" y="38890"/>
                  </a:lnTo>
                  <a:lnTo>
                    <a:pt x="21917" y="42670"/>
                  </a:lnTo>
                  <a:lnTo>
                    <a:pt x="20718" y="46123"/>
                  </a:lnTo>
                  <a:lnTo>
                    <a:pt x="19591" y="49248"/>
                  </a:lnTo>
                  <a:lnTo>
                    <a:pt x="18501" y="51938"/>
                  </a:lnTo>
                  <a:lnTo>
                    <a:pt x="17992" y="53101"/>
                  </a:lnTo>
                  <a:lnTo>
                    <a:pt x="17556" y="54119"/>
                  </a:lnTo>
                  <a:lnTo>
                    <a:pt x="17083" y="55027"/>
                  </a:lnTo>
                  <a:lnTo>
                    <a:pt x="16683" y="55754"/>
                  </a:lnTo>
                  <a:lnTo>
                    <a:pt x="16502" y="56009"/>
                  </a:lnTo>
                  <a:lnTo>
                    <a:pt x="16320" y="56300"/>
                  </a:lnTo>
                  <a:lnTo>
                    <a:pt x="16066" y="56518"/>
                  </a:lnTo>
                  <a:lnTo>
                    <a:pt x="15811" y="56772"/>
                  </a:lnTo>
                  <a:lnTo>
                    <a:pt x="15557" y="56990"/>
                  </a:lnTo>
                  <a:lnTo>
                    <a:pt x="15230" y="57245"/>
                  </a:lnTo>
                  <a:lnTo>
                    <a:pt x="14539" y="57644"/>
                  </a:lnTo>
                  <a:lnTo>
                    <a:pt x="13739" y="58044"/>
                  </a:lnTo>
                  <a:lnTo>
                    <a:pt x="12831" y="58371"/>
                  </a:lnTo>
                  <a:lnTo>
                    <a:pt x="11886" y="58698"/>
                  </a:lnTo>
                  <a:lnTo>
                    <a:pt x="10832" y="58953"/>
                  </a:lnTo>
                  <a:lnTo>
                    <a:pt x="9669" y="59207"/>
                  </a:lnTo>
                  <a:lnTo>
                    <a:pt x="8469" y="59425"/>
                  </a:lnTo>
                  <a:lnTo>
                    <a:pt x="7197" y="59607"/>
                  </a:lnTo>
                  <a:lnTo>
                    <a:pt x="5889" y="59789"/>
                  </a:lnTo>
                  <a:lnTo>
                    <a:pt x="4471" y="59898"/>
                  </a:lnTo>
                  <a:lnTo>
                    <a:pt x="3017" y="60007"/>
                  </a:lnTo>
                  <a:lnTo>
                    <a:pt x="1527" y="60116"/>
                  </a:lnTo>
                  <a:lnTo>
                    <a:pt x="1" y="60152"/>
                  </a:lnTo>
                  <a:lnTo>
                    <a:pt x="37" y="60152"/>
                  </a:lnTo>
                  <a:lnTo>
                    <a:pt x="1854" y="60189"/>
                  </a:lnTo>
                  <a:lnTo>
                    <a:pt x="3999" y="60152"/>
                  </a:lnTo>
                  <a:lnTo>
                    <a:pt x="6034" y="60080"/>
                  </a:lnTo>
                  <a:lnTo>
                    <a:pt x="7888" y="60007"/>
                  </a:lnTo>
                  <a:lnTo>
                    <a:pt x="9632" y="59861"/>
                  </a:lnTo>
                  <a:lnTo>
                    <a:pt x="11232" y="59680"/>
                  </a:lnTo>
                  <a:lnTo>
                    <a:pt x="12722" y="59462"/>
                  </a:lnTo>
                  <a:lnTo>
                    <a:pt x="14103" y="59207"/>
                  </a:lnTo>
                  <a:lnTo>
                    <a:pt x="15339" y="58916"/>
                  </a:lnTo>
                  <a:lnTo>
                    <a:pt x="16465" y="58589"/>
                  </a:lnTo>
                  <a:lnTo>
                    <a:pt x="17483" y="58262"/>
                  </a:lnTo>
                  <a:lnTo>
                    <a:pt x="18392" y="57862"/>
                  </a:lnTo>
                  <a:lnTo>
                    <a:pt x="19191" y="57463"/>
                  </a:lnTo>
                  <a:lnTo>
                    <a:pt x="19918" y="57026"/>
                  </a:lnTo>
                  <a:lnTo>
                    <a:pt x="20536" y="56554"/>
                  </a:lnTo>
                  <a:lnTo>
                    <a:pt x="21081" y="56081"/>
                  </a:lnTo>
                  <a:lnTo>
                    <a:pt x="21554" y="55573"/>
                  </a:lnTo>
                  <a:lnTo>
                    <a:pt x="22172" y="54700"/>
                  </a:lnTo>
                  <a:lnTo>
                    <a:pt x="22862" y="53646"/>
                  </a:lnTo>
                  <a:lnTo>
                    <a:pt x="23226" y="53065"/>
                  </a:lnTo>
                  <a:lnTo>
                    <a:pt x="23589" y="52374"/>
                  </a:lnTo>
                  <a:lnTo>
                    <a:pt x="23953" y="51647"/>
                  </a:lnTo>
                  <a:lnTo>
                    <a:pt x="24352" y="50848"/>
                  </a:lnTo>
                  <a:lnTo>
                    <a:pt x="24752" y="49975"/>
                  </a:lnTo>
                  <a:lnTo>
                    <a:pt x="25152" y="48994"/>
                  </a:lnTo>
                  <a:lnTo>
                    <a:pt x="25552" y="47976"/>
                  </a:lnTo>
                  <a:lnTo>
                    <a:pt x="25952" y="46850"/>
                  </a:lnTo>
                  <a:lnTo>
                    <a:pt x="26351" y="45650"/>
                  </a:lnTo>
                  <a:lnTo>
                    <a:pt x="26751" y="44342"/>
                  </a:lnTo>
                  <a:lnTo>
                    <a:pt x="27151" y="42924"/>
                  </a:lnTo>
                  <a:lnTo>
                    <a:pt x="27551" y="41434"/>
                  </a:lnTo>
                  <a:lnTo>
                    <a:pt x="27951" y="39799"/>
                  </a:lnTo>
                  <a:lnTo>
                    <a:pt x="28350" y="38090"/>
                  </a:lnTo>
                  <a:lnTo>
                    <a:pt x="28750" y="36237"/>
                  </a:lnTo>
                  <a:lnTo>
                    <a:pt x="29150" y="34274"/>
                  </a:lnTo>
                  <a:lnTo>
                    <a:pt x="29514" y="32202"/>
                  </a:lnTo>
                  <a:lnTo>
                    <a:pt x="29877" y="29985"/>
                  </a:lnTo>
                  <a:lnTo>
                    <a:pt x="30240" y="27659"/>
                  </a:lnTo>
                  <a:lnTo>
                    <a:pt x="30604" y="25188"/>
                  </a:lnTo>
                  <a:lnTo>
                    <a:pt x="30967" y="22571"/>
                  </a:lnTo>
                  <a:lnTo>
                    <a:pt x="31294" y="19808"/>
                  </a:lnTo>
                  <a:lnTo>
                    <a:pt x="31585" y="16901"/>
                  </a:lnTo>
                  <a:lnTo>
                    <a:pt x="31912" y="13848"/>
                  </a:lnTo>
                  <a:lnTo>
                    <a:pt x="32203" y="10649"/>
                  </a:lnTo>
                  <a:lnTo>
                    <a:pt x="32458" y="7269"/>
                  </a:lnTo>
                  <a:lnTo>
                    <a:pt x="32712" y="3707"/>
                  </a:lnTo>
                  <a:lnTo>
                    <a:pt x="32930" y="0"/>
                  </a:lnTo>
                  <a:close/>
                </a:path>
              </a:pathLst>
            </a:custGeom>
            <a:solidFill>
              <a:srgbClr val="D7D7DA"/>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18" name="Google Shape;2547;p11">
              <a:extLst>
                <a:ext uri="{FF2B5EF4-FFF2-40B4-BE49-F238E27FC236}">
                  <a16:creationId xmlns:a16="http://schemas.microsoft.com/office/drawing/2014/main" id="{5236004E-65BE-19D3-262C-102400F0FE76}"/>
                </a:ext>
              </a:extLst>
            </p:cNvPr>
            <p:cNvSpPr/>
            <p:nvPr/>
          </p:nvSpPr>
          <p:spPr>
            <a:xfrm>
              <a:off x="6558625" y="793050"/>
              <a:ext cx="823250" cy="1504725"/>
            </a:xfrm>
            <a:custGeom>
              <a:avLst/>
              <a:gdLst/>
              <a:ahLst/>
              <a:cxnLst/>
              <a:rect l="l" t="t" r="r" b="b"/>
              <a:pathLst>
                <a:path w="32930" h="60189" fill="none" extrusionOk="0">
                  <a:moveTo>
                    <a:pt x="32930" y="0"/>
                  </a:moveTo>
                  <a:lnTo>
                    <a:pt x="32639" y="109"/>
                  </a:lnTo>
                  <a:lnTo>
                    <a:pt x="32639" y="109"/>
                  </a:lnTo>
                  <a:lnTo>
                    <a:pt x="32494" y="1563"/>
                  </a:lnTo>
                  <a:lnTo>
                    <a:pt x="32276" y="3053"/>
                  </a:lnTo>
                  <a:lnTo>
                    <a:pt x="32021" y="4689"/>
                  </a:lnTo>
                  <a:lnTo>
                    <a:pt x="31731" y="6397"/>
                  </a:lnTo>
                  <a:lnTo>
                    <a:pt x="31367" y="8178"/>
                  </a:lnTo>
                  <a:lnTo>
                    <a:pt x="31004" y="10068"/>
                  </a:lnTo>
                  <a:lnTo>
                    <a:pt x="30131" y="13957"/>
                  </a:lnTo>
                  <a:lnTo>
                    <a:pt x="29150" y="18064"/>
                  </a:lnTo>
                  <a:lnTo>
                    <a:pt x="28060" y="22244"/>
                  </a:lnTo>
                  <a:lnTo>
                    <a:pt x="26897" y="26496"/>
                  </a:lnTo>
                  <a:lnTo>
                    <a:pt x="25661" y="30749"/>
                  </a:lnTo>
                  <a:lnTo>
                    <a:pt x="24425" y="34892"/>
                  </a:lnTo>
                  <a:lnTo>
                    <a:pt x="23189" y="38890"/>
                  </a:lnTo>
                  <a:lnTo>
                    <a:pt x="21917" y="42670"/>
                  </a:lnTo>
                  <a:lnTo>
                    <a:pt x="20718" y="46123"/>
                  </a:lnTo>
                  <a:lnTo>
                    <a:pt x="19591" y="49248"/>
                  </a:lnTo>
                  <a:lnTo>
                    <a:pt x="18501" y="51938"/>
                  </a:lnTo>
                  <a:lnTo>
                    <a:pt x="17992" y="53101"/>
                  </a:lnTo>
                  <a:lnTo>
                    <a:pt x="17556" y="54119"/>
                  </a:lnTo>
                  <a:lnTo>
                    <a:pt x="17083" y="55027"/>
                  </a:lnTo>
                  <a:lnTo>
                    <a:pt x="16683" y="55754"/>
                  </a:lnTo>
                  <a:lnTo>
                    <a:pt x="16683" y="55754"/>
                  </a:lnTo>
                  <a:lnTo>
                    <a:pt x="16502" y="56009"/>
                  </a:lnTo>
                  <a:lnTo>
                    <a:pt x="16320" y="56300"/>
                  </a:lnTo>
                  <a:lnTo>
                    <a:pt x="16066" y="56518"/>
                  </a:lnTo>
                  <a:lnTo>
                    <a:pt x="15811" y="56772"/>
                  </a:lnTo>
                  <a:lnTo>
                    <a:pt x="15557" y="56990"/>
                  </a:lnTo>
                  <a:lnTo>
                    <a:pt x="15230" y="57245"/>
                  </a:lnTo>
                  <a:lnTo>
                    <a:pt x="14539" y="57644"/>
                  </a:lnTo>
                  <a:lnTo>
                    <a:pt x="13739" y="58044"/>
                  </a:lnTo>
                  <a:lnTo>
                    <a:pt x="12831" y="58371"/>
                  </a:lnTo>
                  <a:lnTo>
                    <a:pt x="11886" y="58698"/>
                  </a:lnTo>
                  <a:lnTo>
                    <a:pt x="10832" y="58953"/>
                  </a:lnTo>
                  <a:lnTo>
                    <a:pt x="9669" y="59207"/>
                  </a:lnTo>
                  <a:lnTo>
                    <a:pt x="8469" y="59425"/>
                  </a:lnTo>
                  <a:lnTo>
                    <a:pt x="7197" y="59607"/>
                  </a:lnTo>
                  <a:lnTo>
                    <a:pt x="5889" y="59789"/>
                  </a:lnTo>
                  <a:lnTo>
                    <a:pt x="4471" y="59898"/>
                  </a:lnTo>
                  <a:lnTo>
                    <a:pt x="3017" y="60007"/>
                  </a:lnTo>
                  <a:lnTo>
                    <a:pt x="1527" y="60116"/>
                  </a:lnTo>
                  <a:lnTo>
                    <a:pt x="1" y="60152"/>
                  </a:lnTo>
                  <a:lnTo>
                    <a:pt x="1" y="60152"/>
                  </a:lnTo>
                  <a:lnTo>
                    <a:pt x="37" y="60152"/>
                  </a:lnTo>
                  <a:lnTo>
                    <a:pt x="37" y="60152"/>
                  </a:lnTo>
                  <a:lnTo>
                    <a:pt x="1854" y="60189"/>
                  </a:lnTo>
                  <a:lnTo>
                    <a:pt x="1854" y="60189"/>
                  </a:lnTo>
                  <a:lnTo>
                    <a:pt x="3999" y="60152"/>
                  </a:lnTo>
                  <a:lnTo>
                    <a:pt x="6034" y="60080"/>
                  </a:lnTo>
                  <a:lnTo>
                    <a:pt x="7888" y="60007"/>
                  </a:lnTo>
                  <a:lnTo>
                    <a:pt x="9632" y="59861"/>
                  </a:lnTo>
                  <a:lnTo>
                    <a:pt x="11232" y="59680"/>
                  </a:lnTo>
                  <a:lnTo>
                    <a:pt x="12722" y="59462"/>
                  </a:lnTo>
                  <a:lnTo>
                    <a:pt x="14103" y="59207"/>
                  </a:lnTo>
                  <a:lnTo>
                    <a:pt x="15339" y="58916"/>
                  </a:lnTo>
                  <a:lnTo>
                    <a:pt x="16465" y="58589"/>
                  </a:lnTo>
                  <a:lnTo>
                    <a:pt x="17483" y="58262"/>
                  </a:lnTo>
                  <a:lnTo>
                    <a:pt x="18392" y="57862"/>
                  </a:lnTo>
                  <a:lnTo>
                    <a:pt x="19191" y="57463"/>
                  </a:lnTo>
                  <a:lnTo>
                    <a:pt x="19918" y="57026"/>
                  </a:lnTo>
                  <a:lnTo>
                    <a:pt x="20536" y="56554"/>
                  </a:lnTo>
                  <a:lnTo>
                    <a:pt x="21081" y="56081"/>
                  </a:lnTo>
                  <a:lnTo>
                    <a:pt x="21554" y="55573"/>
                  </a:lnTo>
                  <a:lnTo>
                    <a:pt x="21554" y="55573"/>
                  </a:lnTo>
                  <a:lnTo>
                    <a:pt x="22172" y="54700"/>
                  </a:lnTo>
                  <a:lnTo>
                    <a:pt x="22862" y="53646"/>
                  </a:lnTo>
                  <a:lnTo>
                    <a:pt x="23226" y="53065"/>
                  </a:lnTo>
                  <a:lnTo>
                    <a:pt x="23589" y="52374"/>
                  </a:lnTo>
                  <a:lnTo>
                    <a:pt x="23953" y="51647"/>
                  </a:lnTo>
                  <a:lnTo>
                    <a:pt x="24352" y="50848"/>
                  </a:lnTo>
                  <a:lnTo>
                    <a:pt x="24752" y="49975"/>
                  </a:lnTo>
                  <a:lnTo>
                    <a:pt x="25152" y="48994"/>
                  </a:lnTo>
                  <a:lnTo>
                    <a:pt x="25552" y="47976"/>
                  </a:lnTo>
                  <a:lnTo>
                    <a:pt x="25952" y="46850"/>
                  </a:lnTo>
                  <a:lnTo>
                    <a:pt x="26351" y="45650"/>
                  </a:lnTo>
                  <a:lnTo>
                    <a:pt x="26751" y="44342"/>
                  </a:lnTo>
                  <a:lnTo>
                    <a:pt x="27151" y="42924"/>
                  </a:lnTo>
                  <a:lnTo>
                    <a:pt x="27551" y="41434"/>
                  </a:lnTo>
                  <a:lnTo>
                    <a:pt x="27951" y="39799"/>
                  </a:lnTo>
                  <a:lnTo>
                    <a:pt x="28350" y="38090"/>
                  </a:lnTo>
                  <a:lnTo>
                    <a:pt x="28750" y="36237"/>
                  </a:lnTo>
                  <a:lnTo>
                    <a:pt x="29150" y="34274"/>
                  </a:lnTo>
                  <a:lnTo>
                    <a:pt x="29514" y="32202"/>
                  </a:lnTo>
                  <a:lnTo>
                    <a:pt x="29877" y="29985"/>
                  </a:lnTo>
                  <a:lnTo>
                    <a:pt x="30240" y="27659"/>
                  </a:lnTo>
                  <a:lnTo>
                    <a:pt x="30604" y="25188"/>
                  </a:lnTo>
                  <a:lnTo>
                    <a:pt x="30967" y="22571"/>
                  </a:lnTo>
                  <a:lnTo>
                    <a:pt x="31294" y="19808"/>
                  </a:lnTo>
                  <a:lnTo>
                    <a:pt x="31585" y="16901"/>
                  </a:lnTo>
                  <a:lnTo>
                    <a:pt x="31912" y="13848"/>
                  </a:lnTo>
                  <a:lnTo>
                    <a:pt x="32203" y="10649"/>
                  </a:lnTo>
                  <a:lnTo>
                    <a:pt x="32458" y="7269"/>
                  </a:lnTo>
                  <a:lnTo>
                    <a:pt x="32712" y="3707"/>
                  </a:lnTo>
                  <a:lnTo>
                    <a:pt x="32930"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19" name="Google Shape;2548;p11">
              <a:extLst>
                <a:ext uri="{FF2B5EF4-FFF2-40B4-BE49-F238E27FC236}">
                  <a16:creationId xmlns:a16="http://schemas.microsoft.com/office/drawing/2014/main" id="{7B060F34-9148-E96B-45D4-DB17A574E7CC}"/>
                </a:ext>
              </a:extLst>
            </p:cNvPr>
            <p:cNvSpPr/>
            <p:nvPr/>
          </p:nvSpPr>
          <p:spPr>
            <a:xfrm>
              <a:off x="5461000" y="536800"/>
              <a:ext cx="1918150" cy="1761875"/>
            </a:xfrm>
            <a:custGeom>
              <a:avLst/>
              <a:gdLst/>
              <a:ahLst/>
              <a:cxnLst/>
              <a:rect l="l" t="t" r="r" b="b"/>
              <a:pathLst>
                <a:path w="76726" h="70475" extrusionOk="0">
                  <a:moveTo>
                    <a:pt x="49249" y="1"/>
                  </a:moveTo>
                  <a:lnTo>
                    <a:pt x="46595" y="37"/>
                  </a:lnTo>
                  <a:lnTo>
                    <a:pt x="43942" y="146"/>
                  </a:lnTo>
                  <a:lnTo>
                    <a:pt x="41289" y="255"/>
                  </a:lnTo>
                  <a:lnTo>
                    <a:pt x="38708" y="400"/>
                  </a:lnTo>
                  <a:lnTo>
                    <a:pt x="36164" y="582"/>
                  </a:lnTo>
                  <a:lnTo>
                    <a:pt x="33729" y="764"/>
                  </a:lnTo>
                  <a:lnTo>
                    <a:pt x="31403" y="1018"/>
                  </a:lnTo>
                  <a:lnTo>
                    <a:pt x="29186" y="1273"/>
                  </a:lnTo>
                  <a:lnTo>
                    <a:pt x="27150" y="1563"/>
                  </a:lnTo>
                  <a:lnTo>
                    <a:pt x="25260" y="1891"/>
                  </a:lnTo>
                  <a:lnTo>
                    <a:pt x="23516" y="2254"/>
                  </a:lnTo>
                  <a:lnTo>
                    <a:pt x="22026" y="2617"/>
                  </a:lnTo>
                  <a:lnTo>
                    <a:pt x="20754" y="2981"/>
                  </a:lnTo>
                  <a:lnTo>
                    <a:pt x="20172" y="3199"/>
                  </a:lnTo>
                  <a:lnTo>
                    <a:pt x="19700" y="3381"/>
                  </a:lnTo>
                  <a:lnTo>
                    <a:pt x="19263" y="3599"/>
                  </a:lnTo>
                  <a:lnTo>
                    <a:pt x="18936" y="3817"/>
                  </a:lnTo>
                  <a:lnTo>
                    <a:pt x="18646" y="4035"/>
                  </a:lnTo>
                  <a:lnTo>
                    <a:pt x="18427" y="4253"/>
                  </a:lnTo>
                  <a:lnTo>
                    <a:pt x="18282" y="4471"/>
                  </a:lnTo>
                  <a:lnTo>
                    <a:pt x="18246" y="4689"/>
                  </a:lnTo>
                  <a:lnTo>
                    <a:pt x="18173" y="5525"/>
                  </a:lnTo>
                  <a:lnTo>
                    <a:pt x="18064" y="6434"/>
                  </a:lnTo>
                  <a:lnTo>
                    <a:pt x="17919" y="7342"/>
                  </a:lnTo>
                  <a:lnTo>
                    <a:pt x="17773" y="8324"/>
                  </a:lnTo>
                  <a:lnTo>
                    <a:pt x="17337" y="10323"/>
                  </a:lnTo>
                  <a:lnTo>
                    <a:pt x="16828" y="12467"/>
                  </a:lnTo>
                  <a:lnTo>
                    <a:pt x="16174" y="14684"/>
                  </a:lnTo>
                  <a:lnTo>
                    <a:pt x="15483" y="17010"/>
                  </a:lnTo>
                  <a:lnTo>
                    <a:pt x="14720" y="19409"/>
                  </a:lnTo>
                  <a:lnTo>
                    <a:pt x="13848" y="21844"/>
                  </a:lnTo>
                  <a:lnTo>
                    <a:pt x="12976" y="24352"/>
                  </a:lnTo>
                  <a:lnTo>
                    <a:pt x="12031" y="26933"/>
                  </a:lnTo>
                  <a:lnTo>
                    <a:pt x="10068" y="32094"/>
                  </a:lnTo>
                  <a:lnTo>
                    <a:pt x="8069" y="37255"/>
                  </a:lnTo>
                  <a:lnTo>
                    <a:pt x="6106" y="42343"/>
                  </a:lnTo>
                  <a:lnTo>
                    <a:pt x="4289" y="47214"/>
                  </a:lnTo>
                  <a:lnTo>
                    <a:pt x="3453" y="49540"/>
                  </a:lnTo>
                  <a:lnTo>
                    <a:pt x="2690" y="51793"/>
                  </a:lnTo>
                  <a:lnTo>
                    <a:pt x="1999" y="53938"/>
                  </a:lnTo>
                  <a:lnTo>
                    <a:pt x="1381" y="56009"/>
                  </a:lnTo>
                  <a:lnTo>
                    <a:pt x="872" y="57899"/>
                  </a:lnTo>
                  <a:lnTo>
                    <a:pt x="473" y="59680"/>
                  </a:lnTo>
                  <a:lnTo>
                    <a:pt x="327" y="60516"/>
                  </a:lnTo>
                  <a:lnTo>
                    <a:pt x="182" y="61316"/>
                  </a:lnTo>
                  <a:lnTo>
                    <a:pt x="109" y="62079"/>
                  </a:lnTo>
                  <a:lnTo>
                    <a:pt x="37" y="62806"/>
                  </a:lnTo>
                  <a:lnTo>
                    <a:pt x="0" y="63460"/>
                  </a:lnTo>
                  <a:lnTo>
                    <a:pt x="0" y="64114"/>
                  </a:lnTo>
                  <a:lnTo>
                    <a:pt x="73" y="64696"/>
                  </a:lnTo>
                  <a:lnTo>
                    <a:pt x="146" y="65205"/>
                  </a:lnTo>
                  <a:lnTo>
                    <a:pt x="291" y="65714"/>
                  </a:lnTo>
                  <a:lnTo>
                    <a:pt x="436" y="66113"/>
                  </a:lnTo>
                  <a:lnTo>
                    <a:pt x="654" y="66513"/>
                  </a:lnTo>
                  <a:lnTo>
                    <a:pt x="909" y="66840"/>
                  </a:lnTo>
                  <a:lnTo>
                    <a:pt x="1200" y="67095"/>
                  </a:lnTo>
                  <a:lnTo>
                    <a:pt x="1563" y="67313"/>
                  </a:lnTo>
                  <a:lnTo>
                    <a:pt x="1963" y="67458"/>
                  </a:lnTo>
                  <a:lnTo>
                    <a:pt x="2399" y="67567"/>
                  </a:lnTo>
                  <a:lnTo>
                    <a:pt x="7596" y="68185"/>
                  </a:lnTo>
                  <a:lnTo>
                    <a:pt x="11086" y="68585"/>
                  </a:lnTo>
                  <a:lnTo>
                    <a:pt x="15047" y="69021"/>
                  </a:lnTo>
                  <a:lnTo>
                    <a:pt x="19372" y="69421"/>
                  </a:lnTo>
                  <a:lnTo>
                    <a:pt x="23952" y="69784"/>
                  </a:lnTo>
                  <a:lnTo>
                    <a:pt x="28677" y="70111"/>
                  </a:lnTo>
                  <a:lnTo>
                    <a:pt x="31076" y="70220"/>
                  </a:lnTo>
                  <a:lnTo>
                    <a:pt x="33475" y="70330"/>
                  </a:lnTo>
                  <a:lnTo>
                    <a:pt x="35837" y="70402"/>
                  </a:lnTo>
                  <a:lnTo>
                    <a:pt x="38163" y="70475"/>
                  </a:lnTo>
                  <a:lnTo>
                    <a:pt x="40489" y="70475"/>
                  </a:lnTo>
                  <a:lnTo>
                    <a:pt x="42706" y="70439"/>
                  </a:lnTo>
                  <a:lnTo>
                    <a:pt x="44887" y="70366"/>
                  </a:lnTo>
                  <a:lnTo>
                    <a:pt x="46995" y="70257"/>
                  </a:lnTo>
                  <a:lnTo>
                    <a:pt x="48994" y="70111"/>
                  </a:lnTo>
                  <a:lnTo>
                    <a:pt x="50884" y="69893"/>
                  </a:lnTo>
                  <a:lnTo>
                    <a:pt x="52665" y="69639"/>
                  </a:lnTo>
                  <a:lnTo>
                    <a:pt x="54301" y="69312"/>
                  </a:lnTo>
                  <a:lnTo>
                    <a:pt x="55064" y="69130"/>
                  </a:lnTo>
                  <a:lnTo>
                    <a:pt x="55791" y="68912"/>
                  </a:lnTo>
                  <a:lnTo>
                    <a:pt x="56481" y="68730"/>
                  </a:lnTo>
                  <a:lnTo>
                    <a:pt x="57136" y="68476"/>
                  </a:lnTo>
                  <a:lnTo>
                    <a:pt x="57717" y="68221"/>
                  </a:lnTo>
                  <a:lnTo>
                    <a:pt x="58299" y="67967"/>
                  </a:lnTo>
                  <a:lnTo>
                    <a:pt x="58808" y="67676"/>
                  </a:lnTo>
                  <a:lnTo>
                    <a:pt x="59280" y="67386"/>
                  </a:lnTo>
                  <a:lnTo>
                    <a:pt x="59680" y="67058"/>
                  </a:lnTo>
                  <a:lnTo>
                    <a:pt x="60043" y="66731"/>
                  </a:lnTo>
                  <a:lnTo>
                    <a:pt x="60334" y="66368"/>
                  </a:lnTo>
                  <a:lnTo>
                    <a:pt x="60588" y="66004"/>
                  </a:lnTo>
                  <a:lnTo>
                    <a:pt x="61061" y="65132"/>
                  </a:lnTo>
                  <a:lnTo>
                    <a:pt x="61606" y="64042"/>
                  </a:lnTo>
                  <a:lnTo>
                    <a:pt x="62151" y="62770"/>
                  </a:lnTo>
                  <a:lnTo>
                    <a:pt x="62769" y="61316"/>
                  </a:lnTo>
                  <a:lnTo>
                    <a:pt x="63387" y="59717"/>
                  </a:lnTo>
                  <a:lnTo>
                    <a:pt x="64041" y="57972"/>
                  </a:lnTo>
                  <a:lnTo>
                    <a:pt x="64732" y="56082"/>
                  </a:lnTo>
                  <a:lnTo>
                    <a:pt x="65422" y="54083"/>
                  </a:lnTo>
                  <a:lnTo>
                    <a:pt x="66876" y="49758"/>
                  </a:lnTo>
                  <a:lnTo>
                    <a:pt x="68330" y="45106"/>
                  </a:lnTo>
                  <a:lnTo>
                    <a:pt x="69784" y="40235"/>
                  </a:lnTo>
                  <a:lnTo>
                    <a:pt x="71201" y="35292"/>
                  </a:lnTo>
                  <a:lnTo>
                    <a:pt x="72510" y="30349"/>
                  </a:lnTo>
                  <a:lnTo>
                    <a:pt x="73128" y="27914"/>
                  </a:lnTo>
                  <a:lnTo>
                    <a:pt x="73746" y="25515"/>
                  </a:lnTo>
                  <a:lnTo>
                    <a:pt x="74291" y="23153"/>
                  </a:lnTo>
                  <a:lnTo>
                    <a:pt x="74763" y="20863"/>
                  </a:lnTo>
                  <a:lnTo>
                    <a:pt x="75236" y="18682"/>
                  </a:lnTo>
                  <a:lnTo>
                    <a:pt x="75636" y="16574"/>
                  </a:lnTo>
                  <a:lnTo>
                    <a:pt x="75963" y="14612"/>
                  </a:lnTo>
                  <a:lnTo>
                    <a:pt x="76253" y="12758"/>
                  </a:lnTo>
                  <a:lnTo>
                    <a:pt x="76472" y="11013"/>
                  </a:lnTo>
                  <a:lnTo>
                    <a:pt x="76617" y="9450"/>
                  </a:lnTo>
                  <a:lnTo>
                    <a:pt x="76726" y="8033"/>
                  </a:lnTo>
                  <a:lnTo>
                    <a:pt x="76690" y="6797"/>
                  </a:lnTo>
                  <a:lnTo>
                    <a:pt x="76690" y="6252"/>
                  </a:lnTo>
                  <a:lnTo>
                    <a:pt x="76617" y="5743"/>
                  </a:lnTo>
                  <a:lnTo>
                    <a:pt x="76544" y="5307"/>
                  </a:lnTo>
                  <a:lnTo>
                    <a:pt x="76435" y="4907"/>
                  </a:lnTo>
                  <a:lnTo>
                    <a:pt x="76290" y="4544"/>
                  </a:lnTo>
                  <a:lnTo>
                    <a:pt x="76072" y="4217"/>
                  </a:lnTo>
                  <a:lnTo>
                    <a:pt x="75781" y="3890"/>
                  </a:lnTo>
                  <a:lnTo>
                    <a:pt x="75418" y="3562"/>
                  </a:lnTo>
                  <a:lnTo>
                    <a:pt x="74981" y="3272"/>
                  </a:lnTo>
                  <a:lnTo>
                    <a:pt x="74473" y="2981"/>
                  </a:lnTo>
                  <a:lnTo>
                    <a:pt x="73927" y="2726"/>
                  </a:lnTo>
                  <a:lnTo>
                    <a:pt x="73273" y="2472"/>
                  </a:lnTo>
                  <a:lnTo>
                    <a:pt x="72619" y="2218"/>
                  </a:lnTo>
                  <a:lnTo>
                    <a:pt x="71856" y="2000"/>
                  </a:lnTo>
                  <a:lnTo>
                    <a:pt x="71092" y="1782"/>
                  </a:lnTo>
                  <a:lnTo>
                    <a:pt x="70220" y="1563"/>
                  </a:lnTo>
                  <a:lnTo>
                    <a:pt x="69348" y="1382"/>
                  </a:lnTo>
                  <a:lnTo>
                    <a:pt x="68403" y="1200"/>
                  </a:lnTo>
                  <a:lnTo>
                    <a:pt x="66404" y="909"/>
                  </a:lnTo>
                  <a:lnTo>
                    <a:pt x="64259" y="655"/>
                  </a:lnTo>
                  <a:lnTo>
                    <a:pt x="61970" y="437"/>
                  </a:lnTo>
                  <a:lnTo>
                    <a:pt x="59571" y="255"/>
                  </a:lnTo>
                  <a:lnTo>
                    <a:pt x="57099" y="146"/>
                  </a:lnTo>
                  <a:lnTo>
                    <a:pt x="54519" y="37"/>
                  </a:lnTo>
                  <a:lnTo>
                    <a:pt x="51902" y="1"/>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20" name="Google Shape;2549;p11">
              <a:extLst>
                <a:ext uri="{FF2B5EF4-FFF2-40B4-BE49-F238E27FC236}">
                  <a16:creationId xmlns:a16="http://schemas.microsoft.com/office/drawing/2014/main" id="{E831C643-8FBD-221D-0BA4-34663BA349E4}"/>
                </a:ext>
              </a:extLst>
            </p:cNvPr>
            <p:cNvSpPr/>
            <p:nvPr/>
          </p:nvSpPr>
          <p:spPr>
            <a:xfrm>
              <a:off x="5461000" y="536800"/>
              <a:ext cx="1918150" cy="1761875"/>
            </a:xfrm>
            <a:custGeom>
              <a:avLst/>
              <a:gdLst/>
              <a:ahLst/>
              <a:cxnLst/>
              <a:rect l="l" t="t" r="r" b="b"/>
              <a:pathLst>
                <a:path w="76726" h="70475" fill="none" extrusionOk="0">
                  <a:moveTo>
                    <a:pt x="18246" y="4689"/>
                  </a:moveTo>
                  <a:lnTo>
                    <a:pt x="18246" y="4689"/>
                  </a:lnTo>
                  <a:lnTo>
                    <a:pt x="18173" y="5525"/>
                  </a:lnTo>
                  <a:lnTo>
                    <a:pt x="18064" y="6434"/>
                  </a:lnTo>
                  <a:lnTo>
                    <a:pt x="17919" y="7342"/>
                  </a:lnTo>
                  <a:lnTo>
                    <a:pt x="17773" y="8324"/>
                  </a:lnTo>
                  <a:lnTo>
                    <a:pt x="17337" y="10323"/>
                  </a:lnTo>
                  <a:lnTo>
                    <a:pt x="16828" y="12467"/>
                  </a:lnTo>
                  <a:lnTo>
                    <a:pt x="16174" y="14684"/>
                  </a:lnTo>
                  <a:lnTo>
                    <a:pt x="15483" y="17010"/>
                  </a:lnTo>
                  <a:lnTo>
                    <a:pt x="14720" y="19409"/>
                  </a:lnTo>
                  <a:lnTo>
                    <a:pt x="13848" y="21844"/>
                  </a:lnTo>
                  <a:lnTo>
                    <a:pt x="12976" y="24352"/>
                  </a:lnTo>
                  <a:lnTo>
                    <a:pt x="12031" y="26933"/>
                  </a:lnTo>
                  <a:lnTo>
                    <a:pt x="10068" y="32094"/>
                  </a:lnTo>
                  <a:lnTo>
                    <a:pt x="8069" y="37255"/>
                  </a:lnTo>
                  <a:lnTo>
                    <a:pt x="6106" y="42343"/>
                  </a:lnTo>
                  <a:lnTo>
                    <a:pt x="4289" y="47214"/>
                  </a:lnTo>
                  <a:lnTo>
                    <a:pt x="3453" y="49540"/>
                  </a:lnTo>
                  <a:lnTo>
                    <a:pt x="2690" y="51793"/>
                  </a:lnTo>
                  <a:lnTo>
                    <a:pt x="1999" y="53938"/>
                  </a:lnTo>
                  <a:lnTo>
                    <a:pt x="1381" y="56009"/>
                  </a:lnTo>
                  <a:lnTo>
                    <a:pt x="872" y="57899"/>
                  </a:lnTo>
                  <a:lnTo>
                    <a:pt x="473" y="59680"/>
                  </a:lnTo>
                  <a:lnTo>
                    <a:pt x="327" y="60516"/>
                  </a:lnTo>
                  <a:lnTo>
                    <a:pt x="182" y="61316"/>
                  </a:lnTo>
                  <a:lnTo>
                    <a:pt x="109" y="62079"/>
                  </a:lnTo>
                  <a:lnTo>
                    <a:pt x="37" y="62806"/>
                  </a:lnTo>
                  <a:lnTo>
                    <a:pt x="0" y="63460"/>
                  </a:lnTo>
                  <a:lnTo>
                    <a:pt x="0" y="64114"/>
                  </a:lnTo>
                  <a:lnTo>
                    <a:pt x="73" y="64696"/>
                  </a:lnTo>
                  <a:lnTo>
                    <a:pt x="146" y="65205"/>
                  </a:lnTo>
                  <a:lnTo>
                    <a:pt x="291" y="65714"/>
                  </a:lnTo>
                  <a:lnTo>
                    <a:pt x="436" y="66113"/>
                  </a:lnTo>
                  <a:lnTo>
                    <a:pt x="654" y="66513"/>
                  </a:lnTo>
                  <a:lnTo>
                    <a:pt x="909" y="66840"/>
                  </a:lnTo>
                  <a:lnTo>
                    <a:pt x="1200" y="67095"/>
                  </a:lnTo>
                  <a:lnTo>
                    <a:pt x="1563" y="67313"/>
                  </a:lnTo>
                  <a:lnTo>
                    <a:pt x="1963" y="67458"/>
                  </a:lnTo>
                  <a:lnTo>
                    <a:pt x="2399" y="67567"/>
                  </a:lnTo>
                  <a:lnTo>
                    <a:pt x="2399" y="67567"/>
                  </a:lnTo>
                  <a:lnTo>
                    <a:pt x="7596" y="68185"/>
                  </a:lnTo>
                  <a:lnTo>
                    <a:pt x="11086" y="68585"/>
                  </a:lnTo>
                  <a:lnTo>
                    <a:pt x="15047" y="69021"/>
                  </a:lnTo>
                  <a:lnTo>
                    <a:pt x="19372" y="69421"/>
                  </a:lnTo>
                  <a:lnTo>
                    <a:pt x="23952" y="69784"/>
                  </a:lnTo>
                  <a:lnTo>
                    <a:pt x="28677" y="70111"/>
                  </a:lnTo>
                  <a:lnTo>
                    <a:pt x="31076" y="70220"/>
                  </a:lnTo>
                  <a:lnTo>
                    <a:pt x="33475" y="70330"/>
                  </a:lnTo>
                  <a:lnTo>
                    <a:pt x="35837" y="70402"/>
                  </a:lnTo>
                  <a:lnTo>
                    <a:pt x="38163" y="70475"/>
                  </a:lnTo>
                  <a:lnTo>
                    <a:pt x="40489" y="70475"/>
                  </a:lnTo>
                  <a:lnTo>
                    <a:pt x="42706" y="70439"/>
                  </a:lnTo>
                  <a:lnTo>
                    <a:pt x="44887" y="70366"/>
                  </a:lnTo>
                  <a:lnTo>
                    <a:pt x="46995" y="70257"/>
                  </a:lnTo>
                  <a:lnTo>
                    <a:pt x="48994" y="70111"/>
                  </a:lnTo>
                  <a:lnTo>
                    <a:pt x="50884" y="69893"/>
                  </a:lnTo>
                  <a:lnTo>
                    <a:pt x="52665" y="69639"/>
                  </a:lnTo>
                  <a:lnTo>
                    <a:pt x="54301" y="69312"/>
                  </a:lnTo>
                  <a:lnTo>
                    <a:pt x="55064" y="69130"/>
                  </a:lnTo>
                  <a:lnTo>
                    <a:pt x="55791" y="68912"/>
                  </a:lnTo>
                  <a:lnTo>
                    <a:pt x="56481" y="68730"/>
                  </a:lnTo>
                  <a:lnTo>
                    <a:pt x="57136" y="68476"/>
                  </a:lnTo>
                  <a:lnTo>
                    <a:pt x="57717" y="68221"/>
                  </a:lnTo>
                  <a:lnTo>
                    <a:pt x="58299" y="67967"/>
                  </a:lnTo>
                  <a:lnTo>
                    <a:pt x="58808" y="67676"/>
                  </a:lnTo>
                  <a:lnTo>
                    <a:pt x="59280" y="67386"/>
                  </a:lnTo>
                  <a:lnTo>
                    <a:pt x="59680" y="67058"/>
                  </a:lnTo>
                  <a:lnTo>
                    <a:pt x="60043" y="66731"/>
                  </a:lnTo>
                  <a:lnTo>
                    <a:pt x="60334" y="66368"/>
                  </a:lnTo>
                  <a:lnTo>
                    <a:pt x="60588" y="66004"/>
                  </a:lnTo>
                  <a:lnTo>
                    <a:pt x="60588" y="66004"/>
                  </a:lnTo>
                  <a:lnTo>
                    <a:pt x="61061" y="65132"/>
                  </a:lnTo>
                  <a:lnTo>
                    <a:pt x="61606" y="64042"/>
                  </a:lnTo>
                  <a:lnTo>
                    <a:pt x="62151" y="62770"/>
                  </a:lnTo>
                  <a:lnTo>
                    <a:pt x="62769" y="61316"/>
                  </a:lnTo>
                  <a:lnTo>
                    <a:pt x="63387" y="59717"/>
                  </a:lnTo>
                  <a:lnTo>
                    <a:pt x="64041" y="57972"/>
                  </a:lnTo>
                  <a:lnTo>
                    <a:pt x="64732" y="56082"/>
                  </a:lnTo>
                  <a:lnTo>
                    <a:pt x="65422" y="54083"/>
                  </a:lnTo>
                  <a:lnTo>
                    <a:pt x="66876" y="49758"/>
                  </a:lnTo>
                  <a:lnTo>
                    <a:pt x="68330" y="45106"/>
                  </a:lnTo>
                  <a:lnTo>
                    <a:pt x="69784" y="40235"/>
                  </a:lnTo>
                  <a:lnTo>
                    <a:pt x="71201" y="35292"/>
                  </a:lnTo>
                  <a:lnTo>
                    <a:pt x="72510" y="30349"/>
                  </a:lnTo>
                  <a:lnTo>
                    <a:pt x="73128" y="27914"/>
                  </a:lnTo>
                  <a:lnTo>
                    <a:pt x="73746" y="25515"/>
                  </a:lnTo>
                  <a:lnTo>
                    <a:pt x="74291" y="23153"/>
                  </a:lnTo>
                  <a:lnTo>
                    <a:pt x="74763" y="20863"/>
                  </a:lnTo>
                  <a:lnTo>
                    <a:pt x="75236" y="18682"/>
                  </a:lnTo>
                  <a:lnTo>
                    <a:pt x="75636" y="16574"/>
                  </a:lnTo>
                  <a:lnTo>
                    <a:pt x="75963" y="14612"/>
                  </a:lnTo>
                  <a:lnTo>
                    <a:pt x="76253" y="12758"/>
                  </a:lnTo>
                  <a:lnTo>
                    <a:pt x="76472" y="11013"/>
                  </a:lnTo>
                  <a:lnTo>
                    <a:pt x="76617" y="9450"/>
                  </a:lnTo>
                  <a:lnTo>
                    <a:pt x="76726" y="8033"/>
                  </a:lnTo>
                  <a:lnTo>
                    <a:pt x="76690" y="6797"/>
                  </a:lnTo>
                  <a:lnTo>
                    <a:pt x="76690" y="6252"/>
                  </a:lnTo>
                  <a:lnTo>
                    <a:pt x="76617" y="5743"/>
                  </a:lnTo>
                  <a:lnTo>
                    <a:pt x="76544" y="5307"/>
                  </a:lnTo>
                  <a:lnTo>
                    <a:pt x="76435" y="4907"/>
                  </a:lnTo>
                  <a:lnTo>
                    <a:pt x="76435" y="4907"/>
                  </a:lnTo>
                  <a:lnTo>
                    <a:pt x="76290" y="4544"/>
                  </a:lnTo>
                  <a:lnTo>
                    <a:pt x="76072" y="4217"/>
                  </a:lnTo>
                  <a:lnTo>
                    <a:pt x="75781" y="3890"/>
                  </a:lnTo>
                  <a:lnTo>
                    <a:pt x="75418" y="3562"/>
                  </a:lnTo>
                  <a:lnTo>
                    <a:pt x="74981" y="3272"/>
                  </a:lnTo>
                  <a:lnTo>
                    <a:pt x="74473" y="2981"/>
                  </a:lnTo>
                  <a:lnTo>
                    <a:pt x="73927" y="2726"/>
                  </a:lnTo>
                  <a:lnTo>
                    <a:pt x="73273" y="2472"/>
                  </a:lnTo>
                  <a:lnTo>
                    <a:pt x="72619" y="2218"/>
                  </a:lnTo>
                  <a:lnTo>
                    <a:pt x="71856" y="2000"/>
                  </a:lnTo>
                  <a:lnTo>
                    <a:pt x="71092" y="1782"/>
                  </a:lnTo>
                  <a:lnTo>
                    <a:pt x="70220" y="1563"/>
                  </a:lnTo>
                  <a:lnTo>
                    <a:pt x="69348" y="1382"/>
                  </a:lnTo>
                  <a:lnTo>
                    <a:pt x="68403" y="1200"/>
                  </a:lnTo>
                  <a:lnTo>
                    <a:pt x="66404" y="909"/>
                  </a:lnTo>
                  <a:lnTo>
                    <a:pt x="64259" y="655"/>
                  </a:lnTo>
                  <a:lnTo>
                    <a:pt x="61970" y="437"/>
                  </a:lnTo>
                  <a:lnTo>
                    <a:pt x="59571" y="255"/>
                  </a:lnTo>
                  <a:lnTo>
                    <a:pt x="57099" y="146"/>
                  </a:lnTo>
                  <a:lnTo>
                    <a:pt x="54519" y="37"/>
                  </a:lnTo>
                  <a:lnTo>
                    <a:pt x="51902" y="1"/>
                  </a:lnTo>
                  <a:lnTo>
                    <a:pt x="49249" y="1"/>
                  </a:lnTo>
                  <a:lnTo>
                    <a:pt x="46595" y="37"/>
                  </a:lnTo>
                  <a:lnTo>
                    <a:pt x="43942" y="146"/>
                  </a:lnTo>
                  <a:lnTo>
                    <a:pt x="41289" y="255"/>
                  </a:lnTo>
                  <a:lnTo>
                    <a:pt x="38708" y="400"/>
                  </a:lnTo>
                  <a:lnTo>
                    <a:pt x="36164" y="582"/>
                  </a:lnTo>
                  <a:lnTo>
                    <a:pt x="33729" y="764"/>
                  </a:lnTo>
                  <a:lnTo>
                    <a:pt x="31403" y="1018"/>
                  </a:lnTo>
                  <a:lnTo>
                    <a:pt x="29186" y="1273"/>
                  </a:lnTo>
                  <a:lnTo>
                    <a:pt x="27150" y="1563"/>
                  </a:lnTo>
                  <a:lnTo>
                    <a:pt x="25260" y="1891"/>
                  </a:lnTo>
                  <a:lnTo>
                    <a:pt x="23516" y="2254"/>
                  </a:lnTo>
                  <a:lnTo>
                    <a:pt x="22026" y="2617"/>
                  </a:lnTo>
                  <a:lnTo>
                    <a:pt x="20754" y="2981"/>
                  </a:lnTo>
                  <a:lnTo>
                    <a:pt x="20172" y="3199"/>
                  </a:lnTo>
                  <a:lnTo>
                    <a:pt x="19700" y="3381"/>
                  </a:lnTo>
                  <a:lnTo>
                    <a:pt x="19263" y="3599"/>
                  </a:lnTo>
                  <a:lnTo>
                    <a:pt x="18936" y="3817"/>
                  </a:lnTo>
                  <a:lnTo>
                    <a:pt x="18646" y="4035"/>
                  </a:lnTo>
                  <a:lnTo>
                    <a:pt x="18427" y="4253"/>
                  </a:lnTo>
                  <a:lnTo>
                    <a:pt x="18282" y="4471"/>
                  </a:lnTo>
                  <a:lnTo>
                    <a:pt x="18246" y="4689"/>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21" name="Google Shape;2550;p11">
              <a:extLst>
                <a:ext uri="{FF2B5EF4-FFF2-40B4-BE49-F238E27FC236}">
                  <a16:creationId xmlns:a16="http://schemas.microsoft.com/office/drawing/2014/main" id="{FBC10B33-F378-D523-ED5B-B38FE69A6D1F}"/>
                </a:ext>
              </a:extLst>
            </p:cNvPr>
            <p:cNvSpPr/>
            <p:nvPr/>
          </p:nvSpPr>
          <p:spPr>
            <a:xfrm>
              <a:off x="6004350" y="970225"/>
              <a:ext cx="1026800" cy="41825"/>
            </a:xfrm>
            <a:custGeom>
              <a:avLst/>
              <a:gdLst/>
              <a:ahLst/>
              <a:cxnLst/>
              <a:rect l="l" t="t" r="r" b="b"/>
              <a:pathLst>
                <a:path w="41072" h="1673" extrusionOk="0">
                  <a:moveTo>
                    <a:pt x="1" y="0"/>
                  </a:moveTo>
                  <a:lnTo>
                    <a:pt x="1" y="1672"/>
                  </a:lnTo>
                  <a:lnTo>
                    <a:pt x="41072" y="1672"/>
                  </a:lnTo>
                  <a:lnTo>
                    <a:pt x="41072" y="0"/>
                  </a:lnTo>
                  <a:close/>
                </a:path>
              </a:pathLst>
            </a:custGeom>
            <a:solidFill>
              <a:srgbClr val="6A6A7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22" name="Google Shape;2551;p11">
              <a:extLst>
                <a:ext uri="{FF2B5EF4-FFF2-40B4-BE49-F238E27FC236}">
                  <a16:creationId xmlns:a16="http://schemas.microsoft.com/office/drawing/2014/main" id="{9BDBA5F5-BD03-D1CB-900E-AF8C516B58B5}"/>
                </a:ext>
              </a:extLst>
            </p:cNvPr>
            <p:cNvSpPr/>
            <p:nvPr/>
          </p:nvSpPr>
          <p:spPr>
            <a:xfrm>
              <a:off x="6004350" y="970225"/>
              <a:ext cx="1026800" cy="41825"/>
            </a:xfrm>
            <a:custGeom>
              <a:avLst/>
              <a:gdLst/>
              <a:ahLst/>
              <a:cxnLst/>
              <a:rect l="l" t="t" r="r" b="b"/>
              <a:pathLst>
                <a:path w="41072" h="1673" fill="none" extrusionOk="0">
                  <a:moveTo>
                    <a:pt x="41072" y="0"/>
                  </a:moveTo>
                  <a:lnTo>
                    <a:pt x="1" y="0"/>
                  </a:lnTo>
                  <a:lnTo>
                    <a:pt x="1" y="1672"/>
                  </a:lnTo>
                  <a:lnTo>
                    <a:pt x="41072" y="1672"/>
                  </a:lnTo>
                  <a:lnTo>
                    <a:pt x="41072"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23" name="Google Shape;2552;p11">
              <a:extLst>
                <a:ext uri="{FF2B5EF4-FFF2-40B4-BE49-F238E27FC236}">
                  <a16:creationId xmlns:a16="http://schemas.microsoft.com/office/drawing/2014/main" id="{D870B229-4F64-B171-EA79-DBB5D1425812}"/>
                </a:ext>
              </a:extLst>
            </p:cNvPr>
            <p:cNvSpPr/>
            <p:nvPr/>
          </p:nvSpPr>
          <p:spPr>
            <a:xfrm>
              <a:off x="5932575" y="1159225"/>
              <a:ext cx="1026800" cy="42725"/>
            </a:xfrm>
            <a:custGeom>
              <a:avLst/>
              <a:gdLst/>
              <a:ahLst/>
              <a:cxnLst/>
              <a:rect l="l" t="t" r="r" b="b"/>
              <a:pathLst>
                <a:path w="41072" h="1709" extrusionOk="0">
                  <a:moveTo>
                    <a:pt x="1" y="0"/>
                  </a:moveTo>
                  <a:lnTo>
                    <a:pt x="1" y="1709"/>
                  </a:lnTo>
                  <a:lnTo>
                    <a:pt x="41071" y="1709"/>
                  </a:lnTo>
                  <a:lnTo>
                    <a:pt x="41071" y="0"/>
                  </a:lnTo>
                  <a:close/>
                </a:path>
              </a:pathLst>
            </a:custGeom>
            <a:solidFill>
              <a:srgbClr val="6A6A7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24" name="Google Shape;2553;p11">
              <a:extLst>
                <a:ext uri="{FF2B5EF4-FFF2-40B4-BE49-F238E27FC236}">
                  <a16:creationId xmlns:a16="http://schemas.microsoft.com/office/drawing/2014/main" id="{26AA747F-C105-DFA7-9233-8FE2DC3C4CC5}"/>
                </a:ext>
              </a:extLst>
            </p:cNvPr>
            <p:cNvSpPr/>
            <p:nvPr/>
          </p:nvSpPr>
          <p:spPr>
            <a:xfrm>
              <a:off x="5932575" y="1159225"/>
              <a:ext cx="1026800" cy="42725"/>
            </a:xfrm>
            <a:custGeom>
              <a:avLst/>
              <a:gdLst/>
              <a:ahLst/>
              <a:cxnLst/>
              <a:rect l="l" t="t" r="r" b="b"/>
              <a:pathLst>
                <a:path w="41072" h="1709" fill="none" extrusionOk="0">
                  <a:moveTo>
                    <a:pt x="41071" y="0"/>
                  </a:moveTo>
                  <a:lnTo>
                    <a:pt x="1" y="0"/>
                  </a:lnTo>
                  <a:lnTo>
                    <a:pt x="1" y="1709"/>
                  </a:lnTo>
                  <a:lnTo>
                    <a:pt x="41071" y="1709"/>
                  </a:lnTo>
                  <a:lnTo>
                    <a:pt x="4107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25" name="Google Shape;2554;p11">
              <a:extLst>
                <a:ext uri="{FF2B5EF4-FFF2-40B4-BE49-F238E27FC236}">
                  <a16:creationId xmlns:a16="http://schemas.microsoft.com/office/drawing/2014/main" id="{5E14053E-6D4D-DE44-45B3-2D9E22DDDC20}"/>
                </a:ext>
              </a:extLst>
            </p:cNvPr>
            <p:cNvSpPr/>
            <p:nvPr/>
          </p:nvSpPr>
          <p:spPr>
            <a:xfrm>
              <a:off x="5873525" y="1329150"/>
              <a:ext cx="1026775" cy="42725"/>
            </a:xfrm>
            <a:custGeom>
              <a:avLst/>
              <a:gdLst/>
              <a:ahLst/>
              <a:cxnLst/>
              <a:rect l="l" t="t" r="r" b="b"/>
              <a:pathLst>
                <a:path w="41071" h="1709" extrusionOk="0">
                  <a:moveTo>
                    <a:pt x="0" y="0"/>
                  </a:moveTo>
                  <a:lnTo>
                    <a:pt x="0" y="1708"/>
                  </a:lnTo>
                  <a:lnTo>
                    <a:pt x="41071" y="1708"/>
                  </a:lnTo>
                  <a:lnTo>
                    <a:pt x="41071" y="0"/>
                  </a:lnTo>
                  <a:close/>
                </a:path>
              </a:pathLst>
            </a:custGeom>
            <a:solidFill>
              <a:srgbClr val="6A6A7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26" name="Google Shape;2555;p11">
              <a:extLst>
                <a:ext uri="{FF2B5EF4-FFF2-40B4-BE49-F238E27FC236}">
                  <a16:creationId xmlns:a16="http://schemas.microsoft.com/office/drawing/2014/main" id="{0ECDF776-1CDE-C140-547A-DB2DBE1216C9}"/>
                </a:ext>
              </a:extLst>
            </p:cNvPr>
            <p:cNvSpPr/>
            <p:nvPr/>
          </p:nvSpPr>
          <p:spPr>
            <a:xfrm>
              <a:off x="5873525" y="1329150"/>
              <a:ext cx="1026775" cy="42725"/>
            </a:xfrm>
            <a:custGeom>
              <a:avLst/>
              <a:gdLst/>
              <a:ahLst/>
              <a:cxnLst/>
              <a:rect l="l" t="t" r="r" b="b"/>
              <a:pathLst>
                <a:path w="41071" h="1709" fill="none" extrusionOk="0">
                  <a:moveTo>
                    <a:pt x="41071" y="0"/>
                  </a:moveTo>
                  <a:lnTo>
                    <a:pt x="0" y="0"/>
                  </a:lnTo>
                  <a:lnTo>
                    <a:pt x="0" y="1708"/>
                  </a:lnTo>
                  <a:lnTo>
                    <a:pt x="41071" y="1708"/>
                  </a:lnTo>
                  <a:lnTo>
                    <a:pt x="4107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27" name="Google Shape;2556;p11">
              <a:extLst>
                <a:ext uri="{FF2B5EF4-FFF2-40B4-BE49-F238E27FC236}">
                  <a16:creationId xmlns:a16="http://schemas.microsoft.com/office/drawing/2014/main" id="{9BB156D9-5F20-57BF-471D-A30DFD9F5004}"/>
                </a:ext>
              </a:extLst>
            </p:cNvPr>
            <p:cNvSpPr/>
            <p:nvPr/>
          </p:nvSpPr>
          <p:spPr>
            <a:xfrm>
              <a:off x="5792650" y="1515400"/>
              <a:ext cx="1026775" cy="41825"/>
            </a:xfrm>
            <a:custGeom>
              <a:avLst/>
              <a:gdLst/>
              <a:ahLst/>
              <a:cxnLst/>
              <a:rect l="l" t="t" r="r" b="b"/>
              <a:pathLst>
                <a:path w="41071" h="1673" extrusionOk="0">
                  <a:moveTo>
                    <a:pt x="0" y="1"/>
                  </a:moveTo>
                  <a:lnTo>
                    <a:pt x="0" y="1673"/>
                  </a:lnTo>
                  <a:lnTo>
                    <a:pt x="41071" y="1673"/>
                  </a:lnTo>
                  <a:lnTo>
                    <a:pt x="41071" y="1"/>
                  </a:lnTo>
                  <a:close/>
                </a:path>
              </a:pathLst>
            </a:custGeom>
            <a:solidFill>
              <a:srgbClr val="6A6A7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28" name="Google Shape;2557;p11">
              <a:extLst>
                <a:ext uri="{FF2B5EF4-FFF2-40B4-BE49-F238E27FC236}">
                  <a16:creationId xmlns:a16="http://schemas.microsoft.com/office/drawing/2014/main" id="{098CE94D-5410-6F83-C28D-8AA66DAEA1F6}"/>
                </a:ext>
              </a:extLst>
            </p:cNvPr>
            <p:cNvSpPr/>
            <p:nvPr/>
          </p:nvSpPr>
          <p:spPr>
            <a:xfrm>
              <a:off x="5792650" y="1515400"/>
              <a:ext cx="1026775" cy="41825"/>
            </a:xfrm>
            <a:custGeom>
              <a:avLst/>
              <a:gdLst/>
              <a:ahLst/>
              <a:cxnLst/>
              <a:rect l="l" t="t" r="r" b="b"/>
              <a:pathLst>
                <a:path w="41071" h="1673" fill="none" extrusionOk="0">
                  <a:moveTo>
                    <a:pt x="41071" y="1"/>
                  </a:moveTo>
                  <a:lnTo>
                    <a:pt x="0" y="1"/>
                  </a:lnTo>
                  <a:lnTo>
                    <a:pt x="0" y="1673"/>
                  </a:lnTo>
                  <a:lnTo>
                    <a:pt x="41071" y="1673"/>
                  </a:lnTo>
                  <a:lnTo>
                    <a:pt x="41071"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29" name="Google Shape;2558;p11">
              <a:extLst>
                <a:ext uri="{FF2B5EF4-FFF2-40B4-BE49-F238E27FC236}">
                  <a16:creationId xmlns:a16="http://schemas.microsoft.com/office/drawing/2014/main" id="{F46588D1-A129-1208-9C0D-E91C14D008E7}"/>
                </a:ext>
              </a:extLst>
            </p:cNvPr>
            <p:cNvSpPr/>
            <p:nvPr/>
          </p:nvSpPr>
          <p:spPr>
            <a:xfrm>
              <a:off x="6739450" y="948425"/>
              <a:ext cx="109075" cy="80875"/>
            </a:xfrm>
            <a:custGeom>
              <a:avLst/>
              <a:gdLst/>
              <a:ahLst/>
              <a:cxnLst/>
              <a:rect l="l" t="t" r="r" b="b"/>
              <a:pathLst>
                <a:path w="4363" h="3235" extrusionOk="0">
                  <a:moveTo>
                    <a:pt x="1" y="0"/>
                  </a:moveTo>
                  <a:lnTo>
                    <a:pt x="1" y="3235"/>
                  </a:lnTo>
                  <a:lnTo>
                    <a:pt x="4362" y="3235"/>
                  </a:lnTo>
                  <a:lnTo>
                    <a:pt x="4362" y="0"/>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30" name="Google Shape;2559;p11">
              <a:extLst>
                <a:ext uri="{FF2B5EF4-FFF2-40B4-BE49-F238E27FC236}">
                  <a16:creationId xmlns:a16="http://schemas.microsoft.com/office/drawing/2014/main" id="{76A0579B-ABA6-D0B9-686D-F45D03490B9B}"/>
                </a:ext>
              </a:extLst>
            </p:cNvPr>
            <p:cNvSpPr/>
            <p:nvPr/>
          </p:nvSpPr>
          <p:spPr>
            <a:xfrm>
              <a:off x="6323300" y="939325"/>
              <a:ext cx="122675" cy="109075"/>
            </a:xfrm>
            <a:custGeom>
              <a:avLst/>
              <a:gdLst/>
              <a:ahLst/>
              <a:cxnLst/>
              <a:rect l="l" t="t" r="r" b="b"/>
              <a:pathLst>
                <a:path w="4907" h="4363" extrusionOk="0">
                  <a:moveTo>
                    <a:pt x="0" y="1"/>
                  </a:moveTo>
                  <a:lnTo>
                    <a:pt x="0" y="4362"/>
                  </a:lnTo>
                  <a:lnTo>
                    <a:pt x="4907" y="4362"/>
                  </a:lnTo>
                  <a:lnTo>
                    <a:pt x="4907" y="1"/>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31" name="Google Shape;2560;p11">
              <a:extLst>
                <a:ext uri="{FF2B5EF4-FFF2-40B4-BE49-F238E27FC236}">
                  <a16:creationId xmlns:a16="http://schemas.microsoft.com/office/drawing/2014/main" id="{AD5FBB59-158E-C135-8958-DEEF5F65D6B0}"/>
                </a:ext>
              </a:extLst>
            </p:cNvPr>
            <p:cNvSpPr/>
            <p:nvPr/>
          </p:nvSpPr>
          <p:spPr>
            <a:xfrm>
              <a:off x="6469575" y="1150125"/>
              <a:ext cx="129050" cy="67275"/>
            </a:xfrm>
            <a:custGeom>
              <a:avLst/>
              <a:gdLst/>
              <a:ahLst/>
              <a:cxnLst/>
              <a:rect l="l" t="t" r="r" b="b"/>
              <a:pathLst>
                <a:path w="5162" h="2691" extrusionOk="0">
                  <a:moveTo>
                    <a:pt x="1" y="1"/>
                  </a:moveTo>
                  <a:lnTo>
                    <a:pt x="1" y="2691"/>
                  </a:lnTo>
                  <a:lnTo>
                    <a:pt x="5162" y="2691"/>
                  </a:lnTo>
                  <a:lnTo>
                    <a:pt x="5162" y="1"/>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32" name="Google Shape;2561;p11">
              <a:extLst>
                <a:ext uri="{FF2B5EF4-FFF2-40B4-BE49-F238E27FC236}">
                  <a16:creationId xmlns:a16="http://schemas.microsoft.com/office/drawing/2014/main" id="{6A5127AD-6C5B-1851-F1A1-BF3C5E30CEF3}"/>
                </a:ext>
              </a:extLst>
            </p:cNvPr>
            <p:cNvSpPr/>
            <p:nvPr/>
          </p:nvSpPr>
          <p:spPr>
            <a:xfrm>
              <a:off x="6743075" y="1313700"/>
              <a:ext cx="69100" cy="86325"/>
            </a:xfrm>
            <a:custGeom>
              <a:avLst/>
              <a:gdLst/>
              <a:ahLst/>
              <a:cxnLst/>
              <a:rect l="l" t="t" r="r" b="b"/>
              <a:pathLst>
                <a:path w="2764" h="3453" extrusionOk="0">
                  <a:moveTo>
                    <a:pt x="1" y="0"/>
                  </a:moveTo>
                  <a:lnTo>
                    <a:pt x="1" y="3453"/>
                  </a:lnTo>
                  <a:lnTo>
                    <a:pt x="2763" y="3453"/>
                  </a:lnTo>
                  <a:lnTo>
                    <a:pt x="2763" y="0"/>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33" name="Google Shape;2562;p11">
              <a:extLst>
                <a:ext uri="{FF2B5EF4-FFF2-40B4-BE49-F238E27FC236}">
                  <a16:creationId xmlns:a16="http://schemas.microsoft.com/office/drawing/2014/main" id="{658C0408-854C-3DFA-327F-50316A9CFD43}"/>
                </a:ext>
              </a:extLst>
            </p:cNvPr>
            <p:cNvSpPr/>
            <p:nvPr/>
          </p:nvSpPr>
          <p:spPr>
            <a:xfrm>
              <a:off x="6098850" y="1304600"/>
              <a:ext cx="139975" cy="92700"/>
            </a:xfrm>
            <a:custGeom>
              <a:avLst/>
              <a:gdLst/>
              <a:ahLst/>
              <a:cxnLst/>
              <a:rect l="l" t="t" r="r" b="b"/>
              <a:pathLst>
                <a:path w="5599" h="3708" extrusionOk="0">
                  <a:moveTo>
                    <a:pt x="1" y="1"/>
                  </a:moveTo>
                  <a:lnTo>
                    <a:pt x="1" y="3708"/>
                  </a:lnTo>
                  <a:lnTo>
                    <a:pt x="5598" y="3708"/>
                  </a:lnTo>
                  <a:lnTo>
                    <a:pt x="5598" y="1"/>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34" name="Google Shape;2563;p11">
              <a:extLst>
                <a:ext uri="{FF2B5EF4-FFF2-40B4-BE49-F238E27FC236}">
                  <a16:creationId xmlns:a16="http://schemas.microsoft.com/office/drawing/2014/main" id="{E9504966-011B-E7EA-8F3B-A8D511B117CE}"/>
                </a:ext>
              </a:extLst>
            </p:cNvPr>
            <p:cNvSpPr/>
            <p:nvPr/>
          </p:nvSpPr>
          <p:spPr>
            <a:xfrm>
              <a:off x="6267875" y="1496325"/>
              <a:ext cx="56350" cy="77275"/>
            </a:xfrm>
            <a:custGeom>
              <a:avLst/>
              <a:gdLst/>
              <a:ahLst/>
              <a:cxnLst/>
              <a:rect l="l" t="t" r="r" b="b"/>
              <a:pathLst>
                <a:path w="2254" h="3091" extrusionOk="0">
                  <a:moveTo>
                    <a:pt x="0" y="1"/>
                  </a:moveTo>
                  <a:lnTo>
                    <a:pt x="0" y="3090"/>
                  </a:lnTo>
                  <a:lnTo>
                    <a:pt x="2254" y="3090"/>
                  </a:lnTo>
                  <a:lnTo>
                    <a:pt x="2254" y="1"/>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35" name="Google Shape;2564;p11">
              <a:extLst>
                <a:ext uri="{FF2B5EF4-FFF2-40B4-BE49-F238E27FC236}">
                  <a16:creationId xmlns:a16="http://schemas.microsoft.com/office/drawing/2014/main" id="{A84BAE38-57D8-49BB-0A6F-49468D34A777}"/>
                </a:ext>
              </a:extLst>
            </p:cNvPr>
            <p:cNvSpPr/>
            <p:nvPr/>
          </p:nvSpPr>
          <p:spPr>
            <a:xfrm>
              <a:off x="6575900" y="1496325"/>
              <a:ext cx="62725" cy="77275"/>
            </a:xfrm>
            <a:custGeom>
              <a:avLst/>
              <a:gdLst/>
              <a:ahLst/>
              <a:cxnLst/>
              <a:rect l="l" t="t" r="r" b="b"/>
              <a:pathLst>
                <a:path w="2509" h="3091" extrusionOk="0">
                  <a:moveTo>
                    <a:pt x="0" y="1"/>
                  </a:moveTo>
                  <a:lnTo>
                    <a:pt x="0" y="3090"/>
                  </a:lnTo>
                  <a:lnTo>
                    <a:pt x="2508" y="3090"/>
                  </a:lnTo>
                  <a:lnTo>
                    <a:pt x="2508" y="1"/>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36" name="Google Shape;2565;p11">
              <a:extLst>
                <a:ext uri="{FF2B5EF4-FFF2-40B4-BE49-F238E27FC236}">
                  <a16:creationId xmlns:a16="http://schemas.microsoft.com/office/drawing/2014/main" id="{57BC2F86-7820-3471-9B83-110D8685592A}"/>
                </a:ext>
              </a:extLst>
            </p:cNvPr>
            <p:cNvSpPr/>
            <p:nvPr/>
          </p:nvSpPr>
          <p:spPr>
            <a:xfrm>
              <a:off x="6812150" y="1313700"/>
              <a:ext cx="147225" cy="86325"/>
            </a:xfrm>
            <a:custGeom>
              <a:avLst/>
              <a:gdLst/>
              <a:ahLst/>
              <a:cxnLst/>
              <a:rect l="l" t="t" r="r" b="b"/>
              <a:pathLst>
                <a:path w="5889" h="3453" extrusionOk="0">
                  <a:moveTo>
                    <a:pt x="0" y="0"/>
                  </a:moveTo>
                  <a:lnTo>
                    <a:pt x="0" y="3453"/>
                  </a:lnTo>
                  <a:lnTo>
                    <a:pt x="5888" y="3453"/>
                  </a:lnTo>
                  <a:lnTo>
                    <a:pt x="5888" y="0"/>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37" name="Google Shape;2566;p11">
              <a:extLst>
                <a:ext uri="{FF2B5EF4-FFF2-40B4-BE49-F238E27FC236}">
                  <a16:creationId xmlns:a16="http://schemas.microsoft.com/office/drawing/2014/main" id="{3A50255E-62B7-6702-50E8-C40803992079}"/>
                </a:ext>
              </a:extLst>
            </p:cNvPr>
            <p:cNvSpPr/>
            <p:nvPr/>
          </p:nvSpPr>
          <p:spPr>
            <a:xfrm>
              <a:off x="4773150" y="918425"/>
              <a:ext cx="775100" cy="1383900"/>
            </a:xfrm>
            <a:custGeom>
              <a:avLst/>
              <a:gdLst/>
              <a:ahLst/>
              <a:cxnLst/>
              <a:rect l="l" t="t" r="r" b="b"/>
              <a:pathLst>
                <a:path w="31004" h="55356" extrusionOk="0">
                  <a:moveTo>
                    <a:pt x="31003" y="1"/>
                  </a:moveTo>
                  <a:lnTo>
                    <a:pt x="30713" y="3163"/>
                  </a:lnTo>
                  <a:lnTo>
                    <a:pt x="30313" y="6616"/>
                  </a:lnTo>
                  <a:lnTo>
                    <a:pt x="29877" y="10214"/>
                  </a:lnTo>
                  <a:lnTo>
                    <a:pt x="29331" y="13958"/>
                  </a:lnTo>
                  <a:lnTo>
                    <a:pt x="28714" y="17774"/>
                  </a:lnTo>
                  <a:lnTo>
                    <a:pt x="28096" y="21626"/>
                  </a:lnTo>
                  <a:lnTo>
                    <a:pt x="27369" y="25443"/>
                  </a:lnTo>
                  <a:lnTo>
                    <a:pt x="26642" y="29223"/>
                  </a:lnTo>
                  <a:lnTo>
                    <a:pt x="25879" y="32894"/>
                  </a:lnTo>
                  <a:lnTo>
                    <a:pt x="25115" y="36346"/>
                  </a:lnTo>
                  <a:lnTo>
                    <a:pt x="24316" y="39618"/>
                  </a:lnTo>
                  <a:lnTo>
                    <a:pt x="23516" y="42634"/>
                  </a:lnTo>
                  <a:lnTo>
                    <a:pt x="22753" y="45324"/>
                  </a:lnTo>
                  <a:lnTo>
                    <a:pt x="22353" y="46523"/>
                  </a:lnTo>
                  <a:lnTo>
                    <a:pt x="21953" y="47614"/>
                  </a:lnTo>
                  <a:lnTo>
                    <a:pt x="21590" y="48631"/>
                  </a:lnTo>
                  <a:lnTo>
                    <a:pt x="21226" y="49540"/>
                  </a:lnTo>
                  <a:lnTo>
                    <a:pt x="20863" y="50303"/>
                  </a:lnTo>
                  <a:lnTo>
                    <a:pt x="20499" y="50957"/>
                  </a:lnTo>
                  <a:lnTo>
                    <a:pt x="20318" y="51248"/>
                  </a:lnTo>
                  <a:lnTo>
                    <a:pt x="20100" y="51539"/>
                  </a:lnTo>
                  <a:lnTo>
                    <a:pt x="19845" y="51793"/>
                  </a:lnTo>
                  <a:lnTo>
                    <a:pt x="19554" y="52048"/>
                  </a:lnTo>
                  <a:lnTo>
                    <a:pt x="19227" y="52266"/>
                  </a:lnTo>
                  <a:lnTo>
                    <a:pt x="18864" y="52484"/>
                  </a:lnTo>
                  <a:lnTo>
                    <a:pt x="18500" y="52702"/>
                  </a:lnTo>
                  <a:lnTo>
                    <a:pt x="18101" y="52920"/>
                  </a:lnTo>
                  <a:lnTo>
                    <a:pt x="17192" y="53284"/>
                  </a:lnTo>
                  <a:lnTo>
                    <a:pt x="16174" y="53647"/>
                  </a:lnTo>
                  <a:lnTo>
                    <a:pt x="15048" y="53938"/>
                  </a:lnTo>
                  <a:lnTo>
                    <a:pt x="13848" y="54192"/>
                  </a:lnTo>
                  <a:lnTo>
                    <a:pt x="12540" y="54410"/>
                  </a:lnTo>
                  <a:lnTo>
                    <a:pt x="11159" y="54592"/>
                  </a:lnTo>
                  <a:lnTo>
                    <a:pt x="9705" y="54737"/>
                  </a:lnTo>
                  <a:lnTo>
                    <a:pt x="8178" y="54883"/>
                  </a:lnTo>
                  <a:lnTo>
                    <a:pt x="6579" y="54955"/>
                  </a:lnTo>
                  <a:lnTo>
                    <a:pt x="4907" y="55028"/>
                  </a:lnTo>
                  <a:lnTo>
                    <a:pt x="3199" y="55065"/>
                  </a:lnTo>
                  <a:lnTo>
                    <a:pt x="0" y="55065"/>
                  </a:lnTo>
                  <a:lnTo>
                    <a:pt x="582" y="55174"/>
                  </a:lnTo>
                  <a:lnTo>
                    <a:pt x="1236" y="55210"/>
                  </a:lnTo>
                  <a:lnTo>
                    <a:pt x="6724" y="55319"/>
                  </a:lnTo>
                  <a:lnTo>
                    <a:pt x="11231" y="55355"/>
                  </a:lnTo>
                  <a:lnTo>
                    <a:pt x="13448" y="55319"/>
                  </a:lnTo>
                  <a:lnTo>
                    <a:pt x="15411" y="55246"/>
                  </a:lnTo>
                  <a:lnTo>
                    <a:pt x="16283" y="55174"/>
                  </a:lnTo>
                  <a:lnTo>
                    <a:pt x="17083" y="55101"/>
                  </a:lnTo>
                  <a:lnTo>
                    <a:pt x="17846" y="54992"/>
                  </a:lnTo>
                  <a:lnTo>
                    <a:pt x="18537" y="54883"/>
                  </a:lnTo>
                  <a:lnTo>
                    <a:pt x="19191" y="54737"/>
                  </a:lnTo>
                  <a:lnTo>
                    <a:pt x="19773" y="54556"/>
                  </a:lnTo>
                  <a:lnTo>
                    <a:pt x="20318" y="54374"/>
                  </a:lnTo>
                  <a:lnTo>
                    <a:pt x="20827" y="54120"/>
                  </a:lnTo>
                  <a:lnTo>
                    <a:pt x="21263" y="53865"/>
                  </a:lnTo>
                  <a:lnTo>
                    <a:pt x="21663" y="53574"/>
                  </a:lnTo>
                  <a:lnTo>
                    <a:pt x="22026" y="53247"/>
                  </a:lnTo>
                  <a:lnTo>
                    <a:pt x="22353" y="52884"/>
                  </a:lnTo>
                  <a:lnTo>
                    <a:pt x="22644" y="52484"/>
                  </a:lnTo>
                  <a:lnTo>
                    <a:pt x="22935" y="52048"/>
                  </a:lnTo>
                  <a:lnTo>
                    <a:pt x="23225" y="51575"/>
                  </a:lnTo>
                  <a:lnTo>
                    <a:pt x="23516" y="51030"/>
                  </a:lnTo>
                  <a:lnTo>
                    <a:pt x="23807" y="50412"/>
                  </a:lnTo>
                  <a:lnTo>
                    <a:pt x="24098" y="49758"/>
                  </a:lnTo>
                  <a:lnTo>
                    <a:pt x="24388" y="49031"/>
                  </a:lnTo>
                  <a:lnTo>
                    <a:pt x="24679" y="48232"/>
                  </a:lnTo>
                  <a:lnTo>
                    <a:pt x="24970" y="47359"/>
                  </a:lnTo>
                  <a:lnTo>
                    <a:pt x="25261" y="46414"/>
                  </a:lnTo>
                  <a:lnTo>
                    <a:pt x="25552" y="45397"/>
                  </a:lnTo>
                  <a:lnTo>
                    <a:pt x="25842" y="44270"/>
                  </a:lnTo>
                  <a:lnTo>
                    <a:pt x="26424" y="41835"/>
                  </a:lnTo>
                  <a:lnTo>
                    <a:pt x="26969" y="39000"/>
                  </a:lnTo>
                  <a:lnTo>
                    <a:pt x="27514" y="35765"/>
                  </a:lnTo>
                  <a:lnTo>
                    <a:pt x="28059" y="32130"/>
                  </a:lnTo>
                  <a:lnTo>
                    <a:pt x="28568" y="28060"/>
                  </a:lnTo>
                  <a:lnTo>
                    <a:pt x="29077" y="23480"/>
                  </a:lnTo>
                  <a:lnTo>
                    <a:pt x="29586" y="18428"/>
                  </a:lnTo>
                  <a:lnTo>
                    <a:pt x="30058" y="12831"/>
                  </a:lnTo>
                  <a:lnTo>
                    <a:pt x="30531" y="6688"/>
                  </a:lnTo>
                  <a:lnTo>
                    <a:pt x="31003" y="1"/>
                  </a:lnTo>
                  <a:close/>
                </a:path>
              </a:pathLst>
            </a:custGeom>
            <a:solidFill>
              <a:srgbClr val="D7D7DA"/>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38" name="Google Shape;2567;p11">
              <a:extLst>
                <a:ext uri="{FF2B5EF4-FFF2-40B4-BE49-F238E27FC236}">
                  <a16:creationId xmlns:a16="http://schemas.microsoft.com/office/drawing/2014/main" id="{428E8F6D-54E5-84E3-B17E-4B52B346F556}"/>
                </a:ext>
              </a:extLst>
            </p:cNvPr>
            <p:cNvSpPr/>
            <p:nvPr/>
          </p:nvSpPr>
          <p:spPr>
            <a:xfrm>
              <a:off x="4773150" y="918425"/>
              <a:ext cx="775100" cy="1383900"/>
            </a:xfrm>
            <a:custGeom>
              <a:avLst/>
              <a:gdLst/>
              <a:ahLst/>
              <a:cxnLst/>
              <a:rect l="l" t="t" r="r" b="b"/>
              <a:pathLst>
                <a:path w="31004" h="55356" fill="none" extrusionOk="0">
                  <a:moveTo>
                    <a:pt x="31003" y="1"/>
                  </a:moveTo>
                  <a:lnTo>
                    <a:pt x="31003" y="1"/>
                  </a:lnTo>
                  <a:lnTo>
                    <a:pt x="30713" y="3163"/>
                  </a:lnTo>
                  <a:lnTo>
                    <a:pt x="30313" y="6616"/>
                  </a:lnTo>
                  <a:lnTo>
                    <a:pt x="29877" y="10214"/>
                  </a:lnTo>
                  <a:lnTo>
                    <a:pt x="29331" y="13958"/>
                  </a:lnTo>
                  <a:lnTo>
                    <a:pt x="28714" y="17774"/>
                  </a:lnTo>
                  <a:lnTo>
                    <a:pt x="28096" y="21626"/>
                  </a:lnTo>
                  <a:lnTo>
                    <a:pt x="27369" y="25443"/>
                  </a:lnTo>
                  <a:lnTo>
                    <a:pt x="26642" y="29223"/>
                  </a:lnTo>
                  <a:lnTo>
                    <a:pt x="25879" y="32894"/>
                  </a:lnTo>
                  <a:lnTo>
                    <a:pt x="25115" y="36346"/>
                  </a:lnTo>
                  <a:lnTo>
                    <a:pt x="24316" y="39618"/>
                  </a:lnTo>
                  <a:lnTo>
                    <a:pt x="23516" y="42634"/>
                  </a:lnTo>
                  <a:lnTo>
                    <a:pt x="22753" y="45324"/>
                  </a:lnTo>
                  <a:lnTo>
                    <a:pt x="22353" y="46523"/>
                  </a:lnTo>
                  <a:lnTo>
                    <a:pt x="21953" y="47614"/>
                  </a:lnTo>
                  <a:lnTo>
                    <a:pt x="21590" y="48631"/>
                  </a:lnTo>
                  <a:lnTo>
                    <a:pt x="21226" y="49540"/>
                  </a:lnTo>
                  <a:lnTo>
                    <a:pt x="20863" y="50303"/>
                  </a:lnTo>
                  <a:lnTo>
                    <a:pt x="20499" y="50957"/>
                  </a:lnTo>
                  <a:lnTo>
                    <a:pt x="20499" y="50957"/>
                  </a:lnTo>
                  <a:lnTo>
                    <a:pt x="20318" y="51248"/>
                  </a:lnTo>
                  <a:lnTo>
                    <a:pt x="20100" y="51539"/>
                  </a:lnTo>
                  <a:lnTo>
                    <a:pt x="19845" y="51793"/>
                  </a:lnTo>
                  <a:lnTo>
                    <a:pt x="19554" y="52048"/>
                  </a:lnTo>
                  <a:lnTo>
                    <a:pt x="19227" y="52266"/>
                  </a:lnTo>
                  <a:lnTo>
                    <a:pt x="18864" y="52484"/>
                  </a:lnTo>
                  <a:lnTo>
                    <a:pt x="18500" y="52702"/>
                  </a:lnTo>
                  <a:lnTo>
                    <a:pt x="18101" y="52920"/>
                  </a:lnTo>
                  <a:lnTo>
                    <a:pt x="17192" y="53284"/>
                  </a:lnTo>
                  <a:lnTo>
                    <a:pt x="16174" y="53647"/>
                  </a:lnTo>
                  <a:lnTo>
                    <a:pt x="15048" y="53938"/>
                  </a:lnTo>
                  <a:lnTo>
                    <a:pt x="13848" y="54192"/>
                  </a:lnTo>
                  <a:lnTo>
                    <a:pt x="12540" y="54410"/>
                  </a:lnTo>
                  <a:lnTo>
                    <a:pt x="11159" y="54592"/>
                  </a:lnTo>
                  <a:lnTo>
                    <a:pt x="9705" y="54737"/>
                  </a:lnTo>
                  <a:lnTo>
                    <a:pt x="8178" y="54883"/>
                  </a:lnTo>
                  <a:lnTo>
                    <a:pt x="6579" y="54955"/>
                  </a:lnTo>
                  <a:lnTo>
                    <a:pt x="4907" y="55028"/>
                  </a:lnTo>
                  <a:lnTo>
                    <a:pt x="3199" y="55065"/>
                  </a:lnTo>
                  <a:lnTo>
                    <a:pt x="1454" y="55065"/>
                  </a:lnTo>
                  <a:lnTo>
                    <a:pt x="1454" y="55065"/>
                  </a:lnTo>
                  <a:lnTo>
                    <a:pt x="0" y="55065"/>
                  </a:lnTo>
                  <a:lnTo>
                    <a:pt x="0" y="55065"/>
                  </a:lnTo>
                  <a:lnTo>
                    <a:pt x="582" y="55174"/>
                  </a:lnTo>
                  <a:lnTo>
                    <a:pt x="1236" y="55210"/>
                  </a:lnTo>
                  <a:lnTo>
                    <a:pt x="1236" y="55210"/>
                  </a:lnTo>
                  <a:lnTo>
                    <a:pt x="6724" y="55319"/>
                  </a:lnTo>
                  <a:lnTo>
                    <a:pt x="11231" y="55355"/>
                  </a:lnTo>
                  <a:lnTo>
                    <a:pt x="11231" y="55355"/>
                  </a:lnTo>
                  <a:lnTo>
                    <a:pt x="13448" y="55319"/>
                  </a:lnTo>
                  <a:lnTo>
                    <a:pt x="15411" y="55246"/>
                  </a:lnTo>
                  <a:lnTo>
                    <a:pt x="16283" y="55174"/>
                  </a:lnTo>
                  <a:lnTo>
                    <a:pt x="17083" y="55101"/>
                  </a:lnTo>
                  <a:lnTo>
                    <a:pt x="17846" y="54992"/>
                  </a:lnTo>
                  <a:lnTo>
                    <a:pt x="18537" y="54883"/>
                  </a:lnTo>
                  <a:lnTo>
                    <a:pt x="19191" y="54737"/>
                  </a:lnTo>
                  <a:lnTo>
                    <a:pt x="19773" y="54556"/>
                  </a:lnTo>
                  <a:lnTo>
                    <a:pt x="20318" y="54374"/>
                  </a:lnTo>
                  <a:lnTo>
                    <a:pt x="20827" y="54120"/>
                  </a:lnTo>
                  <a:lnTo>
                    <a:pt x="21263" y="53865"/>
                  </a:lnTo>
                  <a:lnTo>
                    <a:pt x="21663" y="53574"/>
                  </a:lnTo>
                  <a:lnTo>
                    <a:pt x="22026" y="53247"/>
                  </a:lnTo>
                  <a:lnTo>
                    <a:pt x="22353" y="52884"/>
                  </a:lnTo>
                  <a:lnTo>
                    <a:pt x="22353" y="52884"/>
                  </a:lnTo>
                  <a:lnTo>
                    <a:pt x="22644" y="52484"/>
                  </a:lnTo>
                  <a:lnTo>
                    <a:pt x="22935" y="52048"/>
                  </a:lnTo>
                  <a:lnTo>
                    <a:pt x="23225" y="51575"/>
                  </a:lnTo>
                  <a:lnTo>
                    <a:pt x="23516" y="51030"/>
                  </a:lnTo>
                  <a:lnTo>
                    <a:pt x="23807" y="50412"/>
                  </a:lnTo>
                  <a:lnTo>
                    <a:pt x="24098" y="49758"/>
                  </a:lnTo>
                  <a:lnTo>
                    <a:pt x="24388" y="49031"/>
                  </a:lnTo>
                  <a:lnTo>
                    <a:pt x="24679" y="48232"/>
                  </a:lnTo>
                  <a:lnTo>
                    <a:pt x="24970" y="47359"/>
                  </a:lnTo>
                  <a:lnTo>
                    <a:pt x="25261" y="46414"/>
                  </a:lnTo>
                  <a:lnTo>
                    <a:pt x="25552" y="45397"/>
                  </a:lnTo>
                  <a:lnTo>
                    <a:pt x="25842" y="44270"/>
                  </a:lnTo>
                  <a:lnTo>
                    <a:pt x="26424" y="41835"/>
                  </a:lnTo>
                  <a:lnTo>
                    <a:pt x="26969" y="39000"/>
                  </a:lnTo>
                  <a:lnTo>
                    <a:pt x="27514" y="35765"/>
                  </a:lnTo>
                  <a:lnTo>
                    <a:pt x="28059" y="32130"/>
                  </a:lnTo>
                  <a:lnTo>
                    <a:pt x="28568" y="28060"/>
                  </a:lnTo>
                  <a:lnTo>
                    <a:pt x="29077" y="23480"/>
                  </a:lnTo>
                  <a:lnTo>
                    <a:pt x="29586" y="18428"/>
                  </a:lnTo>
                  <a:lnTo>
                    <a:pt x="30058" y="12831"/>
                  </a:lnTo>
                  <a:lnTo>
                    <a:pt x="30531" y="6688"/>
                  </a:lnTo>
                  <a:lnTo>
                    <a:pt x="31003"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39" name="Google Shape;2568;p11">
              <a:extLst>
                <a:ext uri="{FF2B5EF4-FFF2-40B4-BE49-F238E27FC236}">
                  <a16:creationId xmlns:a16="http://schemas.microsoft.com/office/drawing/2014/main" id="{47FB1D65-97E1-F2E3-03E3-478AFCE3BD2E}"/>
                </a:ext>
              </a:extLst>
            </p:cNvPr>
            <p:cNvSpPr/>
            <p:nvPr/>
          </p:nvSpPr>
          <p:spPr>
            <a:xfrm>
              <a:off x="3734575" y="533175"/>
              <a:ext cx="1820025" cy="1761875"/>
            </a:xfrm>
            <a:custGeom>
              <a:avLst/>
              <a:gdLst/>
              <a:ahLst/>
              <a:cxnLst/>
              <a:rect l="l" t="t" r="r" b="b"/>
              <a:pathLst>
                <a:path w="72801" h="70475" extrusionOk="0">
                  <a:moveTo>
                    <a:pt x="47650" y="0"/>
                  </a:moveTo>
                  <a:lnTo>
                    <a:pt x="44996" y="37"/>
                  </a:lnTo>
                  <a:lnTo>
                    <a:pt x="42307" y="73"/>
                  </a:lnTo>
                  <a:lnTo>
                    <a:pt x="39617" y="182"/>
                  </a:lnTo>
                  <a:lnTo>
                    <a:pt x="36964" y="291"/>
                  </a:lnTo>
                  <a:lnTo>
                    <a:pt x="34347" y="436"/>
                  </a:lnTo>
                  <a:lnTo>
                    <a:pt x="31803" y="618"/>
                  </a:lnTo>
                  <a:lnTo>
                    <a:pt x="29368" y="836"/>
                  </a:lnTo>
                  <a:lnTo>
                    <a:pt x="27005" y="1091"/>
                  </a:lnTo>
                  <a:lnTo>
                    <a:pt x="24788" y="1381"/>
                  </a:lnTo>
                  <a:lnTo>
                    <a:pt x="22716" y="1672"/>
                  </a:lnTo>
                  <a:lnTo>
                    <a:pt x="20790" y="1999"/>
                  </a:lnTo>
                  <a:lnTo>
                    <a:pt x="19045" y="2363"/>
                  </a:lnTo>
                  <a:lnTo>
                    <a:pt x="17555" y="2726"/>
                  </a:lnTo>
                  <a:lnTo>
                    <a:pt x="16247" y="3126"/>
                  </a:lnTo>
                  <a:lnTo>
                    <a:pt x="15702" y="3308"/>
                  </a:lnTo>
                  <a:lnTo>
                    <a:pt x="15193" y="3526"/>
                  </a:lnTo>
                  <a:lnTo>
                    <a:pt x="14757" y="3707"/>
                  </a:lnTo>
                  <a:lnTo>
                    <a:pt x="14430" y="3926"/>
                  </a:lnTo>
                  <a:lnTo>
                    <a:pt x="14139" y="4144"/>
                  </a:lnTo>
                  <a:lnTo>
                    <a:pt x="13921" y="4362"/>
                  </a:lnTo>
                  <a:lnTo>
                    <a:pt x="13775" y="4580"/>
                  </a:lnTo>
                  <a:lnTo>
                    <a:pt x="13739" y="4834"/>
                  </a:lnTo>
                  <a:lnTo>
                    <a:pt x="13594" y="6579"/>
                  </a:lnTo>
                  <a:lnTo>
                    <a:pt x="13339" y="8469"/>
                  </a:lnTo>
                  <a:lnTo>
                    <a:pt x="13012" y="10504"/>
                  </a:lnTo>
                  <a:lnTo>
                    <a:pt x="12612" y="12648"/>
                  </a:lnTo>
                  <a:lnTo>
                    <a:pt x="12140" y="14902"/>
                  </a:lnTo>
                  <a:lnTo>
                    <a:pt x="11631" y="17228"/>
                  </a:lnTo>
                  <a:lnTo>
                    <a:pt x="11086" y="19663"/>
                  </a:lnTo>
                  <a:lnTo>
                    <a:pt x="10468" y="22171"/>
                  </a:lnTo>
                  <a:lnTo>
                    <a:pt x="9123" y="27296"/>
                  </a:lnTo>
                  <a:lnTo>
                    <a:pt x="7706" y="32530"/>
                  </a:lnTo>
                  <a:lnTo>
                    <a:pt x="4834" y="42924"/>
                  </a:lnTo>
                  <a:lnTo>
                    <a:pt x="3490" y="47867"/>
                  </a:lnTo>
                  <a:lnTo>
                    <a:pt x="2290" y="52520"/>
                  </a:lnTo>
                  <a:lnTo>
                    <a:pt x="1745" y="54664"/>
                  </a:lnTo>
                  <a:lnTo>
                    <a:pt x="1272" y="56699"/>
                  </a:lnTo>
                  <a:lnTo>
                    <a:pt x="873" y="58626"/>
                  </a:lnTo>
                  <a:lnTo>
                    <a:pt x="509" y="60370"/>
                  </a:lnTo>
                  <a:lnTo>
                    <a:pt x="255" y="62006"/>
                  </a:lnTo>
                  <a:lnTo>
                    <a:pt x="73" y="63423"/>
                  </a:lnTo>
                  <a:lnTo>
                    <a:pt x="0" y="64696"/>
                  </a:lnTo>
                  <a:lnTo>
                    <a:pt x="0" y="65241"/>
                  </a:lnTo>
                  <a:lnTo>
                    <a:pt x="0" y="65750"/>
                  </a:lnTo>
                  <a:lnTo>
                    <a:pt x="73" y="66222"/>
                  </a:lnTo>
                  <a:lnTo>
                    <a:pt x="146" y="66586"/>
                  </a:lnTo>
                  <a:lnTo>
                    <a:pt x="255" y="66949"/>
                  </a:lnTo>
                  <a:lnTo>
                    <a:pt x="364" y="67240"/>
                  </a:lnTo>
                  <a:lnTo>
                    <a:pt x="545" y="67458"/>
                  </a:lnTo>
                  <a:lnTo>
                    <a:pt x="727" y="67603"/>
                  </a:lnTo>
                  <a:lnTo>
                    <a:pt x="982" y="67712"/>
                  </a:lnTo>
                  <a:lnTo>
                    <a:pt x="1236" y="67749"/>
                  </a:lnTo>
                  <a:lnTo>
                    <a:pt x="2290" y="67785"/>
                  </a:lnTo>
                  <a:lnTo>
                    <a:pt x="3526" y="67858"/>
                  </a:lnTo>
                  <a:lnTo>
                    <a:pt x="6543" y="68076"/>
                  </a:lnTo>
                  <a:lnTo>
                    <a:pt x="14321" y="68766"/>
                  </a:lnTo>
                  <a:lnTo>
                    <a:pt x="18864" y="69166"/>
                  </a:lnTo>
                  <a:lnTo>
                    <a:pt x="23661" y="69566"/>
                  </a:lnTo>
                  <a:lnTo>
                    <a:pt x="28604" y="69929"/>
                  </a:lnTo>
                  <a:lnTo>
                    <a:pt x="33620" y="70220"/>
                  </a:lnTo>
                  <a:lnTo>
                    <a:pt x="36128" y="70329"/>
                  </a:lnTo>
                  <a:lnTo>
                    <a:pt x="38563" y="70402"/>
                  </a:lnTo>
                  <a:lnTo>
                    <a:pt x="40998" y="70475"/>
                  </a:lnTo>
                  <a:lnTo>
                    <a:pt x="43361" y="70475"/>
                  </a:lnTo>
                  <a:lnTo>
                    <a:pt x="45651" y="70438"/>
                  </a:lnTo>
                  <a:lnTo>
                    <a:pt x="47831" y="70365"/>
                  </a:lnTo>
                  <a:lnTo>
                    <a:pt x="49939" y="70256"/>
                  </a:lnTo>
                  <a:lnTo>
                    <a:pt x="51938" y="70075"/>
                  </a:lnTo>
                  <a:lnTo>
                    <a:pt x="53792" y="69857"/>
                  </a:lnTo>
                  <a:lnTo>
                    <a:pt x="55500" y="69566"/>
                  </a:lnTo>
                  <a:lnTo>
                    <a:pt x="56300" y="69420"/>
                  </a:lnTo>
                  <a:lnTo>
                    <a:pt x="57063" y="69239"/>
                  </a:lnTo>
                  <a:lnTo>
                    <a:pt x="57790" y="69021"/>
                  </a:lnTo>
                  <a:lnTo>
                    <a:pt x="58481" y="68803"/>
                  </a:lnTo>
                  <a:lnTo>
                    <a:pt x="59098" y="68585"/>
                  </a:lnTo>
                  <a:lnTo>
                    <a:pt x="59680" y="68330"/>
                  </a:lnTo>
                  <a:lnTo>
                    <a:pt x="60189" y="68039"/>
                  </a:lnTo>
                  <a:lnTo>
                    <a:pt x="60698" y="67749"/>
                  </a:lnTo>
                  <a:lnTo>
                    <a:pt x="61097" y="67421"/>
                  </a:lnTo>
                  <a:lnTo>
                    <a:pt x="61497" y="67094"/>
                  </a:lnTo>
                  <a:lnTo>
                    <a:pt x="61788" y="66731"/>
                  </a:lnTo>
                  <a:lnTo>
                    <a:pt x="62042" y="66367"/>
                  </a:lnTo>
                  <a:lnTo>
                    <a:pt x="62515" y="65495"/>
                  </a:lnTo>
                  <a:lnTo>
                    <a:pt x="62987" y="64405"/>
                  </a:lnTo>
                  <a:lnTo>
                    <a:pt x="63460" y="63133"/>
                  </a:lnTo>
                  <a:lnTo>
                    <a:pt x="63969" y="61679"/>
                  </a:lnTo>
                  <a:lnTo>
                    <a:pt x="64478" y="60080"/>
                  </a:lnTo>
                  <a:lnTo>
                    <a:pt x="64986" y="58299"/>
                  </a:lnTo>
                  <a:lnTo>
                    <a:pt x="65495" y="56409"/>
                  </a:lnTo>
                  <a:lnTo>
                    <a:pt x="66040" y="54373"/>
                  </a:lnTo>
                  <a:lnTo>
                    <a:pt x="66549" y="52229"/>
                  </a:lnTo>
                  <a:lnTo>
                    <a:pt x="67058" y="50012"/>
                  </a:lnTo>
                  <a:lnTo>
                    <a:pt x="67567" y="47722"/>
                  </a:lnTo>
                  <a:lnTo>
                    <a:pt x="68039" y="45323"/>
                  </a:lnTo>
                  <a:lnTo>
                    <a:pt x="69021" y="40453"/>
                  </a:lnTo>
                  <a:lnTo>
                    <a:pt x="69893" y="35437"/>
                  </a:lnTo>
                  <a:lnTo>
                    <a:pt x="70693" y="30422"/>
                  </a:lnTo>
                  <a:lnTo>
                    <a:pt x="71056" y="27986"/>
                  </a:lnTo>
                  <a:lnTo>
                    <a:pt x="71420" y="25551"/>
                  </a:lnTo>
                  <a:lnTo>
                    <a:pt x="71710" y="23189"/>
                  </a:lnTo>
                  <a:lnTo>
                    <a:pt x="72001" y="20899"/>
                  </a:lnTo>
                  <a:lnTo>
                    <a:pt x="72219" y="18682"/>
                  </a:lnTo>
                  <a:lnTo>
                    <a:pt x="72437" y="16574"/>
                  </a:lnTo>
                  <a:lnTo>
                    <a:pt x="72583" y="14575"/>
                  </a:lnTo>
                  <a:lnTo>
                    <a:pt x="72728" y="12685"/>
                  </a:lnTo>
                  <a:lnTo>
                    <a:pt x="72801" y="10940"/>
                  </a:lnTo>
                  <a:lnTo>
                    <a:pt x="72801" y="9377"/>
                  </a:lnTo>
                  <a:lnTo>
                    <a:pt x="72801" y="7960"/>
                  </a:lnTo>
                  <a:lnTo>
                    <a:pt x="72728" y="6724"/>
                  </a:lnTo>
                  <a:lnTo>
                    <a:pt x="72583" y="5670"/>
                  </a:lnTo>
                  <a:lnTo>
                    <a:pt x="72474" y="5198"/>
                  </a:lnTo>
                  <a:lnTo>
                    <a:pt x="72401" y="4834"/>
                  </a:lnTo>
                  <a:lnTo>
                    <a:pt x="72256" y="4471"/>
                  </a:lnTo>
                  <a:lnTo>
                    <a:pt x="72001" y="4107"/>
                  </a:lnTo>
                  <a:lnTo>
                    <a:pt x="71710" y="3780"/>
                  </a:lnTo>
                  <a:lnTo>
                    <a:pt x="71347" y="3489"/>
                  </a:lnTo>
                  <a:lnTo>
                    <a:pt x="70911" y="3199"/>
                  </a:lnTo>
                  <a:lnTo>
                    <a:pt x="70402" y="2908"/>
                  </a:lnTo>
                  <a:lnTo>
                    <a:pt x="69857" y="2617"/>
                  </a:lnTo>
                  <a:lnTo>
                    <a:pt x="69203" y="2399"/>
                  </a:lnTo>
                  <a:lnTo>
                    <a:pt x="68512" y="2145"/>
                  </a:lnTo>
                  <a:lnTo>
                    <a:pt x="67785" y="1927"/>
                  </a:lnTo>
                  <a:lnTo>
                    <a:pt x="66985" y="1708"/>
                  </a:lnTo>
                  <a:lnTo>
                    <a:pt x="66150" y="1490"/>
                  </a:lnTo>
                  <a:lnTo>
                    <a:pt x="65241" y="1309"/>
                  </a:lnTo>
                  <a:lnTo>
                    <a:pt x="64296" y="1163"/>
                  </a:lnTo>
                  <a:lnTo>
                    <a:pt x="62297" y="836"/>
                  </a:lnTo>
                  <a:lnTo>
                    <a:pt x="60116" y="582"/>
                  </a:lnTo>
                  <a:lnTo>
                    <a:pt x="57826" y="400"/>
                  </a:lnTo>
                  <a:lnTo>
                    <a:pt x="55391" y="218"/>
                  </a:lnTo>
                  <a:lnTo>
                    <a:pt x="52883" y="109"/>
                  </a:lnTo>
                  <a:lnTo>
                    <a:pt x="50303" y="37"/>
                  </a:lnTo>
                  <a:lnTo>
                    <a:pt x="47650" y="0"/>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40" name="Google Shape;2569;p11">
              <a:extLst>
                <a:ext uri="{FF2B5EF4-FFF2-40B4-BE49-F238E27FC236}">
                  <a16:creationId xmlns:a16="http://schemas.microsoft.com/office/drawing/2014/main" id="{B0B80B96-86FF-9449-EAA6-398D6D06C565}"/>
                </a:ext>
              </a:extLst>
            </p:cNvPr>
            <p:cNvSpPr/>
            <p:nvPr/>
          </p:nvSpPr>
          <p:spPr>
            <a:xfrm>
              <a:off x="3734575" y="533175"/>
              <a:ext cx="1820025" cy="1761875"/>
            </a:xfrm>
            <a:custGeom>
              <a:avLst/>
              <a:gdLst/>
              <a:ahLst/>
              <a:cxnLst/>
              <a:rect l="l" t="t" r="r" b="b"/>
              <a:pathLst>
                <a:path w="72801" h="70475" fill="none" extrusionOk="0">
                  <a:moveTo>
                    <a:pt x="13739" y="4834"/>
                  </a:moveTo>
                  <a:lnTo>
                    <a:pt x="13739" y="4834"/>
                  </a:lnTo>
                  <a:lnTo>
                    <a:pt x="13594" y="6579"/>
                  </a:lnTo>
                  <a:lnTo>
                    <a:pt x="13339" y="8469"/>
                  </a:lnTo>
                  <a:lnTo>
                    <a:pt x="13012" y="10504"/>
                  </a:lnTo>
                  <a:lnTo>
                    <a:pt x="12612" y="12648"/>
                  </a:lnTo>
                  <a:lnTo>
                    <a:pt x="12140" y="14902"/>
                  </a:lnTo>
                  <a:lnTo>
                    <a:pt x="11631" y="17228"/>
                  </a:lnTo>
                  <a:lnTo>
                    <a:pt x="11086" y="19663"/>
                  </a:lnTo>
                  <a:lnTo>
                    <a:pt x="10468" y="22171"/>
                  </a:lnTo>
                  <a:lnTo>
                    <a:pt x="9123" y="27296"/>
                  </a:lnTo>
                  <a:lnTo>
                    <a:pt x="7706" y="32530"/>
                  </a:lnTo>
                  <a:lnTo>
                    <a:pt x="4834" y="42924"/>
                  </a:lnTo>
                  <a:lnTo>
                    <a:pt x="3490" y="47867"/>
                  </a:lnTo>
                  <a:lnTo>
                    <a:pt x="2290" y="52520"/>
                  </a:lnTo>
                  <a:lnTo>
                    <a:pt x="1745" y="54664"/>
                  </a:lnTo>
                  <a:lnTo>
                    <a:pt x="1272" y="56699"/>
                  </a:lnTo>
                  <a:lnTo>
                    <a:pt x="873" y="58626"/>
                  </a:lnTo>
                  <a:lnTo>
                    <a:pt x="509" y="60370"/>
                  </a:lnTo>
                  <a:lnTo>
                    <a:pt x="255" y="62006"/>
                  </a:lnTo>
                  <a:lnTo>
                    <a:pt x="73" y="63423"/>
                  </a:lnTo>
                  <a:lnTo>
                    <a:pt x="0" y="64696"/>
                  </a:lnTo>
                  <a:lnTo>
                    <a:pt x="0" y="65241"/>
                  </a:lnTo>
                  <a:lnTo>
                    <a:pt x="0" y="65750"/>
                  </a:lnTo>
                  <a:lnTo>
                    <a:pt x="73" y="66222"/>
                  </a:lnTo>
                  <a:lnTo>
                    <a:pt x="146" y="66586"/>
                  </a:lnTo>
                  <a:lnTo>
                    <a:pt x="255" y="66949"/>
                  </a:lnTo>
                  <a:lnTo>
                    <a:pt x="364" y="67240"/>
                  </a:lnTo>
                  <a:lnTo>
                    <a:pt x="545" y="67458"/>
                  </a:lnTo>
                  <a:lnTo>
                    <a:pt x="727" y="67603"/>
                  </a:lnTo>
                  <a:lnTo>
                    <a:pt x="982" y="67712"/>
                  </a:lnTo>
                  <a:lnTo>
                    <a:pt x="1236" y="67749"/>
                  </a:lnTo>
                  <a:lnTo>
                    <a:pt x="1236" y="67749"/>
                  </a:lnTo>
                  <a:lnTo>
                    <a:pt x="2290" y="67785"/>
                  </a:lnTo>
                  <a:lnTo>
                    <a:pt x="3526" y="67858"/>
                  </a:lnTo>
                  <a:lnTo>
                    <a:pt x="6543" y="68076"/>
                  </a:lnTo>
                  <a:lnTo>
                    <a:pt x="14321" y="68766"/>
                  </a:lnTo>
                  <a:lnTo>
                    <a:pt x="18864" y="69166"/>
                  </a:lnTo>
                  <a:lnTo>
                    <a:pt x="23661" y="69566"/>
                  </a:lnTo>
                  <a:lnTo>
                    <a:pt x="28604" y="69929"/>
                  </a:lnTo>
                  <a:lnTo>
                    <a:pt x="33620" y="70220"/>
                  </a:lnTo>
                  <a:lnTo>
                    <a:pt x="36128" y="70329"/>
                  </a:lnTo>
                  <a:lnTo>
                    <a:pt x="38563" y="70402"/>
                  </a:lnTo>
                  <a:lnTo>
                    <a:pt x="40998" y="70475"/>
                  </a:lnTo>
                  <a:lnTo>
                    <a:pt x="43361" y="70475"/>
                  </a:lnTo>
                  <a:lnTo>
                    <a:pt x="45651" y="70438"/>
                  </a:lnTo>
                  <a:lnTo>
                    <a:pt x="47831" y="70365"/>
                  </a:lnTo>
                  <a:lnTo>
                    <a:pt x="49939" y="70256"/>
                  </a:lnTo>
                  <a:lnTo>
                    <a:pt x="51938" y="70075"/>
                  </a:lnTo>
                  <a:lnTo>
                    <a:pt x="53792" y="69857"/>
                  </a:lnTo>
                  <a:lnTo>
                    <a:pt x="55500" y="69566"/>
                  </a:lnTo>
                  <a:lnTo>
                    <a:pt x="56300" y="69420"/>
                  </a:lnTo>
                  <a:lnTo>
                    <a:pt x="57063" y="69239"/>
                  </a:lnTo>
                  <a:lnTo>
                    <a:pt x="57790" y="69021"/>
                  </a:lnTo>
                  <a:lnTo>
                    <a:pt x="58481" y="68803"/>
                  </a:lnTo>
                  <a:lnTo>
                    <a:pt x="59098" y="68585"/>
                  </a:lnTo>
                  <a:lnTo>
                    <a:pt x="59680" y="68330"/>
                  </a:lnTo>
                  <a:lnTo>
                    <a:pt x="60189" y="68039"/>
                  </a:lnTo>
                  <a:lnTo>
                    <a:pt x="60698" y="67749"/>
                  </a:lnTo>
                  <a:lnTo>
                    <a:pt x="61097" y="67421"/>
                  </a:lnTo>
                  <a:lnTo>
                    <a:pt x="61497" y="67094"/>
                  </a:lnTo>
                  <a:lnTo>
                    <a:pt x="61788" y="66731"/>
                  </a:lnTo>
                  <a:lnTo>
                    <a:pt x="62042" y="66367"/>
                  </a:lnTo>
                  <a:lnTo>
                    <a:pt x="62042" y="66367"/>
                  </a:lnTo>
                  <a:lnTo>
                    <a:pt x="62515" y="65495"/>
                  </a:lnTo>
                  <a:lnTo>
                    <a:pt x="62987" y="64405"/>
                  </a:lnTo>
                  <a:lnTo>
                    <a:pt x="63460" y="63133"/>
                  </a:lnTo>
                  <a:lnTo>
                    <a:pt x="63969" y="61679"/>
                  </a:lnTo>
                  <a:lnTo>
                    <a:pt x="64478" y="60080"/>
                  </a:lnTo>
                  <a:lnTo>
                    <a:pt x="64986" y="58299"/>
                  </a:lnTo>
                  <a:lnTo>
                    <a:pt x="65495" y="56409"/>
                  </a:lnTo>
                  <a:lnTo>
                    <a:pt x="66040" y="54373"/>
                  </a:lnTo>
                  <a:lnTo>
                    <a:pt x="66549" y="52229"/>
                  </a:lnTo>
                  <a:lnTo>
                    <a:pt x="67058" y="50012"/>
                  </a:lnTo>
                  <a:lnTo>
                    <a:pt x="67567" y="47722"/>
                  </a:lnTo>
                  <a:lnTo>
                    <a:pt x="68039" y="45323"/>
                  </a:lnTo>
                  <a:lnTo>
                    <a:pt x="69021" y="40453"/>
                  </a:lnTo>
                  <a:lnTo>
                    <a:pt x="69893" y="35437"/>
                  </a:lnTo>
                  <a:lnTo>
                    <a:pt x="70693" y="30422"/>
                  </a:lnTo>
                  <a:lnTo>
                    <a:pt x="71056" y="27986"/>
                  </a:lnTo>
                  <a:lnTo>
                    <a:pt x="71420" y="25551"/>
                  </a:lnTo>
                  <a:lnTo>
                    <a:pt x="71710" y="23189"/>
                  </a:lnTo>
                  <a:lnTo>
                    <a:pt x="72001" y="20899"/>
                  </a:lnTo>
                  <a:lnTo>
                    <a:pt x="72219" y="18682"/>
                  </a:lnTo>
                  <a:lnTo>
                    <a:pt x="72437" y="16574"/>
                  </a:lnTo>
                  <a:lnTo>
                    <a:pt x="72583" y="14575"/>
                  </a:lnTo>
                  <a:lnTo>
                    <a:pt x="72728" y="12685"/>
                  </a:lnTo>
                  <a:lnTo>
                    <a:pt x="72801" y="10940"/>
                  </a:lnTo>
                  <a:lnTo>
                    <a:pt x="72801" y="9377"/>
                  </a:lnTo>
                  <a:lnTo>
                    <a:pt x="72801" y="7960"/>
                  </a:lnTo>
                  <a:lnTo>
                    <a:pt x="72728" y="6724"/>
                  </a:lnTo>
                  <a:lnTo>
                    <a:pt x="72583" y="5670"/>
                  </a:lnTo>
                  <a:lnTo>
                    <a:pt x="72474" y="5198"/>
                  </a:lnTo>
                  <a:lnTo>
                    <a:pt x="72401" y="4834"/>
                  </a:lnTo>
                  <a:lnTo>
                    <a:pt x="72401" y="4834"/>
                  </a:lnTo>
                  <a:lnTo>
                    <a:pt x="72256" y="4471"/>
                  </a:lnTo>
                  <a:lnTo>
                    <a:pt x="72001" y="4107"/>
                  </a:lnTo>
                  <a:lnTo>
                    <a:pt x="71710" y="3780"/>
                  </a:lnTo>
                  <a:lnTo>
                    <a:pt x="71347" y="3489"/>
                  </a:lnTo>
                  <a:lnTo>
                    <a:pt x="70911" y="3199"/>
                  </a:lnTo>
                  <a:lnTo>
                    <a:pt x="70402" y="2908"/>
                  </a:lnTo>
                  <a:lnTo>
                    <a:pt x="69857" y="2617"/>
                  </a:lnTo>
                  <a:lnTo>
                    <a:pt x="69203" y="2399"/>
                  </a:lnTo>
                  <a:lnTo>
                    <a:pt x="68512" y="2145"/>
                  </a:lnTo>
                  <a:lnTo>
                    <a:pt x="67785" y="1927"/>
                  </a:lnTo>
                  <a:lnTo>
                    <a:pt x="66985" y="1708"/>
                  </a:lnTo>
                  <a:lnTo>
                    <a:pt x="66150" y="1490"/>
                  </a:lnTo>
                  <a:lnTo>
                    <a:pt x="65241" y="1309"/>
                  </a:lnTo>
                  <a:lnTo>
                    <a:pt x="64296" y="1163"/>
                  </a:lnTo>
                  <a:lnTo>
                    <a:pt x="62297" y="836"/>
                  </a:lnTo>
                  <a:lnTo>
                    <a:pt x="60116" y="582"/>
                  </a:lnTo>
                  <a:lnTo>
                    <a:pt x="57826" y="400"/>
                  </a:lnTo>
                  <a:lnTo>
                    <a:pt x="55391" y="218"/>
                  </a:lnTo>
                  <a:lnTo>
                    <a:pt x="52883" y="109"/>
                  </a:lnTo>
                  <a:lnTo>
                    <a:pt x="50303" y="37"/>
                  </a:lnTo>
                  <a:lnTo>
                    <a:pt x="47650" y="0"/>
                  </a:lnTo>
                  <a:lnTo>
                    <a:pt x="44996" y="37"/>
                  </a:lnTo>
                  <a:lnTo>
                    <a:pt x="42307" y="73"/>
                  </a:lnTo>
                  <a:lnTo>
                    <a:pt x="39617" y="182"/>
                  </a:lnTo>
                  <a:lnTo>
                    <a:pt x="36964" y="291"/>
                  </a:lnTo>
                  <a:lnTo>
                    <a:pt x="34347" y="436"/>
                  </a:lnTo>
                  <a:lnTo>
                    <a:pt x="31803" y="618"/>
                  </a:lnTo>
                  <a:lnTo>
                    <a:pt x="29368" y="836"/>
                  </a:lnTo>
                  <a:lnTo>
                    <a:pt x="27005" y="1091"/>
                  </a:lnTo>
                  <a:lnTo>
                    <a:pt x="24788" y="1381"/>
                  </a:lnTo>
                  <a:lnTo>
                    <a:pt x="22716" y="1672"/>
                  </a:lnTo>
                  <a:lnTo>
                    <a:pt x="20790" y="1999"/>
                  </a:lnTo>
                  <a:lnTo>
                    <a:pt x="19045" y="2363"/>
                  </a:lnTo>
                  <a:lnTo>
                    <a:pt x="17555" y="2726"/>
                  </a:lnTo>
                  <a:lnTo>
                    <a:pt x="16247" y="3126"/>
                  </a:lnTo>
                  <a:lnTo>
                    <a:pt x="15702" y="3308"/>
                  </a:lnTo>
                  <a:lnTo>
                    <a:pt x="15193" y="3526"/>
                  </a:lnTo>
                  <a:lnTo>
                    <a:pt x="14757" y="3707"/>
                  </a:lnTo>
                  <a:lnTo>
                    <a:pt x="14430" y="3926"/>
                  </a:lnTo>
                  <a:lnTo>
                    <a:pt x="14139" y="4144"/>
                  </a:lnTo>
                  <a:lnTo>
                    <a:pt x="13921" y="4362"/>
                  </a:lnTo>
                  <a:lnTo>
                    <a:pt x="13775" y="4580"/>
                  </a:lnTo>
                  <a:lnTo>
                    <a:pt x="13739" y="4834"/>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41" name="Google Shape;2570;p11">
              <a:extLst>
                <a:ext uri="{FF2B5EF4-FFF2-40B4-BE49-F238E27FC236}">
                  <a16:creationId xmlns:a16="http://schemas.microsoft.com/office/drawing/2014/main" id="{973A30D8-C70D-3A76-0E65-ABA3E4F47D75}"/>
                </a:ext>
              </a:extLst>
            </p:cNvPr>
            <p:cNvSpPr/>
            <p:nvPr/>
          </p:nvSpPr>
          <p:spPr>
            <a:xfrm>
              <a:off x="4248850" y="971125"/>
              <a:ext cx="1025900" cy="42750"/>
            </a:xfrm>
            <a:custGeom>
              <a:avLst/>
              <a:gdLst/>
              <a:ahLst/>
              <a:cxnLst/>
              <a:rect l="l" t="t" r="r" b="b"/>
              <a:pathLst>
                <a:path w="41036" h="1710" extrusionOk="0">
                  <a:moveTo>
                    <a:pt x="1" y="1"/>
                  </a:moveTo>
                  <a:lnTo>
                    <a:pt x="1" y="1709"/>
                  </a:lnTo>
                  <a:lnTo>
                    <a:pt x="41035" y="1709"/>
                  </a:lnTo>
                  <a:lnTo>
                    <a:pt x="41035" y="1"/>
                  </a:lnTo>
                  <a:close/>
                </a:path>
              </a:pathLst>
            </a:custGeom>
            <a:solidFill>
              <a:srgbClr val="6A6A7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42" name="Google Shape;2571;p11">
              <a:extLst>
                <a:ext uri="{FF2B5EF4-FFF2-40B4-BE49-F238E27FC236}">
                  <a16:creationId xmlns:a16="http://schemas.microsoft.com/office/drawing/2014/main" id="{2083BA45-65B5-A226-AE75-4B2F3E7AC4AE}"/>
                </a:ext>
              </a:extLst>
            </p:cNvPr>
            <p:cNvSpPr/>
            <p:nvPr/>
          </p:nvSpPr>
          <p:spPr>
            <a:xfrm>
              <a:off x="4248850" y="971125"/>
              <a:ext cx="1025900" cy="42750"/>
            </a:xfrm>
            <a:custGeom>
              <a:avLst/>
              <a:gdLst/>
              <a:ahLst/>
              <a:cxnLst/>
              <a:rect l="l" t="t" r="r" b="b"/>
              <a:pathLst>
                <a:path w="41036" h="1710" fill="none" extrusionOk="0">
                  <a:moveTo>
                    <a:pt x="41035" y="1"/>
                  </a:moveTo>
                  <a:lnTo>
                    <a:pt x="1" y="1"/>
                  </a:lnTo>
                  <a:lnTo>
                    <a:pt x="1" y="1709"/>
                  </a:lnTo>
                  <a:lnTo>
                    <a:pt x="41035" y="1709"/>
                  </a:lnTo>
                  <a:lnTo>
                    <a:pt x="41035"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43" name="Google Shape;2572;p11">
              <a:extLst>
                <a:ext uri="{FF2B5EF4-FFF2-40B4-BE49-F238E27FC236}">
                  <a16:creationId xmlns:a16="http://schemas.microsoft.com/office/drawing/2014/main" id="{75C16120-06B0-C2AF-38A3-AA9F2AFA5BA3}"/>
                </a:ext>
              </a:extLst>
            </p:cNvPr>
            <p:cNvSpPr/>
            <p:nvPr/>
          </p:nvSpPr>
          <p:spPr>
            <a:xfrm>
              <a:off x="4177075" y="1161050"/>
              <a:ext cx="1025875" cy="42725"/>
            </a:xfrm>
            <a:custGeom>
              <a:avLst/>
              <a:gdLst/>
              <a:ahLst/>
              <a:cxnLst/>
              <a:rect l="l" t="t" r="r" b="b"/>
              <a:pathLst>
                <a:path w="41035" h="1709" extrusionOk="0">
                  <a:moveTo>
                    <a:pt x="1" y="0"/>
                  </a:moveTo>
                  <a:lnTo>
                    <a:pt x="1" y="1708"/>
                  </a:lnTo>
                  <a:lnTo>
                    <a:pt x="41035" y="1708"/>
                  </a:lnTo>
                  <a:lnTo>
                    <a:pt x="41035" y="0"/>
                  </a:lnTo>
                  <a:close/>
                </a:path>
              </a:pathLst>
            </a:custGeom>
            <a:solidFill>
              <a:srgbClr val="6A6A7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44" name="Google Shape;2573;p11">
              <a:extLst>
                <a:ext uri="{FF2B5EF4-FFF2-40B4-BE49-F238E27FC236}">
                  <a16:creationId xmlns:a16="http://schemas.microsoft.com/office/drawing/2014/main" id="{DD54BC41-3C98-8303-7859-EBBC96B47EFC}"/>
                </a:ext>
              </a:extLst>
            </p:cNvPr>
            <p:cNvSpPr/>
            <p:nvPr/>
          </p:nvSpPr>
          <p:spPr>
            <a:xfrm>
              <a:off x="4177075" y="1161050"/>
              <a:ext cx="1025875" cy="42725"/>
            </a:xfrm>
            <a:custGeom>
              <a:avLst/>
              <a:gdLst/>
              <a:ahLst/>
              <a:cxnLst/>
              <a:rect l="l" t="t" r="r" b="b"/>
              <a:pathLst>
                <a:path w="41035" h="1709" fill="none" extrusionOk="0">
                  <a:moveTo>
                    <a:pt x="41035" y="0"/>
                  </a:moveTo>
                  <a:lnTo>
                    <a:pt x="1" y="0"/>
                  </a:lnTo>
                  <a:lnTo>
                    <a:pt x="1" y="1708"/>
                  </a:lnTo>
                  <a:lnTo>
                    <a:pt x="41035" y="1708"/>
                  </a:lnTo>
                  <a:lnTo>
                    <a:pt x="41035"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45" name="Google Shape;2574;p11">
              <a:extLst>
                <a:ext uri="{FF2B5EF4-FFF2-40B4-BE49-F238E27FC236}">
                  <a16:creationId xmlns:a16="http://schemas.microsoft.com/office/drawing/2014/main" id="{76A0F314-8E3B-1661-279A-71FA1053EBF1}"/>
                </a:ext>
              </a:extLst>
            </p:cNvPr>
            <p:cNvSpPr/>
            <p:nvPr/>
          </p:nvSpPr>
          <p:spPr>
            <a:xfrm>
              <a:off x="4118025" y="1330950"/>
              <a:ext cx="1025875" cy="41825"/>
            </a:xfrm>
            <a:custGeom>
              <a:avLst/>
              <a:gdLst/>
              <a:ahLst/>
              <a:cxnLst/>
              <a:rect l="l" t="t" r="r" b="b"/>
              <a:pathLst>
                <a:path w="41035" h="1673" extrusionOk="0">
                  <a:moveTo>
                    <a:pt x="0" y="1"/>
                  </a:moveTo>
                  <a:lnTo>
                    <a:pt x="0" y="1673"/>
                  </a:lnTo>
                  <a:lnTo>
                    <a:pt x="41035" y="1673"/>
                  </a:lnTo>
                  <a:lnTo>
                    <a:pt x="41035" y="1"/>
                  </a:lnTo>
                  <a:close/>
                </a:path>
              </a:pathLst>
            </a:custGeom>
            <a:solidFill>
              <a:srgbClr val="6A6A7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46" name="Google Shape;2575;p11">
              <a:extLst>
                <a:ext uri="{FF2B5EF4-FFF2-40B4-BE49-F238E27FC236}">
                  <a16:creationId xmlns:a16="http://schemas.microsoft.com/office/drawing/2014/main" id="{5AFC0E49-3D06-45F3-F131-2CD1C0A01407}"/>
                </a:ext>
              </a:extLst>
            </p:cNvPr>
            <p:cNvSpPr/>
            <p:nvPr/>
          </p:nvSpPr>
          <p:spPr>
            <a:xfrm>
              <a:off x="4118025" y="1330950"/>
              <a:ext cx="1025875" cy="41825"/>
            </a:xfrm>
            <a:custGeom>
              <a:avLst/>
              <a:gdLst/>
              <a:ahLst/>
              <a:cxnLst/>
              <a:rect l="l" t="t" r="r" b="b"/>
              <a:pathLst>
                <a:path w="41035" h="1673" fill="none" extrusionOk="0">
                  <a:moveTo>
                    <a:pt x="41035" y="1"/>
                  </a:moveTo>
                  <a:lnTo>
                    <a:pt x="0" y="1"/>
                  </a:lnTo>
                  <a:lnTo>
                    <a:pt x="0" y="1673"/>
                  </a:lnTo>
                  <a:lnTo>
                    <a:pt x="41035" y="1673"/>
                  </a:lnTo>
                  <a:lnTo>
                    <a:pt x="41035"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47" name="Google Shape;2576;p11">
              <a:extLst>
                <a:ext uri="{FF2B5EF4-FFF2-40B4-BE49-F238E27FC236}">
                  <a16:creationId xmlns:a16="http://schemas.microsoft.com/office/drawing/2014/main" id="{6D05D2BA-DA5E-19D0-B7BF-B51B059B7AAC}"/>
                </a:ext>
              </a:extLst>
            </p:cNvPr>
            <p:cNvSpPr/>
            <p:nvPr/>
          </p:nvSpPr>
          <p:spPr>
            <a:xfrm>
              <a:off x="4037150" y="1516325"/>
              <a:ext cx="1025875" cy="42725"/>
            </a:xfrm>
            <a:custGeom>
              <a:avLst/>
              <a:gdLst/>
              <a:ahLst/>
              <a:cxnLst/>
              <a:rect l="l" t="t" r="r" b="b"/>
              <a:pathLst>
                <a:path w="41035" h="1709" extrusionOk="0">
                  <a:moveTo>
                    <a:pt x="0" y="0"/>
                  </a:moveTo>
                  <a:lnTo>
                    <a:pt x="0" y="1708"/>
                  </a:lnTo>
                  <a:lnTo>
                    <a:pt x="41035" y="1708"/>
                  </a:lnTo>
                  <a:lnTo>
                    <a:pt x="41035" y="0"/>
                  </a:lnTo>
                  <a:close/>
                </a:path>
              </a:pathLst>
            </a:custGeom>
            <a:solidFill>
              <a:srgbClr val="6A6A7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48" name="Google Shape;2577;p11">
              <a:extLst>
                <a:ext uri="{FF2B5EF4-FFF2-40B4-BE49-F238E27FC236}">
                  <a16:creationId xmlns:a16="http://schemas.microsoft.com/office/drawing/2014/main" id="{23137786-3CBD-E36A-38C2-9651482ABA4F}"/>
                </a:ext>
              </a:extLst>
            </p:cNvPr>
            <p:cNvSpPr/>
            <p:nvPr/>
          </p:nvSpPr>
          <p:spPr>
            <a:xfrm>
              <a:off x="4037150" y="1516325"/>
              <a:ext cx="1025875" cy="42725"/>
            </a:xfrm>
            <a:custGeom>
              <a:avLst/>
              <a:gdLst/>
              <a:ahLst/>
              <a:cxnLst/>
              <a:rect l="l" t="t" r="r" b="b"/>
              <a:pathLst>
                <a:path w="41035" h="1709" fill="none" extrusionOk="0">
                  <a:moveTo>
                    <a:pt x="41035" y="0"/>
                  </a:moveTo>
                  <a:lnTo>
                    <a:pt x="0" y="0"/>
                  </a:lnTo>
                  <a:lnTo>
                    <a:pt x="0" y="1708"/>
                  </a:lnTo>
                  <a:lnTo>
                    <a:pt x="41035" y="1708"/>
                  </a:lnTo>
                  <a:lnTo>
                    <a:pt x="41035"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49" name="Google Shape;2578;p11">
              <a:extLst>
                <a:ext uri="{FF2B5EF4-FFF2-40B4-BE49-F238E27FC236}">
                  <a16:creationId xmlns:a16="http://schemas.microsoft.com/office/drawing/2014/main" id="{4C1BB9B6-140B-26AF-815B-24721AD6F9A1}"/>
                </a:ext>
              </a:extLst>
            </p:cNvPr>
            <p:cNvSpPr/>
            <p:nvPr/>
          </p:nvSpPr>
          <p:spPr>
            <a:xfrm>
              <a:off x="4983050" y="950225"/>
              <a:ext cx="109975" cy="80900"/>
            </a:xfrm>
            <a:custGeom>
              <a:avLst/>
              <a:gdLst/>
              <a:ahLst/>
              <a:cxnLst/>
              <a:rect l="l" t="t" r="r" b="b"/>
              <a:pathLst>
                <a:path w="4399" h="3236" extrusionOk="0">
                  <a:moveTo>
                    <a:pt x="0" y="1"/>
                  </a:moveTo>
                  <a:lnTo>
                    <a:pt x="0" y="3236"/>
                  </a:lnTo>
                  <a:lnTo>
                    <a:pt x="4398" y="3236"/>
                  </a:lnTo>
                  <a:lnTo>
                    <a:pt x="4398" y="1"/>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50" name="Google Shape;2579;p11">
              <a:extLst>
                <a:ext uri="{FF2B5EF4-FFF2-40B4-BE49-F238E27FC236}">
                  <a16:creationId xmlns:a16="http://schemas.microsoft.com/office/drawing/2014/main" id="{72CF2F84-B884-7AA9-6D37-0B8C4AB1E6D4}"/>
                </a:ext>
              </a:extLst>
            </p:cNvPr>
            <p:cNvSpPr/>
            <p:nvPr/>
          </p:nvSpPr>
          <p:spPr>
            <a:xfrm>
              <a:off x="4566875" y="940250"/>
              <a:ext cx="122700" cy="109950"/>
            </a:xfrm>
            <a:custGeom>
              <a:avLst/>
              <a:gdLst/>
              <a:ahLst/>
              <a:cxnLst/>
              <a:rect l="l" t="t" r="r" b="b"/>
              <a:pathLst>
                <a:path w="4908" h="4398" extrusionOk="0">
                  <a:moveTo>
                    <a:pt x="1" y="0"/>
                  </a:moveTo>
                  <a:lnTo>
                    <a:pt x="1" y="4398"/>
                  </a:lnTo>
                  <a:lnTo>
                    <a:pt x="4908" y="4398"/>
                  </a:lnTo>
                  <a:lnTo>
                    <a:pt x="4908" y="0"/>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51" name="Google Shape;2580;p11">
              <a:extLst>
                <a:ext uri="{FF2B5EF4-FFF2-40B4-BE49-F238E27FC236}">
                  <a16:creationId xmlns:a16="http://schemas.microsoft.com/office/drawing/2014/main" id="{33CBAEA9-5A2D-B4A9-24F7-CBD57363A227}"/>
                </a:ext>
              </a:extLst>
            </p:cNvPr>
            <p:cNvSpPr/>
            <p:nvPr/>
          </p:nvSpPr>
          <p:spPr>
            <a:xfrm>
              <a:off x="4713175" y="1151950"/>
              <a:ext cx="129975" cy="67275"/>
            </a:xfrm>
            <a:custGeom>
              <a:avLst/>
              <a:gdLst/>
              <a:ahLst/>
              <a:cxnLst/>
              <a:rect l="l" t="t" r="r" b="b"/>
              <a:pathLst>
                <a:path w="5199" h="2691" extrusionOk="0">
                  <a:moveTo>
                    <a:pt x="1" y="1"/>
                  </a:moveTo>
                  <a:lnTo>
                    <a:pt x="1" y="2690"/>
                  </a:lnTo>
                  <a:lnTo>
                    <a:pt x="5198" y="2690"/>
                  </a:lnTo>
                  <a:lnTo>
                    <a:pt x="5198" y="1"/>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52" name="Google Shape;2581;p11">
              <a:extLst>
                <a:ext uri="{FF2B5EF4-FFF2-40B4-BE49-F238E27FC236}">
                  <a16:creationId xmlns:a16="http://schemas.microsoft.com/office/drawing/2014/main" id="{8EE968D4-8BAB-14BC-7018-5C7DA7952453}"/>
                </a:ext>
              </a:extLst>
            </p:cNvPr>
            <p:cNvSpPr/>
            <p:nvPr/>
          </p:nvSpPr>
          <p:spPr>
            <a:xfrm>
              <a:off x="4987600" y="1315500"/>
              <a:ext cx="69075" cy="86350"/>
            </a:xfrm>
            <a:custGeom>
              <a:avLst/>
              <a:gdLst/>
              <a:ahLst/>
              <a:cxnLst/>
              <a:rect l="l" t="t" r="r" b="b"/>
              <a:pathLst>
                <a:path w="2763" h="3454" extrusionOk="0">
                  <a:moveTo>
                    <a:pt x="0" y="1"/>
                  </a:moveTo>
                  <a:lnTo>
                    <a:pt x="0" y="3454"/>
                  </a:lnTo>
                  <a:lnTo>
                    <a:pt x="2762" y="3454"/>
                  </a:lnTo>
                  <a:lnTo>
                    <a:pt x="2762" y="1"/>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53" name="Google Shape;2582;p11">
              <a:extLst>
                <a:ext uri="{FF2B5EF4-FFF2-40B4-BE49-F238E27FC236}">
                  <a16:creationId xmlns:a16="http://schemas.microsoft.com/office/drawing/2014/main" id="{EB73DDC0-0735-CF64-36A3-433089BF2B31}"/>
                </a:ext>
              </a:extLst>
            </p:cNvPr>
            <p:cNvSpPr/>
            <p:nvPr/>
          </p:nvSpPr>
          <p:spPr>
            <a:xfrm>
              <a:off x="4342450" y="1305525"/>
              <a:ext cx="139950" cy="92700"/>
            </a:xfrm>
            <a:custGeom>
              <a:avLst/>
              <a:gdLst/>
              <a:ahLst/>
              <a:cxnLst/>
              <a:rect l="l" t="t" r="r" b="b"/>
              <a:pathLst>
                <a:path w="5598" h="3708" extrusionOk="0">
                  <a:moveTo>
                    <a:pt x="1" y="0"/>
                  </a:moveTo>
                  <a:lnTo>
                    <a:pt x="1" y="3707"/>
                  </a:lnTo>
                  <a:lnTo>
                    <a:pt x="5598" y="3707"/>
                  </a:lnTo>
                  <a:lnTo>
                    <a:pt x="5598" y="0"/>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54" name="Google Shape;2583;p11">
              <a:extLst>
                <a:ext uri="{FF2B5EF4-FFF2-40B4-BE49-F238E27FC236}">
                  <a16:creationId xmlns:a16="http://schemas.microsoft.com/office/drawing/2014/main" id="{5A64E1E0-9B3B-D30B-A12E-D26BB71F3A2D}"/>
                </a:ext>
              </a:extLst>
            </p:cNvPr>
            <p:cNvSpPr/>
            <p:nvPr/>
          </p:nvSpPr>
          <p:spPr>
            <a:xfrm>
              <a:off x="4511450" y="1497225"/>
              <a:ext cx="57275" cy="78175"/>
            </a:xfrm>
            <a:custGeom>
              <a:avLst/>
              <a:gdLst/>
              <a:ahLst/>
              <a:cxnLst/>
              <a:rect l="l" t="t" r="r" b="b"/>
              <a:pathLst>
                <a:path w="2291" h="3127" extrusionOk="0">
                  <a:moveTo>
                    <a:pt x="1" y="1"/>
                  </a:moveTo>
                  <a:lnTo>
                    <a:pt x="1" y="3127"/>
                  </a:lnTo>
                  <a:lnTo>
                    <a:pt x="2291" y="3127"/>
                  </a:lnTo>
                  <a:lnTo>
                    <a:pt x="2291" y="1"/>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55" name="Google Shape;2584;p11">
              <a:extLst>
                <a:ext uri="{FF2B5EF4-FFF2-40B4-BE49-F238E27FC236}">
                  <a16:creationId xmlns:a16="http://schemas.microsoft.com/office/drawing/2014/main" id="{3DEF8068-D008-EBFE-737B-1AD05818C587}"/>
                </a:ext>
              </a:extLst>
            </p:cNvPr>
            <p:cNvSpPr/>
            <p:nvPr/>
          </p:nvSpPr>
          <p:spPr>
            <a:xfrm>
              <a:off x="4819500" y="1497225"/>
              <a:ext cx="62700" cy="78175"/>
            </a:xfrm>
            <a:custGeom>
              <a:avLst/>
              <a:gdLst/>
              <a:ahLst/>
              <a:cxnLst/>
              <a:rect l="l" t="t" r="r" b="b"/>
              <a:pathLst>
                <a:path w="2508" h="3127" extrusionOk="0">
                  <a:moveTo>
                    <a:pt x="0" y="1"/>
                  </a:moveTo>
                  <a:lnTo>
                    <a:pt x="0" y="3127"/>
                  </a:lnTo>
                  <a:lnTo>
                    <a:pt x="2508" y="3127"/>
                  </a:lnTo>
                  <a:lnTo>
                    <a:pt x="2508" y="1"/>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56" name="Google Shape;2585;p11">
              <a:extLst>
                <a:ext uri="{FF2B5EF4-FFF2-40B4-BE49-F238E27FC236}">
                  <a16:creationId xmlns:a16="http://schemas.microsoft.com/office/drawing/2014/main" id="{24C71CA7-E916-85F1-149C-F94F084DE41D}"/>
                </a:ext>
              </a:extLst>
            </p:cNvPr>
            <p:cNvSpPr/>
            <p:nvPr/>
          </p:nvSpPr>
          <p:spPr>
            <a:xfrm>
              <a:off x="1276700" y="912975"/>
              <a:ext cx="775100" cy="1383900"/>
            </a:xfrm>
            <a:custGeom>
              <a:avLst/>
              <a:gdLst/>
              <a:ahLst/>
              <a:cxnLst/>
              <a:rect l="l" t="t" r="r" b="b"/>
              <a:pathLst>
                <a:path w="31004" h="55356" extrusionOk="0">
                  <a:moveTo>
                    <a:pt x="31003" y="1"/>
                  </a:moveTo>
                  <a:lnTo>
                    <a:pt x="30712" y="3199"/>
                  </a:lnTo>
                  <a:lnTo>
                    <a:pt x="30312" y="6616"/>
                  </a:lnTo>
                  <a:lnTo>
                    <a:pt x="29876" y="10214"/>
                  </a:lnTo>
                  <a:lnTo>
                    <a:pt x="29331" y="13957"/>
                  </a:lnTo>
                  <a:lnTo>
                    <a:pt x="28750" y="17774"/>
                  </a:lnTo>
                  <a:lnTo>
                    <a:pt x="28095" y="21626"/>
                  </a:lnTo>
                  <a:lnTo>
                    <a:pt x="27368" y="25479"/>
                  </a:lnTo>
                  <a:lnTo>
                    <a:pt x="26642" y="29223"/>
                  </a:lnTo>
                  <a:lnTo>
                    <a:pt x="25878" y="32894"/>
                  </a:lnTo>
                  <a:lnTo>
                    <a:pt x="25115" y="36383"/>
                  </a:lnTo>
                  <a:lnTo>
                    <a:pt x="24315" y="39654"/>
                  </a:lnTo>
                  <a:lnTo>
                    <a:pt x="23516" y="42634"/>
                  </a:lnTo>
                  <a:lnTo>
                    <a:pt x="22753" y="45324"/>
                  </a:lnTo>
                  <a:lnTo>
                    <a:pt x="22353" y="46523"/>
                  </a:lnTo>
                  <a:lnTo>
                    <a:pt x="21953" y="47650"/>
                  </a:lnTo>
                  <a:lnTo>
                    <a:pt x="21590" y="48631"/>
                  </a:lnTo>
                  <a:lnTo>
                    <a:pt x="21226" y="49540"/>
                  </a:lnTo>
                  <a:lnTo>
                    <a:pt x="20863" y="50303"/>
                  </a:lnTo>
                  <a:lnTo>
                    <a:pt x="20499" y="50994"/>
                  </a:lnTo>
                  <a:lnTo>
                    <a:pt x="20317" y="51248"/>
                  </a:lnTo>
                  <a:lnTo>
                    <a:pt x="20099" y="51539"/>
                  </a:lnTo>
                  <a:lnTo>
                    <a:pt x="19845" y="51793"/>
                  </a:lnTo>
                  <a:lnTo>
                    <a:pt x="19554" y="52048"/>
                  </a:lnTo>
                  <a:lnTo>
                    <a:pt x="19227" y="52302"/>
                  </a:lnTo>
                  <a:lnTo>
                    <a:pt x="18864" y="52520"/>
                  </a:lnTo>
                  <a:lnTo>
                    <a:pt x="18500" y="52738"/>
                  </a:lnTo>
                  <a:lnTo>
                    <a:pt x="18100" y="52920"/>
                  </a:lnTo>
                  <a:lnTo>
                    <a:pt x="17192" y="53320"/>
                  </a:lnTo>
                  <a:lnTo>
                    <a:pt x="16174" y="53647"/>
                  </a:lnTo>
                  <a:lnTo>
                    <a:pt x="15047" y="53938"/>
                  </a:lnTo>
                  <a:lnTo>
                    <a:pt x="13848" y="54192"/>
                  </a:lnTo>
                  <a:lnTo>
                    <a:pt x="12539" y="54410"/>
                  </a:lnTo>
                  <a:lnTo>
                    <a:pt x="11158" y="54592"/>
                  </a:lnTo>
                  <a:lnTo>
                    <a:pt x="9704" y="54774"/>
                  </a:lnTo>
                  <a:lnTo>
                    <a:pt x="8178" y="54883"/>
                  </a:lnTo>
                  <a:lnTo>
                    <a:pt x="6579" y="54955"/>
                  </a:lnTo>
                  <a:lnTo>
                    <a:pt x="4907" y="55028"/>
                  </a:lnTo>
                  <a:lnTo>
                    <a:pt x="3199" y="55064"/>
                  </a:lnTo>
                  <a:lnTo>
                    <a:pt x="0" y="55064"/>
                  </a:lnTo>
                  <a:lnTo>
                    <a:pt x="582" y="55173"/>
                  </a:lnTo>
                  <a:lnTo>
                    <a:pt x="1236" y="55210"/>
                  </a:lnTo>
                  <a:lnTo>
                    <a:pt x="6724" y="55319"/>
                  </a:lnTo>
                  <a:lnTo>
                    <a:pt x="11231" y="55355"/>
                  </a:lnTo>
                  <a:lnTo>
                    <a:pt x="13448" y="55355"/>
                  </a:lnTo>
                  <a:lnTo>
                    <a:pt x="15411" y="55283"/>
                  </a:lnTo>
                  <a:lnTo>
                    <a:pt x="16283" y="55210"/>
                  </a:lnTo>
                  <a:lnTo>
                    <a:pt x="17083" y="55137"/>
                  </a:lnTo>
                  <a:lnTo>
                    <a:pt x="17846" y="55028"/>
                  </a:lnTo>
                  <a:lnTo>
                    <a:pt x="18536" y="54883"/>
                  </a:lnTo>
                  <a:lnTo>
                    <a:pt x="19191" y="54737"/>
                  </a:lnTo>
                  <a:lnTo>
                    <a:pt x="19772" y="54592"/>
                  </a:lnTo>
                  <a:lnTo>
                    <a:pt x="20317" y="54374"/>
                  </a:lnTo>
                  <a:lnTo>
                    <a:pt x="20826" y="54156"/>
                  </a:lnTo>
                  <a:lnTo>
                    <a:pt x="21262" y="53901"/>
                  </a:lnTo>
                  <a:lnTo>
                    <a:pt x="21662" y="53611"/>
                  </a:lnTo>
                  <a:lnTo>
                    <a:pt x="22026" y="53283"/>
                  </a:lnTo>
                  <a:lnTo>
                    <a:pt x="22353" y="52920"/>
                  </a:lnTo>
                  <a:lnTo>
                    <a:pt x="22644" y="52520"/>
                  </a:lnTo>
                  <a:lnTo>
                    <a:pt x="22934" y="52084"/>
                  </a:lnTo>
                  <a:lnTo>
                    <a:pt x="23225" y="51575"/>
                  </a:lnTo>
                  <a:lnTo>
                    <a:pt x="23516" y="51030"/>
                  </a:lnTo>
                  <a:lnTo>
                    <a:pt x="23807" y="50412"/>
                  </a:lnTo>
                  <a:lnTo>
                    <a:pt x="24097" y="49758"/>
                  </a:lnTo>
                  <a:lnTo>
                    <a:pt x="24388" y="49031"/>
                  </a:lnTo>
                  <a:lnTo>
                    <a:pt x="24679" y="48231"/>
                  </a:lnTo>
                  <a:lnTo>
                    <a:pt x="24970" y="47359"/>
                  </a:lnTo>
                  <a:lnTo>
                    <a:pt x="25260" y="46414"/>
                  </a:lnTo>
                  <a:lnTo>
                    <a:pt x="25551" y="45396"/>
                  </a:lnTo>
                  <a:lnTo>
                    <a:pt x="25842" y="44306"/>
                  </a:lnTo>
                  <a:lnTo>
                    <a:pt x="26423" y="41835"/>
                  </a:lnTo>
                  <a:lnTo>
                    <a:pt x="26969" y="39000"/>
                  </a:lnTo>
                  <a:lnTo>
                    <a:pt x="27514" y="35801"/>
                  </a:lnTo>
                  <a:lnTo>
                    <a:pt x="28059" y="32130"/>
                  </a:lnTo>
                  <a:lnTo>
                    <a:pt x="28568" y="28060"/>
                  </a:lnTo>
                  <a:lnTo>
                    <a:pt x="29077" y="23516"/>
                  </a:lnTo>
                  <a:lnTo>
                    <a:pt x="29586" y="18428"/>
                  </a:lnTo>
                  <a:lnTo>
                    <a:pt x="30058" y="12867"/>
                  </a:lnTo>
                  <a:lnTo>
                    <a:pt x="30531" y="6725"/>
                  </a:lnTo>
                  <a:lnTo>
                    <a:pt x="31003" y="1"/>
                  </a:lnTo>
                  <a:close/>
                </a:path>
              </a:pathLst>
            </a:custGeom>
            <a:solidFill>
              <a:srgbClr val="D7D7DA"/>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57" name="Google Shape;2586;p11">
              <a:extLst>
                <a:ext uri="{FF2B5EF4-FFF2-40B4-BE49-F238E27FC236}">
                  <a16:creationId xmlns:a16="http://schemas.microsoft.com/office/drawing/2014/main" id="{B21B1741-F9CA-F222-8501-7FA885977C3D}"/>
                </a:ext>
              </a:extLst>
            </p:cNvPr>
            <p:cNvSpPr/>
            <p:nvPr/>
          </p:nvSpPr>
          <p:spPr>
            <a:xfrm>
              <a:off x="1276700" y="912975"/>
              <a:ext cx="775100" cy="1383900"/>
            </a:xfrm>
            <a:custGeom>
              <a:avLst/>
              <a:gdLst/>
              <a:ahLst/>
              <a:cxnLst/>
              <a:rect l="l" t="t" r="r" b="b"/>
              <a:pathLst>
                <a:path w="31004" h="55356" fill="none" extrusionOk="0">
                  <a:moveTo>
                    <a:pt x="31003" y="1"/>
                  </a:moveTo>
                  <a:lnTo>
                    <a:pt x="31003" y="1"/>
                  </a:lnTo>
                  <a:lnTo>
                    <a:pt x="30712" y="3199"/>
                  </a:lnTo>
                  <a:lnTo>
                    <a:pt x="30312" y="6616"/>
                  </a:lnTo>
                  <a:lnTo>
                    <a:pt x="29876" y="10214"/>
                  </a:lnTo>
                  <a:lnTo>
                    <a:pt x="29331" y="13957"/>
                  </a:lnTo>
                  <a:lnTo>
                    <a:pt x="28750" y="17774"/>
                  </a:lnTo>
                  <a:lnTo>
                    <a:pt x="28095" y="21626"/>
                  </a:lnTo>
                  <a:lnTo>
                    <a:pt x="27368" y="25479"/>
                  </a:lnTo>
                  <a:lnTo>
                    <a:pt x="26642" y="29223"/>
                  </a:lnTo>
                  <a:lnTo>
                    <a:pt x="25878" y="32894"/>
                  </a:lnTo>
                  <a:lnTo>
                    <a:pt x="25115" y="36383"/>
                  </a:lnTo>
                  <a:lnTo>
                    <a:pt x="24315" y="39654"/>
                  </a:lnTo>
                  <a:lnTo>
                    <a:pt x="23516" y="42634"/>
                  </a:lnTo>
                  <a:lnTo>
                    <a:pt x="22753" y="45324"/>
                  </a:lnTo>
                  <a:lnTo>
                    <a:pt x="22353" y="46523"/>
                  </a:lnTo>
                  <a:lnTo>
                    <a:pt x="21953" y="47650"/>
                  </a:lnTo>
                  <a:lnTo>
                    <a:pt x="21590" y="48631"/>
                  </a:lnTo>
                  <a:lnTo>
                    <a:pt x="21226" y="49540"/>
                  </a:lnTo>
                  <a:lnTo>
                    <a:pt x="20863" y="50303"/>
                  </a:lnTo>
                  <a:lnTo>
                    <a:pt x="20499" y="50994"/>
                  </a:lnTo>
                  <a:lnTo>
                    <a:pt x="20499" y="50994"/>
                  </a:lnTo>
                  <a:lnTo>
                    <a:pt x="20317" y="51248"/>
                  </a:lnTo>
                  <a:lnTo>
                    <a:pt x="20099" y="51539"/>
                  </a:lnTo>
                  <a:lnTo>
                    <a:pt x="19845" y="51793"/>
                  </a:lnTo>
                  <a:lnTo>
                    <a:pt x="19554" y="52048"/>
                  </a:lnTo>
                  <a:lnTo>
                    <a:pt x="19227" y="52302"/>
                  </a:lnTo>
                  <a:lnTo>
                    <a:pt x="18864" y="52520"/>
                  </a:lnTo>
                  <a:lnTo>
                    <a:pt x="18500" y="52738"/>
                  </a:lnTo>
                  <a:lnTo>
                    <a:pt x="18100" y="52920"/>
                  </a:lnTo>
                  <a:lnTo>
                    <a:pt x="17192" y="53320"/>
                  </a:lnTo>
                  <a:lnTo>
                    <a:pt x="16174" y="53647"/>
                  </a:lnTo>
                  <a:lnTo>
                    <a:pt x="15047" y="53938"/>
                  </a:lnTo>
                  <a:lnTo>
                    <a:pt x="13848" y="54192"/>
                  </a:lnTo>
                  <a:lnTo>
                    <a:pt x="12539" y="54410"/>
                  </a:lnTo>
                  <a:lnTo>
                    <a:pt x="11158" y="54592"/>
                  </a:lnTo>
                  <a:lnTo>
                    <a:pt x="9704" y="54774"/>
                  </a:lnTo>
                  <a:lnTo>
                    <a:pt x="8178" y="54883"/>
                  </a:lnTo>
                  <a:lnTo>
                    <a:pt x="6579" y="54955"/>
                  </a:lnTo>
                  <a:lnTo>
                    <a:pt x="4907" y="55028"/>
                  </a:lnTo>
                  <a:lnTo>
                    <a:pt x="3199" y="55064"/>
                  </a:lnTo>
                  <a:lnTo>
                    <a:pt x="1454" y="55064"/>
                  </a:lnTo>
                  <a:lnTo>
                    <a:pt x="1454" y="55064"/>
                  </a:lnTo>
                  <a:lnTo>
                    <a:pt x="0" y="55064"/>
                  </a:lnTo>
                  <a:lnTo>
                    <a:pt x="0" y="55064"/>
                  </a:lnTo>
                  <a:lnTo>
                    <a:pt x="582" y="55173"/>
                  </a:lnTo>
                  <a:lnTo>
                    <a:pt x="1236" y="55210"/>
                  </a:lnTo>
                  <a:lnTo>
                    <a:pt x="1236" y="55210"/>
                  </a:lnTo>
                  <a:lnTo>
                    <a:pt x="6724" y="55319"/>
                  </a:lnTo>
                  <a:lnTo>
                    <a:pt x="11231" y="55355"/>
                  </a:lnTo>
                  <a:lnTo>
                    <a:pt x="11231" y="55355"/>
                  </a:lnTo>
                  <a:lnTo>
                    <a:pt x="13448" y="55355"/>
                  </a:lnTo>
                  <a:lnTo>
                    <a:pt x="15411" y="55283"/>
                  </a:lnTo>
                  <a:lnTo>
                    <a:pt x="16283" y="55210"/>
                  </a:lnTo>
                  <a:lnTo>
                    <a:pt x="17083" y="55137"/>
                  </a:lnTo>
                  <a:lnTo>
                    <a:pt x="17846" y="55028"/>
                  </a:lnTo>
                  <a:lnTo>
                    <a:pt x="18536" y="54883"/>
                  </a:lnTo>
                  <a:lnTo>
                    <a:pt x="19191" y="54737"/>
                  </a:lnTo>
                  <a:lnTo>
                    <a:pt x="19772" y="54592"/>
                  </a:lnTo>
                  <a:lnTo>
                    <a:pt x="20317" y="54374"/>
                  </a:lnTo>
                  <a:lnTo>
                    <a:pt x="20826" y="54156"/>
                  </a:lnTo>
                  <a:lnTo>
                    <a:pt x="21262" y="53901"/>
                  </a:lnTo>
                  <a:lnTo>
                    <a:pt x="21662" y="53611"/>
                  </a:lnTo>
                  <a:lnTo>
                    <a:pt x="22026" y="53283"/>
                  </a:lnTo>
                  <a:lnTo>
                    <a:pt x="22353" y="52920"/>
                  </a:lnTo>
                  <a:lnTo>
                    <a:pt x="22353" y="52920"/>
                  </a:lnTo>
                  <a:lnTo>
                    <a:pt x="22644" y="52520"/>
                  </a:lnTo>
                  <a:lnTo>
                    <a:pt x="22934" y="52084"/>
                  </a:lnTo>
                  <a:lnTo>
                    <a:pt x="23225" y="51575"/>
                  </a:lnTo>
                  <a:lnTo>
                    <a:pt x="23516" y="51030"/>
                  </a:lnTo>
                  <a:lnTo>
                    <a:pt x="23807" y="50412"/>
                  </a:lnTo>
                  <a:lnTo>
                    <a:pt x="24097" y="49758"/>
                  </a:lnTo>
                  <a:lnTo>
                    <a:pt x="24388" y="49031"/>
                  </a:lnTo>
                  <a:lnTo>
                    <a:pt x="24679" y="48231"/>
                  </a:lnTo>
                  <a:lnTo>
                    <a:pt x="24970" y="47359"/>
                  </a:lnTo>
                  <a:lnTo>
                    <a:pt x="25260" y="46414"/>
                  </a:lnTo>
                  <a:lnTo>
                    <a:pt x="25551" y="45396"/>
                  </a:lnTo>
                  <a:lnTo>
                    <a:pt x="25842" y="44306"/>
                  </a:lnTo>
                  <a:lnTo>
                    <a:pt x="26423" y="41835"/>
                  </a:lnTo>
                  <a:lnTo>
                    <a:pt x="26969" y="39000"/>
                  </a:lnTo>
                  <a:lnTo>
                    <a:pt x="27514" y="35801"/>
                  </a:lnTo>
                  <a:lnTo>
                    <a:pt x="28059" y="32130"/>
                  </a:lnTo>
                  <a:lnTo>
                    <a:pt x="28568" y="28060"/>
                  </a:lnTo>
                  <a:lnTo>
                    <a:pt x="29077" y="23516"/>
                  </a:lnTo>
                  <a:lnTo>
                    <a:pt x="29586" y="18428"/>
                  </a:lnTo>
                  <a:lnTo>
                    <a:pt x="30058" y="12867"/>
                  </a:lnTo>
                  <a:lnTo>
                    <a:pt x="30531" y="6725"/>
                  </a:lnTo>
                  <a:lnTo>
                    <a:pt x="31003"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58" name="Google Shape;2587;p11">
              <a:extLst>
                <a:ext uri="{FF2B5EF4-FFF2-40B4-BE49-F238E27FC236}">
                  <a16:creationId xmlns:a16="http://schemas.microsoft.com/office/drawing/2014/main" id="{55FAA843-D415-2518-E43D-26204C4F88A5}"/>
                </a:ext>
              </a:extLst>
            </p:cNvPr>
            <p:cNvSpPr/>
            <p:nvPr/>
          </p:nvSpPr>
          <p:spPr>
            <a:xfrm>
              <a:off x="238125" y="528625"/>
              <a:ext cx="1820025" cy="1760975"/>
            </a:xfrm>
            <a:custGeom>
              <a:avLst/>
              <a:gdLst/>
              <a:ahLst/>
              <a:cxnLst/>
              <a:rect l="l" t="t" r="r" b="b"/>
              <a:pathLst>
                <a:path w="72801" h="70439" extrusionOk="0">
                  <a:moveTo>
                    <a:pt x="44996" y="0"/>
                  </a:moveTo>
                  <a:lnTo>
                    <a:pt x="42306" y="73"/>
                  </a:lnTo>
                  <a:lnTo>
                    <a:pt x="39617" y="146"/>
                  </a:lnTo>
                  <a:lnTo>
                    <a:pt x="36964" y="255"/>
                  </a:lnTo>
                  <a:lnTo>
                    <a:pt x="34347" y="437"/>
                  </a:lnTo>
                  <a:lnTo>
                    <a:pt x="31803" y="618"/>
                  </a:lnTo>
                  <a:lnTo>
                    <a:pt x="29367" y="836"/>
                  </a:lnTo>
                  <a:lnTo>
                    <a:pt x="27005" y="1091"/>
                  </a:lnTo>
                  <a:lnTo>
                    <a:pt x="24788" y="1345"/>
                  </a:lnTo>
                  <a:lnTo>
                    <a:pt x="22716" y="1672"/>
                  </a:lnTo>
                  <a:lnTo>
                    <a:pt x="20790" y="1999"/>
                  </a:lnTo>
                  <a:lnTo>
                    <a:pt x="19045" y="2327"/>
                  </a:lnTo>
                  <a:lnTo>
                    <a:pt x="17555" y="2690"/>
                  </a:lnTo>
                  <a:lnTo>
                    <a:pt x="16247" y="3090"/>
                  </a:lnTo>
                  <a:lnTo>
                    <a:pt x="15701" y="3272"/>
                  </a:lnTo>
                  <a:lnTo>
                    <a:pt x="15193" y="3490"/>
                  </a:lnTo>
                  <a:lnTo>
                    <a:pt x="14756" y="3708"/>
                  </a:lnTo>
                  <a:lnTo>
                    <a:pt x="14429" y="3926"/>
                  </a:lnTo>
                  <a:lnTo>
                    <a:pt x="14138" y="4144"/>
                  </a:lnTo>
                  <a:lnTo>
                    <a:pt x="13920" y="4362"/>
                  </a:lnTo>
                  <a:lnTo>
                    <a:pt x="13775" y="4580"/>
                  </a:lnTo>
                  <a:lnTo>
                    <a:pt x="13739" y="4798"/>
                  </a:lnTo>
                  <a:lnTo>
                    <a:pt x="13593" y="6543"/>
                  </a:lnTo>
                  <a:lnTo>
                    <a:pt x="13339" y="8433"/>
                  </a:lnTo>
                  <a:lnTo>
                    <a:pt x="13012" y="10468"/>
                  </a:lnTo>
                  <a:lnTo>
                    <a:pt x="12612" y="12612"/>
                  </a:lnTo>
                  <a:lnTo>
                    <a:pt x="12176" y="14866"/>
                  </a:lnTo>
                  <a:lnTo>
                    <a:pt x="11631" y="17228"/>
                  </a:lnTo>
                  <a:lnTo>
                    <a:pt x="11085" y="19663"/>
                  </a:lnTo>
                  <a:lnTo>
                    <a:pt x="10468" y="22135"/>
                  </a:lnTo>
                  <a:lnTo>
                    <a:pt x="9123" y="27296"/>
                  </a:lnTo>
                  <a:lnTo>
                    <a:pt x="7705" y="32530"/>
                  </a:lnTo>
                  <a:lnTo>
                    <a:pt x="4834" y="42925"/>
                  </a:lnTo>
                  <a:lnTo>
                    <a:pt x="3489" y="47868"/>
                  </a:lnTo>
                  <a:lnTo>
                    <a:pt x="2290" y="52484"/>
                  </a:lnTo>
                  <a:lnTo>
                    <a:pt x="1745" y="54628"/>
                  </a:lnTo>
                  <a:lnTo>
                    <a:pt x="1272" y="56700"/>
                  </a:lnTo>
                  <a:lnTo>
                    <a:pt x="872" y="58590"/>
                  </a:lnTo>
                  <a:lnTo>
                    <a:pt x="509" y="60371"/>
                  </a:lnTo>
                  <a:lnTo>
                    <a:pt x="254" y="61970"/>
                  </a:lnTo>
                  <a:lnTo>
                    <a:pt x="73" y="63424"/>
                  </a:lnTo>
                  <a:lnTo>
                    <a:pt x="0" y="64659"/>
                  </a:lnTo>
                  <a:lnTo>
                    <a:pt x="0" y="65241"/>
                  </a:lnTo>
                  <a:lnTo>
                    <a:pt x="36" y="65750"/>
                  </a:lnTo>
                  <a:lnTo>
                    <a:pt x="73" y="66186"/>
                  </a:lnTo>
                  <a:lnTo>
                    <a:pt x="145" y="66586"/>
                  </a:lnTo>
                  <a:lnTo>
                    <a:pt x="254" y="66913"/>
                  </a:lnTo>
                  <a:lnTo>
                    <a:pt x="363" y="67204"/>
                  </a:lnTo>
                  <a:lnTo>
                    <a:pt x="545" y="67422"/>
                  </a:lnTo>
                  <a:lnTo>
                    <a:pt x="727" y="67603"/>
                  </a:lnTo>
                  <a:lnTo>
                    <a:pt x="981" y="67713"/>
                  </a:lnTo>
                  <a:lnTo>
                    <a:pt x="1236" y="67749"/>
                  </a:lnTo>
                  <a:lnTo>
                    <a:pt x="2290" y="67785"/>
                  </a:lnTo>
                  <a:lnTo>
                    <a:pt x="3526" y="67858"/>
                  </a:lnTo>
                  <a:lnTo>
                    <a:pt x="6542" y="68076"/>
                  </a:lnTo>
                  <a:lnTo>
                    <a:pt x="14320" y="68767"/>
                  </a:lnTo>
                  <a:lnTo>
                    <a:pt x="18863" y="69166"/>
                  </a:lnTo>
                  <a:lnTo>
                    <a:pt x="23661" y="69566"/>
                  </a:lnTo>
                  <a:lnTo>
                    <a:pt x="28604" y="69893"/>
                  </a:lnTo>
                  <a:lnTo>
                    <a:pt x="33620" y="70184"/>
                  </a:lnTo>
                  <a:lnTo>
                    <a:pt x="36128" y="70293"/>
                  </a:lnTo>
                  <a:lnTo>
                    <a:pt x="38599" y="70402"/>
                  </a:lnTo>
                  <a:lnTo>
                    <a:pt x="40998" y="70438"/>
                  </a:lnTo>
                  <a:lnTo>
                    <a:pt x="45650" y="70438"/>
                  </a:lnTo>
                  <a:lnTo>
                    <a:pt x="47867" y="70366"/>
                  </a:lnTo>
                  <a:lnTo>
                    <a:pt x="49939" y="70220"/>
                  </a:lnTo>
                  <a:lnTo>
                    <a:pt x="51938" y="70075"/>
                  </a:lnTo>
                  <a:lnTo>
                    <a:pt x="53792" y="69857"/>
                  </a:lnTo>
                  <a:lnTo>
                    <a:pt x="55500" y="69566"/>
                  </a:lnTo>
                  <a:lnTo>
                    <a:pt x="56336" y="69384"/>
                  </a:lnTo>
                  <a:lnTo>
                    <a:pt x="57063" y="69203"/>
                  </a:lnTo>
                  <a:lnTo>
                    <a:pt x="57790" y="68985"/>
                  </a:lnTo>
                  <a:lnTo>
                    <a:pt x="58480" y="68767"/>
                  </a:lnTo>
                  <a:lnTo>
                    <a:pt x="59098" y="68548"/>
                  </a:lnTo>
                  <a:lnTo>
                    <a:pt x="59680" y="68294"/>
                  </a:lnTo>
                  <a:lnTo>
                    <a:pt x="60189" y="68003"/>
                  </a:lnTo>
                  <a:lnTo>
                    <a:pt x="60697" y="67713"/>
                  </a:lnTo>
                  <a:lnTo>
                    <a:pt x="61097" y="67422"/>
                  </a:lnTo>
                  <a:lnTo>
                    <a:pt x="61497" y="67095"/>
                  </a:lnTo>
                  <a:lnTo>
                    <a:pt x="61788" y="66731"/>
                  </a:lnTo>
                  <a:lnTo>
                    <a:pt x="62042" y="66368"/>
                  </a:lnTo>
                  <a:lnTo>
                    <a:pt x="62515" y="65459"/>
                  </a:lnTo>
                  <a:lnTo>
                    <a:pt x="62987" y="64405"/>
                  </a:lnTo>
                  <a:lnTo>
                    <a:pt x="63460" y="63097"/>
                  </a:lnTo>
                  <a:lnTo>
                    <a:pt x="63968" y="61679"/>
                  </a:lnTo>
                  <a:lnTo>
                    <a:pt x="64477" y="60044"/>
                  </a:lnTo>
                  <a:lnTo>
                    <a:pt x="64986" y="58299"/>
                  </a:lnTo>
                  <a:lnTo>
                    <a:pt x="65495" y="56373"/>
                  </a:lnTo>
                  <a:lnTo>
                    <a:pt x="66040" y="54374"/>
                  </a:lnTo>
                  <a:lnTo>
                    <a:pt x="66549" y="52229"/>
                  </a:lnTo>
                  <a:lnTo>
                    <a:pt x="67058" y="50012"/>
                  </a:lnTo>
                  <a:lnTo>
                    <a:pt x="67567" y="47686"/>
                  </a:lnTo>
                  <a:lnTo>
                    <a:pt x="68039" y="45324"/>
                  </a:lnTo>
                  <a:lnTo>
                    <a:pt x="69021" y="40417"/>
                  </a:lnTo>
                  <a:lnTo>
                    <a:pt x="69893" y="35401"/>
                  </a:lnTo>
                  <a:lnTo>
                    <a:pt x="70692" y="30422"/>
                  </a:lnTo>
                  <a:lnTo>
                    <a:pt x="71092" y="27950"/>
                  </a:lnTo>
                  <a:lnTo>
                    <a:pt x="71419" y="25515"/>
                  </a:lnTo>
                  <a:lnTo>
                    <a:pt x="71710" y="23153"/>
                  </a:lnTo>
                  <a:lnTo>
                    <a:pt x="72001" y="20863"/>
                  </a:lnTo>
                  <a:lnTo>
                    <a:pt x="72219" y="18646"/>
                  </a:lnTo>
                  <a:lnTo>
                    <a:pt x="72437" y="16538"/>
                  </a:lnTo>
                  <a:lnTo>
                    <a:pt x="72582" y="14539"/>
                  </a:lnTo>
                  <a:lnTo>
                    <a:pt x="72728" y="12685"/>
                  </a:lnTo>
                  <a:lnTo>
                    <a:pt x="72800" y="10941"/>
                  </a:lnTo>
                  <a:lnTo>
                    <a:pt x="72800" y="9341"/>
                  </a:lnTo>
                  <a:lnTo>
                    <a:pt x="72800" y="7924"/>
                  </a:lnTo>
                  <a:lnTo>
                    <a:pt x="72728" y="6688"/>
                  </a:lnTo>
                  <a:lnTo>
                    <a:pt x="72582" y="5634"/>
                  </a:lnTo>
                  <a:lnTo>
                    <a:pt x="72510" y="5198"/>
                  </a:lnTo>
                  <a:lnTo>
                    <a:pt x="72401" y="4798"/>
                  </a:lnTo>
                  <a:lnTo>
                    <a:pt x="72255" y="4435"/>
                  </a:lnTo>
                  <a:lnTo>
                    <a:pt x="72001" y="4108"/>
                  </a:lnTo>
                  <a:lnTo>
                    <a:pt x="71710" y="3780"/>
                  </a:lnTo>
                  <a:lnTo>
                    <a:pt x="71347" y="3453"/>
                  </a:lnTo>
                  <a:lnTo>
                    <a:pt x="70910" y="3163"/>
                  </a:lnTo>
                  <a:lnTo>
                    <a:pt x="70402" y="2872"/>
                  </a:lnTo>
                  <a:lnTo>
                    <a:pt x="69856" y="2617"/>
                  </a:lnTo>
                  <a:lnTo>
                    <a:pt x="69202" y="2363"/>
                  </a:lnTo>
                  <a:lnTo>
                    <a:pt x="68512" y="2109"/>
                  </a:lnTo>
                  <a:lnTo>
                    <a:pt x="67785" y="1890"/>
                  </a:lnTo>
                  <a:lnTo>
                    <a:pt x="66985" y="1672"/>
                  </a:lnTo>
                  <a:lnTo>
                    <a:pt x="66149" y="1491"/>
                  </a:lnTo>
                  <a:lnTo>
                    <a:pt x="65241" y="1309"/>
                  </a:lnTo>
                  <a:lnTo>
                    <a:pt x="64296" y="1127"/>
                  </a:lnTo>
                  <a:lnTo>
                    <a:pt x="62297" y="836"/>
                  </a:lnTo>
                  <a:lnTo>
                    <a:pt x="60116" y="582"/>
                  </a:lnTo>
                  <a:lnTo>
                    <a:pt x="57826" y="364"/>
                  </a:lnTo>
                  <a:lnTo>
                    <a:pt x="55391" y="219"/>
                  </a:lnTo>
                  <a:lnTo>
                    <a:pt x="52883" y="109"/>
                  </a:lnTo>
                  <a:lnTo>
                    <a:pt x="50302" y="37"/>
                  </a:lnTo>
                  <a:lnTo>
                    <a:pt x="47649" y="0"/>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59" name="Google Shape;2588;p11">
              <a:extLst>
                <a:ext uri="{FF2B5EF4-FFF2-40B4-BE49-F238E27FC236}">
                  <a16:creationId xmlns:a16="http://schemas.microsoft.com/office/drawing/2014/main" id="{5F492ECB-5778-460D-62A3-C5D4920FFA50}"/>
                </a:ext>
              </a:extLst>
            </p:cNvPr>
            <p:cNvSpPr/>
            <p:nvPr/>
          </p:nvSpPr>
          <p:spPr>
            <a:xfrm>
              <a:off x="238125" y="528625"/>
              <a:ext cx="1820025" cy="1760975"/>
            </a:xfrm>
            <a:custGeom>
              <a:avLst/>
              <a:gdLst/>
              <a:ahLst/>
              <a:cxnLst/>
              <a:rect l="l" t="t" r="r" b="b"/>
              <a:pathLst>
                <a:path w="72801" h="70439" fill="none" extrusionOk="0">
                  <a:moveTo>
                    <a:pt x="13739" y="4798"/>
                  </a:moveTo>
                  <a:lnTo>
                    <a:pt x="13739" y="4798"/>
                  </a:lnTo>
                  <a:lnTo>
                    <a:pt x="13593" y="6543"/>
                  </a:lnTo>
                  <a:lnTo>
                    <a:pt x="13339" y="8433"/>
                  </a:lnTo>
                  <a:lnTo>
                    <a:pt x="13012" y="10468"/>
                  </a:lnTo>
                  <a:lnTo>
                    <a:pt x="12612" y="12612"/>
                  </a:lnTo>
                  <a:lnTo>
                    <a:pt x="12176" y="14866"/>
                  </a:lnTo>
                  <a:lnTo>
                    <a:pt x="11631" y="17228"/>
                  </a:lnTo>
                  <a:lnTo>
                    <a:pt x="11085" y="19663"/>
                  </a:lnTo>
                  <a:lnTo>
                    <a:pt x="10468" y="22135"/>
                  </a:lnTo>
                  <a:lnTo>
                    <a:pt x="9123" y="27296"/>
                  </a:lnTo>
                  <a:lnTo>
                    <a:pt x="7705" y="32530"/>
                  </a:lnTo>
                  <a:lnTo>
                    <a:pt x="4834" y="42925"/>
                  </a:lnTo>
                  <a:lnTo>
                    <a:pt x="3489" y="47868"/>
                  </a:lnTo>
                  <a:lnTo>
                    <a:pt x="2290" y="52484"/>
                  </a:lnTo>
                  <a:lnTo>
                    <a:pt x="1745" y="54628"/>
                  </a:lnTo>
                  <a:lnTo>
                    <a:pt x="1272" y="56700"/>
                  </a:lnTo>
                  <a:lnTo>
                    <a:pt x="872" y="58590"/>
                  </a:lnTo>
                  <a:lnTo>
                    <a:pt x="509" y="60371"/>
                  </a:lnTo>
                  <a:lnTo>
                    <a:pt x="254" y="61970"/>
                  </a:lnTo>
                  <a:lnTo>
                    <a:pt x="73" y="63424"/>
                  </a:lnTo>
                  <a:lnTo>
                    <a:pt x="0" y="64659"/>
                  </a:lnTo>
                  <a:lnTo>
                    <a:pt x="0" y="65241"/>
                  </a:lnTo>
                  <a:lnTo>
                    <a:pt x="36" y="65750"/>
                  </a:lnTo>
                  <a:lnTo>
                    <a:pt x="73" y="66186"/>
                  </a:lnTo>
                  <a:lnTo>
                    <a:pt x="145" y="66586"/>
                  </a:lnTo>
                  <a:lnTo>
                    <a:pt x="254" y="66913"/>
                  </a:lnTo>
                  <a:lnTo>
                    <a:pt x="363" y="67204"/>
                  </a:lnTo>
                  <a:lnTo>
                    <a:pt x="545" y="67422"/>
                  </a:lnTo>
                  <a:lnTo>
                    <a:pt x="727" y="67603"/>
                  </a:lnTo>
                  <a:lnTo>
                    <a:pt x="981" y="67713"/>
                  </a:lnTo>
                  <a:lnTo>
                    <a:pt x="1236" y="67749"/>
                  </a:lnTo>
                  <a:lnTo>
                    <a:pt x="1236" y="67749"/>
                  </a:lnTo>
                  <a:lnTo>
                    <a:pt x="2290" y="67785"/>
                  </a:lnTo>
                  <a:lnTo>
                    <a:pt x="3526" y="67858"/>
                  </a:lnTo>
                  <a:lnTo>
                    <a:pt x="6542" y="68076"/>
                  </a:lnTo>
                  <a:lnTo>
                    <a:pt x="14320" y="68767"/>
                  </a:lnTo>
                  <a:lnTo>
                    <a:pt x="18863" y="69166"/>
                  </a:lnTo>
                  <a:lnTo>
                    <a:pt x="23661" y="69566"/>
                  </a:lnTo>
                  <a:lnTo>
                    <a:pt x="28604" y="69893"/>
                  </a:lnTo>
                  <a:lnTo>
                    <a:pt x="33620" y="70184"/>
                  </a:lnTo>
                  <a:lnTo>
                    <a:pt x="36128" y="70293"/>
                  </a:lnTo>
                  <a:lnTo>
                    <a:pt x="38599" y="70402"/>
                  </a:lnTo>
                  <a:lnTo>
                    <a:pt x="40998" y="70438"/>
                  </a:lnTo>
                  <a:lnTo>
                    <a:pt x="43360" y="70438"/>
                  </a:lnTo>
                  <a:lnTo>
                    <a:pt x="45650" y="70438"/>
                  </a:lnTo>
                  <a:lnTo>
                    <a:pt x="47867" y="70366"/>
                  </a:lnTo>
                  <a:lnTo>
                    <a:pt x="49939" y="70220"/>
                  </a:lnTo>
                  <a:lnTo>
                    <a:pt x="51938" y="70075"/>
                  </a:lnTo>
                  <a:lnTo>
                    <a:pt x="53792" y="69857"/>
                  </a:lnTo>
                  <a:lnTo>
                    <a:pt x="55500" y="69566"/>
                  </a:lnTo>
                  <a:lnTo>
                    <a:pt x="56336" y="69384"/>
                  </a:lnTo>
                  <a:lnTo>
                    <a:pt x="57063" y="69203"/>
                  </a:lnTo>
                  <a:lnTo>
                    <a:pt x="57790" y="68985"/>
                  </a:lnTo>
                  <a:lnTo>
                    <a:pt x="58480" y="68767"/>
                  </a:lnTo>
                  <a:lnTo>
                    <a:pt x="59098" y="68548"/>
                  </a:lnTo>
                  <a:lnTo>
                    <a:pt x="59680" y="68294"/>
                  </a:lnTo>
                  <a:lnTo>
                    <a:pt x="60189" y="68003"/>
                  </a:lnTo>
                  <a:lnTo>
                    <a:pt x="60697" y="67713"/>
                  </a:lnTo>
                  <a:lnTo>
                    <a:pt x="61097" y="67422"/>
                  </a:lnTo>
                  <a:lnTo>
                    <a:pt x="61497" y="67095"/>
                  </a:lnTo>
                  <a:lnTo>
                    <a:pt x="61788" y="66731"/>
                  </a:lnTo>
                  <a:lnTo>
                    <a:pt x="62042" y="66368"/>
                  </a:lnTo>
                  <a:lnTo>
                    <a:pt x="62042" y="66368"/>
                  </a:lnTo>
                  <a:lnTo>
                    <a:pt x="62515" y="65459"/>
                  </a:lnTo>
                  <a:lnTo>
                    <a:pt x="62987" y="64405"/>
                  </a:lnTo>
                  <a:lnTo>
                    <a:pt x="63460" y="63097"/>
                  </a:lnTo>
                  <a:lnTo>
                    <a:pt x="63968" y="61679"/>
                  </a:lnTo>
                  <a:lnTo>
                    <a:pt x="64477" y="60044"/>
                  </a:lnTo>
                  <a:lnTo>
                    <a:pt x="64986" y="58299"/>
                  </a:lnTo>
                  <a:lnTo>
                    <a:pt x="65495" y="56373"/>
                  </a:lnTo>
                  <a:lnTo>
                    <a:pt x="66040" y="54374"/>
                  </a:lnTo>
                  <a:lnTo>
                    <a:pt x="66549" y="52229"/>
                  </a:lnTo>
                  <a:lnTo>
                    <a:pt x="67058" y="50012"/>
                  </a:lnTo>
                  <a:lnTo>
                    <a:pt x="67567" y="47686"/>
                  </a:lnTo>
                  <a:lnTo>
                    <a:pt x="68039" y="45324"/>
                  </a:lnTo>
                  <a:lnTo>
                    <a:pt x="69021" y="40417"/>
                  </a:lnTo>
                  <a:lnTo>
                    <a:pt x="69893" y="35401"/>
                  </a:lnTo>
                  <a:lnTo>
                    <a:pt x="70692" y="30422"/>
                  </a:lnTo>
                  <a:lnTo>
                    <a:pt x="71092" y="27950"/>
                  </a:lnTo>
                  <a:lnTo>
                    <a:pt x="71419" y="25515"/>
                  </a:lnTo>
                  <a:lnTo>
                    <a:pt x="71710" y="23153"/>
                  </a:lnTo>
                  <a:lnTo>
                    <a:pt x="72001" y="20863"/>
                  </a:lnTo>
                  <a:lnTo>
                    <a:pt x="72219" y="18646"/>
                  </a:lnTo>
                  <a:lnTo>
                    <a:pt x="72437" y="16538"/>
                  </a:lnTo>
                  <a:lnTo>
                    <a:pt x="72582" y="14539"/>
                  </a:lnTo>
                  <a:lnTo>
                    <a:pt x="72728" y="12685"/>
                  </a:lnTo>
                  <a:lnTo>
                    <a:pt x="72800" y="10941"/>
                  </a:lnTo>
                  <a:lnTo>
                    <a:pt x="72800" y="9341"/>
                  </a:lnTo>
                  <a:lnTo>
                    <a:pt x="72800" y="7924"/>
                  </a:lnTo>
                  <a:lnTo>
                    <a:pt x="72728" y="6688"/>
                  </a:lnTo>
                  <a:lnTo>
                    <a:pt x="72582" y="5634"/>
                  </a:lnTo>
                  <a:lnTo>
                    <a:pt x="72510" y="5198"/>
                  </a:lnTo>
                  <a:lnTo>
                    <a:pt x="72401" y="4798"/>
                  </a:lnTo>
                  <a:lnTo>
                    <a:pt x="72401" y="4798"/>
                  </a:lnTo>
                  <a:lnTo>
                    <a:pt x="72255" y="4435"/>
                  </a:lnTo>
                  <a:lnTo>
                    <a:pt x="72001" y="4108"/>
                  </a:lnTo>
                  <a:lnTo>
                    <a:pt x="71710" y="3780"/>
                  </a:lnTo>
                  <a:lnTo>
                    <a:pt x="71347" y="3453"/>
                  </a:lnTo>
                  <a:lnTo>
                    <a:pt x="70910" y="3163"/>
                  </a:lnTo>
                  <a:lnTo>
                    <a:pt x="70402" y="2872"/>
                  </a:lnTo>
                  <a:lnTo>
                    <a:pt x="69856" y="2617"/>
                  </a:lnTo>
                  <a:lnTo>
                    <a:pt x="69202" y="2363"/>
                  </a:lnTo>
                  <a:lnTo>
                    <a:pt x="68512" y="2109"/>
                  </a:lnTo>
                  <a:lnTo>
                    <a:pt x="67785" y="1890"/>
                  </a:lnTo>
                  <a:lnTo>
                    <a:pt x="66985" y="1672"/>
                  </a:lnTo>
                  <a:lnTo>
                    <a:pt x="66149" y="1491"/>
                  </a:lnTo>
                  <a:lnTo>
                    <a:pt x="65241" y="1309"/>
                  </a:lnTo>
                  <a:lnTo>
                    <a:pt x="64296" y="1127"/>
                  </a:lnTo>
                  <a:lnTo>
                    <a:pt x="62297" y="836"/>
                  </a:lnTo>
                  <a:lnTo>
                    <a:pt x="60116" y="582"/>
                  </a:lnTo>
                  <a:lnTo>
                    <a:pt x="57826" y="364"/>
                  </a:lnTo>
                  <a:lnTo>
                    <a:pt x="55391" y="219"/>
                  </a:lnTo>
                  <a:lnTo>
                    <a:pt x="52883" y="109"/>
                  </a:lnTo>
                  <a:lnTo>
                    <a:pt x="50302" y="37"/>
                  </a:lnTo>
                  <a:lnTo>
                    <a:pt x="47649" y="0"/>
                  </a:lnTo>
                  <a:lnTo>
                    <a:pt x="44996" y="0"/>
                  </a:lnTo>
                  <a:lnTo>
                    <a:pt x="42306" y="73"/>
                  </a:lnTo>
                  <a:lnTo>
                    <a:pt x="39617" y="146"/>
                  </a:lnTo>
                  <a:lnTo>
                    <a:pt x="36964" y="255"/>
                  </a:lnTo>
                  <a:lnTo>
                    <a:pt x="34347" y="437"/>
                  </a:lnTo>
                  <a:lnTo>
                    <a:pt x="31803" y="618"/>
                  </a:lnTo>
                  <a:lnTo>
                    <a:pt x="29367" y="836"/>
                  </a:lnTo>
                  <a:lnTo>
                    <a:pt x="27005" y="1091"/>
                  </a:lnTo>
                  <a:lnTo>
                    <a:pt x="24788" y="1345"/>
                  </a:lnTo>
                  <a:lnTo>
                    <a:pt x="22716" y="1672"/>
                  </a:lnTo>
                  <a:lnTo>
                    <a:pt x="20790" y="1999"/>
                  </a:lnTo>
                  <a:lnTo>
                    <a:pt x="19045" y="2327"/>
                  </a:lnTo>
                  <a:lnTo>
                    <a:pt x="17555" y="2690"/>
                  </a:lnTo>
                  <a:lnTo>
                    <a:pt x="16247" y="3090"/>
                  </a:lnTo>
                  <a:lnTo>
                    <a:pt x="15701" y="3272"/>
                  </a:lnTo>
                  <a:lnTo>
                    <a:pt x="15193" y="3490"/>
                  </a:lnTo>
                  <a:lnTo>
                    <a:pt x="14756" y="3708"/>
                  </a:lnTo>
                  <a:lnTo>
                    <a:pt x="14429" y="3926"/>
                  </a:lnTo>
                  <a:lnTo>
                    <a:pt x="14138" y="4144"/>
                  </a:lnTo>
                  <a:lnTo>
                    <a:pt x="13920" y="4362"/>
                  </a:lnTo>
                  <a:lnTo>
                    <a:pt x="13775" y="4580"/>
                  </a:lnTo>
                  <a:lnTo>
                    <a:pt x="13739" y="4798"/>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60" name="Google Shape;2589;p11">
              <a:extLst>
                <a:ext uri="{FF2B5EF4-FFF2-40B4-BE49-F238E27FC236}">
                  <a16:creationId xmlns:a16="http://schemas.microsoft.com/office/drawing/2014/main" id="{9B206B30-F2B2-F7D1-0636-7831C82ACD6A}"/>
                </a:ext>
              </a:extLst>
            </p:cNvPr>
            <p:cNvSpPr/>
            <p:nvPr/>
          </p:nvSpPr>
          <p:spPr>
            <a:xfrm>
              <a:off x="752400" y="966600"/>
              <a:ext cx="1025875" cy="41800"/>
            </a:xfrm>
            <a:custGeom>
              <a:avLst/>
              <a:gdLst/>
              <a:ahLst/>
              <a:cxnLst/>
              <a:rect l="l" t="t" r="r" b="b"/>
              <a:pathLst>
                <a:path w="41035" h="1672" extrusionOk="0">
                  <a:moveTo>
                    <a:pt x="1" y="0"/>
                  </a:moveTo>
                  <a:lnTo>
                    <a:pt x="1" y="1672"/>
                  </a:lnTo>
                  <a:lnTo>
                    <a:pt x="41035" y="1672"/>
                  </a:lnTo>
                  <a:lnTo>
                    <a:pt x="41035" y="0"/>
                  </a:lnTo>
                  <a:close/>
                </a:path>
              </a:pathLst>
            </a:custGeom>
            <a:solidFill>
              <a:srgbClr val="6A6A7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61" name="Google Shape;2590;p11">
              <a:extLst>
                <a:ext uri="{FF2B5EF4-FFF2-40B4-BE49-F238E27FC236}">
                  <a16:creationId xmlns:a16="http://schemas.microsoft.com/office/drawing/2014/main" id="{15310E93-08DC-FFFF-B136-FA7609B84194}"/>
                </a:ext>
              </a:extLst>
            </p:cNvPr>
            <p:cNvSpPr/>
            <p:nvPr/>
          </p:nvSpPr>
          <p:spPr>
            <a:xfrm>
              <a:off x="752400" y="966600"/>
              <a:ext cx="1025875" cy="41800"/>
            </a:xfrm>
            <a:custGeom>
              <a:avLst/>
              <a:gdLst/>
              <a:ahLst/>
              <a:cxnLst/>
              <a:rect l="l" t="t" r="r" b="b"/>
              <a:pathLst>
                <a:path w="41035" h="1672" fill="none" extrusionOk="0">
                  <a:moveTo>
                    <a:pt x="41035" y="0"/>
                  </a:moveTo>
                  <a:lnTo>
                    <a:pt x="1" y="0"/>
                  </a:lnTo>
                  <a:lnTo>
                    <a:pt x="1" y="1672"/>
                  </a:lnTo>
                  <a:lnTo>
                    <a:pt x="41035" y="1672"/>
                  </a:lnTo>
                  <a:lnTo>
                    <a:pt x="41035"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62" name="Google Shape;2591;p11">
              <a:extLst>
                <a:ext uri="{FF2B5EF4-FFF2-40B4-BE49-F238E27FC236}">
                  <a16:creationId xmlns:a16="http://schemas.microsoft.com/office/drawing/2014/main" id="{49FDCAEC-2229-3205-51E7-6793B976BA7E}"/>
                </a:ext>
              </a:extLst>
            </p:cNvPr>
            <p:cNvSpPr/>
            <p:nvPr/>
          </p:nvSpPr>
          <p:spPr>
            <a:xfrm>
              <a:off x="680625" y="1156500"/>
              <a:ext cx="1025875" cy="41825"/>
            </a:xfrm>
            <a:custGeom>
              <a:avLst/>
              <a:gdLst/>
              <a:ahLst/>
              <a:cxnLst/>
              <a:rect l="l" t="t" r="r" b="b"/>
              <a:pathLst>
                <a:path w="41035" h="1673" extrusionOk="0">
                  <a:moveTo>
                    <a:pt x="0" y="0"/>
                  </a:moveTo>
                  <a:lnTo>
                    <a:pt x="0" y="1672"/>
                  </a:lnTo>
                  <a:lnTo>
                    <a:pt x="41035" y="1672"/>
                  </a:lnTo>
                  <a:lnTo>
                    <a:pt x="41035" y="0"/>
                  </a:lnTo>
                  <a:close/>
                </a:path>
              </a:pathLst>
            </a:custGeom>
            <a:solidFill>
              <a:srgbClr val="6A6A7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63" name="Google Shape;2592;p11">
              <a:extLst>
                <a:ext uri="{FF2B5EF4-FFF2-40B4-BE49-F238E27FC236}">
                  <a16:creationId xmlns:a16="http://schemas.microsoft.com/office/drawing/2014/main" id="{3E254D81-27B7-D9D8-A9E1-D5D1250E5A9C}"/>
                </a:ext>
              </a:extLst>
            </p:cNvPr>
            <p:cNvSpPr/>
            <p:nvPr/>
          </p:nvSpPr>
          <p:spPr>
            <a:xfrm>
              <a:off x="680625" y="1156500"/>
              <a:ext cx="1025875" cy="41825"/>
            </a:xfrm>
            <a:custGeom>
              <a:avLst/>
              <a:gdLst/>
              <a:ahLst/>
              <a:cxnLst/>
              <a:rect l="l" t="t" r="r" b="b"/>
              <a:pathLst>
                <a:path w="41035" h="1673" fill="none" extrusionOk="0">
                  <a:moveTo>
                    <a:pt x="41035" y="0"/>
                  </a:moveTo>
                  <a:lnTo>
                    <a:pt x="0" y="0"/>
                  </a:lnTo>
                  <a:lnTo>
                    <a:pt x="0" y="1672"/>
                  </a:lnTo>
                  <a:lnTo>
                    <a:pt x="41035" y="1672"/>
                  </a:lnTo>
                  <a:lnTo>
                    <a:pt x="41035"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64" name="Google Shape;2593;p11">
              <a:extLst>
                <a:ext uri="{FF2B5EF4-FFF2-40B4-BE49-F238E27FC236}">
                  <a16:creationId xmlns:a16="http://schemas.microsoft.com/office/drawing/2014/main" id="{8D3078EB-4E13-3FDE-52B3-5ECE788CAD5A}"/>
                </a:ext>
              </a:extLst>
            </p:cNvPr>
            <p:cNvSpPr/>
            <p:nvPr/>
          </p:nvSpPr>
          <p:spPr>
            <a:xfrm>
              <a:off x="621550" y="1325500"/>
              <a:ext cx="1025900" cy="42725"/>
            </a:xfrm>
            <a:custGeom>
              <a:avLst/>
              <a:gdLst/>
              <a:ahLst/>
              <a:cxnLst/>
              <a:rect l="l" t="t" r="r" b="b"/>
              <a:pathLst>
                <a:path w="41036" h="1709" extrusionOk="0">
                  <a:moveTo>
                    <a:pt x="1" y="1"/>
                  </a:moveTo>
                  <a:lnTo>
                    <a:pt x="1" y="1709"/>
                  </a:lnTo>
                  <a:lnTo>
                    <a:pt x="41035" y="1709"/>
                  </a:lnTo>
                  <a:lnTo>
                    <a:pt x="41035" y="1"/>
                  </a:lnTo>
                  <a:close/>
                </a:path>
              </a:pathLst>
            </a:custGeom>
            <a:solidFill>
              <a:srgbClr val="6A6A7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65" name="Google Shape;2594;p11">
              <a:extLst>
                <a:ext uri="{FF2B5EF4-FFF2-40B4-BE49-F238E27FC236}">
                  <a16:creationId xmlns:a16="http://schemas.microsoft.com/office/drawing/2014/main" id="{6AD5AC28-4172-954F-C863-C2BBE0525CBF}"/>
                </a:ext>
              </a:extLst>
            </p:cNvPr>
            <p:cNvSpPr/>
            <p:nvPr/>
          </p:nvSpPr>
          <p:spPr>
            <a:xfrm>
              <a:off x="621550" y="1325500"/>
              <a:ext cx="1025900" cy="42725"/>
            </a:xfrm>
            <a:custGeom>
              <a:avLst/>
              <a:gdLst/>
              <a:ahLst/>
              <a:cxnLst/>
              <a:rect l="l" t="t" r="r" b="b"/>
              <a:pathLst>
                <a:path w="41036" h="1709" fill="none" extrusionOk="0">
                  <a:moveTo>
                    <a:pt x="41035" y="1"/>
                  </a:moveTo>
                  <a:lnTo>
                    <a:pt x="1" y="1"/>
                  </a:lnTo>
                  <a:lnTo>
                    <a:pt x="1" y="1709"/>
                  </a:lnTo>
                  <a:lnTo>
                    <a:pt x="41035" y="1709"/>
                  </a:lnTo>
                  <a:lnTo>
                    <a:pt x="41035"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66" name="Google Shape;2595;p11">
              <a:extLst>
                <a:ext uri="{FF2B5EF4-FFF2-40B4-BE49-F238E27FC236}">
                  <a16:creationId xmlns:a16="http://schemas.microsoft.com/office/drawing/2014/main" id="{2B8EADEC-FDF8-E925-D4E8-F92129AF632D}"/>
                </a:ext>
              </a:extLst>
            </p:cNvPr>
            <p:cNvSpPr/>
            <p:nvPr/>
          </p:nvSpPr>
          <p:spPr>
            <a:xfrm>
              <a:off x="540700" y="1511775"/>
              <a:ext cx="1026775" cy="41825"/>
            </a:xfrm>
            <a:custGeom>
              <a:avLst/>
              <a:gdLst/>
              <a:ahLst/>
              <a:cxnLst/>
              <a:rect l="l" t="t" r="r" b="b"/>
              <a:pathLst>
                <a:path w="41071" h="1673" extrusionOk="0">
                  <a:moveTo>
                    <a:pt x="0" y="1"/>
                  </a:moveTo>
                  <a:lnTo>
                    <a:pt x="0" y="1672"/>
                  </a:lnTo>
                  <a:lnTo>
                    <a:pt x="41071" y="1672"/>
                  </a:lnTo>
                  <a:lnTo>
                    <a:pt x="41071" y="1"/>
                  </a:lnTo>
                  <a:close/>
                </a:path>
              </a:pathLst>
            </a:custGeom>
            <a:solidFill>
              <a:srgbClr val="6A6A7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67" name="Google Shape;2596;p11">
              <a:extLst>
                <a:ext uri="{FF2B5EF4-FFF2-40B4-BE49-F238E27FC236}">
                  <a16:creationId xmlns:a16="http://schemas.microsoft.com/office/drawing/2014/main" id="{AD6D4116-8F35-FCF5-C1E9-9116AD978BFD}"/>
                </a:ext>
              </a:extLst>
            </p:cNvPr>
            <p:cNvSpPr/>
            <p:nvPr/>
          </p:nvSpPr>
          <p:spPr>
            <a:xfrm>
              <a:off x="540700" y="1511775"/>
              <a:ext cx="1026775" cy="41825"/>
            </a:xfrm>
            <a:custGeom>
              <a:avLst/>
              <a:gdLst/>
              <a:ahLst/>
              <a:cxnLst/>
              <a:rect l="l" t="t" r="r" b="b"/>
              <a:pathLst>
                <a:path w="41071" h="1673" fill="none" extrusionOk="0">
                  <a:moveTo>
                    <a:pt x="41071" y="1"/>
                  </a:moveTo>
                  <a:lnTo>
                    <a:pt x="0" y="1"/>
                  </a:lnTo>
                  <a:lnTo>
                    <a:pt x="0" y="1672"/>
                  </a:lnTo>
                  <a:lnTo>
                    <a:pt x="41071" y="1672"/>
                  </a:lnTo>
                  <a:lnTo>
                    <a:pt x="41071"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68" name="Google Shape;2597;p11">
              <a:extLst>
                <a:ext uri="{FF2B5EF4-FFF2-40B4-BE49-F238E27FC236}">
                  <a16:creationId xmlns:a16="http://schemas.microsoft.com/office/drawing/2014/main" id="{3BBA9BB5-5900-5883-CE2B-23E6D945D7B6}"/>
                </a:ext>
              </a:extLst>
            </p:cNvPr>
            <p:cNvSpPr/>
            <p:nvPr/>
          </p:nvSpPr>
          <p:spPr>
            <a:xfrm>
              <a:off x="1486600" y="945700"/>
              <a:ext cx="109950" cy="79975"/>
            </a:xfrm>
            <a:custGeom>
              <a:avLst/>
              <a:gdLst/>
              <a:ahLst/>
              <a:cxnLst/>
              <a:rect l="l" t="t" r="r" b="b"/>
              <a:pathLst>
                <a:path w="4398" h="3199" extrusionOk="0">
                  <a:moveTo>
                    <a:pt x="0" y="0"/>
                  </a:moveTo>
                  <a:lnTo>
                    <a:pt x="0" y="3199"/>
                  </a:lnTo>
                  <a:lnTo>
                    <a:pt x="4398" y="3199"/>
                  </a:lnTo>
                  <a:lnTo>
                    <a:pt x="4398" y="0"/>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69" name="Google Shape;2598;p11">
              <a:extLst>
                <a:ext uri="{FF2B5EF4-FFF2-40B4-BE49-F238E27FC236}">
                  <a16:creationId xmlns:a16="http://schemas.microsoft.com/office/drawing/2014/main" id="{2E01F229-93CB-E111-6186-C4C385F94288}"/>
                </a:ext>
              </a:extLst>
            </p:cNvPr>
            <p:cNvSpPr/>
            <p:nvPr/>
          </p:nvSpPr>
          <p:spPr>
            <a:xfrm>
              <a:off x="1070425" y="935700"/>
              <a:ext cx="122700" cy="109050"/>
            </a:xfrm>
            <a:custGeom>
              <a:avLst/>
              <a:gdLst/>
              <a:ahLst/>
              <a:cxnLst/>
              <a:rect l="l" t="t" r="r" b="b"/>
              <a:pathLst>
                <a:path w="4908" h="4362" extrusionOk="0">
                  <a:moveTo>
                    <a:pt x="1" y="0"/>
                  </a:moveTo>
                  <a:lnTo>
                    <a:pt x="1" y="4362"/>
                  </a:lnTo>
                  <a:lnTo>
                    <a:pt x="4907" y="4362"/>
                  </a:lnTo>
                  <a:lnTo>
                    <a:pt x="4907" y="0"/>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70" name="Google Shape;2599;p11">
              <a:extLst>
                <a:ext uri="{FF2B5EF4-FFF2-40B4-BE49-F238E27FC236}">
                  <a16:creationId xmlns:a16="http://schemas.microsoft.com/office/drawing/2014/main" id="{E2532BB2-0353-6335-EF4B-42FBEB1D15ED}"/>
                </a:ext>
              </a:extLst>
            </p:cNvPr>
            <p:cNvSpPr/>
            <p:nvPr/>
          </p:nvSpPr>
          <p:spPr>
            <a:xfrm>
              <a:off x="1216725" y="1147400"/>
              <a:ext cx="129950" cy="67275"/>
            </a:xfrm>
            <a:custGeom>
              <a:avLst/>
              <a:gdLst/>
              <a:ahLst/>
              <a:cxnLst/>
              <a:rect l="l" t="t" r="r" b="b"/>
              <a:pathLst>
                <a:path w="5198" h="2691" extrusionOk="0">
                  <a:moveTo>
                    <a:pt x="0" y="1"/>
                  </a:moveTo>
                  <a:lnTo>
                    <a:pt x="0" y="2690"/>
                  </a:lnTo>
                  <a:lnTo>
                    <a:pt x="5198" y="2690"/>
                  </a:lnTo>
                  <a:lnTo>
                    <a:pt x="5198" y="1"/>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71" name="Google Shape;2600;p11">
              <a:extLst>
                <a:ext uri="{FF2B5EF4-FFF2-40B4-BE49-F238E27FC236}">
                  <a16:creationId xmlns:a16="http://schemas.microsoft.com/office/drawing/2014/main" id="{30C1579D-DBED-7526-FC58-D6B89D6AD2B0}"/>
                </a:ext>
              </a:extLst>
            </p:cNvPr>
            <p:cNvSpPr/>
            <p:nvPr/>
          </p:nvSpPr>
          <p:spPr>
            <a:xfrm>
              <a:off x="1491125" y="1310050"/>
              <a:ext cx="69100" cy="86350"/>
            </a:xfrm>
            <a:custGeom>
              <a:avLst/>
              <a:gdLst/>
              <a:ahLst/>
              <a:cxnLst/>
              <a:rect l="l" t="t" r="r" b="b"/>
              <a:pathLst>
                <a:path w="2764" h="3454" extrusionOk="0">
                  <a:moveTo>
                    <a:pt x="1" y="1"/>
                  </a:moveTo>
                  <a:lnTo>
                    <a:pt x="1" y="3454"/>
                  </a:lnTo>
                  <a:lnTo>
                    <a:pt x="2763" y="3454"/>
                  </a:lnTo>
                  <a:lnTo>
                    <a:pt x="2763" y="1"/>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72" name="Google Shape;2601;p11">
              <a:extLst>
                <a:ext uri="{FF2B5EF4-FFF2-40B4-BE49-F238E27FC236}">
                  <a16:creationId xmlns:a16="http://schemas.microsoft.com/office/drawing/2014/main" id="{316E7B12-3295-39E4-052B-D889EC969729}"/>
                </a:ext>
              </a:extLst>
            </p:cNvPr>
            <p:cNvSpPr/>
            <p:nvPr/>
          </p:nvSpPr>
          <p:spPr>
            <a:xfrm>
              <a:off x="846000" y="1300975"/>
              <a:ext cx="139950" cy="92700"/>
            </a:xfrm>
            <a:custGeom>
              <a:avLst/>
              <a:gdLst/>
              <a:ahLst/>
              <a:cxnLst/>
              <a:rect l="l" t="t" r="r" b="b"/>
              <a:pathLst>
                <a:path w="5598" h="3708" extrusionOk="0">
                  <a:moveTo>
                    <a:pt x="0" y="0"/>
                  </a:moveTo>
                  <a:lnTo>
                    <a:pt x="0" y="3708"/>
                  </a:lnTo>
                  <a:lnTo>
                    <a:pt x="5598" y="3708"/>
                  </a:lnTo>
                  <a:lnTo>
                    <a:pt x="5598" y="0"/>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73" name="Google Shape;2602;p11">
              <a:extLst>
                <a:ext uri="{FF2B5EF4-FFF2-40B4-BE49-F238E27FC236}">
                  <a16:creationId xmlns:a16="http://schemas.microsoft.com/office/drawing/2014/main" id="{12494E6C-2394-29CE-ADCC-B6AD28060B45}"/>
                </a:ext>
              </a:extLst>
            </p:cNvPr>
            <p:cNvSpPr/>
            <p:nvPr/>
          </p:nvSpPr>
          <p:spPr>
            <a:xfrm>
              <a:off x="1015000" y="1492700"/>
              <a:ext cx="57275" cy="77250"/>
            </a:xfrm>
            <a:custGeom>
              <a:avLst/>
              <a:gdLst/>
              <a:ahLst/>
              <a:cxnLst/>
              <a:rect l="l" t="t" r="r" b="b"/>
              <a:pathLst>
                <a:path w="2291" h="3090" extrusionOk="0">
                  <a:moveTo>
                    <a:pt x="1" y="0"/>
                  </a:moveTo>
                  <a:lnTo>
                    <a:pt x="1" y="3090"/>
                  </a:lnTo>
                  <a:lnTo>
                    <a:pt x="2290" y="3090"/>
                  </a:lnTo>
                  <a:lnTo>
                    <a:pt x="2290" y="0"/>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74" name="Google Shape;2603;p11">
              <a:extLst>
                <a:ext uri="{FF2B5EF4-FFF2-40B4-BE49-F238E27FC236}">
                  <a16:creationId xmlns:a16="http://schemas.microsoft.com/office/drawing/2014/main" id="{A755F569-FB94-D09E-2B44-9DEC70709D45}"/>
                </a:ext>
              </a:extLst>
            </p:cNvPr>
            <p:cNvSpPr/>
            <p:nvPr/>
          </p:nvSpPr>
          <p:spPr>
            <a:xfrm>
              <a:off x="1323025" y="1492700"/>
              <a:ext cx="62725" cy="77250"/>
            </a:xfrm>
            <a:custGeom>
              <a:avLst/>
              <a:gdLst/>
              <a:ahLst/>
              <a:cxnLst/>
              <a:rect l="l" t="t" r="r" b="b"/>
              <a:pathLst>
                <a:path w="2509" h="3090" extrusionOk="0">
                  <a:moveTo>
                    <a:pt x="1" y="0"/>
                  </a:moveTo>
                  <a:lnTo>
                    <a:pt x="1" y="3090"/>
                  </a:lnTo>
                  <a:lnTo>
                    <a:pt x="2509" y="3090"/>
                  </a:lnTo>
                  <a:lnTo>
                    <a:pt x="2509" y="0"/>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75" name="Google Shape;2604;p11">
              <a:extLst>
                <a:ext uri="{FF2B5EF4-FFF2-40B4-BE49-F238E27FC236}">
                  <a16:creationId xmlns:a16="http://schemas.microsoft.com/office/drawing/2014/main" id="{46010FE2-E57A-9AAA-F799-0A12D2382E71}"/>
                </a:ext>
              </a:extLst>
            </p:cNvPr>
            <p:cNvSpPr/>
            <p:nvPr/>
          </p:nvSpPr>
          <p:spPr>
            <a:xfrm>
              <a:off x="1560200" y="1310050"/>
              <a:ext cx="146300" cy="86350"/>
            </a:xfrm>
            <a:custGeom>
              <a:avLst/>
              <a:gdLst/>
              <a:ahLst/>
              <a:cxnLst/>
              <a:rect l="l" t="t" r="r" b="b"/>
              <a:pathLst>
                <a:path w="5852" h="3454" extrusionOk="0">
                  <a:moveTo>
                    <a:pt x="0" y="1"/>
                  </a:moveTo>
                  <a:lnTo>
                    <a:pt x="0" y="3454"/>
                  </a:lnTo>
                  <a:lnTo>
                    <a:pt x="5852" y="3454"/>
                  </a:lnTo>
                  <a:lnTo>
                    <a:pt x="5852" y="1"/>
                  </a:lnTo>
                  <a:close/>
                </a:path>
              </a:pathLst>
            </a:custGeom>
            <a:solidFill>
              <a:srgbClr val="F6F6F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76" name="Google Shape;2605;p11">
              <a:extLst>
                <a:ext uri="{FF2B5EF4-FFF2-40B4-BE49-F238E27FC236}">
                  <a16:creationId xmlns:a16="http://schemas.microsoft.com/office/drawing/2014/main" id="{5790483A-6B4D-D8B8-E49A-9CCFEF4165AC}"/>
                </a:ext>
              </a:extLst>
            </p:cNvPr>
            <p:cNvSpPr/>
            <p:nvPr/>
          </p:nvSpPr>
          <p:spPr>
            <a:xfrm>
              <a:off x="6027975" y="275125"/>
              <a:ext cx="179025" cy="477950"/>
            </a:xfrm>
            <a:custGeom>
              <a:avLst/>
              <a:gdLst/>
              <a:ahLst/>
              <a:cxnLst/>
              <a:rect l="l" t="t" r="r" b="b"/>
              <a:pathLst>
                <a:path w="7161" h="19118" extrusionOk="0">
                  <a:moveTo>
                    <a:pt x="5198" y="0"/>
                  </a:moveTo>
                  <a:lnTo>
                    <a:pt x="4217" y="109"/>
                  </a:lnTo>
                  <a:lnTo>
                    <a:pt x="3163" y="291"/>
                  </a:lnTo>
                  <a:lnTo>
                    <a:pt x="2218" y="472"/>
                  </a:lnTo>
                  <a:lnTo>
                    <a:pt x="1382" y="654"/>
                  </a:lnTo>
                  <a:lnTo>
                    <a:pt x="619" y="872"/>
                  </a:lnTo>
                  <a:lnTo>
                    <a:pt x="764" y="2653"/>
                  </a:lnTo>
                  <a:lnTo>
                    <a:pt x="801" y="4398"/>
                  </a:lnTo>
                  <a:lnTo>
                    <a:pt x="801" y="5997"/>
                  </a:lnTo>
                  <a:lnTo>
                    <a:pt x="764" y="7560"/>
                  </a:lnTo>
                  <a:lnTo>
                    <a:pt x="691" y="9014"/>
                  </a:lnTo>
                  <a:lnTo>
                    <a:pt x="546" y="10359"/>
                  </a:lnTo>
                  <a:lnTo>
                    <a:pt x="292" y="12794"/>
                  </a:lnTo>
                  <a:lnTo>
                    <a:pt x="74" y="14793"/>
                  </a:lnTo>
                  <a:lnTo>
                    <a:pt x="1" y="15629"/>
                  </a:lnTo>
                  <a:lnTo>
                    <a:pt x="1" y="16356"/>
                  </a:lnTo>
                  <a:lnTo>
                    <a:pt x="1" y="16973"/>
                  </a:lnTo>
                  <a:lnTo>
                    <a:pt x="74" y="17228"/>
                  </a:lnTo>
                  <a:lnTo>
                    <a:pt x="110" y="17446"/>
                  </a:lnTo>
                  <a:lnTo>
                    <a:pt x="183" y="17664"/>
                  </a:lnTo>
                  <a:lnTo>
                    <a:pt x="292" y="17809"/>
                  </a:lnTo>
                  <a:lnTo>
                    <a:pt x="401" y="17955"/>
                  </a:lnTo>
                  <a:lnTo>
                    <a:pt x="582" y="18064"/>
                  </a:lnTo>
                  <a:lnTo>
                    <a:pt x="1200" y="18427"/>
                  </a:lnTo>
                  <a:lnTo>
                    <a:pt x="1891" y="18754"/>
                  </a:lnTo>
                  <a:lnTo>
                    <a:pt x="2218" y="18863"/>
                  </a:lnTo>
                  <a:lnTo>
                    <a:pt x="2581" y="18972"/>
                  </a:lnTo>
                  <a:lnTo>
                    <a:pt x="2909" y="19045"/>
                  </a:lnTo>
                  <a:lnTo>
                    <a:pt x="3236" y="19118"/>
                  </a:lnTo>
                  <a:lnTo>
                    <a:pt x="3926" y="19118"/>
                  </a:lnTo>
                  <a:lnTo>
                    <a:pt x="4217" y="19045"/>
                  </a:lnTo>
                  <a:lnTo>
                    <a:pt x="4544" y="18936"/>
                  </a:lnTo>
                  <a:lnTo>
                    <a:pt x="4835" y="18827"/>
                  </a:lnTo>
                  <a:lnTo>
                    <a:pt x="5126" y="18609"/>
                  </a:lnTo>
                  <a:lnTo>
                    <a:pt x="5380" y="18391"/>
                  </a:lnTo>
                  <a:lnTo>
                    <a:pt x="5634" y="18064"/>
                  </a:lnTo>
                  <a:lnTo>
                    <a:pt x="5744" y="17882"/>
                  </a:lnTo>
                  <a:lnTo>
                    <a:pt x="5853" y="17591"/>
                  </a:lnTo>
                  <a:lnTo>
                    <a:pt x="5962" y="17264"/>
                  </a:lnTo>
                  <a:lnTo>
                    <a:pt x="6071" y="16828"/>
                  </a:lnTo>
                  <a:lnTo>
                    <a:pt x="6289" y="15810"/>
                  </a:lnTo>
                  <a:lnTo>
                    <a:pt x="6470" y="14611"/>
                  </a:lnTo>
                  <a:lnTo>
                    <a:pt x="6652" y="13266"/>
                  </a:lnTo>
                  <a:lnTo>
                    <a:pt x="6798" y="11776"/>
                  </a:lnTo>
                  <a:lnTo>
                    <a:pt x="6907" y="10249"/>
                  </a:lnTo>
                  <a:lnTo>
                    <a:pt x="7016" y="8687"/>
                  </a:lnTo>
                  <a:lnTo>
                    <a:pt x="7088" y="7124"/>
                  </a:lnTo>
                  <a:lnTo>
                    <a:pt x="7125" y="5597"/>
                  </a:lnTo>
                  <a:lnTo>
                    <a:pt x="7161" y="4216"/>
                  </a:lnTo>
                  <a:lnTo>
                    <a:pt x="7125" y="2944"/>
                  </a:lnTo>
                  <a:lnTo>
                    <a:pt x="7052" y="1854"/>
                  </a:lnTo>
                  <a:lnTo>
                    <a:pt x="6943" y="1018"/>
                  </a:lnTo>
                  <a:lnTo>
                    <a:pt x="6870" y="654"/>
                  </a:lnTo>
                  <a:lnTo>
                    <a:pt x="6798" y="400"/>
                  </a:lnTo>
                  <a:lnTo>
                    <a:pt x="6725" y="218"/>
                  </a:lnTo>
                  <a:lnTo>
                    <a:pt x="6616" y="145"/>
                  </a:lnTo>
                  <a:lnTo>
                    <a:pt x="6361" y="36"/>
                  </a:lnTo>
                  <a:lnTo>
                    <a:pt x="6034" y="0"/>
                  </a:lnTo>
                  <a:close/>
                </a:path>
              </a:pathLst>
            </a:custGeom>
            <a:solidFill>
              <a:srgbClr val="92929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77" name="Google Shape;2606;p11">
              <a:extLst>
                <a:ext uri="{FF2B5EF4-FFF2-40B4-BE49-F238E27FC236}">
                  <a16:creationId xmlns:a16="http://schemas.microsoft.com/office/drawing/2014/main" id="{29AA209D-542B-A97C-712D-67F9F45D72D2}"/>
                </a:ext>
              </a:extLst>
            </p:cNvPr>
            <p:cNvSpPr/>
            <p:nvPr/>
          </p:nvSpPr>
          <p:spPr>
            <a:xfrm>
              <a:off x="6900275" y="283300"/>
              <a:ext cx="318975" cy="469775"/>
            </a:xfrm>
            <a:custGeom>
              <a:avLst/>
              <a:gdLst/>
              <a:ahLst/>
              <a:cxnLst/>
              <a:rect l="l" t="t" r="r" b="b"/>
              <a:pathLst>
                <a:path w="12759" h="18791" extrusionOk="0">
                  <a:moveTo>
                    <a:pt x="7016" y="0"/>
                  </a:moveTo>
                  <a:lnTo>
                    <a:pt x="6398" y="36"/>
                  </a:lnTo>
                  <a:lnTo>
                    <a:pt x="5889" y="109"/>
                  </a:lnTo>
                  <a:lnTo>
                    <a:pt x="5671" y="145"/>
                  </a:lnTo>
                  <a:lnTo>
                    <a:pt x="5489" y="218"/>
                  </a:lnTo>
                  <a:lnTo>
                    <a:pt x="5344" y="291"/>
                  </a:lnTo>
                  <a:lnTo>
                    <a:pt x="5271" y="400"/>
                  </a:lnTo>
                  <a:lnTo>
                    <a:pt x="5235" y="545"/>
                  </a:lnTo>
                  <a:lnTo>
                    <a:pt x="5235" y="691"/>
                  </a:lnTo>
                  <a:lnTo>
                    <a:pt x="5271" y="1018"/>
                  </a:lnTo>
                  <a:lnTo>
                    <a:pt x="5235" y="1490"/>
                  </a:lnTo>
                  <a:lnTo>
                    <a:pt x="5162" y="2108"/>
                  </a:lnTo>
                  <a:lnTo>
                    <a:pt x="5053" y="2762"/>
                  </a:lnTo>
                  <a:lnTo>
                    <a:pt x="4871" y="3562"/>
                  </a:lnTo>
                  <a:lnTo>
                    <a:pt x="4617" y="4434"/>
                  </a:lnTo>
                  <a:lnTo>
                    <a:pt x="4035" y="6433"/>
                  </a:lnTo>
                  <a:lnTo>
                    <a:pt x="3236" y="8723"/>
                  </a:lnTo>
                  <a:lnTo>
                    <a:pt x="2291" y="11267"/>
                  </a:lnTo>
                  <a:lnTo>
                    <a:pt x="1200" y="13993"/>
                  </a:lnTo>
                  <a:lnTo>
                    <a:pt x="1" y="16865"/>
                  </a:lnTo>
                  <a:lnTo>
                    <a:pt x="473" y="17192"/>
                  </a:lnTo>
                  <a:lnTo>
                    <a:pt x="1018" y="17519"/>
                  </a:lnTo>
                  <a:lnTo>
                    <a:pt x="1709" y="17882"/>
                  </a:lnTo>
                  <a:lnTo>
                    <a:pt x="2509" y="18246"/>
                  </a:lnTo>
                  <a:lnTo>
                    <a:pt x="2945" y="18391"/>
                  </a:lnTo>
                  <a:lnTo>
                    <a:pt x="3381" y="18536"/>
                  </a:lnTo>
                  <a:lnTo>
                    <a:pt x="3853" y="18645"/>
                  </a:lnTo>
                  <a:lnTo>
                    <a:pt x="4326" y="18754"/>
                  </a:lnTo>
                  <a:lnTo>
                    <a:pt x="4762" y="18791"/>
                  </a:lnTo>
                  <a:lnTo>
                    <a:pt x="5235" y="18791"/>
                  </a:lnTo>
                  <a:lnTo>
                    <a:pt x="5453" y="18754"/>
                  </a:lnTo>
                  <a:lnTo>
                    <a:pt x="5707" y="18609"/>
                  </a:lnTo>
                  <a:lnTo>
                    <a:pt x="5925" y="18391"/>
                  </a:lnTo>
                  <a:lnTo>
                    <a:pt x="6180" y="18137"/>
                  </a:lnTo>
                  <a:lnTo>
                    <a:pt x="6434" y="17773"/>
                  </a:lnTo>
                  <a:lnTo>
                    <a:pt x="6688" y="17373"/>
                  </a:lnTo>
                  <a:lnTo>
                    <a:pt x="6979" y="16901"/>
                  </a:lnTo>
                  <a:lnTo>
                    <a:pt x="7234" y="16392"/>
                  </a:lnTo>
                  <a:lnTo>
                    <a:pt x="7779" y="15229"/>
                  </a:lnTo>
                  <a:lnTo>
                    <a:pt x="8324" y="13957"/>
                  </a:lnTo>
                  <a:lnTo>
                    <a:pt x="8869" y="12539"/>
                  </a:lnTo>
                  <a:lnTo>
                    <a:pt x="9414" y="11086"/>
                  </a:lnTo>
                  <a:lnTo>
                    <a:pt x="10432" y="8178"/>
                  </a:lnTo>
                  <a:lnTo>
                    <a:pt x="11341" y="5488"/>
                  </a:lnTo>
                  <a:lnTo>
                    <a:pt x="11740" y="4362"/>
                  </a:lnTo>
                  <a:lnTo>
                    <a:pt x="12104" y="3417"/>
                  </a:lnTo>
                  <a:lnTo>
                    <a:pt x="12431" y="2726"/>
                  </a:lnTo>
                  <a:lnTo>
                    <a:pt x="12540" y="2472"/>
                  </a:lnTo>
                  <a:lnTo>
                    <a:pt x="12685" y="2254"/>
                  </a:lnTo>
                  <a:lnTo>
                    <a:pt x="12758" y="2108"/>
                  </a:lnTo>
                  <a:lnTo>
                    <a:pt x="12758" y="1963"/>
                  </a:lnTo>
                  <a:lnTo>
                    <a:pt x="12758" y="1817"/>
                  </a:lnTo>
                  <a:lnTo>
                    <a:pt x="12649" y="1672"/>
                  </a:lnTo>
                  <a:lnTo>
                    <a:pt x="12540" y="1527"/>
                  </a:lnTo>
                  <a:lnTo>
                    <a:pt x="12395" y="1381"/>
                  </a:lnTo>
                  <a:lnTo>
                    <a:pt x="12177" y="1272"/>
                  </a:lnTo>
                  <a:lnTo>
                    <a:pt x="11959" y="1127"/>
                  </a:lnTo>
                  <a:lnTo>
                    <a:pt x="11377" y="872"/>
                  </a:lnTo>
                  <a:lnTo>
                    <a:pt x="10723" y="654"/>
                  </a:lnTo>
                  <a:lnTo>
                    <a:pt x="9996" y="436"/>
                  </a:lnTo>
                  <a:lnTo>
                    <a:pt x="9233" y="291"/>
                  </a:lnTo>
                  <a:lnTo>
                    <a:pt x="8469" y="145"/>
                  </a:lnTo>
                  <a:lnTo>
                    <a:pt x="7706" y="73"/>
                  </a:lnTo>
                  <a:lnTo>
                    <a:pt x="7016" y="0"/>
                  </a:lnTo>
                  <a:close/>
                </a:path>
              </a:pathLst>
            </a:custGeom>
            <a:solidFill>
              <a:srgbClr val="92929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78" name="Google Shape;2607;p11">
              <a:extLst>
                <a:ext uri="{FF2B5EF4-FFF2-40B4-BE49-F238E27FC236}">
                  <a16:creationId xmlns:a16="http://schemas.microsoft.com/office/drawing/2014/main" id="{278A5F8E-9C86-E243-070D-FC3A57D71463}"/>
                </a:ext>
              </a:extLst>
            </p:cNvPr>
            <p:cNvSpPr/>
            <p:nvPr/>
          </p:nvSpPr>
          <p:spPr>
            <a:xfrm>
              <a:off x="2841375" y="345075"/>
              <a:ext cx="300775" cy="434350"/>
            </a:xfrm>
            <a:custGeom>
              <a:avLst/>
              <a:gdLst/>
              <a:ahLst/>
              <a:cxnLst/>
              <a:rect l="l" t="t" r="r" b="b"/>
              <a:pathLst>
                <a:path w="12031" h="17374" extrusionOk="0">
                  <a:moveTo>
                    <a:pt x="5779" y="1"/>
                  </a:moveTo>
                  <a:lnTo>
                    <a:pt x="2981" y="73"/>
                  </a:lnTo>
                  <a:lnTo>
                    <a:pt x="1818" y="73"/>
                  </a:lnTo>
                  <a:lnTo>
                    <a:pt x="1854" y="2218"/>
                  </a:lnTo>
                  <a:lnTo>
                    <a:pt x="1818" y="4217"/>
                  </a:lnTo>
                  <a:lnTo>
                    <a:pt x="1709" y="5998"/>
                  </a:lnTo>
                  <a:lnTo>
                    <a:pt x="1563" y="7633"/>
                  </a:lnTo>
                  <a:lnTo>
                    <a:pt x="1382" y="9087"/>
                  </a:lnTo>
                  <a:lnTo>
                    <a:pt x="1164" y="10395"/>
                  </a:lnTo>
                  <a:lnTo>
                    <a:pt x="945" y="11559"/>
                  </a:lnTo>
                  <a:lnTo>
                    <a:pt x="691" y="12576"/>
                  </a:lnTo>
                  <a:lnTo>
                    <a:pt x="291" y="14175"/>
                  </a:lnTo>
                  <a:lnTo>
                    <a:pt x="146" y="14830"/>
                  </a:lnTo>
                  <a:lnTo>
                    <a:pt x="37" y="15339"/>
                  </a:lnTo>
                  <a:lnTo>
                    <a:pt x="0" y="15738"/>
                  </a:lnTo>
                  <a:lnTo>
                    <a:pt x="0" y="15884"/>
                  </a:lnTo>
                  <a:lnTo>
                    <a:pt x="37" y="16029"/>
                  </a:lnTo>
                  <a:lnTo>
                    <a:pt x="73" y="16138"/>
                  </a:lnTo>
                  <a:lnTo>
                    <a:pt x="146" y="16211"/>
                  </a:lnTo>
                  <a:lnTo>
                    <a:pt x="255" y="16283"/>
                  </a:lnTo>
                  <a:lnTo>
                    <a:pt x="364" y="16320"/>
                  </a:lnTo>
                  <a:lnTo>
                    <a:pt x="1054" y="16502"/>
                  </a:lnTo>
                  <a:lnTo>
                    <a:pt x="1890" y="16792"/>
                  </a:lnTo>
                  <a:lnTo>
                    <a:pt x="2872" y="17047"/>
                  </a:lnTo>
                  <a:lnTo>
                    <a:pt x="3381" y="17156"/>
                  </a:lnTo>
                  <a:lnTo>
                    <a:pt x="3926" y="17265"/>
                  </a:lnTo>
                  <a:lnTo>
                    <a:pt x="4435" y="17338"/>
                  </a:lnTo>
                  <a:lnTo>
                    <a:pt x="4907" y="17374"/>
                  </a:lnTo>
                  <a:lnTo>
                    <a:pt x="5380" y="17338"/>
                  </a:lnTo>
                  <a:lnTo>
                    <a:pt x="5816" y="17301"/>
                  </a:lnTo>
                  <a:lnTo>
                    <a:pt x="6216" y="17156"/>
                  </a:lnTo>
                  <a:lnTo>
                    <a:pt x="6397" y="17083"/>
                  </a:lnTo>
                  <a:lnTo>
                    <a:pt x="6543" y="16974"/>
                  </a:lnTo>
                  <a:lnTo>
                    <a:pt x="6724" y="16829"/>
                  </a:lnTo>
                  <a:lnTo>
                    <a:pt x="6833" y="16683"/>
                  </a:lnTo>
                  <a:lnTo>
                    <a:pt x="6943" y="16502"/>
                  </a:lnTo>
                  <a:lnTo>
                    <a:pt x="7052" y="16320"/>
                  </a:lnTo>
                  <a:lnTo>
                    <a:pt x="7633" y="15011"/>
                  </a:lnTo>
                  <a:lnTo>
                    <a:pt x="8469" y="12903"/>
                  </a:lnTo>
                  <a:lnTo>
                    <a:pt x="9487" y="10286"/>
                  </a:lnTo>
                  <a:lnTo>
                    <a:pt x="10032" y="8905"/>
                  </a:lnTo>
                  <a:lnTo>
                    <a:pt x="10504" y="7488"/>
                  </a:lnTo>
                  <a:lnTo>
                    <a:pt x="10977" y="6070"/>
                  </a:lnTo>
                  <a:lnTo>
                    <a:pt x="11377" y="4726"/>
                  </a:lnTo>
                  <a:lnTo>
                    <a:pt x="11704" y="3490"/>
                  </a:lnTo>
                  <a:lnTo>
                    <a:pt x="11922" y="2399"/>
                  </a:lnTo>
                  <a:lnTo>
                    <a:pt x="11995" y="1927"/>
                  </a:lnTo>
                  <a:lnTo>
                    <a:pt x="12031" y="1454"/>
                  </a:lnTo>
                  <a:lnTo>
                    <a:pt x="12031" y="1091"/>
                  </a:lnTo>
                  <a:lnTo>
                    <a:pt x="11995" y="764"/>
                  </a:lnTo>
                  <a:lnTo>
                    <a:pt x="11958" y="473"/>
                  </a:lnTo>
                  <a:lnTo>
                    <a:pt x="11849" y="291"/>
                  </a:lnTo>
                  <a:lnTo>
                    <a:pt x="11704" y="146"/>
                  </a:lnTo>
                  <a:lnTo>
                    <a:pt x="11595" y="110"/>
                  </a:lnTo>
                  <a:lnTo>
                    <a:pt x="11486" y="73"/>
                  </a:lnTo>
                  <a:lnTo>
                    <a:pt x="10432" y="37"/>
                  </a:lnTo>
                  <a:lnTo>
                    <a:pt x="9014" y="1"/>
                  </a:lnTo>
                  <a:close/>
                </a:path>
              </a:pathLst>
            </a:custGeom>
            <a:solidFill>
              <a:srgbClr val="92929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79" name="Google Shape;2608;p11">
              <a:extLst>
                <a:ext uri="{FF2B5EF4-FFF2-40B4-BE49-F238E27FC236}">
                  <a16:creationId xmlns:a16="http://schemas.microsoft.com/office/drawing/2014/main" id="{3436D2B3-B0F8-0A62-9465-004D50EB2372}"/>
                </a:ext>
              </a:extLst>
            </p:cNvPr>
            <p:cNvSpPr/>
            <p:nvPr/>
          </p:nvSpPr>
          <p:spPr>
            <a:xfrm>
              <a:off x="2949500" y="2637575"/>
              <a:ext cx="307150" cy="233550"/>
            </a:xfrm>
            <a:custGeom>
              <a:avLst/>
              <a:gdLst/>
              <a:ahLst/>
              <a:cxnLst/>
              <a:rect l="l" t="t" r="r" b="b"/>
              <a:pathLst>
                <a:path w="12286" h="9342" extrusionOk="0">
                  <a:moveTo>
                    <a:pt x="9414" y="1"/>
                  </a:moveTo>
                  <a:lnTo>
                    <a:pt x="9123" y="37"/>
                  </a:lnTo>
                  <a:lnTo>
                    <a:pt x="8796" y="110"/>
                  </a:lnTo>
                  <a:lnTo>
                    <a:pt x="8469" y="219"/>
                  </a:lnTo>
                  <a:lnTo>
                    <a:pt x="8178" y="364"/>
                  </a:lnTo>
                  <a:lnTo>
                    <a:pt x="7851" y="510"/>
                  </a:lnTo>
                  <a:lnTo>
                    <a:pt x="7270" y="909"/>
                  </a:lnTo>
                  <a:lnTo>
                    <a:pt x="6725" y="1346"/>
                  </a:lnTo>
                  <a:lnTo>
                    <a:pt x="6252" y="1818"/>
                  </a:lnTo>
                  <a:lnTo>
                    <a:pt x="5889" y="2218"/>
                  </a:lnTo>
                  <a:lnTo>
                    <a:pt x="5598" y="2618"/>
                  </a:lnTo>
                  <a:lnTo>
                    <a:pt x="5343" y="2945"/>
                  </a:lnTo>
                  <a:lnTo>
                    <a:pt x="5053" y="3236"/>
                  </a:lnTo>
                  <a:lnTo>
                    <a:pt x="4726" y="3454"/>
                  </a:lnTo>
                  <a:lnTo>
                    <a:pt x="4398" y="3672"/>
                  </a:lnTo>
                  <a:lnTo>
                    <a:pt x="3635" y="4035"/>
                  </a:lnTo>
                  <a:lnTo>
                    <a:pt x="2727" y="4471"/>
                  </a:lnTo>
                  <a:lnTo>
                    <a:pt x="1854" y="4980"/>
                  </a:lnTo>
                  <a:lnTo>
                    <a:pt x="1200" y="5453"/>
                  </a:lnTo>
                  <a:lnTo>
                    <a:pt x="1" y="6361"/>
                  </a:lnTo>
                  <a:lnTo>
                    <a:pt x="291" y="6870"/>
                  </a:lnTo>
                  <a:lnTo>
                    <a:pt x="946" y="7924"/>
                  </a:lnTo>
                  <a:lnTo>
                    <a:pt x="1345" y="8469"/>
                  </a:lnTo>
                  <a:lnTo>
                    <a:pt x="1709" y="8942"/>
                  </a:lnTo>
                  <a:lnTo>
                    <a:pt x="1891" y="9124"/>
                  </a:lnTo>
                  <a:lnTo>
                    <a:pt x="2072" y="9269"/>
                  </a:lnTo>
                  <a:lnTo>
                    <a:pt x="2218" y="9342"/>
                  </a:lnTo>
                  <a:lnTo>
                    <a:pt x="2363" y="9342"/>
                  </a:lnTo>
                  <a:lnTo>
                    <a:pt x="2618" y="9269"/>
                  </a:lnTo>
                  <a:lnTo>
                    <a:pt x="2945" y="9087"/>
                  </a:lnTo>
                  <a:lnTo>
                    <a:pt x="3308" y="8869"/>
                  </a:lnTo>
                  <a:lnTo>
                    <a:pt x="3708" y="8615"/>
                  </a:lnTo>
                  <a:lnTo>
                    <a:pt x="4144" y="8324"/>
                  </a:lnTo>
                  <a:lnTo>
                    <a:pt x="4544" y="7961"/>
                  </a:lnTo>
                  <a:lnTo>
                    <a:pt x="4944" y="7597"/>
                  </a:lnTo>
                  <a:lnTo>
                    <a:pt x="5307" y="7161"/>
                  </a:lnTo>
                  <a:lnTo>
                    <a:pt x="5452" y="7016"/>
                  </a:lnTo>
                  <a:lnTo>
                    <a:pt x="5598" y="6907"/>
                  </a:lnTo>
                  <a:lnTo>
                    <a:pt x="5889" y="6688"/>
                  </a:lnTo>
                  <a:lnTo>
                    <a:pt x="6252" y="6543"/>
                  </a:lnTo>
                  <a:lnTo>
                    <a:pt x="6652" y="6434"/>
                  </a:lnTo>
                  <a:lnTo>
                    <a:pt x="7088" y="6361"/>
                  </a:lnTo>
                  <a:lnTo>
                    <a:pt x="7524" y="6325"/>
                  </a:lnTo>
                  <a:lnTo>
                    <a:pt x="8396" y="6252"/>
                  </a:lnTo>
                  <a:lnTo>
                    <a:pt x="9196" y="6216"/>
                  </a:lnTo>
                  <a:lnTo>
                    <a:pt x="9523" y="6180"/>
                  </a:lnTo>
                  <a:lnTo>
                    <a:pt x="9850" y="6107"/>
                  </a:lnTo>
                  <a:lnTo>
                    <a:pt x="10068" y="6034"/>
                  </a:lnTo>
                  <a:lnTo>
                    <a:pt x="10250" y="5889"/>
                  </a:lnTo>
                  <a:lnTo>
                    <a:pt x="10323" y="5780"/>
                  </a:lnTo>
                  <a:lnTo>
                    <a:pt x="10359" y="5707"/>
                  </a:lnTo>
                  <a:lnTo>
                    <a:pt x="10359" y="5598"/>
                  </a:lnTo>
                  <a:lnTo>
                    <a:pt x="10359" y="5453"/>
                  </a:lnTo>
                  <a:lnTo>
                    <a:pt x="10323" y="5307"/>
                  </a:lnTo>
                  <a:lnTo>
                    <a:pt x="10250" y="5162"/>
                  </a:lnTo>
                  <a:lnTo>
                    <a:pt x="10105" y="4835"/>
                  </a:lnTo>
                  <a:lnTo>
                    <a:pt x="9996" y="4508"/>
                  </a:lnTo>
                  <a:lnTo>
                    <a:pt x="9959" y="4326"/>
                  </a:lnTo>
                  <a:lnTo>
                    <a:pt x="9959" y="4108"/>
                  </a:lnTo>
                  <a:lnTo>
                    <a:pt x="9996" y="3890"/>
                  </a:lnTo>
                  <a:lnTo>
                    <a:pt x="10068" y="3672"/>
                  </a:lnTo>
                  <a:lnTo>
                    <a:pt x="10214" y="3417"/>
                  </a:lnTo>
                  <a:lnTo>
                    <a:pt x="10432" y="3127"/>
                  </a:lnTo>
                  <a:lnTo>
                    <a:pt x="10723" y="2836"/>
                  </a:lnTo>
                  <a:lnTo>
                    <a:pt x="11086" y="2509"/>
                  </a:lnTo>
                  <a:lnTo>
                    <a:pt x="11559" y="2145"/>
                  </a:lnTo>
                  <a:lnTo>
                    <a:pt x="12140" y="1745"/>
                  </a:lnTo>
                  <a:lnTo>
                    <a:pt x="12249" y="1636"/>
                  </a:lnTo>
                  <a:lnTo>
                    <a:pt x="12285" y="1527"/>
                  </a:lnTo>
                  <a:lnTo>
                    <a:pt x="12285" y="1418"/>
                  </a:lnTo>
                  <a:lnTo>
                    <a:pt x="12249" y="1309"/>
                  </a:lnTo>
                  <a:lnTo>
                    <a:pt x="12176" y="1164"/>
                  </a:lnTo>
                  <a:lnTo>
                    <a:pt x="12067" y="1019"/>
                  </a:lnTo>
                  <a:lnTo>
                    <a:pt x="11740" y="764"/>
                  </a:lnTo>
                  <a:lnTo>
                    <a:pt x="11304" y="510"/>
                  </a:lnTo>
                  <a:lnTo>
                    <a:pt x="10795" y="255"/>
                  </a:lnTo>
                  <a:lnTo>
                    <a:pt x="10250" y="110"/>
                  </a:lnTo>
                  <a:lnTo>
                    <a:pt x="9741" y="1"/>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80" name="Google Shape;2609;p11">
              <a:extLst>
                <a:ext uri="{FF2B5EF4-FFF2-40B4-BE49-F238E27FC236}">
                  <a16:creationId xmlns:a16="http://schemas.microsoft.com/office/drawing/2014/main" id="{4C8EC5C7-010C-041F-A1B4-71FB16C2F0FA}"/>
                </a:ext>
              </a:extLst>
            </p:cNvPr>
            <p:cNvSpPr/>
            <p:nvPr/>
          </p:nvSpPr>
          <p:spPr>
            <a:xfrm>
              <a:off x="2100825" y="2429500"/>
              <a:ext cx="185400" cy="313500"/>
            </a:xfrm>
            <a:custGeom>
              <a:avLst/>
              <a:gdLst/>
              <a:ahLst/>
              <a:cxnLst/>
              <a:rect l="l" t="t" r="r" b="b"/>
              <a:pathLst>
                <a:path w="7416" h="12540" extrusionOk="0">
                  <a:moveTo>
                    <a:pt x="4798" y="1"/>
                  </a:moveTo>
                  <a:lnTo>
                    <a:pt x="4435" y="291"/>
                  </a:lnTo>
                  <a:lnTo>
                    <a:pt x="4071" y="655"/>
                  </a:lnTo>
                  <a:lnTo>
                    <a:pt x="3635" y="1091"/>
                  </a:lnTo>
                  <a:lnTo>
                    <a:pt x="3163" y="1600"/>
                  </a:lnTo>
                  <a:lnTo>
                    <a:pt x="2763" y="2218"/>
                  </a:lnTo>
                  <a:lnTo>
                    <a:pt x="2581" y="2509"/>
                  </a:lnTo>
                  <a:lnTo>
                    <a:pt x="2436" y="2836"/>
                  </a:lnTo>
                  <a:lnTo>
                    <a:pt x="2290" y="3163"/>
                  </a:lnTo>
                  <a:lnTo>
                    <a:pt x="2218" y="3526"/>
                  </a:lnTo>
                  <a:lnTo>
                    <a:pt x="2145" y="3853"/>
                  </a:lnTo>
                  <a:lnTo>
                    <a:pt x="2036" y="4217"/>
                  </a:lnTo>
                  <a:lnTo>
                    <a:pt x="1745" y="5125"/>
                  </a:lnTo>
                  <a:lnTo>
                    <a:pt x="982" y="7124"/>
                  </a:lnTo>
                  <a:lnTo>
                    <a:pt x="619" y="8178"/>
                  </a:lnTo>
                  <a:lnTo>
                    <a:pt x="291" y="9196"/>
                  </a:lnTo>
                  <a:lnTo>
                    <a:pt x="146" y="9669"/>
                  </a:lnTo>
                  <a:lnTo>
                    <a:pt x="73" y="10141"/>
                  </a:lnTo>
                  <a:lnTo>
                    <a:pt x="1" y="10541"/>
                  </a:lnTo>
                  <a:lnTo>
                    <a:pt x="1" y="10904"/>
                  </a:lnTo>
                  <a:lnTo>
                    <a:pt x="4035" y="12031"/>
                  </a:lnTo>
                  <a:lnTo>
                    <a:pt x="4653" y="12213"/>
                  </a:lnTo>
                  <a:lnTo>
                    <a:pt x="5271" y="12322"/>
                  </a:lnTo>
                  <a:lnTo>
                    <a:pt x="5925" y="12467"/>
                  </a:lnTo>
                  <a:lnTo>
                    <a:pt x="6579" y="12540"/>
                  </a:lnTo>
                  <a:lnTo>
                    <a:pt x="7088" y="12540"/>
                  </a:lnTo>
                  <a:lnTo>
                    <a:pt x="7270" y="12504"/>
                  </a:lnTo>
                  <a:lnTo>
                    <a:pt x="7379" y="12395"/>
                  </a:lnTo>
                  <a:lnTo>
                    <a:pt x="7415" y="12358"/>
                  </a:lnTo>
                  <a:lnTo>
                    <a:pt x="7415" y="12286"/>
                  </a:lnTo>
                  <a:lnTo>
                    <a:pt x="7343" y="12140"/>
                  </a:lnTo>
                  <a:lnTo>
                    <a:pt x="7052" y="11668"/>
                  </a:lnTo>
                  <a:lnTo>
                    <a:pt x="6834" y="11195"/>
                  </a:lnTo>
                  <a:lnTo>
                    <a:pt x="6725" y="10759"/>
                  </a:lnTo>
                  <a:lnTo>
                    <a:pt x="6616" y="10323"/>
                  </a:lnTo>
                  <a:lnTo>
                    <a:pt x="6507" y="9487"/>
                  </a:lnTo>
                  <a:lnTo>
                    <a:pt x="6434" y="9123"/>
                  </a:lnTo>
                  <a:lnTo>
                    <a:pt x="6325" y="8796"/>
                  </a:lnTo>
                  <a:lnTo>
                    <a:pt x="6216" y="8506"/>
                  </a:lnTo>
                  <a:lnTo>
                    <a:pt x="6143" y="8178"/>
                  </a:lnTo>
                  <a:lnTo>
                    <a:pt x="6034" y="7452"/>
                  </a:lnTo>
                  <a:lnTo>
                    <a:pt x="5998" y="6688"/>
                  </a:lnTo>
                  <a:lnTo>
                    <a:pt x="5998" y="5925"/>
                  </a:lnTo>
                  <a:lnTo>
                    <a:pt x="6034" y="4689"/>
                  </a:lnTo>
                  <a:lnTo>
                    <a:pt x="6070" y="4144"/>
                  </a:lnTo>
                  <a:lnTo>
                    <a:pt x="6143" y="3853"/>
                  </a:lnTo>
                  <a:lnTo>
                    <a:pt x="4798" y="1"/>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81" name="Google Shape;2610;p11">
              <a:extLst>
                <a:ext uri="{FF2B5EF4-FFF2-40B4-BE49-F238E27FC236}">
                  <a16:creationId xmlns:a16="http://schemas.microsoft.com/office/drawing/2014/main" id="{8A0669E6-A3ED-F38A-D33E-8A5F4BE23A4F}"/>
                </a:ext>
              </a:extLst>
            </p:cNvPr>
            <p:cNvSpPr/>
            <p:nvPr/>
          </p:nvSpPr>
          <p:spPr>
            <a:xfrm>
              <a:off x="2100825" y="2429500"/>
              <a:ext cx="185400" cy="313500"/>
            </a:xfrm>
            <a:custGeom>
              <a:avLst/>
              <a:gdLst/>
              <a:ahLst/>
              <a:cxnLst/>
              <a:rect l="l" t="t" r="r" b="b"/>
              <a:pathLst>
                <a:path w="7416" h="12540" fill="none" extrusionOk="0">
                  <a:moveTo>
                    <a:pt x="4035" y="12031"/>
                  </a:moveTo>
                  <a:lnTo>
                    <a:pt x="1" y="10904"/>
                  </a:lnTo>
                  <a:lnTo>
                    <a:pt x="1" y="10904"/>
                  </a:lnTo>
                  <a:lnTo>
                    <a:pt x="1" y="10541"/>
                  </a:lnTo>
                  <a:lnTo>
                    <a:pt x="73" y="10141"/>
                  </a:lnTo>
                  <a:lnTo>
                    <a:pt x="146" y="9669"/>
                  </a:lnTo>
                  <a:lnTo>
                    <a:pt x="291" y="9196"/>
                  </a:lnTo>
                  <a:lnTo>
                    <a:pt x="619" y="8178"/>
                  </a:lnTo>
                  <a:lnTo>
                    <a:pt x="982" y="7124"/>
                  </a:lnTo>
                  <a:lnTo>
                    <a:pt x="1745" y="5125"/>
                  </a:lnTo>
                  <a:lnTo>
                    <a:pt x="2036" y="4217"/>
                  </a:lnTo>
                  <a:lnTo>
                    <a:pt x="2145" y="3853"/>
                  </a:lnTo>
                  <a:lnTo>
                    <a:pt x="2218" y="3526"/>
                  </a:lnTo>
                  <a:lnTo>
                    <a:pt x="2218" y="3526"/>
                  </a:lnTo>
                  <a:lnTo>
                    <a:pt x="2290" y="3163"/>
                  </a:lnTo>
                  <a:lnTo>
                    <a:pt x="2436" y="2836"/>
                  </a:lnTo>
                  <a:lnTo>
                    <a:pt x="2581" y="2509"/>
                  </a:lnTo>
                  <a:lnTo>
                    <a:pt x="2763" y="2218"/>
                  </a:lnTo>
                  <a:lnTo>
                    <a:pt x="3163" y="1600"/>
                  </a:lnTo>
                  <a:lnTo>
                    <a:pt x="3635" y="1091"/>
                  </a:lnTo>
                  <a:lnTo>
                    <a:pt x="4071" y="655"/>
                  </a:lnTo>
                  <a:lnTo>
                    <a:pt x="4435" y="291"/>
                  </a:lnTo>
                  <a:lnTo>
                    <a:pt x="4798" y="1"/>
                  </a:lnTo>
                  <a:lnTo>
                    <a:pt x="6143" y="3853"/>
                  </a:lnTo>
                  <a:lnTo>
                    <a:pt x="6070" y="4144"/>
                  </a:lnTo>
                  <a:lnTo>
                    <a:pt x="6070" y="4144"/>
                  </a:lnTo>
                  <a:lnTo>
                    <a:pt x="6034" y="4689"/>
                  </a:lnTo>
                  <a:lnTo>
                    <a:pt x="5998" y="5925"/>
                  </a:lnTo>
                  <a:lnTo>
                    <a:pt x="5998" y="6688"/>
                  </a:lnTo>
                  <a:lnTo>
                    <a:pt x="6034" y="7452"/>
                  </a:lnTo>
                  <a:lnTo>
                    <a:pt x="6143" y="8178"/>
                  </a:lnTo>
                  <a:lnTo>
                    <a:pt x="6216" y="8506"/>
                  </a:lnTo>
                  <a:lnTo>
                    <a:pt x="6325" y="8796"/>
                  </a:lnTo>
                  <a:lnTo>
                    <a:pt x="6325" y="8796"/>
                  </a:lnTo>
                  <a:lnTo>
                    <a:pt x="6434" y="9123"/>
                  </a:lnTo>
                  <a:lnTo>
                    <a:pt x="6507" y="9487"/>
                  </a:lnTo>
                  <a:lnTo>
                    <a:pt x="6616" y="10323"/>
                  </a:lnTo>
                  <a:lnTo>
                    <a:pt x="6725" y="10759"/>
                  </a:lnTo>
                  <a:lnTo>
                    <a:pt x="6834" y="11195"/>
                  </a:lnTo>
                  <a:lnTo>
                    <a:pt x="7052" y="11668"/>
                  </a:lnTo>
                  <a:lnTo>
                    <a:pt x="7343" y="12140"/>
                  </a:lnTo>
                  <a:lnTo>
                    <a:pt x="7343" y="12140"/>
                  </a:lnTo>
                  <a:lnTo>
                    <a:pt x="7415" y="12286"/>
                  </a:lnTo>
                  <a:lnTo>
                    <a:pt x="7415" y="12358"/>
                  </a:lnTo>
                  <a:lnTo>
                    <a:pt x="7379" y="12395"/>
                  </a:lnTo>
                  <a:lnTo>
                    <a:pt x="7270" y="12504"/>
                  </a:lnTo>
                  <a:lnTo>
                    <a:pt x="7088" y="12540"/>
                  </a:lnTo>
                  <a:lnTo>
                    <a:pt x="6870" y="12540"/>
                  </a:lnTo>
                  <a:lnTo>
                    <a:pt x="6579" y="12540"/>
                  </a:lnTo>
                  <a:lnTo>
                    <a:pt x="5925" y="12467"/>
                  </a:lnTo>
                  <a:lnTo>
                    <a:pt x="5271" y="12322"/>
                  </a:lnTo>
                  <a:lnTo>
                    <a:pt x="4653" y="12213"/>
                  </a:lnTo>
                  <a:lnTo>
                    <a:pt x="4035" y="1203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82" name="Google Shape;2611;p11">
              <a:extLst>
                <a:ext uri="{FF2B5EF4-FFF2-40B4-BE49-F238E27FC236}">
                  <a16:creationId xmlns:a16="http://schemas.microsoft.com/office/drawing/2014/main" id="{4BBF42A0-36FA-4FD1-7991-3CE297088583}"/>
                </a:ext>
              </a:extLst>
            </p:cNvPr>
            <p:cNvSpPr/>
            <p:nvPr/>
          </p:nvSpPr>
          <p:spPr>
            <a:xfrm>
              <a:off x="2250750" y="2550350"/>
              <a:ext cx="950" cy="20025"/>
            </a:xfrm>
            <a:custGeom>
              <a:avLst/>
              <a:gdLst/>
              <a:ahLst/>
              <a:cxnLst/>
              <a:rect l="l" t="t" r="r" b="b"/>
              <a:pathLst>
                <a:path w="38" h="801" extrusionOk="0">
                  <a:moveTo>
                    <a:pt x="37" y="1"/>
                  </a:moveTo>
                  <a:lnTo>
                    <a:pt x="1" y="509"/>
                  </a:lnTo>
                  <a:lnTo>
                    <a:pt x="1" y="800"/>
                  </a:lnTo>
                  <a:lnTo>
                    <a:pt x="37" y="1"/>
                  </a:lnTo>
                  <a:close/>
                </a:path>
              </a:pathLst>
            </a:custGeom>
            <a:solidFill>
              <a:srgbClr val="DFDFE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83" name="Google Shape;2612;p11">
              <a:extLst>
                <a:ext uri="{FF2B5EF4-FFF2-40B4-BE49-F238E27FC236}">
                  <a16:creationId xmlns:a16="http://schemas.microsoft.com/office/drawing/2014/main" id="{F31FFA32-DF26-044B-5B7C-ED8CD73822AE}"/>
                </a:ext>
              </a:extLst>
            </p:cNvPr>
            <p:cNvSpPr/>
            <p:nvPr/>
          </p:nvSpPr>
          <p:spPr>
            <a:xfrm>
              <a:off x="2254400" y="2632125"/>
              <a:ext cx="25" cy="25"/>
            </a:xfrm>
            <a:custGeom>
              <a:avLst/>
              <a:gdLst/>
              <a:ahLst/>
              <a:cxnLst/>
              <a:rect l="l" t="t" r="r" b="b"/>
              <a:pathLst>
                <a:path w="1" h="1" fill="none" extrusionOk="0">
                  <a:moveTo>
                    <a:pt x="0" y="1"/>
                  </a:moveTo>
                  <a:lnTo>
                    <a:pt x="0" y="1"/>
                  </a:lnTo>
                  <a:lnTo>
                    <a:pt x="0" y="1"/>
                  </a:lnTo>
                  <a:lnTo>
                    <a:pt x="0" y="1"/>
                  </a:lnTo>
                  <a:lnTo>
                    <a:pt x="0" y="1"/>
                  </a:lnTo>
                  <a:lnTo>
                    <a:pt x="0" y="1"/>
                  </a:lnTo>
                  <a:lnTo>
                    <a:pt x="0"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84" name="Google Shape;2613;p11">
              <a:extLst>
                <a:ext uri="{FF2B5EF4-FFF2-40B4-BE49-F238E27FC236}">
                  <a16:creationId xmlns:a16="http://schemas.microsoft.com/office/drawing/2014/main" id="{7164F66A-58FE-F3B2-727E-89B8E7F32D3B}"/>
                </a:ext>
              </a:extLst>
            </p:cNvPr>
            <p:cNvSpPr/>
            <p:nvPr/>
          </p:nvSpPr>
          <p:spPr>
            <a:xfrm>
              <a:off x="2250750" y="2550350"/>
              <a:ext cx="950" cy="42725"/>
            </a:xfrm>
            <a:custGeom>
              <a:avLst/>
              <a:gdLst/>
              <a:ahLst/>
              <a:cxnLst/>
              <a:rect l="l" t="t" r="r" b="b"/>
              <a:pathLst>
                <a:path w="38" h="1709" fill="none" extrusionOk="0">
                  <a:moveTo>
                    <a:pt x="37" y="1"/>
                  </a:moveTo>
                  <a:lnTo>
                    <a:pt x="37" y="1"/>
                  </a:lnTo>
                  <a:lnTo>
                    <a:pt x="1" y="800"/>
                  </a:lnTo>
                  <a:lnTo>
                    <a:pt x="1" y="1709"/>
                  </a:lnTo>
                  <a:lnTo>
                    <a:pt x="1" y="1709"/>
                  </a:lnTo>
                  <a:lnTo>
                    <a:pt x="1" y="1055"/>
                  </a:lnTo>
                  <a:lnTo>
                    <a:pt x="1" y="509"/>
                  </a:lnTo>
                  <a:lnTo>
                    <a:pt x="37" y="1"/>
                  </a:lnTo>
                  <a:lnTo>
                    <a:pt x="37"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85" name="Google Shape;2614;p11">
              <a:extLst>
                <a:ext uri="{FF2B5EF4-FFF2-40B4-BE49-F238E27FC236}">
                  <a16:creationId xmlns:a16="http://schemas.microsoft.com/office/drawing/2014/main" id="{338D588B-6185-18D5-357B-18B88B309DCA}"/>
                </a:ext>
              </a:extLst>
            </p:cNvPr>
            <p:cNvSpPr/>
            <p:nvPr/>
          </p:nvSpPr>
          <p:spPr>
            <a:xfrm>
              <a:off x="2169875" y="2534900"/>
              <a:ext cx="84550" cy="103625"/>
            </a:xfrm>
            <a:custGeom>
              <a:avLst/>
              <a:gdLst/>
              <a:ahLst/>
              <a:cxnLst/>
              <a:rect l="l" t="t" r="r" b="b"/>
              <a:pathLst>
                <a:path w="3382" h="4145" extrusionOk="0">
                  <a:moveTo>
                    <a:pt x="2000" y="1"/>
                  </a:moveTo>
                  <a:lnTo>
                    <a:pt x="1237" y="546"/>
                  </a:lnTo>
                  <a:lnTo>
                    <a:pt x="619" y="1055"/>
                  </a:lnTo>
                  <a:lnTo>
                    <a:pt x="328" y="1273"/>
                  </a:lnTo>
                  <a:lnTo>
                    <a:pt x="146" y="1455"/>
                  </a:lnTo>
                  <a:lnTo>
                    <a:pt x="74" y="1600"/>
                  </a:lnTo>
                  <a:lnTo>
                    <a:pt x="1" y="1745"/>
                  </a:lnTo>
                  <a:lnTo>
                    <a:pt x="1" y="1927"/>
                  </a:lnTo>
                  <a:lnTo>
                    <a:pt x="1" y="2145"/>
                  </a:lnTo>
                  <a:lnTo>
                    <a:pt x="37" y="2363"/>
                  </a:lnTo>
                  <a:lnTo>
                    <a:pt x="110" y="2581"/>
                  </a:lnTo>
                  <a:lnTo>
                    <a:pt x="219" y="2799"/>
                  </a:lnTo>
                  <a:lnTo>
                    <a:pt x="328" y="3017"/>
                  </a:lnTo>
                  <a:lnTo>
                    <a:pt x="473" y="3272"/>
                  </a:lnTo>
                  <a:lnTo>
                    <a:pt x="655" y="3454"/>
                  </a:lnTo>
                  <a:lnTo>
                    <a:pt x="873" y="3635"/>
                  </a:lnTo>
                  <a:lnTo>
                    <a:pt x="1091" y="3817"/>
                  </a:lnTo>
                  <a:lnTo>
                    <a:pt x="1346" y="3962"/>
                  </a:lnTo>
                  <a:lnTo>
                    <a:pt x="1600" y="4071"/>
                  </a:lnTo>
                  <a:lnTo>
                    <a:pt x="1891" y="4144"/>
                  </a:lnTo>
                  <a:lnTo>
                    <a:pt x="2509" y="4144"/>
                  </a:lnTo>
                  <a:lnTo>
                    <a:pt x="2763" y="4108"/>
                  </a:lnTo>
                  <a:lnTo>
                    <a:pt x="3054" y="3999"/>
                  </a:lnTo>
                  <a:lnTo>
                    <a:pt x="3381" y="3890"/>
                  </a:lnTo>
                  <a:lnTo>
                    <a:pt x="3308" y="3526"/>
                  </a:lnTo>
                  <a:lnTo>
                    <a:pt x="3272" y="3127"/>
                  </a:lnTo>
                  <a:lnTo>
                    <a:pt x="3236" y="2327"/>
                  </a:lnTo>
                  <a:lnTo>
                    <a:pt x="3236" y="1418"/>
                  </a:lnTo>
                  <a:lnTo>
                    <a:pt x="3272" y="619"/>
                  </a:lnTo>
                  <a:lnTo>
                    <a:pt x="2000" y="1"/>
                  </a:lnTo>
                  <a:close/>
                </a:path>
              </a:pathLst>
            </a:custGeom>
            <a:solidFill>
              <a:srgbClr val="D29A9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86" name="Google Shape;2615;p11">
              <a:extLst>
                <a:ext uri="{FF2B5EF4-FFF2-40B4-BE49-F238E27FC236}">
                  <a16:creationId xmlns:a16="http://schemas.microsoft.com/office/drawing/2014/main" id="{38304C93-0715-CCC8-AB1B-F7FA3B8DD193}"/>
                </a:ext>
              </a:extLst>
            </p:cNvPr>
            <p:cNvSpPr/>
            <p:nvPr/>
          </p:nvSpPr>
          <p:spPr>
            <a:xfrm>
              <a:off x="2169875" y="2534900"/>
              <a:ext cx="84550" cy="103625"/>
            </a:xfrm>
            <a:custGeom>
              <a:avLst/>
              <a:gdLst/>
              <a:ahLst/>
              <a:cxnLst/>
              <a:rect l="l" t="t" r="r" b="b"/>
              <a:pathLst>
                <a:path w="3382" h="4145" fill="none" extrusionOk="0">
                  <a:moveTo>
                    <a:pt x="2000" y="1"/>
                  </a:moveTo>
                  <a:lnTo>
                    <a:pt x="2000" y="1"/>
                  </a:lnTo>
                  <a:lnTo>
                    <a:pt x="1237" y="546"/>
                  </a:lnTo>
                  <a:lnTo>
                    <a:pt x="619" y="1055"/>
                  </a:lnTo>
                  <a:lnTo>
                    <a:pt x="328" y="1273"/>
                  </a:lnTo>
                  <a:lnTo>
                    <a:pt x="146" y="1455"/>
                  </a:lnTo>
                  <a:lnTo>
                    <a:pt x="146" y="1455"/>
                  </a:lnTo>
                  <a:lnTo>
                    <a:pt x="74" y="1600"/>
                  </a:lnTo>
                  <a:lnTo>
                    <a:pt x="1" y="1745"/>
                  </a:lnTo>
                  <a:lnTo>
                    <a:pt x="1" y="1927"/>
                  </a:lnTo>
                  <a:lnTo>
                    <a:pt x="1" y="2145"/>
                  </a:lnTo>
                  <a:lnTo>
                    <a:pt x="37" y="2363"/>
                  </a:lnTo>
                  <a:lnTo>
                    <a:pt x="110" y="2581"/>
                  </a:lnTo>
                  <a:lnTo>
                    <a:pt x="219" y="2799"/>
                  </a:lnTo>
                  <a:lnTo>
                    <a:pt x="328" y="3017"/>
                  </a:lnTo>
                  <a:lnTo>
                    <a:pt x="473" y="3272"/>
                  </a:lnTo>
                  <a:lnTo>
                    <a:pt x="655" y="3454"/>
                  </a:lnTo>
                  <a:lnTo>
                    <a:pt x="873" y="3635"/>
                  </a:lnTo>
                  <a:lnTo>
                    <a:pt x="1091" y="3817"/>
                  </a:lnTo>
                  <a:lnTo>
                    <a:pt x="1346" y="3962"/>
                  </a:lnTo>
                  <a:lnTo>
                    <a:pt x="1600" y="4071"/>
                  </a:lnTo>
                  <a:lnTo>
                    <a:pt x="1891" y="4144"/>
                  </a:lnTo>
                  <a:lnTo>
                    <a:pt x="2218" y="4144"/>
                  </a:lnTo>
                  <a:lnTo>
                    <a:pt x="2218" y="4144"/>
                  </a:lnTo>
                  <a:lnTo>
                    <a:pt x="2509" y="4144"/>
                  </a:lnTo>
                  <a:lnTo>
                    <a:pt x="2763" y="4108"/>
                  </a:lnTo>
                  <a:lnTo>
                    <a:pt x="3054" y="3999"/>
                  </a:lnTo>
                  <a:lnTo>
                    <a:pt x="3381" y="3890"/>
                  </a:lnTo>
                  <a:lnTo>
                    <a:pt x="3381" y="3890"/>
                  </a:lnTo>
                  <a:lnTo>
                    <a:pt x="3381" y="3890"/>
                  </a:lnTo>
                  <a:lnTo>
                    <a:pt x="3381" y="3890"/>
                  </a:lnTo>
                  <a:lnTo>
                    <a:pt x="3308" y="3526"/>
                  </a:lnTo>
                  <a:lnTo>
                    <a:pt x="3272" y="3127"/>
                  </a:lnTo>
                  <a:lnTo>
                    <a:pt x="3236" y="2327"/>
                  </a:lnTo>
                  <a:lnTo>
                    <a:pt x="3236" y="2327"/>
                  </a:lnTo>
                  <a:lnTo>
                    <a:pt x="3236" y="1418"/>
                  </a:lnTo>
                  <a:lnTo>
                    <a:pt x="3272" y="619"/>
                  </a:lnTo>
                  <a:lnTo>
                    <a:pt x="2000"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87" name="Google Shape;2616;p11">
              <a:extLst>
                <a:ext uri="{FF2B5EF4-FFF2-40B4-BE49-F238E27FC236}">
                  <a16:creationId xmlns:a16="http://schemas.microsoft.com/office/drawing/2014/main" id="{329FE634-73C1-DA5C-ADBF-100336127A82}"/>
                </a:ext>
              </a:extLst>
            </p:cNvPr>
            <p:cNvSpPr/>
            <p:nvPr/>
          </p:nvSpPr>
          <p:spPr>
            <a:xfrm>
              <a:off x="2107200" y="2365000"/>
              <a:ext cx="227175" cy="199000"/>
            </a:xfrm>
            <a:custGeom>
              <a:avLst/>
              <a:gdLst/>
              <a:ahLst/>
              <a:cxnLst/>
              <a:rect l="l" t="t" r="r" b="b"/>
              <a:pathLst>
                <a:path w="9087" h="7960" extrusionOk="0">
                  <a:moveTo>
                    <a:pt x="5924" y="0"/>
                  </a:moveTo>
                  <a:lnTo>
                    <a:pt x="0" y="2435"/>
                  </a:lnTo>
                  <a:lnTo>
                    <a:pt x="218" y="2980"/>
                  </a:lnTo>
                  <a:lnTo>
                    <a:pt x="727" y="4289"/>
                  </a:lnTo>
                  <a:lnTo>
                    <a:pt x="1018" y="5052"/>
                  </a:lnTo>
                  <a:lnTo>
                    <a:pt x="1381" y="5779"/>
                  </a:lnTo>
                  <a:lnTo>
                    <a:pt x="1708" y="6433"/>
                  </a:lnTo>
                  <a:lnTo>
                    <a:pt x="2035" y="6942"/>
                  </a:lnTo>
                  <a:lnTo>
                    <a:pt x="2217" y="7124"/>
                  </a:lnTo>
                  <a:lnTo>
                    <a:pt x="2472" y="7306"/>
                  </a:lnTo>
                  <a:lnTo>
                    <a:pt x="2762" y="7451"/>
                  </a:lnTo>
                  <a:lnTo>
                    <a:pt x="3090" y="7596"/>
                  </a:lnTo>
                  <a:lnTo>
                    <a:pt x="3489" y="7705"/>
                  </a:lnTo>
                  <a:lnTo>
                    <a:pt x="3889" y="7814"/>
                  </a:lnTo>
                  <a:lnTo>
                    <a:pt x="4325" y="7887"/>
                  </a:lnTo>
                  <a:lnTo>
                    <a:pt x="4798" y="7923"/>
                  </a:lnTo>
                  <a:lnTo>
                    <a:pt x="5307" y="7960"/>
                  </a:lnTo>
                  <a:lnTo>
                    <a:pt x="5815" y="7923"/>
                  </a:lnTo>
                  <a:lnTo>
                    <a:pt x="6324" y="7923"/>
                  </a:lnTo>
                  <a:lnTo>
                    <a:pt x="6833" y="7851"/>
                  </a:lnTo>
                  <a:lnTo>
                    <a:pt x="7342" y="7742"/>
                  </a:lnTo>
                  <a:lnTo>
                    <a:pt x="7851" y="7633"/>
                  </a:lnTo>
                  <a:lnTo>
                    <a:pt x="8360" y="7451"/>
                  </a:lnTo>
                  <a:lnTo>
                    <a:pt x="8832" y="7269"/>
                  </a:lnTo>
                  <a:lnTo>
                    <a:pt x="8978" y="7160"/>
                  </a:lnTo>
                  <a:lnTo>
                    <a:pt x="9050" y="7015"/>
                  </a:lnTo>
                  <a:lnTo>
                    <a:pt x="9087" y="6833"/>
                  </a:lnTo>
                  <a:lnTo>
                    <a:pt x="9050" y="6615"/>
                  </a:lnTo>
                  <a:lnTo>
                    <a:pt x="8978" y="6361"/>
                  </a:lnTo>
                  <a:lnTo>
                    <a:pt x="8868" y="6106"/>
                  </a:lnTo>
                  <a:lnTo>
                    <a:pt x="8614" y="5561"/>
                  </a:lnTo>
                  <a:lnTo>
                    <a:pt x="8360" y="5016"/>
                  </a:lnTo>
                  <a:lnTo>
                    <a:pt x="8251" y="4761"/>
                  </a:lnTo>
                  <a:lnTo>
                    <a:pt x="8142" y="4507"/>
                  </a:lnTo>
                  <a:lnTo>
                    <a:pt x="8105" y="4289"/>
                  </a:lnTo>
                  <a:lnTo>
                    <a:pt x="8142" y="4107"/>
                  </a:lnTo>
                  <a:lnTo>
                    <a:pt x="8214" y="3962"/>
                  </a:lnTo>
                  <a:lnTo>
                    <a:pt x="8360" y="3889"/>
                  </a:lnTo>
                  <a:lnTo>
                    <a:pt x="8505" y="3780"/>
                  </a:lnTo>
                  <a:lnTo>
                    <a:pt x="8541" y="3635"/>
                  </a:lnTo>
                  <a:lnTo>
                    <a:pt x="8541" y="3489"/>
                  </a:lnTo>
                  <a:lnTo>
                    <a:pt x="8469" y="3308"/>
                  </a:lnTo>
                  <a:lnTo>
                    <a:pt x="8360" y="3090"/>
                  </a:lnTo>
                  <a:lnTo>
                    <a:pt x="8214" y="2835"/>
                  </a:lnTo>
                  <a:lnTo>
                    <a:pt x="7778" y="2290"/>
                  </a:lnTo>
                  <a:lnTo>
                    <a:pt x="6760" y="1127"/>
                  </a:lnTo>
                  <a:lnTo>
                    <a:pt x="6288" y="545"/>
                  </a:lnTo>
                  <a:lnTo>
                    <a:pt x="6106" y="255"/>
                  </a:lnTo>
                  <a:lnTo>
                    <a:pt x="5924" y="0"/>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88" name="Google Shape;2617;p11">
              <a:extLst>
                <a:ext uri="{FF2B5EF4-FFF2-40B4-BE49-F238E27FC236}">
                  <a16:creationId xmlns:a16="http://schemas.microsoft.com/office/drawing/2014/main" id="{F7FF2300-29C6-11FE-0B00-39C574EED5ED}"/>
                </a:ext>
              </a:extLst>
            </p:cNvPr>
            <p:cNvSpPr/>
            <p:nvPr/>
          </p:nvSpPr>
          <p:spPr>
            <a:xfrm>
              <a:off x="2053575" y="2290475"/>
              <a:ext cx="233550" cy="253550"/>
            </a:xfrm>
            <a:custGeom>
              <a:avLst/>
              <a:gdLst/>
              <a:ahLst/>
              <a:cxnLst/>
              <a:rect l="l" t="t" r="r" b="b"/>
              <a:pathLst>
                <a:path w="9342" h="10142" extrusionOk="0">
                  <a:moveTo>
                    <a:pt x="8179" y="1"/>
                  </a:moveTo>
                  <a:lnTo>
                    <a:pt x="7997" y="37"/>
                  </a:lnTo>
                  <a:lnTo>
                    <a:pt x="7779" y="73"/>
                  </a:lnTo>
                  <a:lnTo>
                    <a:pt x="7597" y="110"/>
                  </a:lnTo>
                  <a:lnTo>
                    <a:pt x="7197" y="292"/>
                  </a:lnTo>
                  <a:lnTo>
                    <a:pt x="6834" y="546"/>
                  </a:lnTo>
                  <a:lnTo>
                    <a:pt x="6470" y="764"/>
                  </a:lnTo>
                  <a:lnTo>
                    <a:pt x="6361" y="800"/>
                  </a:lnTo>
                  <a:lnTo>
                    <a:pt x="6252" y="837"/>
                  </a:lnTo>
                  <a:lnTo>
                    <a:pt x="6143" y="837"/>
                  </a:lnTo>
                  <a:lnTo>
                    <a:pt x="6034" y="800"/>
                  </a:lnTo>
                  <a:lnTo>
                    <a:pt x="5780" y="691"/>
                  </a:lnTo>
                  <a:lnTo>
                    <a:pt x="5525" y="546"/>
                  </a:lnTo>
                  <a:lnTo>
                    <a:pt x="5198" y="401"/>
                  </a:lnTo>
                  <a:lnTo>
                    <a:pt x="4871" y="328"/>
                  </a:lnTo>
                  <a:lnTo>
                    <a:pt x="4689" y="292"/>
                  </a:lnTo>
                  <a:lnTo>
                    <a:pt x="4471" y="328"/>
                  </a:lnTo>
                  <a:lnTo>
                    <a:pt x="4290" y="364"/>
                  </a:lnTo>
                  <a:lnTo>
                    <a:pt x="4071" y="437"/>
                  </a:lnTo>
                  <a:lnTo>
                    <a:pt x="3781" y="619"/>
                  </a:lnTo>
                  <a:lnTo>
                    <a:pt x="3563" y="800"/>
                  </a:lnTo>
                  <a:lnTo>
                    <a:pt x="3417" y="982"/>
                  </a:lnTo>
                  <a:lnTo>
                    <a:pt x="3345" y="1127"/>
                  </a:lnTo>
                  <a:lnTo>
                    <a:pt x="3236" y="1309"/>
                  </a:lnTo>
                  <a:lnTo>
                    <a:pt x="3090" y="1491"/>
                  </a:lnTo>
                  <a:lnTo>
                    <a:pt x="2945" y="1673"/>
                  </a:lnTo>
                  <a:lnTo>
                    <a:pt x="2690" y="1818"/>
                  </a:lnTo>
                  <a:lnTo>
                    <a:pt x="2472" y="1891"/>
                  </a:lnTo>
                  <a:lnTo>
                    <a:pt x="2181" y="1927"/>
                  </a:lnTo>
                  <a:lnTo>
                    <a:pt x="1527" y="1963"/>
                  </a:lnTo>
                  <a:lnTo>
                    <a:pt x="1164" y="2000"/>
                  </a:lnTo>
                  <a:lnTo>
                    <a:pt x="837" y="2109"/>
                  </a:lnTo>
                  <a:lnTo>
                    <a:pt x="691" y="2182"/>
                  </a:lnTo>
                  <a:lnTo>
                    <a:pt x="546" y="2291"/>
                  </a:lnTo>
                  <a:lnTo>
                    <a:pt x="437" y="2436"/>
                  </a:lnTo>
                  <a:lnTo>
                    <a:pt x="328" y="2581"/>
                  </a:lnTo>
                  <a:lnTo>
                    <a:pt x="146" y="2908"/>
                  </a:lnTo>
                  <a:lnTo>
                    <a:pt x="73" y="3199"/>
                  </a:lnTo>
                  <a:lnTo>
                    <a:pt x="1" y="3490"/>
                  </a:lnTo>
                  <a:lnTo>
                    <a:pt x="1" y="3781"/>
                  </a:lnTo>
                  <a:lnTo>
                    <a:pt x="37" y="4035"/>
                  </a:lnTo>
                  <a:lnTo>
                    <a:pt x="73" y="4290"/>
                  </a:lnTo>
                  <a:lnTo>
                    <a:pt x="255" y="4762"/>
                  </a:lnTo>
                  <a:lnTo>
                    <a:pt x="401" y="5271"/>
                  </a:lnTo>
                  <a:lnTo>
                    <a:pt x="473" y="5525"/>
                  </a:lnTo>
                  <a:lnTo>
                    <a:pt x="546" y="5780"/>
                  </a:lnTo>
                  <a:lnTo>
                    <a:pt x="546" y="6034"/>
                  </a:lnTo>
                  <a:lnTo>
                    <a:pt x="546" y="6325"/>
                  </a:lnTo>
                  <a:lnTo>
                    <a:pt x="473" y="6616"/>
                  </a:lnTo>
                  <a:lnTo>
                    <a:pt x="364" y="6943"/>
                  </a:lnTo>
                  <a:lnTo>
                    <a:pt x="328" y="7125"/>
                  </a:lnTo>
                  <a:lnTo>
                    <a:pt x="292" y="7306"/>
                  </a:lnTo>
                  <a:lnTo>
                    <a:pt x="292" y="7488"/>
                  </a:lnTo>
                  <a:lnTo>
                    <a:pt x="292" y="7670"/>
                  </a:lnTo>
                  <a:lnTo>
                    <a:pt x="328" y="7851"/>
                  </a:lnTo>
                  <a:lnTo>
                    <a:pt x="401" y="7997"/>
                  </a:lnTo>
                  <a:lnTo>
                    <a:pt x="619" y="8360"/>
                  </a:lnTo>
                  <a:lnTo>
                    <a:pt x="873" y="8651"/>
                  </a:lnTo>
                  <a:lnTo>
                    <a:pt x="1200" y="8942"/>
                  </a:lnTo>
                  <a:lnTo>
                    <a:pt x="1564" y="9196"/>
                  </a:lnTo>
                  <a:lnTo>
                    <a:pt x="1927" y="9451"/>
                  </a:lnTo>
                  <a:lnTo>
                    <a:pt x="2327" y="9632"/>
                  </a:lnTo>
                  <a:lnTo>
                    <a:pt x="2727" y="9814"/>
                  </a:lnTo>
                  <a:lnTo>
                    <a:pt x="3126" y="9960"/>
                  </a:lnTo>
                  <a:lnTo>
                    <a:pt x="3454" y="10069"/>
                  </a:lnTo>
                  <a:lnTo>
                    <a:pt x="3781" y="10141"/>
                  </a:lnTo>
                  <a:lnTo>
                    <a:pt x="4217" y="10141"/>
                  </a:lnTo>
                  <a:lnTo>
                    <a:pt x="4253" y="10105"/>
                  </a:lnTo>
                  <a:lnTo>
                    <a:pt x="4290" y="10069"/>
                  </a:lnTo>
                  <a:lnTo>
                    <a:pt x="4326" y="9923"/>
                  </a:lnTo>
                  <a:lnTo>
                    <a:pt x="4326" y="9814"/>
                  </a:lnTo>
                  <a:lnTo>
                    <a:pt x="4253" y="9487"/>
                  </a:lnTo>
                  <a:lnTo>
                    <a:pt x="4108" y="9196"/>
                  </a:lnTo>
                  <a:lnTo>
                    <a:pt x="3926" y="8869"/>
                  </a:lnTo>
                  <a:lnTo>
                    <a:pt x="3781" y="8542"/>
                  </a:lnTo>
                  <a:lnTo>
                    <a:pt x="3635" y="8215"/>
                  </a:lnTo>
                  <a:lnTo>
                    <a:pt x="3563" y="7960"/>
                  </a:lnTo>
                  <a:lnTo>
                    <a:pt x="3563" y="7815"/>
                  </a:lnTo>
                  <a:lnTo>
                    <a:pt x="3635" y="7706"/>
                  </a:lnTo>
                  <a:lnTo>
                    <a:pt x="3781" y="7488"/>
                  </a:lnTo>
                  <a:lnTo>
                    <a:pt x="3962" y="7343"/>
                  </a:lnTo>
                  <a:lnTo>
                    <a:pt x="4108" y="7306"/>
                  </a:lnTo>
                  <a:lnTo>
                    <a:pt x="4290" y="7343"/>
                  </a:lnTo>
                  <a:lnTo>
                    <a:pt x="4471" y="7415"/>
                  </a:lnTo>
                  <a:lnTo>
                    <a:pt x="4689" y="7524"/>
                  </a:lnTo>
                  <a:lnTo>
                    <a:pt x="4907" y="7633"/>
                  </a:lnTo>
                  <a:lnTo>
                    <a:pt x="5198" y="7779"/>
                  </a:lnTo>
                  <a:lnTo>
                    <a:pt x="5525" y="7851"/>
                  </a:lnTo>
                  <a:lnTo>
                    <a:pt x="5852" y="7888"/>
                  </a:lnTo>
                  <a:lnTo>
                    <a:pt x="6143" y="7815"/>
                  </a:lnTo>
                  <a:lnTo>
                    <a:pt x="6361" y="7742"/>
                  </a:lnTo>
                  <a:lnTo>
                    <a:pt x="6434" y="7670"/>
                  </a:lnTo>
                  <a:lnTo>
                    <a:pt x="6507" y="7561"/>
                  </a:lnTo>
                  <a:lnTo>
                    <a:pt x="6507" y="7488"/>
                  </a:lnTo>
                  <a:lnTo>
                    <a:pt x="6507" y="7379"/>
                  </a:lnTo>
                  <a:lnTo>
                    <a:pt x="6434" y="7270"/>
                  </a:lnTo>
                  <a:lnTo>
                    <a:pt x="6361" y="7125"/>
                  </a:lnTo>
                  <a:lnTo>
                    <a:pt x="6216" y="6979"/>
                  </a:lnTo>
                  <a:lnTo>
                    <a:pt x="5998" y="6834"/>
                  </a:lnTo>
                  <a:lnTo>
                    <a:pt x="5634" y="6543"/>
                  </a:lnTo>
                  <a:lnTo>
                    <a:pt x="5416" y="6325"/>
                  </a:lnTo>
                  <a:lnTo>
                    <a:pt x="5344" y="6216"/>
                  </a:lnTo>
                  <a:lnTo>
                    <a:pt x="5307" y="6107"/>
                  </a:lnTo>
                  <a:lnTo>
                    <a:pt x="5307" y="5998"/>
                  </a:lnTo>
                  <a:lnTo>
                    <a:pt x="5307" y="5925"/>
                  </a:lnTo>
                  <a:lnTo>
                    <a:pt x="5416" y="5743"/>
                  </a:lnTo>
                  <a:lnTo>
                    <a:pt x="5598" y="5634"/>
                  </a:lnTo>
                  <a:lnTo>
                    <a:pt x="5816" y="5525"/>
                  </a:lnTo>
                  <a:lnTo>
                    <a:pt x="6070" y="5416"/>
                  </a:lnTo>
                  <a:lnTo>
                    <a:pt x="6579" y="5307"/>
                  </a:lnTo>
                  <a:lnTo>
                    <a:pt x="6906" y="5235"/>
                  </a:lnTo>
                  <a:lnTo>
                    <a:pt x="7052" y="5198"/>
                  </a:lnTo>
                  <a:lnTo>
                    <a:pt x="7161" y="5126"/>
                  </a:lnTo>
                  <a:lnTo>
                    <a:pt x="7306" y="5016"/>
                  </a:lnTo>
                  <a:lnTo>
                    <a:pt x="7452" y="4871"/>
                  </a:lnTo>
                  <a:lnTo>
                    <a:pt x="7524" y="4762"/>
                  </a:lnTo>
                  <a:lnTo>
                    <a:pt x="7524" y="4689"/>
                  </a:lnTo>
                  <a:lnTo>
                    <a:pt x="7524" y="4617"/>
                  </a:lnTo>
                  <a:lnTo>
                    <a:pt x="7524" y="4508"/>
                  </a:lnTo>
                  <a:lnTo>
                    <a:pt x="7415" y="4362"/>
                  </a:lnTo>
                  <a:lnTo>
                    <a:pt x="7306" y="4181"/>
                  </a:lnTo>
                  <a:lnTo>
                    <a:pt x="7234" y="3999"/>
                  </a:lnTo>
                  <a:lnTo>
                    <a:pt x="7234" y="3926"/>
                  </a:lnTo>
                  <a:lnTo>
                    <a:pt x="7234" y="3817"/>
                  </a:lnTo>
                  <a:lnTo>
                    <a:pt x="7270" y="3708"/>
                  </a:lnTo>
                  <a:lnTo>
                    <a:pt x="7306" y="3635"/>
                  </a:lnTo>
                  <a:lnTo>
                    <a:pt x="7415" y="3526"/>
                  </a:lnTo>
                  <a:lnTo>
                    <a:pt x="7597" y="3417"/>
                  </a:lnTo>
                  <a:lnTo>
                    <a:pt x="8288" y="2945"/>
                  </a:lnTo>
                  <a:lnTo>
                    <a:pt x="8651" y="2727"/>
                  </a:lnTo>
                  <a:lnTo>
                    <a:pt x="8942" y="2472"/>
                  </a:lnTo>
                  <a:lnTo>
                    <a:pt x="9160" y="2182"/>
                  </a:lnTo>
                  <a:lnTo>
                    <a:pt x="9233" y="2000"/>
                  </a:lnTo>
                  <a:lnTo>
                    <a:pt x="9305" y="1854"/>
                  </a:lnTo>
                  <a:lnTo>
                    <a:pt x="9342" y="1673"/>
                  </a:lnTo>
                  <a:lnTo>
                    <a:pt x="9342" y="1491"/>
                  </a:lnTo>
                  <a:lnTo>
                    <a:pt x="9342" y="1273"/>
                  </a:lnTo>
                  <a:lnTo>
                    <a:pt x="9269" y="1055"/>
                  </a:lnTo>
                  <a:lnTo>
                    <a:pt x="9160" y="728"/>
                  </a:lnTo>
                  <a:lnTo>
                    <a:pt x="9014" y="510"/>
                  </a:lnTo>
                  <a:lnTo>
                    <a:pt x="8869" y="328"/>
                  </a:lnTo>
                  <a:lnTo>
                    <a:pt x="8724" y="183"/>
                  </a:lnTo>
                  <a:lnTo>
                    <a:pt x="8542" y="73"/>
                  </a:lnTo>
                  <a:lnTo>
                    <a:pt x="8360" y="37"/>
                  </a:lnTo>
                  <a:lnTo>
                    <a:pt x="8179" y="1"/>
                  </a:lnTo>
                  <a:close/>
                </a:path>
              </a:pathLst>
            </a:custGeom>
            <a:solidFill>
              <a:srgbClr val="6A433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89" name="Google Shape;2618;p11">
              <a:extLst>
                <a:ext uri="{FF2B5EF4-FFF2-40B4-BE49-F238E27FC236}">
                  <a16:creationId xmlns:a16="http://schemas.microsoft.com/office/drawing/2014/main" id="{6A621FA1-54FD-3471-7CC5-F20AF4790BC5}"/>
                </a:ext>
              </a:extLst>
            </p:cNvPr>
            <p:cNvSpPr/>
            <p:nvPr/>
          </p:nvSpPr>
          <p:spPr>
            <a:xfrm>
              <a:off x="2349800" y="5113625"/>
              <a:ext cx="125425" cy="226275"/>
            </a:xfrm>
            <a:custGeom>
              <a:avLst/>
              <a:gdLst/>
              <a:ahLst/>
              <a:cxnLst/>
              <a:rect l="l" t="t" r="r" b="b"/>
              <a:pathLst>
                <a:path w="5017" h="9051" extrusionOk="0">
                  <a:moveTo>
                    <a:pt x="0" y="1"/>
                  </a:moveTo>
                  <a:lnTo>
                    <a:pt x="255" y="6870"/>
                  </a:lnTo>
                  <a:lnTo>
                    <a:pt x="3562" y="9051"/>
                  </a:lnTo>
                  <a:lnTo>
                    <a:pt x="4907" y="6543"/>
                  </a:lnTo>
                  <a:lnTo>
                    <a:pt x="4980" y="5780"/>
                  </a:lnTo>
                  <a:lnTo>
                    <a:pt x="5016" y="4799"/>
                  </a:lnTo>
                  <a:lnTo>
                    <a:pt x="5016" y="2690"/>
                  </a:lnTo>
                  <a:lnTo>
                    <a:pt x="4980" y="183"/>
                  </a:lnTo>
                  <a:lnTo>
                    <a:pt x="0" y="1"/>
                  </a:lnTo>
                  <a:close/>
                </a:path>
              </a:pathLst>
            </a:custGeom>
            <a:solidFill>
              <a:srgbClr val="E3E3E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90" name="Google Shape;2619;p11">
              <a:extLst>
                <a:ext uri="{FF2B5EF4-FFF2-40B4-BE49-F238E27FC236}">
                  <a16:creationId xmlns:a16="http://schemas.microsoft.com/office/drawing/2014/main" id="{6FA6AA0C-162E-9630-301D-1B5E36AA7B4A}"/>
                </a:ext>
              </a:extLst>
            </p:cNvPr>
            <p:cNvSpPr/>
            <p:nvPr/>
          </p:nvSpPr>
          <p:spPr>
            <a:xfrm>
              <a:off x="2340700" y="5235400"/>
              <a:ext cx="368950" cy="162675"/>
            </a:xfrm>
            <a:custGeom>
              <a:avLst/>
              <a:gdLst/>
              <a:ahLst/>
              <a:cxnLst/>
              <a:rect l="l" t="t" r="r" b="b"/>
              <a:pathLst>
                <a:path w="14758" h="6507" extrusionOk="0">
                  <a:moveTo>
                    <a:pt x="510" y="0"/>
                  </a:moveTo>
                  <a:lnTo>
                    <a:pt x="364" y="37"/>
                  </a:lnTo>
                  <a:lnTo>
                    <a:pt x="292" y="182"/>
                  </a:lnTo>
                  <a:lnTo>
                    <a:pt x="183" y="400"/>
                  </a:lnTo>
                  <a:lnTo>
                    <a:pt x="110" y="654"/>
                  </a:lnTo>
                  <a:lnTo>
                    <a:pt x="37" y="1381"/>
                  </a:lnTo>
                  <a:lnTo>
                    <a:pt x="1" y="2217"/>
                  </a:lnTo>
                  <a:lnTo>
                    <a:pt x="1" y="3126"/>
                  </a:lnTo>
                  <a:lnTo>
                    <a:pt x="74" y="4071"/>
                  </a:lnTo>
                  <a:lnTo>
                    <a:pt x="146" y="4943"/>
                  </a:lnTo>
                  <a:lnTo>
                    <a:pt x="292" y="5634"/>
                  </a:lnTo>
                  <a:lnTo>
                    <a:pt x="364" y="5816"/>
                  </a:lnTo>
                  <a:lnTo>
                    <a:pt x="437" y="5961"/>
                  </a:lnTo>
                  <a:lnTo>
                    <a:pt x="546" y="6106"/>
                  </a:lnTo>
                  <a:lnTo>
                    <a:pt x="692" y="6215"/>
                  </a:lnTo>
                  <a:lnTo>
                    <a:pt x="837" y="6324"/>
                  </a:lnTo>
                  <a:lnTo>
                    <a:pt x="1019" y="6397"/>
                  </a:lnTo>
                  <a:lnTo>
                    <a:pt x="1200" y="6433"/>
                  </a:lnTo>
                  <a:lnTo>
                    <a:pt x="1382" y="6433"/>
                  </a:lnTo>
                  <a:lnTo>
                    <a:pt x="7270" y="6470"/>
                  </a:lnTo>
                  <a:lnTo>
                    <a:pt x="13013" y="6506"/>
                  </a:lnTo>
                  <a:lnTo>
                    <a:pt x="13449" y="6470"/>
                  </a:lnTo>
                  <a:lnTo>
                    <a:pt x="13812" y="6397"/>
                  </a:lnTo>
                  <a:lnTo>
                    <a:pt x="14103" y="6252"/>
                  </a:lnTo>
                  <a:lnTo>
                    <a:pt x="14358" y="6106"/>
                  </a:lnTo>
                  <a:lnTo>
                    <a:pt x="14539" y="5888"/>
                  </a:lnTo>
                  <a:lnTo>
                    <a:pt x="14648" y="5706"/>
                  </a:lnTo>
                  <a:lnTo>
                    <a:pt x="14721" y="5452"/>
                  </a:lnTo>
                  <a:lnTo>
                    <a:pt x="14757" y="5234"/>
                  </a:lnTo>
                  <a:lnTo>
                    <a:pt x="14757" y="4980"/>
                  </a:lnTo>
                  <a:lnTo>
                    <a:pt x="14721" y="4725"/>
                  </a:lnTo>
                  <a:lnTo>
                    <a:pt x="14685" y="4507"/>
                  </a:lnTo>
                  <a:lnTo>
                    <a:pt x="14612" y="4325"/>
                  </a:lnTo>
                  <a:lnTo>
                    <a:pt x="14539" y="4144"/>
                  </a:lnTo>
                  <a:lnTo>
                    <a:pt x="14430" y="3998"/>
                  </a:lnTo>
                  <a:lnTo>
                    <a:pt x="14321" y="3926"/>
                  </a:lnTo>
                  <a:lnTo>
                    <a:pt x="14212" y="3889"/>
                  </a:lnTo>
                  <a:lnTo>
                    <a:pt x="12795" y="3707"/>
                  </a:lnTo>
                  <a:lnTo>
                    <a:pt x="11704" y="3598"/>
                  </a:lnTo>
                  <a:lnTo>
                    <a:pt x="10541" y="3417"/>
                  </a:lnTo>
                  <a:lnTo>
                    <a:pt x="9960" y="3308"/>
                  </a:lnTo>
                  <a:lnTo>
                    <a:pt x="9378" y="3162"/>
                  </a:lnTo>
                  <a:lnTo>
                    <a:pt x="8869" y="2981"/>
                  </a:lnTo>
                  <a:lnTo>
                    <a:pt x="8360" y="2799"/>
                  </a:lnTo>
                  <a:lnTo>
                    <a:pt x="7961" y="2581"/>
                  </a:lnTo>
                  <a:lnTo>
                    <a:pt x="7634" y="2363"/>
                  </a:lnTo>
                  <a:lnTo>
                    <a:pt x="7488" y="2217"/>
                  </a:lnTo>
                  <a:lnTo>
                    <a:pt x="7379" y="2072"/>
                  </a:lnTo>
                  <a:lnTo>
                    <a:pt x="7306" y="1927"/>
                  </a:lnTo>
                  <a:lnTo>
                    <a:pt x="7234" y="1781"/>
                  </a:lnTo>
                  <a:lnTo>
                    <a:pt x="7125" y="1454"/>
                  </a:lnTo>
                  <a:lnTo>
                    <a:pt x="6979" y="1163"/>
                  </a:lnTo>
                  <a:lnTo>
                    <a:pt x="6761" y="836"/>
                  </a:lnTo>
                  <a:lnTo>
                    <a:pt x="6543" y="582"/>
                  </a:lnTo>
                  <a:lnTo>
                    <a:pt x="6325" y="364"/>
                  </a:lnTo>
                  <a:lnTo>
                    <a:pt x="6071" y="218"/>
                  </a:lnTo>
                  <a:lnTo>
                    <a:pt x="5962" y="146"/>
                  </a:lnTo>
                  <a:lnTo>
                    <a:pt x="5780" y="146"/>
                  </a:lnTo>
                  <a:lnTo>
                    <a:pt x="5707" y="218"/>
                  </a:lnTo>
                  <a:lnTo>
                    <a:pt x="5380" y="400"/>
                  </a:lnTo>
                  <a:lnTo>
                    <a:pt x="5053" y="545"/>
                  </a:lnTo>
                  <a:lnTo>
                    <a:pt x="4690" y="654"/>
                  </a:lnTo>
                  <a:lnTo>
                    <a:pt x="4326" y="727"/>
                  </a:lnTo>
                  <a:lnTo>
                    <a:pt x="3563" y="727"/>
                  </a:lnTo>
                  <a:lnTo>
                    <a:pt x="3199" y="691"/>
                  </a:lnTo>
                  <a:lnTo>
                    <a:pt x="2836" y="618"/>
                  </a:lnTo>
                  <a:lnTo>
                    <a:pt x="2109" y="473"/>
                  </a:lnTo>
                  <a:lnTo>
                    <a:pt x="1455" y="291"/>
                  </a:lnTo>
                  <a:lnTo>
                    <a:pt x="910" y="109"/>
                  </a:lnTo>
                  <a:lnTo>
                    <a:pt x="510" y="0"/>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91" name="Google Shape;2620;p11">
              <a:extLst>
                <a:ext uri="{FF2B5EF4-FFF2-40B4-BE49-F238E27FC236}">
                  <a16:creationId xmlns:a16="http://schemas.microsoft.com/office/drawing/2014/main" id="{44CD8CAB-652D-1DDD-600F-65F4164218A7}"/>
                </a:ext>
              </a:extLst>
            </p:cNvPr>
            <p:cNvSpPr/>
            <p:nvPr/>
          </p:nvSpPr>
          <p:spPr>
            <a:xfrm>
              <a:off x="1871850" y="5113625"/>
              <a:ext cx="125425" cy="227200"/>
            </a:xfrm>
            <a:custGeom>
              <a:avLst/>
              <a:gdLst/>
              <a:ahLst/>
              <a:cxnLst/>
              <a:rect l="l" t="t" r="r" b="b"/>
              <a:pathLst>
                <a:path w="5017" h="9088" extrusionOk="0">
                  <a:moveTo>
                    <a:pt x="1" y="1"/>
                  </a:moveTo>
                  <a:lnTo>
                    <a:pt x="255" y="6870"/>
                  </a:lnTo>
                  <a:lnTo>
                    <a:pt x="3526" y="9087"/>
                  </a:lnTo>
                  <a:lnTo>
                    <a:pt x="4907" y="6579"/>
                  </a:lnTo>
                  <a:lnTo>
                    <a:pt x="4980" y="5780"/>
                  </a:lnTo>
                  <a:lnTo>
                    <a:pt x="5016" y="4835"/>
                  </a:lnTo>
                  <a:lnTo>
                    <a:pt x="5016" y="2727"/>
                  </a:lnTo>
                  <a:lnTo>
                    <a:pt x="4980" y="219"/>
                  </a:lnTo>
                  <a:lnTo>
                    <a:pt x="1" y="1"/>
                  </a:lnTo>
                  <a:close/>
                </a:path>
              </a:pathLst>
            </a:custGeom>
            <a:solidFill>
              <a:srgbClr val="E3E3E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92" name="Google Shape;2621;p11">
              <a:extLst>
                <a:ext uri="{FF2B5EF4-FFF2-40B4-BE49-F238E27FC236}">
                  <a16:creationId xmlns:a16="http://schemas.microsoft.com/office/drawing/2014/main" id="{BD5A8DC3-EBE0-7372-5529-930DAEDDF914}"/>
                </a:ext>
              </a:extLst>
            </p:cNvPr>
            <p:cNvSpPr/>
            <p:nvPr/>
          </p:nvSpPr>
          <p:spPr>
            <a:xfrm>
              <a:off x="1860050" y="5218125"/>
              <a:ext cx="370750" cy="181750"/>
            </a:xfrm>
            <a:custGeom>
              <a:avLst/>
              <a:gdLst/>
              <a:ahLst/>
              <a:cxnLst/>
              <a:rect l="l" t="t" r="r" b="b"/>
              <a:pathLst>
                <a:path w="14830" h="7270" extrusionOk="0">
                  <a:moveTo>
                    <a:pt x="436" y="1"/>
                  </a:moveTo>
                  <a:lnTo>
                    <a:pt x="400" y="37"/>
                  </a:lnTo>
                  <a:lnTo>
                    <a:pt x="327" y="73"/>
                  </a:lnTo>
                  <a:lnTo>
                    <a:pt x="255" y="219"/>
                  </a:lnTo>
                  <a:lnTo>
                    <a:pt x="145" y="473"/>
                  </a:lnTo>
                  <a:lnTo>
                    <a:pt x="109" y="764"/>
                  </a:lnTo>
                  <a:lnTo>
                    <a:pt x="0" y="1600"/>
                  </a:lnTo>
                  <a:lnTo>
                    <a:pt x="0" y="2545"/>
                  </a:lnTo>
                  <a:lnTo>
                    <a:pt x="36" y="3599"/>
                  </a:lnTo>
                  <a:lnTo>
                    <a:pt x="109" y="4653"/>
                  </a:lnTo>
                  <a:lnTo>
                    <a:pt x="218" y="5598"/>
                  </a:lnTo>
                  <a:lnTo>
                    <a:pt x="364" y="6325"/>
                  </a:lnTo>
                  <a:lnTo>
                    <a:pt x="400" y="6507"/>
                  </a:lnTo>
                  <a:lnTo>
                    <a:pt x="509" y="6652"/>
                  </a:lnTo>
                  <a:lnTo>
                    <a:pt x="618" y="6797"/>
                  </a:lnTo>
                  <a:lnTo>
                    <a:pt x="727" y="6906"/>
                  </a:lnTo>
                  <a:lnTo>
                    <a:pt x="872" y="7015"/>
                  </a:lnTo>
                  <a:lnTo>
                    <a:pt x="1054" y="7088"/>
                  </a:lnTo>
                  <a:lnTo>
                    <a:pt x="1236" y="7124"/>
                  </a:lnTo>
                  <a:lnTo>
                    <a:pt x="1418" y="7161"/>
                  </a:lnTo>
                  <a:lnTo>
                    <a:pt x="7306" y="7233"/>
                  </a:lnTo>
                  <a:lnTo>
                    <a:pt x="13048" y="7270"/>
                  </a:lnTo>
                  <a:lnTo>
                    <a:pt x="13484" y="7270"/>
                  </a:lnTo>
                  <a:lnTo>
                    <a:pt x="13848" y="7197"/>
                  </a:lnTo>
                  <a:lnTo>
                    <a:pt x="14175" y="7052"/>
                  </a:lnTo>
                  <a:lnTo>
                    <a:pt x="14393" y="6906"/>
                  </a:lnTo>
                  <a:lnTo>
                    <a:pt x="14575" y="6725"/>
                  </a:lnTo>
                  <a:lnTo>
                    <a:pt x="14684" y="6507"/>
                  </a:lnTo>
                  <a:lnTo>
                    <a:pt x="14793" y="6252"/>
                  </a:lnTo>
                  <a:lnTo>
                    <a:pt x="14829" y="6034"/>
                  </a:lnTo>
                  <a:lnTo>
                    <a:pt x="14829" y="5780"/>
                  </a:lnTo>
                  <a:lnTo>
                    <a:pt x="14793" y="5562"/>
                  </a:lnTo>
                  <a:lnTo>
                    <a:pt x="14756" y="5343"/>
                  </a:lnTo>
                  <a:lnTo>
                    <a:pt x="14684" y="5125"/>
                  </a:lnTo>
                  <a:lnTo>
                    <a:pt x="14575" y="4944"/>
                  </a:lnTo>
                  <a:lnTo>
                    <a:pt x="14502" y="4798"/>
                  </a:lnTo>
                  <a:lnTo>
                    <a:pt x="14393" y="4726"/>
                  </a:lnTo>
                  <a:lnTo>
                    <a:pt x="14284" y="4689"/>
                  </a:lnTo>
                  <a:lnTo>
                    <a:pt x="13702" y="4580"/>
                  </a:lnTo>
                  <a:lnTo>
                    <a:pt x="12721" y="4362"/>
                  </a:lnTo>
                  <a:lnTo>
                    <a:pt x="11522" y="4108"/>
                  </a:lnTo>
                  <a:lnTo>
                    <a:pt x="10213" y="3744"/>
                  </a:lnTo>
                  <a:lnTo>
                    <a:pt x="9559" y="3563"/>
                  </a:lnTo>
                  <a:lnTo>
                    <a:pt x="8941" y="3344"/>
                  </a:lnTo>
                  <a:lnTo>
                    <a:pt x="8323" y="3090"/>
                  </a:lnTo>
                  <a:lnTo>
                    <a:pt x="7814" y="2836"/>
                  </a:lnTo>
                  <a:lnTo>
                    <a:pt x="7342" y="2545"/>
                  </a:lnTo>
                  <a:lnTo>
                    <a:pt x="6978" y="2290"/>
                  </a:lnTo>
                  <a:lnTo>
                    <a:pt x="6833" y="2109"/>
                  </a:lnTo>
                  <a:lnTo>
                    <a:pt x="6688" y="1963"/>
                  </a:lnTo>
                  <a:lnTo>
                    <a:pt x="6615" y="1818"/>
                  </a:lnTo>
                  <a:lnTo>
                    <a:pt x="6542" y="1636"/>
                  </a:lnTo>
                  <a:lnTo>
                    <a:pt x="6433" y="1127"/>
                  </a:lnTo>
                  <a:lnTo>
                    <a:pt x="6361" y="728"/>
                  </a:lnTo>
                  <a:lnTo>
                    <a:pt x="6324" y="582"/>
                  </a:lnTo>
                  <a:lnTo>
                    <a:pt x="6215" y="473"/>
                  </a:lnTo>
                  <a:lnTo>
                    <a:pt x="6106" y="400"/>
                  </a:lnTo>
                  <a:lnTo>
                    <a:pt x="5924" y="364"/>
                  </a:lnTo>
                  <a:lnTo>
                    <a:pt x="4180" y="255"/>
                  </a:lnTo>
                  <a:lnTo>
                    <a:pt x="2617" y="219"/>
                  </a:lnTo>
                  <a:lnTo>
                    <a:pt x="1345" y="110"/>
                  </a:lnTo>
                  <a:lnTo>
                    <a:pt x="836" y="73"/>
                  </a:lnTo>
                  <a:lnTo>
                    <a:pt x="436" y="1"/>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93" name="Google Shape;2622;p11">
              <a:extLst>
                <a:ext uri="{FF2B5EF4-FFF2-40B4-BE49-F238E27FC236}">
                  <a16:creationId xmlns:a16="http://schemas.microsoft.com/office/drawing/2014/main" id="{D5960D27-899D-B4C4-E887-F2D72E5A82DC}"/>
                </a:ext>
              </a:extLst>
            </p:cNvPr>
            <p:cNvSpPr/>
            <p:nvPr/>
          </p:nvSpPr>
          <p:spPr>
            <a:xfrm>
              <a:off x="1812800" y="3365400"/>
              <a:ext cx="712400" cy="1857300"/>
            </a:xfrm>
            <a:custGeom>
              <a:avLst/>
              <a:gdLst/>
              <a:ahLst/>
              <a:cxnLst/>
              <a:rect l="l" t="t" r="r" b="b"/>
              <a:pathLst>
                <a:path w="28496" h="74292" extrusionOk="0">
                  <a:moveTo>
                    <a:pt x="9268" y="1"/>
                  </a:moveTo>
                  <a:lnTo>
                    <a:pt x="8287" y="37"/>
                  </a:lnTo>
                  <a:lnTo>
                    <a:pt x="7342" y="73"/>
                  </a:lnTo>
                  <a:lnTo>
                    <a:pt x="6433" y="146"/>
                  </a:lnTo>
                  <a:lnTo>
                    <a:pt x="5525" y="255"/>
                  </a:lnTo>
                  <a:lnTo>
                    <a:pt x="4689" y="437"/>
                  </a:lnTo>
                  <a:lnTo>
                    <a:pt x="3925" y="619"/>
                  </a:lnTo>
                  <a:lnTo>
                    <a:pt x="3162" y="837"/>
                  </a:lnTo>
                  <a:lnTo>
                    <a:pt x="2508" y="1127"/>
                  </a:lnTo>
                  <a:lnTo>
                    <a:pt x="1926" y="1455"/>
                  </a:lnTo>
                  <a:lnTo>
                    <a:pt x="1636" y="1673"/>
                  </a:lnTo>
                  <a:lnTo>
                    <a:pt x="1418" y="1854"/>
                  </a:lnTo>
                  <a:lnTo>
                    <a:pt x="1163" y="2072"/>
                  </a:lnTo>
                  <a:lnTo>
                    <a:pt x="981" y="2291"/>
                  </a:lnTo>
                  <a:lnTo>
                    <a:pt x="800" y="2545"/>
                  </a:lnTo>
                  <a:lnTo>
                    <a:pt x="654" y="2799"/>
                  </a:lnTo>
                  <a:lnTo>
                    <a:pt x="509" y="3090"/>
                  </a:lnTo>
                  <a:lnTo>
                    <a:pt x="400" y="3381"/>
                  </a:lnTo>
                  <a:lnTo>
                    <a:pt x="327" y="3672"/>
                  </a:lnTo>
                  <a:lnTo>
                    <a:pt x="291" y="3999"/>
                  </a:lnTo>
                  <a:lnTo>
                    <a:pt x="218" y="5380"/>
                  </a:lnTo>
                  <a:lnTo>
                    <a:pt x="182" y="6652"/>
                  </a:lnTo>
                  <a:lnTo>
                    <a:pt x="182" y="7452"/>
                  </a:lnTo>
                  <a:lnTo>
                    <a:pt x="182" y="8251"/>
                  </a:lnTo>
                  <a:lnTo>
                    <a:pt x="109" y="9887"/>
                  </a:lnTo>
                  <a:lnTo>
                    <a:pt x="36" y="11304"/>
                  </a:lnTo>
                  <a:lnTo>
                    <a:pt x="0" y="12903"/>
                  </a:lnTo>
                  <a:lnTo>
                    <a:pt x="36" y="14757"/>
                  </a:lnTo>
                  <a:lnTo>
                    <a:pt x="73" y="15811"/>
                  </a:lnTo>
                  <a:lnTo>
                    <a:pt x="146" y="16902"/>
                  </a:lnTo>
                  <a:lnTo>
                    <a:pt x="255" y="18210"/>
                  </a:lnTo>
                  <a:lnTo>
                    <a:pt x="400" y="19591"/>
                  </a:lnTo>
                  <a:lnTo>
                    <a:pt x="582" y="21336"/>
                  </a:lnTo>
                  <a:lnTo>
                    <a:pt x="800" y="23735"/>
                  </a:lnTo>
                  <a:lnTo>
                    <a:pt x="1018" y="26642"/>
                  </a:lnTo>
                  <a:lnTo>
                    <a:pt x="1200" y="29913"/>
                  </a:lnTo>
                  <a:lnTo>
                    <a:pt x="1381" y="33330"/>
                  </a:lnTo>
                  <a:lnTo>
                    <a:pt x="1490" y="36819"/>
                  </a:lnTo>
                  <a:lnTo>
                    <a:pt x="1563" y="40199"/>
                  </a:lnTo>
                  <a:lnTo>
                    <a:pt x="1563" y="41798"/>
                  </a:lnTo>
                  <a:lnTo>
                    <a:pt x="1527" y="43325"/>
                  </a:lnTo>
                  <a:lnTo>
                    <a:pt x="1490" y="44888"/>
                  </a:lnTo>
                  <a:lnTo>
                    <a:pt x="1490" y="46669"/>
                  </a:lnTo>
                  <a:lnTo>
                    <a:pt x="1490" y="50703"/>
                  </a:lnTo>
                  <a:lnTo>
                    <a:pt x="1563" y="55065"/>
                  </a:lnTo>
                  <a:lnTo>
                    <a:pt x="1672" y="59535"/>
                  </a:lnTo>
                  <a:lnTo>
                    <a:pt x="1890" y="67458"/>
                  </a:lnTo>
                  <a:lnTo>
                    <a:pt x="1963" y="70330"/>
                  </a:lnTo>
                  <a:lnTo>
                    <a:pt x="1999" y="72038"/>
                  </a:lnTo>
                  <a:lnTo>
                    <a:pt x="2399" y="72220"/>
                  </a:lnTo>
                  <a:lnTo>
                    <a:pt x="2835" y="72365"/>
                  </a:lnTo>
                  <a:lnTo>
                    <a:pt x="3235" y="72474"/>
                  </a:lnTo>
                  <a:lnTo>
                    <a:pt x="3635" y="72547"/>
                  </a:lnTo>
                  <a:lnTo>
                    <a:pt x="4034" y="72619"/>
                  </a:lnTo>
                  <a:lnTo>
                    <a:pt x="4398" y="72656"/>
                  </a:lnTo>
                  <a:lnTo>
                    <a:pt x="4798" y="72692"/>
                  </a:lnTo>
                  <a:lnTo>
                    <a:pt x="5198" y="72692"/>
                  </a:lnTo>
                  <a:lnTo>
                    <a:pt x="6034" y="72619"/>
                  </a:lnTo>
                  <a:lnTo>
                    <a:pt x="6942" y="72474"/>
                  </a:lnTo>
                  <a:lnTo>
                    <a:pt x="7996" y="72292"/>
                  </a:lnTo>
                  <a:lnTo>
                    <a:pt x="9159" y="72038"/>
                  </a:lnTo>
                  <a:lnTo>
                    <a:pt x="9559" y="62879"/>
                  </a:lnTo>
                  <a:lnTo>
                    <a:pt x="9959" y="53865"/>
                  </a:lnTo>
                  <a:lnTo>
                    <a:pt x="10431" y="43906"/>
                  </a:lnTo>
                  <a:lnTo>
                    <a:pt x="10613" y="40417"/>
                  </a:lnTo>
                  <a:lnTo>
                    <a:pt x="10795" y="37728"/>
                  </a:lnTo>
                  <a:lnTo>
                    <a:pt x="10977" y="35511"/>
                  </a:lnTo>
                  <a:lnTo>
                    <a:pt x="11231" y="33439"/>
                  </a:lnTo>
                  <a:lnTo>
                    <a:pt x="11522" y="31258"/>
                  </a:lnTo>
                  <a:lnTo>
                    <a:pt x="11922" y="28605"/>
                  </a:lnTo>
                  <a:lnTo>
                    <a:pt x="13085" y="20791"/>
                  </a:lnTo>
                  <a:lnTo>
                    <a:pt x="13448" y="21735"/>
                  </a:lnTo>
                  <a:lnTo>
                    <a:pt x="14284" y="24207"/>
                  </a:lnTo>
                  <a:lnTo>
                    <a:pt x="15556" y="27987"/>
                  </a:lnTo>
                  <a:lnTo>
                    <a:pt x="16247" y="30168"/>
                  </a:lnTo>
                  <a:lnTo>
                    <a:pt x="16974" y="32457"/>
                  </a:lnTo>
                  <a:lnTo>
                    <a:pt x="17664" y="34820"/>
                  </a:lnTo>
                  <a:lnTo>
                    <a:pt x="18355" y="37182"/>
                  </a:lnTo>
                  <a:lnTo>
                    <a:pt x="18936" y="39472"/>
                  </a:lnTo>
                  <a:lnTo>
                    <a:pt x="19445" y="41617"/>
                  </a:lnTo>
                  <a:lnTo>
                    <a:pt x="19590" y="42453"/>
                  </a:lnTo>
                  <a:lnTo>
                    <a:pt x="19736" y="43361"/>
                  </a:lnTo>
                  <a:lnTo>
                    <a:pt x="19881" y="44343"/>
                  </a:lnTo>
                  <a:lnTo>
                    <a:pt x="20027" y="45397"/>
                  </a:lnTo>
                  <a:lnTo>
                    <a:pt x="20208" y="47650"/>
                  </a:lnTo>
                  <a:lnTo>
                    <a:pt x="20354" y="50049"/>
                  </a:lnTo>
                  <a:lnTo>
                    <a:pt x="20499" y="52593"/>
                  </a:lnTo>
                  <a:lnTo>
                    <a:pt x="20572" y="55174"/>
                  </a:lnTo>
                  <a:lnTo>
                    <a:pt x="20681" y="60371"/>
                  </a:lnTo>
                  <a:lnTo>
                    <a:pt x="20717" y="65169"/>
                  </a:lnTo>
                  <a:lnTo>
                    <a:pt x="20790" y="69203"/>
                  </a:lnTo>
                  <a:lnTo>
                    <a:pt x="20826" y="70802"/>
                  </a:lnTo>
                  <a:lnTo>
                    <a:pt x="20899" y="72038"/>
                  </a:lnTo>
                  <a:lnTo>
                    <a:pt x="20972" y="72874"/>
                  </a:lnTo>
                  <a:lnTo>
                    <a:pt x="21044" y="73128"/>
                  </a:lnTo>
                  <a:lnTo>
                    <a:pt x="21117" y="73274"/>
                  </a:lnTo>
                  <a:lnTo>
                    <a:pt x="21553" y="73492"/>
                  </a:lnTo>
                  <a:lnTo>
                    <a:pt x="22026" y="73710"/>
                  </a:lnTo>
                  <a:lnTo>
                    <a:pt x="22534" y="73892"/>
                  </a:lnTo>
                  <a:lnTo>
                    <a:pt x="23080" y="74037"/>
                  </a:lnTo>
                  <a:lnTo>
                    <a:pt x="23588" y="74146"/>
                  </a:lnTo>
                  <a:lnTo>
                    <a:pt x="24134" y="74255"/>
                  </a:lnTo>
                  <a:lnTo>
                    <a:pt x="24679" y="74291"/>
                  </a:lnTo>
                  <a:lnTo>
                    <a:pt x="25224" y="74291"/>
                  </a:lnTo>
                  <a:lnTo>
                    <a:pt x="25733" y="74255"/>
                  </a:lnTo>
                  <a:lnTo>
                    <a:pt x="26205" y="74182"/>
                  </a:lnTo>
                  <a:lnTo>
                    <a:pt x="26678" y="74073"/>
                  </a:lnTo>
                  <a:lnTo>
                    <a:pt x="27114" y="73928"/>
                  </a:lnTo>
                  <a:lnTo>
                    <a:pt x="27514" y="73710"/>
                  </a:lnTo>
                  <a:lnTo>
                    <a:pt x="27841" y="73492"/>
                  </a:lnTo>
                  <a:lnTo>
                    <a:pt x="28132" y="73201"/>
                  </a:lnTo>
                  <a:lnTo>
                    <a:pt x="28386" y="72874"/>
                  </a:lnTo>
                  <a:lnTo>
                    <a:pt x="28422" y="68476"/>
                  </a:lnTo>
                  <a:lnTo>
                    <a:pt x="28459" y="63897"/>
                  </a:lnTo>
                  <a:lnTo>
                    <a:pt x="28495" y="58517"/>
                  </a:lnTo>
                  <a:lnTo>
                    <a:pt x="28459" y="52956"/>
                  </a:lnTo>
                  <a:lnTo>
                    <a:pt x="28386" y="47759"/>
                  </a:lnTo>
                  <a:lnTo>
                    <a:pt x="28350" y="45506"/>
                  </a:lnTo>
                  <a:lnTo>
                    <a:pt x="28241" y="43543"/>
                  </a:lnTo>
                  <a:lnTo>
                    <a:pt x="28132" y="42016"/>
                  </a:lnTo>
                  <a:lnTo>
                    <a:pt x="28059" y="41399"/>
                  </a:lnTo>
                  <a:lnTo>
                    <a:pt x="27986" y="40926"/>
                  </a:lnTo>
                  <a:lnTo>
                    <a:pt x="26932" y="34602"/>
                  </a:lnTo>
                  <a:lnTo>
                    <a:pt x="25006" y="22971"/>
                  </a:lnTo>
                  <a:lnTo>
                    <a:pt x="23043" y="10468"/>
                  </a:lnTo>
                  <a:lnTo>
                    <a:pt x="22244" y="5235"/>
                  </a:lnTo>
                  <a:lnTo>
                    <a:pt x="21662" y="1455"/>
                  </a:lnTo>
                  <a:lnTo>
                    <a:pt x="20790" y="1273"/>
                  </a:lnTo>
                  <a:lnTo>
                    <a:pt x="19772" y="1055"/>
                  </a:lnTo>
                  <a:lnTo>
                    <a:pt x="18427" y="837"/>
                  </a:lnTo>
                  <a:lnTo>
                    <a:pt x="16865" y="619"/>
                  </a:lnTo>
                  <a:lnTo>
                    <a:pt x="15084" y="401"/>
                  </a:lnTo>
                  <a:lnTo>
                    <a:pt x="13194" y="182"/>
                  </a:lnTo>
                  <a:lnTo>
                    <a:pt x="11231" y="73"/>
                  </a:lnTo>
                  <a:lnTo>
                    <a:pt x="10250" y="37"/>
                  </a:lnTo>
                  <a:lnTo>
                    <a:pt x="9268" y="1"/>
                  </a:lnTo>
                  <a:close/>
                </a:path>
              </a:pathLst>
            </a:custGeom>
            <a:solidFill>
              <a:srgbClr val="3C3C3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94" name="Google Shape;2623;p11">
              <a:extLst>
                <a:ext uri="{FF2B5EF4-FFF2-40B4-BE49-F238E27FC236}">
                  <a16:creationId xmlns:a16="http://schemas.microsoft.com/office/drawing/2014/main" id="{1F6CAC91-7704-D80C-D539-D4813D060A08}"/>
                </a:ext>
              </a:extLst>
            </p:cNvPr>
            <p:cNvSpPr/>
            <p:nvPr/>
          </p:nvSpPr>
          <p:spPr>
            <a:xfrm>
              <a:off x="1812800" y="3365400"/>
              <a:ext cx="712400" cy="1857300"/>
            </a:xfrm>
            <a:custGeom>
              <a:avLst/>
              <a:gdLst/>
              <a:ahLst/>
              <a:cxnLst/>
              <a:rect l="l" t="t" r="r" b="b"/>
              <a:pathLst>
                <a:path w="28496" h="74292" fill="none" extrusionOk="0">
                  <a:moveTo>
                    <a:pt x="146" y="16902"/>
                  </a:moveTo>
                  <a:lnTo>
                    <a:pt x="146" y="16902"/>
                  </a:lnTo>
                  <a:lnTo>
                    <a:pt x="255" y="18210"/>
                  </a:lnTo>
                  <a:lnTo>
                    <a:pt x="400" y="19591"/>
                  </a:lnTo>
                  <a:lnTo>
                    <a:pt x="400" y="19591"/>
                  </a:lnTo>
                  <a:lnTo>
                    <a:pt x="582" y="21336"/>
                  </a:lnTo>
                  <a:lnTo>
                    <a:pt x="800" y="23735"/>
                  </a:lnTo>
                  <a:lnTo>
                    <a:pt x="1018" y="26642"/>
                  </a:lnTo>
                  <a:lnTo>
                    <a:pt x="1200" y="29913"/>
                  </a:lnTo>
                  <a:lnTo>
                    <a:pt x="1381" y="33330"/>
                  </a:lnTo>
                  <a:lnTo>
                    <a:pt x="1490" y="36819"/>
                  </a:lnTo>
                  <a:lnTo>
                    <a:pt x="1563" y="40199"/>
                  </a:lnTo>
                  <a:lnTo>
                    <a:pt x="1563" y="41798"/>
                  </a:lnTo>
                  <a:lnTo>
                    <a:pt x="1527" y="43325"/>
                  </a:lnTo>
                  <a:lnTo>
                    <a:pt x="1527" y="43325"/>
                  </a:lnTo>
                  <a:lnTo>
                    <a:pt x="1490" y="44888"/>
                  </a:lnTo>
                  <a:lnTo>
                    <a:pt x="1490" y="46669"/>
                  </a:lnTo>
                  <a:lnTo>
                    <a:pt x="1490" y="50703"/>
                  </a:lnTo>
                  <a:lnTo>
                    <a:pt x="1563" y="55065"/>
                  </a:lnTo>
                  <a:lnTo>
                    <a:pt x="1672" y="59535"/>
                  </a:lnTo>
                  <a:lnTo>
                    <a:pt x="1890" y="67458"/>
                  </a:lnTo>
                  <a:lnTo>
                    <a:pt x="1963" y="70330"/>
                  </a:lnTo>
                  <a:lnTo>
                    <a:pt x="1999" y="72038"/>
                  </a:lnTo>
                  <a:lnTo>
                    <a:pt x="1999" y="72038"/>
                  </a:lnTo>
                  <a:lnTo>
                    <a:pt x="2399" y="72220"/>
                  </a:lnTo>
                  <a:lnTo>
                    <a:pt x="2835" y="72365"/>
                  </a:lnTo>
                  <a:lnTo>
                    <a:pt x="3235" y="72474"/>
                  </a:lnTo>
                  <a:lnTo>
                    <a:pt x="3635" y="72547"/>
                  </a:lnTo>
                  <a:lnTo>
                    <a:pt x="4034" y="72619"/>
                  </a:lnTo>
                  <a:lnTo>
                    <a:pt x="4398" y="72656"/>
                  </a:lnTo>
                  <a:lnTo>
                    <a:pt x="4798" y="72692"/>
                  </a:lnTo>
                  <a:lnTo>
                    <a:pt x="5198" y="72692"/>
                  </a:lnTo>
                  <a:lnTo>
                    <a:pt x="6034" y="72619"/>
                  </a:lnTo>
                  <a:lnTo>
                    <a:pt x="6942" y="72474"/>
                  </a:lnTo>
                  <a:lnTo>
                    <a:pt x="7996" y="72292"/>
                  </a:lnTo>
                  <a:lnTo>
                    <a:pt x="9159" y="72038"/>
                  </a:lnTo>
                  <a:lnTo>
                    <a:pt x="9159" y="72038"/>
                  </a:lnTo>
                  <a:lnTo>
                    <a:pt x="9559" y="62879"/>
                  </a:lnTo>
                  <a:lnTo>
                    <a:pt x="9959" y="53865"/>
                  </a:lnTo>
                  <a:lnTo>
                    <a:pt x="10431" y="43906"/>
                  </a:lnTo>
                  <a:lnTo>
                    <a:pt x="10431" y="43906"/>
                  </a:lnTo>
                  <a:lnTo>
                    <a:pt x="10613" y="40417"/>
                  </a:lnTo>
                  <a:lnTo>
                    <a:pt x="10795" y="37728"/>
                  </a:lnTo>
                  <a:lnTo>
                    <a:pt x="10977" y="35511"/>
                  </a:lnTo>
                  <a:lnTo>
                    <a:pt x="11231" y="33439"/>
                  </a:lnTo>
                  <a:lnTo>
                    <a:pt x="11522" y="31258"/>
                  </a:lnTo>
                  <a:lnTo>
                    <a:pt x="11922" y="28605"/>
                  </a:lnTo>
                  <a:lnTo>
                    <a:pt x="13085" y="20791"/>
                  </a:lnTo>
                  <a:lnTo>
                    <a:pt x="13085" y="20791"/>
                  </a:lnTo>
                  <a:lnTo>
                    <a:pt x="13085" y="20791"/>
                  </a:lnTo>
                  <a:lnTo>
                    <a:pt x="13448" y="21735"/>
                  </a:lnTo>
                  <a:lnTo>
                    <a:pt x="14284" y="24207"/>
                  </a:lnTo>
                  <a:lnTo>
                    <a:pt x="14284" y="24207"/>
                  </a:lnTo>
                  <a:lnTo>
                    <a:pt x="15556" y="27987"/>
                  </a:lnTo>
                  <a:lnTo>
                    <a:pt x="16247" y="30168"/>
                  </a:lnTo>
                  <a:lnTo>
                    <a:pt x="16974" y="32457"/>
                  </a:lnTo>
                  <a:lnTo>
                    <a:pt x="17664" y="34820"/>
                  </a:lnTo>
                  <a:lnTo>
                    <a:pt x="18355" y="37182"/>
                  </a:lnTo>
                  <a:lnTo>
                    <a:pt x="18936" y="39472"/>
                  </a:lnTo>
                  <a:lnTo>
                    <a:pt x="19445" y="41617"/>
                  </a:lnTo>
                  <a:lnTo>
                    <a:pt x="19445" y="41617"/>
                  </a:lnTo>
                  <a:lnTo>
                    <a:pt x="19590" y="42453"/>
                  </a:lnTo>
                  <a:lnTo>
                    <a:pt x="19736" y="43361"/>
                  </a:lnTo>
                  <a:lnTo>
                    <a:pt x="19881" y="44343"/>
                  </a:lnTo>
                  <a:lnTo>
                    <a:pt x="20027" y="45397"/>
                  </a:lnTo>
                  <a:lnTo>
                    <a:pt x="20208" y="47650"/>
                  </a:lnTo>
                  <a:lnTo>
                    <a:pt x="20354" y="50049"/>
                  </a:lnTo>
                  <a:lnTo>
                    <a:pt x="20499" y="52593"/>
                  </a:lnTo>
                  <a:lnTo>
                    <a:pt x="20572" y="55174"/>
                  </a:lnTo>
                  <a:lnTo>
                    <a:pt x="20681" y="60371"/>
                  </a:lnTo>
                  <a:lnTo>
                    <a:pt x="20717" y="65169"/>
                  </a:lnTo>
                  <a:lnTo>
                    <a:pt x="20790" y="69203"/>
                  </a:lnTo>
                  <a:lnTo>
                    <a:pt x="20826" y="70802"/>
                  </a:lnTo>
                  <a:lnTo>
                    <a:pt x="20899" y="72038"/>
                  </a:lnTo>
                  <a:lnTo>
                    <a:pt x="20972" y="72874"/>
                  </a:lnTo>
                  <a:lnTo>
                    <a:pt x="21044" y="73128"/>
                  </a:lnTo>
                  <a:lnTo>
                    <a:pt x="21117" y="73274"/>
                  </a:lnTo>
                  <a:lnTo>
                    <a:pt x="21117" y="73274"/>
                  </a:lnTo>
                  <a:lnTo>
                    <a:pt x="21553" y="73492"/>
                  </a:lnTo>
                  <a:lnTo>
                    <a:pt x="22026" y="73710"/>
                  </a:lnTo>
                  <a:lnTo>
                    <a:pt x="22534" y="73892"/>
                  </a:lnTo>
                  <a:lnTo>
                    <a:pt x="23080" y="74037"/>
                  </a:lnTo>
                  <a:lnTo>
                    <a:pt x="23588" y="74146"/>
                  </a:lnTo>
                  <a:lnTo>
                    <a:pt x="24134" y="74255"/>
                  </a:lnTo>
                  <a:lnTo>
                    <a:pt x="24679" y="74291"/>
                  </a:lnTo>
                  <a:lnTo>
                    <a:pt x="25224" y="74291"/>
                  </a:lnTo>
                  <a:lnTo>
                    <a:pt x="25733" y="74255"/>
                  </a:lnTo>
                  <a:lnTo>
                    <a:pt x="26205" y="74182"/>
                  </a:lnTo>
                  <a:lnTo>
                    <a:pt x="26678" y="74073"/>
                  </a:lnTo>
                  <a:lnTo>
                    <a:pt x="27114" y="73928"/>
                  </a:lnTo>
                  <a:lnTo>
                    <a:pt x="27514" y="73710"/>
                  </a:lnTo>
                  <a:lnTo>
                    <a:pt x="27841" y="73492"/>
                  </a:lnTo>
                  <a:lnTo>
                    <a:pt x="28132" y="73201"/>
                  </a:lnTo>
                  <a:lnTo>
                    <a:pt x="28386" y="72874"/>
                  </a:lnTo>
                  <a:lnTo>
                    <a:pt x="28386" y="72874"/>
                  </a:lnTo>
                  <a:lnTo>
                    <a:pt x="28422" y="68476"/>
                  </a:lnTo>
                  <a:lnTo>
                    <a:pt x="28459" y="63897"/>
                  </a:lnTo>
                  <a:lnTo>
                    <a:pt x="28495" y="58517"/>
                  </a:lnTo>
                  <a:lnTo>
                    <a:pt x="28459" y="52956"/>
                  </a:lnTo>
                  <a:lnTo>
                    <a:pt x="28386" y="47759"/>
                  </a:lnTo>
                  <a:lnTo>
                    <a:pt x="28350" y="45506"/>
                  </a:lnTo>
                  <a:lnTo>
                    <a:pt x="28241" y="43543"/>
                  </a:lnTo>
                  <a:lnTo>
                    <a:pt x="28132" y="42016"/>
                  </a:lnTo>
                  <a:lnTo>
                    <a:pt x="28059" y="41399"/>
                  </a:lnTo>
                  <a:lnTo>
                    <a:pt x="27986" y="40926"/>
                  </a:lnTo>
                  <a:lnTo>
                    <a:pt x="27986" y="40926"/>
                  </a:lnTo>
                  <a:lnTo>
                    <a:pt x="26932" y="34602"/>
                  </a:lnTo>
                  <a:lnTo>
                    <a:pt x="25006" y="22971"/>
                  </a:lnTo>
                  <a:lnTo>
                    <a:pt x="23043" y="10468"/>
                  </a:lnTo>
                  <a:lnTo>
                    <a:pt x="22244" y="5235"/>
                  </a:lnTo>
                  <a:lnTo>
                    <a:pt x="21662" y="1455"/>
                  </a:lnTo>
                  <a:lnTo>
                    <a:pt x="21662" y="1455"/>
                  </a:lnTo>
                  <a:lnTo>
                    <a:pt x="20790" y="1273"/>
                  </a:lnTo>
                  <a:lnTo>
                    <a:pt x="19772" y="1055"/>
                  </a:lnTo>
                  <a:lnTo>
                    <a:pt x="18427" y="837"/>
                  </a:lnTo>
                  <a:lnTo>
                    <a:pt x="16865" y="619"/>
                  </a:lnTo>
                  <a:lnTo>
                    <a:pt x="15084" y="401"/>
                  </a:lnTo>
                  <a:lnTo>
                    <a:pt x="13194" y="182"/>
                  </a:lnTo>
                  <a:lnTo>
                    <a:pt x="11231" y="73"/>
                  </a:lnTo>
                  <a:lnTo>
                    <a:pt x="10250" y="37"/>
                  </a:lnTo>
                  <a:lnTo>
                    <a:pt x="9268" y="1"/>
                  </a:lnTo>
                  <a:lnTo>
                    <a:pt x="8287" y="37"/>
                  </a:lnTo>
                  <a:lnTo>
                    <a:pt x="7342" y="73"/>
                  </a:lnTo>
                  <a:lnTo>
                    <a:pt x="6433" y="146"/>
                  </a:lnTo>
                  <a:lnTo>
                    <a:pt x="5525" y="255"/>
                  </a:lnTo>
                  <a:lnTo>
                    <a:pt x="4689" y="437"/>
                  </a:lnTo>
                  <a:lnTo>
                    <a:pt x="3925" y="619"/>
                  </a:lnTo>
                  <a:lnTo>
                    <a:pt x="3162" y="837"/>
                  </a:lnTo>
                  <a:lnTo>
                    <a:pt x="2508" y="1127"/>
                  </a:lnTo>
                  <a:lnTo>
                    <a:pt x="1926" y="1455"/>
                  </a:lnTo>
                  <a:lnTo>
                    <a:pt x="1636" y="1673"/>
                  </a:lnTo>
                  <a:lnTo>
                    <a:pt x="1418" y="1854"/>
                  </a:lnTo>
                  <a:lnTo>
                    <a:pt x="1163" y="2072"/>
                  </a:lnTo>
                  <a:lnTo>
                    <a:pt x="981" y="2291"/>
                  </a:lnTo>
                  <a:lnTo>
                    <a:pt x="800" y="2545"/>
                  </a:lnTo>
                  <a:lnTo>
                    <a:pt x="654" y="2799"/>
                  </a:lnTo>
                  <a:lnTo>
                    <a:pt x="509" y="3090"/>
                  </a:lnTo>
                  <a:lnTo>
                    <a:pt x="400" y="3381"/>
                  </a:lnTo>
                  <a:lnTo>
                    <a:pt x="327" y="3672"/>
                  </a:lnTo>
                  <a:lnTo>
                    <a:pt x="291" y="3999"/>
                  </a:lnTo>
                  <a:lnTo>
                    <a:pt x="291" y="3999"/>
                  </a:lnTo>
                  <a:lnTo>
                    <a:pt x="218" y="5380"/>
                  </a:lnTo>
                  <a:lnTo>
                    <a:pt x="182" y="6652"/>
                  </a:lnTo>
                  <a:lnTo>
                    <a:pt x="182" y="6652"/>
                  </a:lnTo>
                  <a:lnTo>
                    <a:pt x="182" y="7452"/>
                  </a:lnTo>
                  <a:lnTo>
                    <a:pt x="182" y="8251"/>
                  </a:lnTo>
                  <a:lnTo>
                    <a:pt x="109" y="9887"/>
                  </a:lnTo>
                  <a:lnTo>
                    <a:pt x="109" y="9887"/>
                  </a:lnTo>
                  <a:lnTo>
                    <a:pt x="36" y="11304"/>
                  </a:lnTo>
                  <a:lnTo>
                    <a:pt x="0" y="12903"/>
                  </a:lnTo>
                  <a:lnTo>
                    <a:pt x="36" y="14757"/>
                  </a:lnTo>
                  <a:lnTo>
                    <a:pt x="73" y="15811"/>
                  </a:lnTo>
                  <a:lnTo>
                    <a:pt x="146" y="16902"/>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95" name="Google Shape;2624;p11">
              <a:extLst>
                <a:ext uri="{FF2B5EF4-FFF2-40B4-BE49-F238E27FC236}">
                  <a16:creationId xmlns:a16="http://schemas.microsoft.com/office/drawing/2014/main" id="{FA092011-278E-F86F-A222-F8E6F4489C2A}"/>
                </a:ext>
              </a:extLst>
            </p:cNvPr>
            <p:cNvSpPr/>
            <p:nvPr/>
          </p:nvSpPr>
          <p:spPr>
            <a:xfrm>
              <a:off x="2094475" y="3787025"/>
              <a:ext cx="925" cy="925"/>
            </a:xfrm>
            <a:custGeom>
              <a:avLst/>
              <a:gdLst/>
              <a:ahLst/>
              <a:cxnLst/>
              <a:rect l="l" t="t" r="r" b="b"/>
              <a:pathLst>
                <a:path w="37" h="37" extrusionOk="0">
                  <a:moveTo>
                    <a:pt x="0" y="0"/>
                  </a:moveTo>
                  <a:lnTo>
                    <a:pt x="0" y="37"/>
                  </a:lnTo>
                  <a:lnTo>
                    <a:pt x="37" y="0"/>
                  </a:lnTo>
                  <a:close/>
                </a:path>
              </a:pathLst>
            </a:custGeom>
            <a:solidFill>
              <a:srgbClr val="2F2F3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96" name="Google Shape;2625;p11">
              <a:extLst>
                <a:ext uri="{FF2B5EF4-FFF2-40B4-BE49-F238E27FC236}">
                  <a16:creationId xmlns:a16="http://schemas.microsoft.com/office/drawing/2014/main" id="{9C3DA252-6978-B9A2-2360-2A4ADA905212}"/>
                </a:ext>
              </a:extLst>
            </p:cNvPr>
            <p:cNvSpPr/>
            <p:nvPr/>
          </p:nvSpPr>
          <p:spPr>
            <a:xfrm>
              <a:off x="2094475" y="3787025"/>
              <a:ext cx="925" cy="925"/>
            </a:xfrm>
            <a:custGeom>
              <a:avLst/>
              <a:gdLst/>
              <a:ahLst/>
              <a:cxnLst/>
              <a:rect l="l" t="t" r="r" b="b"/>
              <a:pathLst>
                <a:path w="37" h="37" fill="none" extrusionOk="0">
                  <a:moveTo>
                    <a:pt x="37" y="0"/>
                  </a:moveTo>
                  <a:lnTo>
                    <a:pt x="0" y="0"/>
                  </a:lnTo>
                  <a:lnTo>
                    <a:pt x="0" y="37"/>
                  </a:lnTo>
                  <a:lnTo>
                    <a:pt x="0" y="37"/>
                  </a:lnTo>
                  <a:lnTo>
                    <a:pt x="37"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97" name="Google Shape;2626;p11">
              <a:extLst>
                <a:ext uri="{FF2B5EF4-FFF2-40B4-BE49-F238E27FC236}">
                  <a16:creationId xmlns:a16="http://schemas.microsoft.com/office/drawing/2014/main" id="{961A28BA-9FA5-BB00-BF3D-FA0CEF073065}"/>
                </a:ext>
              </a:extLst>
            </p:cNvPr>
            <p:cNvSpPr/>
            <p:nvPr/>
          </p:nvSpPr>
          <p:spPr>
            <a:xfrm>
              <a:off x="2139900" y="3885150"/>
              <a:ext cx="18200" cy="50000"/>
            </a:xfrm>
            <a:custGeom>
              <a:avLst/>
              <a:gdLst/>
              <a:ahLst/>
              <a:cxnLst/>
              <a:rect l="l" t="t" r="r" b="b"/>
              <a:pathLst>
                <a:path w="728" h="2000" extrusionOk="0">
                  <a:moveTo>
                    <a:pt x="1" y="1"/>
                  </a:moveTo>
                  <a:lnTo>
                    <a:pt x="1" y="1"/>
                  </a:lnTo>
                  <a:lnTo>
                    <a:pt x="727" y="2000"/>
                  </a:lnTo>
                  <a:lnTo>
                    <a:pt x="727" y="2000"/>
                  </a:lnTo>
                  <a:lnTo>
                    <a:pt x="1" y="1"/>
                  </a:lnTo>
                  <a:close/>
                </a:path>
              </a:pathLst>
            </a:custGeom>
            <a:solidFill>
              <a:srgbClr val="86869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98" name="Google Shape;2627;p11">
              <a:extLst>
                <a:ext uri="{FF2B5EF4-FFF2-40B4-BE49-F238E27FC236}">
                  <a16:creationId xmlns:a16="http://schemas.microsoft.com/office/drawing/2014/main" id="{99312E50-3DBD-E49A-ECD5-35B961D8BBD1}"/>
                </a:ext>
              </a:extLst>
            </p:cNvPr>
            <p:cNvSpPr/>
            <p:nvPr/>
          </p:nvSpPr>
          <p:spPr>
            <a:xfrm>
              <a:off x="2139900" y="3885150"/>
              <a:ext cx="18200" cy="50000"/>
            </a:xfrm>
            <a:custGeom>
              <a:avLst/>
              <a:gdLst/>
              <a:ahLst/>
              <a:cxnLst/>
              <a:rect l="l" t="t" r="r" b="b"/>
              <a:pathLst>
                <a:path w="728" h="2000" fill="none" extrusionOk="0">
                  <a:moveTo>
                    <a:pt x="1" y="1"/>
                  </a:moveTo>
                  <a:lnTo>
                    <a:pt x="1" y="1"/>
                  </a:lnTo>
                  <a:lnTo>
                    <a:pt x="727" y="2000"/>
                  </a:lnTo>
                  <a:lnTo>
                    <a:pt x="727" y="2000"/>
                  </a:lnTo>
                  <a:lnTo>
                    <a:pt x="1"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399" name="Google Shape;2628;p11">
              <a:extLst>
                <a:ext uri="{FF2B5EF4-FFF2-40B4-BE49-F238E27FC236}">
                  <a16:creationId xmlns:a16="http://schemas.microsoft.com/office/drawing/2014/main" id="{CD450AD1-E7D8-09AF-9982-DA02202B3D49}"/>
                </a:ext>
              </a:extLst>
            </p:cNvPr>
            <p:cNvSpPr/>
            <p:nvPr/>
          </p:nvSpPr>
          <p:spPr>
            <a:xfrm>
              <a:off x="2139900" y="3796100"/>
              <a:ext cx="40925" cy="205375"/>
            </a:xfrm>
            <a:custGeom>
              <a:avLst/>
              <a:gdLst/>
              <a:ahLst/>
              <a:cxnLst/>
              <a:rect l="l" t="t" r="r" b="b"/>
              <a:pathLst>
                <a:path w="1637" h="8215" extrusionOk="0">
                  <a:moveTo>
                    <a:pt x="800" y="1"/>
                  </a:moveTo>
                  <a:lnTo>
                    <a:pt x="800" y="146"/>
                  </a:lnTo>
                  <a:lnTo>
                    <a:pt x="727" y="619"/>
                  </a:lnTo>
                  <a:lnTo>
                    <a:pt x="473" y="1709"/>
                  </a:lnTo>
                  <a:lnTo>
                    <a:pt x="1" y="3563"/>
                  </a:lnTo>
                  <a:lnTo>
                    <a:pt x="727" y="5562"/>
                  </a:lnTo>
                  <a:lnTo>
                    <a:pt x="1636" y="8215"/>
                  </a:lnTo>
                  <a:lnTo>
                    <a:pt x="800" y="1"/>
                  </a:lnTo>
                  <a:close/>
                </a:path>
              </a:pathLst>
            </a:custGeom>
            <a:solidFill>
              <a:srgbClr val="2C2C3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00" name="Google Shape;2629;p11">
              <a:extLst>
                <a:ext uri="{FF2B5EF4-FFF2-40B4-BE49-F238E27FC236}">
                  <a16:creationId xmlns:a16="http://schemas.microsoft.com/office/drawing/2014/main" id="{20510463-1615-9792-49F8-0D84FEAC5D90}"/>
                </a:ext>
              </a:extLst>
            </p:cNvPr>
            <p:cNvSpPr/>
            <p:nvPr/>
          </p:nvSpPr>
          <p:spPr>
            <a:xfrm>
              <a:off x="2139900" y="3796100"/>
              <a:ext cx="40925" cy="205375"/>
            </a:xfrm>
            <a:custGeom>
              <a:avLst/>
              <a:gdLst/>
              <a:ahLst/>
              <a:cxnLst/>
              <a:rect l="l" t="t" r="r" b="b"/>
              <a:pathLst>
                <a:path w="1637" h="8215" fill="none" extrusionOk="0">
                  <a:moveTo>
                    <a:pt x="800" y="1"/>
                  </a:moveTo>
                  <a:lnTo>
                    <a:pt x="800" y="1"/>
                  </a:lnTo>
                  <a:lnTo>
                    <a:pt x="800" y="146"/>
                  </a:lnTo>
                  <a:lnTo>
                    <a:pt x="727" y="619"/>
                  </a:lnTo>
                  <a:lnTo>
                    <a:pt x="473" y="1709"/>
                  </a:lnTo>
                  <a:lnTo>
                    <a:pt x="1" y="3563"/>
                  </a:lnTo>
                  <a:lnTo>
                    <a:pt x="1" y="3563"/>
                  </a:lnTo>
                  <a:lnTo>
                    <a:pt x="1" y="3563"/>
                  </a:lnTo>
                  <a:lnTo>
                    <a:pt x="1" y="3563"/>
                  </a:lnTo>
                  <a:lnTo>
                    <a:pt x="727" y="5562"/>
                  </a:lnTo>
                  <a:lnTo>
                    <a:pt x="727" y="5562"/>
                  </a:lnTo>
                  <a:lnTo>
                    <a:pt x="1636" y="8215"/>
                  </a:lnTo>
                  <a:lnTo>
                    <a:pt x="800"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01" name="Google Shape;2630;p11">
              <a:extLst>
                <a:ext uri="{FF2B5EF4-FFF2-40B4-BE49-F238E27FC236}">
                  <a16:creationId xmlns:a16="http://schemas.microsoft.com/office/drawing/2014/main" id="{61A836B5-9CF9-CE46-9BDD-61FDE56ED47B}"/>
                </a:ext>
              </a:extLst>
            </p:cNvPr>
            <p:cNvSpPr/>
            <p:nvPr/>
          </p:nvSpPr>
          <p:spPr>
            <a:xfrm>
              <a:off x="1812800" y="3690700"/>
              <a:ext cx="925" cy="44550"/>
            </a:xfrm>
            <a:custGeom>
              <a:avLst/>
              <a:gdLst/>
              <a:ahLst/>
              <a:cxnLst/>
              <a:rect l="l" t="t" r="r" b="b"/>
              <a:pathLst>
                <a:path w="37" h="1782" extrusionOk="0">
                  <a:moveTo>
                    <a:pt x="0" y="1"/>
                  </a:moveTo>
                  <a:lnTo>
                    <a:pt x="0" y="982"/>
                  </a:lnTo>
                  <a:lnTo>
                    <a:pt x="36" y="1781"/>
                  </a:lnTo>
                  <a:lnTo>
                    <a:pt x="0" y="1"/>
                  </a:lnTo>
                  <a:close/>
                </a:path>
              </a:pathLst>
            </a:custGeom>
            <a:solidFill>
              <a:srgbClr val="B1B1B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02" name="Google Shape;2631;p11">
              <a:extLst>
                <a:ext uri="{FF2B5EF4-FFF2-40B4-BE49-F238E27FC236}">
                  <a16:creationId xmlns:a16="http://schemas.microsoft.com/office/drawing/2014/main" id="{913AC8F4-ED49-9EED-7C3D-EBBABCE09A72}"/>
                </a:ext>
              </a:extLst>
            </p:cNvPr>
            <p:cNvSpPr/>
            <p:nvPr/>
          </p:nvSpPr>
          <p:spPr>
            <a:xfrm>
              <a:off x="1812800" y="3690700"/>
              <a:ext cx="925" cy="44550"/>
            </a:xfrm>
            <a:custGeom>
              <a:avLst/>
              <a:gdLst/>
              <a:ahLst/>
              <a:cxnLst/>
              <a:rect l="l" t="t" r="r" b="b"/>
              <a:pathLst>
                <a:path w="37" h="1782" fill="none" extrusionOk="0">
                  <a:moveTo>
                    <a:pt x="0" y="1"/>
                  </a:moveTo>
                  <a:lnTo>
                    <a:pt x="0" y="1"/>
                  </a:lnTo>
                  <a:lnTo>
                    <a:pt x="0" y="982"/>
                  </a:lnTo>
                  <a:lnTo>
                    <a:pt x="36" y="1781"/>
                  </a:lnTo>
                  <a:lnTo>
                    <a:pt x="36" y="1781"/>
                  </a:lnTo>
                  <a:lnTo>
                    <a:pt x="0" y="1"/>
                  </a:lnTo>
                  <a:lnTo>
                    <a:pt x="0" y="1"/>
                  </a:lnTo>
                  <a:lnTo>
                    <a:pt x="0"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03" name="Google Shape;2632;p11">
              <a:extLst>
                <a:ext uri="{FF2B5EF4-FFF2-40B4-BE49-F238E27FC236}">
                  <a16:creationId xmlns:a16="http://schemas.microsoft.com/office/drawing/2014/main" id="{A0310066-6459-86A8-52BE-844033813714}"/>
                </a:ext>
              </a:extLst>
            </p:cNvPr>
            <p:cNvSpPr/>
            <p:nvPr/>
          </p:nvSpPr>
          <p:spPr>
            <a:xfrm>
              <a:off x="1812800" y="3591650"/>
              <a:ext cx="231725" cy="143600"/>
            </a:xfrm>
            <a:custGeom>
              <a:avLst/>
              <a:gdLst/>
              <a:ahLst/>
              <a:cxnLst/>
              <a:rect l="l" t="t" r="r" b="b"/>
              <a:pathLst>
                <a:path w="9269" h="5744" extrusionOk="0">
                  <a:moveTo>
                    <a:pt x="9268" y="1"/>
                  </a:moveTo>
                  <a:lnTo>
                    <a:pt x="9123" y="292"/>
                  </a:lnTo>
                  <a:lnTo>
                    <a:pt x="8978" y="619"/>
                  </a:lnTo>
                  <a:lnTo>
                    <a:pt x="8759" y="909"/>
                  </a:lnTo>
                  <a:lnTo>
                    <a:pt x="8541" y="1200"/>
                  </a:lnTo>
                  <a:lnTo>
                    <a:pt x="8142" y="1564"/>
                  </a:lnTo>
                  <a:lnTo>
                    <a:pt x="7742" y="1891"/>
                  </a:lnTo>
                  <a:lnTo>
                    <a:pt x="7306" y="2218"/>
                  </a:lnTo>
                  <a:lnTo>
                    <a:pt x="6869" y="2472"/>
                  </a:lnTo>
                  <a:lnTo>
                    <a:pt x="6433" y="2690"/>
                  </a:lnTo>
                  <a:lnTo>
                    <a:pt x="5997" y="2872"/>
                  </a:lnTo>
                  <a:lnTo>
                    <a:pt x="5525" y="3018"/>
                  </a:lnTo>
                  <a:lnTo>
                    <a:pt x="5052" y="3127"/>
                  </a:lnTo>
                  <a:lnTo>
                    <a:pt x="5379" y="3817"/>
                  </a:lnTo>
                  <a:lnTo>
                    <a:pt x="4798" y="4144"/>
                  </a:lnTo>
                  <a:lnTo>
                    <a:pt x="4798" y="4144"/>
                  </a:lnTo>
                  <a:lnTo>
                    <a:pt x="5561" y="3744"/>
                  </a:lnTo>
                  <a:lnTo>
                    <a:pt x="6288" y="3345"/>
                  </a:lnTo>
                  <a:lnTo>
                    <a:pt x="6979" y="2908"/>
                  </a:lnTo>
                  <a:lnTo>
                    <a:pt x="7596" y="2400"/>
                  </a:lnTo>
                  <a:lnTo>
                    <a:pt x="7887" y="2145"/>
                  </a:lnTo>
                  <a:lnTo>
                    <a:pt x="8178" y="1854"/>
                  </a:lnTo>
                  <a:lnTo>
                    <a:pt x="8432" y="1600"/>
                  </a:lnTo>
                  <a:lnTo>
                    <a:pt x="8650" y="1273"/>
                  </a:lnTo>
                  <a:lnTo>
                    <a:pt x="8832" y="982"/>
                  </a:lnTo>
                  <a:lnTo>
                    <a:pt x="9014" y="655"/>
                  </a:lnTo>
                  <a:lnTo>
                    <a:pt x="9159" y="328"/>
                  </a:lnTo>
                  <a:lnTo>
                    <a:pt x="9268" y="1"/>
                  </a:lnTo>
                  <a:close/>
                  <a:moveTo>
                    <a:pt x="0" y="3963"/>
                  </a:moveTo>
                  <a:lnTo>
                    <a:pt x="36" y="5743"/>
                  </a:lnTo>
                  <a:lnTo>
                    <a:pt x="945" y="5525"/>
                  </a:lnTo>
                  <a:lnTo>
                    <a:pt x="836" y="5489"/>
                  </a:lnTo>
                  <a:lnTo>
                    <a:pt x="800" y="5416"/>
                  </a:lnTo>
                  <a:lnTo>
                    <a:pt x="0" y="3963"/>
                  </a:lnTo>
                  <a:close/>
                </a:path>
              </a:pathLst>
            </a:custGeom>
            <a:solidFill>
              <a:srgbClr val="32323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04" name="Google Shape;2633;p11">
              <a:extLst>
                <a:ext uri="{FF2B5EF4-FFF2-40B4-BE49-F238E27FC236}">
                  <a16:creationId xmlns:a16="http://schemas.microsoft.com/office/drawing/2014/main" id="{915747C2-6DC5-B232-1EDC-242CE166E784}"/>
                </a:ext>
              </a:extLst>
            </p:cNvPr>
            <p:cNvSpPr/>
            <p:nvPr/>
          </p:nvSpPr>
          <p:spPr>
            <a:xfrm>
              <a:off x="1812800" y="3690700"/>
              <a:ext cx="23650" cy="44550"/>
            </a:xfrm>
            <a:custGeom>
              <a:avLst/>
              <a:gdLst/>
              <a:ahLst/>
              <a:cxnLst/>
              <a:rect l="l" t="t" r="r" b="b"/>
              <a:pathLst>
                <a:path w="946" h="1782" fill="none" extrusionOk="0">
                  <a:moveTo>
                    <a:pt x="0" y="1"/>
                  </a:moveTo>
                  <a:lnTo>
                    <a:pt x="0" y="1"/>
                  </a:lnTo>
                  <a:lnTo>
                    <a:pt x="36" y="1781"/>
                  </a:lnTo>
                  <a:lnTo>
                    <a:pt x="36" y="1781"/>
                  </a:lnTo>
                  <a:lnTo>
                    <a:pt x="36" y="1781"/>
                  </a:lnTo>
                  <a:lnTo>
                    <a:pt x="36" y="1781"/>
                  </a:lnTo>
                  <a:lnTo>
                    <a:pt x="945" y="1563"/>
                  </a:lnTo>
                  <a:lnTo>
                    <a:pt x="945" y="1563"/>
                  </a:lnTo>
                  <a:lnTo>
                    <a:pt x="836" y="1527"/>
                  </a:lnTo>
                  <a:lnTo>
                    <a:pt x="800" y="1454"/>
                  </a:lnTo>
                  <a:lnTo>
                    <a:pt x="800" y="1454"/>
                  </a:lnTo>
                  <a:lnTo>
                    <a:pt x="0"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05" name="Google Shape;2634;p11">
              <a:extLst>
                <a:ext uri="{FF2B5EF4-FFF2-40B4-BE49-F238E27FC236}">
                  <a16:creationId xmlns:a16="http://schemas.microsoft.com/office/drawing/2014/main" id="{0B3A34B8-813C-9A55-AC25-6604DDABD6FF}"/>
                </a:ext>
              </a:extLst>
            </p:cNvPr>
            <p:cNvSpPr/>
            <p:nvPr/>
          </p:nvSpPr>
          <p:spPr>
            <a:xfrm>
              <a:off x="1932725" y="3591650"/>
              <a:ext cx="111800" cy="103625"/>
            </a:xfrm>
            <a:custGeom>
              <a:avLst/>
              <a:gdLst/>
              <a:ahLst/>
              <a:cxnLst/>
              <a:rect l="l" t="t" r="r" b="b"/>
              <a:pathLst>
                <a:path w="4472" h="4145" fill="none" extrusionOk="0">
                  <a:moveTo>
                    <a:pt x="4471" y="1"/>
                  </a:moveTo>
                  <a:lnTo>
                    <a:pt x="4471" y="1"/>
                  </a:lnTo>
                  <a:lnTo>
                    <a:pt x="4326" y="292"/>
                  </a:lnTo>
                  <a:lnTo>
                    <a:pt x="4181" y="619"/>
                  </a:lnTo>
                  <a:lnTo>
                    <a:pt x="3962" y="909"/>
                  </a:lnTo>
                  <a:lnTo>
                    <a:pt x="3744" y="1200"/>
                  </a:lnTo>
                  <a:lnTo>
                    <a:pt x="3744" y="1200"/>
                  </a:lnTo>
                  <a:lnTo>
                    <a:pt x="3345" y="1564"/>
                  </a:lnTo>
                  <a:lnTo>
                    <a:pt x="2945" y="1891"/>
                  </a:lnTo>
                  <a:lnTo>
                    <a:pt x="2509" y="2218"/>
                  </a:lnTo>
                  <a:lnTo>
                    <a:pt x="2072" y="2472"/>
                  </a:lnTo>
                  <a:lnTo>
                    <a:pt x="1636" y="2690"/>
                  </a:lnTo>
                  <a:lnTo>
                    <a:pt x="1200" y="2872"/>
                  </a:lnTo>
                  <a:lnTo>
                    <a:pt x="728" y="3018"/>
                  </a:lnTo>
                  <a:lnTo>
                    <a:pt x="255" y="3127"/>
                  </a:lnTo>
                  <a:lnTo>
                    <a:pt x="255" y="3127"/>
                  </a:lnTo>
                  <a:lnTo>
                    <a:pt x="582" y="3817"/>
                  </a:lnTo>
                  <a:lnTo>
                    <a:pt x="582" y="3817"/>
                  </a:lnTo>
                  <a:lnTo>
                    <a:pt x="1" y="4144"/>
                  </a:lnTo>
                  <a:lnTo>
                    <a:pt x="1" y="4144"/>
                  </a:lnTo>
                  <a:lnTo>
                    <a:pt x="764" y="3744"/>
                  </a:lnTo>
                  <a:lnTo>
                    <a:pt x="1491" y="3345"/>
                  </a:lnTo>
                  <a:lnTo>
                    <a:pt x="2182" y="2908"/>
                  </a:lnTo>
                  <a:lnTo>
                    <a:pt x="2799" y="2400"/>
                  </a:lnTo>
                  <a:lnTo>
                    <a:pt x="3090" y="2145"/>
                  </a:lnTo>
                  <a:lnTo>
                    <a:pt x="3381" y="1854"/>
                  </a:lnTo>
                  <a:lnTo>
                    <a:pt x="3635" y="1600"/>
                  </a:lnTo>
                  <a:lnTo>
                    <a:pt x="3853" y="1273"/>
                  </a:lnTo>
                  <a:lnTo>
                    <a:pt x="4035" y="982"/>
                  </a:lnTo>
                  <a:lnTo>
                    <a:pt x="4217" y="655"/>
                  </a:lnTo>
                  <a:lnTo>
                    <a:pt x="4362" y="328"/>
                  </a:lnTo>
                  <a:lnTo>
                    <a:pt x="4471"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06" name="Google Shape;2635;p11">
              <a:extLst>
                <a:ext uri="{FF2B5EF4-FFF2-40B4-BE49-F238E27FC236}">
                  <a16:creationId xmlns:a16="http://schemas.microsoft.com/office/drawing/2014/main" id="{DEB71BE5-2149-B23F-A4E3-B22A53E51B4F}"/>
                </a:ext>
              </a:extLst>
            </p:cNvPr>
            <p:cNvSpPr/>
            <p:nvPr/>
          </p:nvSpPr>
          <p:spPr>
            <a:xfrm>
              <a:off x="1858225" y="2610325"/>
              <a:ext cx="513400" cy="975000"/>
            </a:xfrm>
            <a:custGeom>
              <a:avLst/>
              <a:gdLst/>
              <a:ahLst/>
              <a:cxnLst/>
              <a:rect l="l" t="t" r="r" b="b"/>
              <a:pathLst>
                <a:path w="20536" h="39000" extrusionOk="0">
                  <a:moveTo>
                    <a:pt x="10977" y="0"/>
                  </a:moveTo>
                  <a:lnTo>
                    <a:pt x="10650" y="37"/>
                  </a:lnTo>
                  <a:lnTo>
                    <a:pt x="9559" y="982"/>
                  </a:lnTo>
                  <a:lnTo>
                    <a:pt x="8469" y="1818"/>
                  </a:lnTo>
                  <a:lnTo>
                    <a:pt x="7415" y="2545"/>
                  </a:lnTo>
                  <a:lnTo>
                    <a:pt x="6470" y="3199"/>
                  </a:lnTo>
                  <a:lnTo>
                    <a:pt x="5670" y="3671"/>
                  </a:lnTo>
                  <a:lnTo>
                    <a:pt x="5016" y="4071"/>
                  </a:lnTo>
                  <a:lnTo>
                    <a:pt x="4471" y="4362"/>
                  </a:lnTo>
                  <a:lnTo>
                    <a:pt x="2327" y="16029"/>
                  </a:lnTo>
                  <a:lnTo>
                    <a:pt x="836" y="24316"/>
                  </a:lnTo>
                  <a:lnTo>
                    <a:pt x="73" y="28714"/>
                  </a:lnTo>
                  <a:lnTo>
                    <a:pt x="0" y="29440"/>
                  </a:lnTo>
                  <a:lnTo>
                    <a:pt x="0" y="29986"/>
                  </a:lnTo>
                  <a:lnTo>
                    <a:pt x="0" y="30604"/>
                  </a:lnTo>
                  <a:lnTo>
                    <a:pt x="37" y="31294"/>
                  </a:lnTo>
                  <a:lnTo>
                    <a:pt x="146" y="32057"/>
                  </a:lnTo>
                  <a:lnTo>
                    <a:pt x="291" y="32821"/>
                  </a:lnTo>
                  <a:lnTo>
                    <a:pt x="509" y="33620"/>
                  </a:lnTo>
                  <a:lnTo>
                    <a:pt x="836" y="34420"/>
                  </a:lnTo>
                  <a:lnTo>
                    <a:pt x="1018" y="34820"/>
                  </a:lnTo>
                  <a:lnTo>
                    <a:pt x="1200" y="35219"/>
                  </a:lnTo>
                  <a:lnTo>
                    <a:pt x="1454" y="35583"/>
                  </a:lnTo>
                  <a:lnTo>
                    <a:pt x="1709" y="35983"/>
                  </a:lnTo>
                  <a:lnTo>
                    <a:pt x="1999" y="36310"/>
                  </a:lnTo>
                  <a:lnTo>
                    <a:pt x="2290" y="36673"/>
                  </a:lnTo>
                  <a:lnTo>
                    <a:pt x="2654" y="37000"/>
                  </a:lnTo>
                  <a:lnTo>
                    <a:pt x="3017" y="37328"/>
                  </a:lnTo>
                  <a:lnTo>
                    <a:pt x="3417" y="37618"/>
                  </a:lnTo>
                  <a:lnTo>
                    <a:pt x="3853" y="37873"/>
                  </a:lnTo>
                  <a:lnTo>
                    <a:pt x="4362" y="38127"/>
                  </a:lnTo>
                  <a:lnTo>
                    <a:pt x="4871" y="38345"/>
                  </a:lnTo>
                  <a:lnTo>
                    <a:pt x="5416" y="38563"/>
                  </a:lnTo>
                  <a:lnTo>
                    <a:pt x="5997" y="38709"/>
                  </a:lnTo>
                  <a:lnTo>
                    <a:pt x="6470" y="38818"/>
                  </a:lnTo>
                  <a:lnTo>
                    <a:pt x="6906" y="38890"/>
                  </a:lnTo>
                  <a:lnTo>
                    <a:pt x="7415" y="38927"/>
                  </a:lnTo>
                  <a:lnTo>
                    <a:pt x="7887" y="38963"/>
                  </a:lnTo>
                  <a:lnTo>
                    <a:pt x="8905" y="38999"/>
                  </a:lnTo>
                  <a:lnTo>
                    <a:pt x="9923" y="38927"/>
                  </a:lnTo>
                  <a:lnTo>
                    <a:pt x="10940" y="38781"/>
                  </a:lnTo>
                  <a:lnTo>
                    <a:pt x="11922" y="38600"/>
                  </a:lnTo>
                  <a:lnTo>
                    <a:pt x="12903" y="38382"/>
                  </a:lnTo>
                  <a:lnTo>
                    <a:pt x="13812" y="38127"/>
                  </a:lnTo>
                  <a:lnTo>
                    <a:pt x="14684" y="37836"/>
                  </a:lnTo>
                  <a:lnTo>
                    <a:pt x="15447" y="37509"/>
                  </a:lnTo>
                  <a:lnTo>
                    <a:pt x="16102" y="37218"/>
                  </a:lnTo>
                  <a:lnTo>
                    <a:pt x="16683" y="36891"/>
                  </a:lnTo>
                  <a:lnTo>
                    <a:pt x="17083" y="36564"/>
                  </a:lnTo>
                  <a:lnTo>
                    <a:pt x="17228" y="36383"/>
                  </a:lnTo>
                  <a:lnTo>
                    <a:pt x="17374" y="36237"/>
                  </a:lnTo>
                  <a:lnTo>
                    <a:pt x="17446" y="36092"/>
                  </a:lnTo>
                  <a:lnTo>
                    <a:pt x="17446" y="35946"/>
                  </a:lnTo>
                  <a:lnTo>
                    <a:pt x="17446" y="35801"/>
                  </a:lnTo>
                  <a:lnTo>
                    <a:pt x="17374" y="35692"/>
                  </a:lnTo>
                  <a:lnTo>
                    <a:pt x="17337" y="35583"/>
                  </a:lnTo>
                  <a:lnTo>
                    <a:pt x="17301" y="35474"/>
                  </a:lnTo>
                  <a:lnTo>
                    <a:pt x="17301" y="35147"/>
                  </a:lnTo>
                  <a:lnTo>
                    <a:pt x="17301" y="34674"/>
                  </a:lnTo>
                  <a:lnTo>
                    <a:pt x="17410" y="34129"/>
                  </a:lnTo>
                  <a:lnTo>
                    <a:pt x="17664" y="32748"/>
                  </a:lnTo>
                  <a:lnTo>
                    <a:pt x="18028" y="31003"/>
                  </a:lnTo>
                  <a:lnTo>
                    <a:pt x="18500" y="28932"/>
                  </a:lnTo>
                  <a:lnTo>
                    <a:pt x="19009" y="26642"/>
                  </a:lnTo>
                  <a:lnTo>
                    <a:pt x="19482" y="24170"/>
                  </a:lnTo>
                  <a:lnTo>
                    <a:pt x="19700" y="22862"/>
                  </a:lnTo>
                  <a:lnTo>
                    <a:pt x="19918" y="21553"/>
                  </a:lnTo>
                  <a:lnTo>
                    <a:pt x="20100" y="20209"/>
                  </a:lnTo>
                  <a:lnTo>
                    <a:pt x="20281" y="18828"/>
                  </a:lnTo>
                  <a:lnTo>
                    <a:pt x="20390" y="17483"/>
                  </a:lnTo>
                  <a:lnTo>
                    <a:pt x="20499" y="16102"/>
                  </a:lnTo>
                  <a:lnTo>
                    <a:pt x="20536" y="14720"/>
                  </a:lnTo>
                  <a:lnTo>
                    <a:pt x="20536" y="13376"/>
                  </a:lnTo>
                  <a:lnTo>
                    <a:pt x="20463" y="12031"/>
                  </a:lnTo>
                  <a:lnTo>
                    <a:pt x="20354" y="10722"/>
                  </a:lnTo>
                  <a:lnTo>
                    <a:pt x="20172" y="9414"/>
                  </a:lnTo>
                  <a:lnTo>
                    <a:pt x="19918" y="8178"/>
                  </a:lnTo>
                  <a:lnTo>
                    <a:pt x="19772" y="7560"/>
                  </a:lnTo>
                  <a:lnTo>
                    <a:pt x="19591" y="6943"/>
                  </a:lnTo>
                  <a:lnTo>
                    <a:pt x="19373" y="6361"/>
                  </a:lnTo>
                  <a:lnTo>
                    <a:pt x="19155" y="5779"/>
                  </a:lnTo>
                  <a:lnTo>
                    <a:pt x="18937" y="5234"/>
                  </a:lnTo>
                  <a:lnTo>
                    <a:pt x="18682" y="4689"/>
                  </a:lnTo>
                  <a:lnTo>
                    <a:pt x="18391" y="4144"/>
                  </a:lnTo>
                  <a:lnTo>
                    <a:pt x="18101" y="3635"/>
                  </a:lnTo>
                  <a:lnTo>
                    <a:pt x="17773" y="3126"/>
                  </a:lnTo>
                  <a:lnTo>
                    <a:pt x="17410" y="2654"/>
                  </a:lnTo>
                  <a:lnTo>
                    <a:pt x="17010" y="2218"/>
                  </a:lnTo>
                  <a:lnTo>
                    <a:pt x="16610" y="1745"/>
                  </a:lnTo>
                  <a:lnTo>
                    <a:pt x="16465" y="1636"/>
                  </a:lnTo>
                  <a:lnTo>
                    <a:pt x="16320" y="1563"/>
                  </a:lnTo>
                  <a:lnTo>
                    <a:pt x="16174" y="1527"/>
                  </a:lnTo>
                  <a:lnTo>
                    <a:pt x="16065" y="1563"/>
                  </a:lnTo>
                  <a:lnTo>
                    <a:pt x="15956" y="1600"/>
                  </a:lnTo>
                  <a:lnTo>
                    <a:pt x="15847" y="1672"/>
                  </a:lnTo>
                  <a:lnTo>
                    <a:pt x="15629" y="1890"/>
                  </a:lnTo>
                  <a:lnTo>
                    <a:pt x="15484" y="2036"/>
                  </a:lnTo>
                  <a:lnTo>
                    <a:pt x="15411" y="2218"/>
                  </a:lnTo>
                  <a:lnTo>
                    <a:pt x="15229" y="2472"/>
                  </a:lnTo>
                  <a:lnTo>
                    <a:pt x="15120" y="2581"/>
                  </a:lnTo>
                  <a:lnTo>
                    <a:pt x="14975" y="2654"/>
                  </a:lnTo>
                  <a:lnTo>
                    <a:pt x="14757" y="2690"/>
                  </a:lnTo>
                  <a:lnTo>
                    <a:pt x="14430" y="2654"/>
                  </a:lnTo>
                  <a:lnTo>
                    <a:pt x="14139" y="2617"/>
                  </a:lnTo>
                  <a:lnTo>
                    <a:pt x="13848" y="2508"/>
                  </a:lnTo>
                  <a:lnTo>
                    <a:pt x="13557" y="2327"/>
                  </a:lnTo>
                  <a:lnTo>
                    <a:pt x="13339" y="2145"/>
                  </a:lnTo>
                  <a:lnTo>
                    <a:pt x="13121" y="1890"/>
                  </a:lnTo>
                  <a:lnTo>
                    <a:pt x="12939" y="1636"/>
                  </a:lnTo>
                  <a:lnTo>
                    <a:pt x="12540" y="1127"/>
                  </a:lnTo>
                  <a:lnTo>
                    <a:pt x="12176" y="618"/>
                  </a:lnTo>
                  <a:lnTo>
                    <a:pt x="11958" y="400"/>
                  </a:lnTo>
                  <a:lnTo>
                    <a:pt x="11740" y="219"/>
                  </a:lnTo>
                  <a:lnTo>
                    <a:pt x="11522" y="110"/>
                  </a:lnTo>
                  <a:lnTo>
                    <a:pt x="11268" y="0"/>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07" name="Google Shape;2636;p11">
              <a:extLst>
                <a:ext uri="{FF2B5EF4-FFF2-40B4-BE49-F238E27FC236}">
                  <a16:creationId xmlns:a16="http://schemas.microsoft.com/office/drawing/2014/main" id="{10BDF48E-5F34-84A0-9277-25E39253FE3C}"/>
                </a:ext>
              </a:extLst>
            </p:cNvPr>
            <p:cNvSpPr/>
            <p:nvPr/>
          </p:nvSpPr>
          <p:spPr>
            <a:xfrm>
              <a:off x="1858225" y="2610325"/>
              <a:ext cx="513400" cy="975000"/>
            </a:xfrm>
            <a:custGeom>
              <a:avLst/>
              <a:gdLst/>
              <a:ahLst/>
              <a:cxnLst/>
              <a:rect l="l" t="t" r="r" b="b"/>
              <a:pathLst>
                <a:path w="20536" h="39000" fill="none" extrusionOk="0">
                  <a:moveTo>
                    <a:pt x="10650" y="37"/>
                  </a:moveTo>
                  <a:lnTo>
                    <a:pt x="10650" y="37"/>
                  </a:lnTo>
                  <a:lnTo>
                    <a:pt x="10977" y="0"/>
                  </a:lnTo>
                  <a:lnTo>
                    <a:pt x="11268" y="0"/>
                  </a:lnTo>
                  <a:lnTo>
                    <a:pt x="11522" y="110"/>
                  </a:lnTo>
                  <a:lnTo>
                    <a:pt x="11740" y="219"/>
                  </a:lnTo>
                  <a:lnTo>
                    <a:pt x="11958" y="400"/>
                  </a:lnTo>
                  <a:lnTo>
                    <a:pt x="12176" y="618"/>
                  </a:lnTo>
                  <a:lnTo>
                    <a:pt x="12540" y="1127"/>
                  </a:lnTo>
                  <a:lnTo>
                    <a:pt x="12939" y="1636"/>
                  </a:lnTo>
                  <a:lnTo>
                    <a:pt x="13121" y="1890"/>
                  </a:lnTo>
                  <a:lnTo>
                    <a:pt x="13339" y="2145"/>
                  </a:lnTo>
                  <a:lnTo>
                    <a:pt x="13557" y="2327"/>
                  </a:lnTo>
                  <a:lnTo>
                    <a:pt x="13848" y="2508"/>
                  </a:lnTo>
                  <a:lnTo>
                    <a:pt x="14139" y="2617"/>
                  </a:lnTo>
                  <a:lnTo>
                    <a:pt x="14430" y="2654"/>
                  </a:lnTo>
                  <a:lnTo>
                    <a:pt x="14430" y="2654"/>
                  </a:lnTo>
                  <a:lnTo>
                    <a:pt x="14757" y="2690"/>
                  </a:lnTo>
                  <a:lnTo>
                    <a:pt x="14975" y="2654"/>
                  </a:lnTo>
                  <a:lnTo>
                    <a:pt x="15120" y="2581"/>
                  </a:lnTo>
                  <a:lnTo>
                    <a:pt x="15229" y="2472"/>
                  </a:lnTo>
                  <a:lnTo>
                    <a:pt x="15411" y="2218"/>
                  </a:lnTo>
                  <a:lnTo>
                    <a:pt x="15484" y="2036"/>
                  </a:lnTo>
                  <a:lnTo>
                    <a:pt x="15629" y="1890"/>
                  </a:lnTo>
                  <a:lnTo>
                    <a:pt x="15629" y="1890"/>
                  </a:lnTo>
                  <a:lnTo>
                    <a:pt x="15847" y="1672"/>
                  </a:lnTo>
                  <a:lnTo>
                    <a:pt x="15956" y="1600"/>
                  </a:lnTo>
                  <a:lnTo>
                    <a:pt x="16065" y="1563"/>
                  </a:lnTo>
                  <a:lnTo>
                    <a:pt x="16174" y="1527"/>
                  </a:lnTo>
                  <a:lnTo>
                    <a:pt x="16320" y="1563"/>
                  </a:lnTo>
                  <a:lnTo>
                    <a:pt x="16465" y="1636"/>
                  </a:lnTo>
                  <a:lnTo>
                    <a:pt x="16610" y="1745"/>
                  </a:lnTo>
                  <a:lnTo>
                    <a:pt x="16610" y="1745"/>
                  </a:lnTo>
                  <a:lnTo>
                    <a:pt x="17010" y="2218"/>
                  </a:lnTo>
                  <a:lnTo>
                    <a:pt x="17410" y="2654"/>
                  </a:lnTo>
                  <a:lnTo>
                    <a:pt x="17773" y="3126"/>
                  </a:lnTo>
                  <a:lnTo>
                    <a:pt x="18101" y="3635"/>
                  </a:lnTo>
                  <a:lnTo>
                    <a:pt x="18391" y="4144"/>
                  </a:lnTo>
                  <a:lnTo>
                    <a:pt x="18682" y="4689"/>
                  </a:lnTo>
                  <a:lnTo>
                    <a:pt x="18937" y="5234"/>
                  </a:lnTo>
                  <a:lnTo>
                    <a:pt x="19155" y="5779"/>
                  </a:lnTo>
                  <a:lnTo>
                    <a:pt x="19373" y="6361"/>
                  </a:lnTo>
                  <a:lnTo>
                    <a:pt x="19591" y="6943"/>
                  </a:lnTo>
                  <a:lnTo>
                    <a:pt x="19772" y="7560"/>
                  </a:lnTo>
                  <a:lnTo>
                    <a:pt x="19918" y="8178"/>
                  </a:lnTo>
                  <a:lnTo>
                    <a:pt x="20172" y="9414"/>
                  </a:lnTo>
                  <a:lnTo>
                    <a:pt x="20354" y="10722"/>
                  </a:lnTo>
                  <a:lnTo>
                    <a:pt x="20463" y="12031"/>
                  </a:lnTo>
                  <a:lnTo>
                    <a:pt x="20536" y="13376"/>
                  </a:lnTo>
                  <a:lnTo>
                    <a:pt x="20536" y="14720"/>
                  </a:lnTo>
                  <a:lnTo>
                    <a:pt x="20499" y="16102"/>
                  </a:lnTo>
                  <a:lnTo>
                    <a:pt x="20390" y="17483"/>
                  </a:lnTo>
                  <a:lnTo>
                    <a:pt x="20281" y="18828"/>
                  </a:lnTo>
                  <a:lnTo>
                    <a:pt x="20100" y="20209"/>
                  </a:lnTo>
                  <a:lnTo>
                    <a:pt x="19918" y="21553"/>
                  </a:lnTo>
                  <a:lnTo>
                    <a:pt x="19700" y="22862"/>
                  </a:lnTo>
                  <a:lnTo>
                    <a:pt x="19482" y="24170"/>
                  </a:lnTo>
                  <a:lnTo>
                    <a:pt x="19009" y="26642"/>
                  </a:lnTo>
                  <a:lnTo>
                    <a:pt x="18500" y="28932"/>
                  </a:lnTo>
                  <a:lnTo>
                    <a:pt x="18028" y="31003"/>
                  </a:lnTo>
                  <a:lnTo>
                    <a:pt x="17664" y="32748"/>
                  </a:lnTo>
                  <a:lnTo>
                    <a:pt x="17410" y="34129"/>
                  </a:lnTo>
                  <a:lnTo>
                    <a:pt x="17301" y="34674"/>
                  </a:lnTo>
                  <a:lnTo>
                    <a:pt x="17301" y="35147"/>
                  </a:lnTo>
                  <a:lnTo>
                    <a:pt x="17301" y="35474"/>
                  </a:lnTo>
                  <a:lnTo>
                    <a:pt x="17337" y="35583"/>
                  </a:lnTo>
                  <a:lnTo>
                    <a:pt x="17374" y="35692"/>
                  </a:lnTo>
                  <a:lnTo>
                    <a:pt x="17374" y="35692"/>
                  </a:lnTo>
                  <a:lnTo>
                    <a:pt x="17446" y="35801"/>
                  </a:lnTo>
                  <a:lnTo>
                    <a:pt x="17446" y="35946"/>
                  </a:lnTo>
                  <a:lnTo>
                    <a:pt x="17446" y="36092"/>
                  </a:lnTo>
                  <a:lnTo>
                    <a:pt x="17374" y="36237"/>
                  </a:lnTo>
                  <a:lnTo>
                    <a:pt x="17228" y="36383"/>
                  </a:lnTo>
                  <a:lnTo>
                    <a:pt x="17083" y="36564"/>
                  </a:lnTo>
                  <a:lnTo>
                    <a:pt x="16683" y="36891"/>
                  </a:lnTo>
                  <a:lnTo>
                    <a:pt x="16102" y="37218"/>
                  </a:lnTo>
                  <a:lnTo>
                    <a:pt x="15447" y="37509"/>
                  </a:lnTo>
                  <a:lnTo>
                    <a:pt x="14684" y="37836"/>
                  </a:lnTo>
                  <a:lnTo>
                    <a:pt x="13812" y="38127"/>
                  </a:lnTo>
                  <a:lnTo>
                    <a:pt x="12903" y="38382"/>
                  </a:lnTo>
                  <a:lnTo>
                    <a:pt x="11922" y="38600"/>
                  </a:lnTo>
                  <a:lnTo>
                    <a:pt x="10940" y="38781"/>
                  </a:lnTo>
                  <a:lnTo>
                    <a:pt x="9923" y="38927"/>
                  </a:lnTo>
                  <a:lnTo>
                    <a:pt x="8905" y="38999"/>
                  </a:lnTo>
                  <a:lnTo>
                    <a:pt x="7887" y="38963"/>
                  </a:lnTo>
                  <a:lnTo>
                    <a:pt x="7415" y="38927"/>
                  </a:lnTo>
                  <a:lnTo>
                    <a:pt x="6906" y="38890"/>
                  </a:lnTo>
                  <a:lnTo>
                    <a:pt x="6470" y="38818"/>
                  </a:lnTo>
                  <a:lnTo>
                    <a:pt x="5997" y="38709"/>
                  </a:lnTo>
                  <a:lnTo>
                    <a:pt x="5997" y="38709"/>
                  </a:lnTo>
                  <a:lnTo>
                    <a:pt x="5416" y="38563"/>
                  </a:lnTo>
                  <a:lnTo>
                    <a:pt x="4871" y="38345"/>
                  </a:lnTo>
                  <a:lnTo>
                    <a:pt x="4362" y="38127"/>
                  </a:lnTo>
                  <a:lnTo>
                    <a:pt x="3853" y="37873"/>
                  </a:lnTo>
                  <a:lnTo>
                    <a:pt x="3417" y="37618"/>
                  </a:lnTo>
                  <a:lnTo>
                    <a:pt x="3017" y="37328"/>
                  </a:lnTo>
                  <a:lnTo>
                    <a:pt x="2654" y="37000"/>
                  </a:lnTo>
                  <a:lnTo>
                    <a:pt x="2290" y="36673"/>
                  </a:lnTo>
                  <a:lnTo>
                    <a:pt x="1999" y="36310"/>
                  </a:lnTo>
                  <a:lnTo>
                    <a:pt x="1709" y="35983"/>
                  </a:lnTo>
                  <a:lnTo>
                    <a:pt x="1454" y="35583"/>
                  </a:lnTo>
                  <a:lnTo>
                    <a:pt x="1200" y="35219"/>
                  </a:lnTo>
                  <a:lnTo>
                    <a:pt x="1018" y="34820"/>
                  </a:lnTo>
                  <a:lnTo>
                    <a:pt x="836" y="34420"/>
                  </a:lnTo>
                  <a:lnTo>
                    <a:pt x="509" y="33620"/>
                  </a:lnTo>
                  <a:lnTo>
                    <a:pt x="291" y="32821"/>
                  </a:lnTo>
                  <a:lnTo>
                    <a:pt x="146" y="32057"/>
                  </a:lnTo>
                  <a:lnTo>
                    <a:pt x="37" y="31294"/>
                  </a:lnTo>
                  <a:lnTo>
                    <a:pt x="0" y="30604"/>
                  </a:lnTo>
                  <a:lnTo>
                    <a:pt x="0" y="29986"/>
                  </a:lnTo>
                  <a:lnTo>
                    <a:pt x="0" y="29440"/>
                  </a:lnTo>
                  <a:lnTo>
                    <a:pt x="73" y="28714"/>
                  </a:lnTo>
                  <a:lnTo>
                    <a:pt x="73" y="28714"/>
                  </a:lnTo>
                  <a:lnTo>
                    <a:pt x="836" y="24316"/>
                  </a:lnTo>
                  <a:lnTo>
                    <a:pt x="2327" y="16029"/>
                  </a:lnTo>
                  <a:lnTo>
                    <a:pt x="4471" y="4362"/>
                  </a:lnTo>
                  <a:lnTo>
                    <a:pt x="4471" y="4362"/>
                  </a:lnTo>
                  <a:lnTo>
                    <a:pt x="5016" y="4071"/>
                  </a:lnTo>
                  <a:lnTo>
                    <a:pt x="5670" y="3671"/>
                  </a:lnTo>
                  <a:lnTo>
                    <a:pt x="6470" y="3199"/>
                  </a:lnTo>
                  <a:lnTo>
                    <a:pt x="7415" y="2545"/>
                  </a:lnTo>
                  <a:lnTo>
                    <a:pt x="8469" y="1818"/>
                  </a:lnTo>
                  <a:lnTo>
                    <a:pt x="9559" y="982"/>
                  </a:lnTo>
                  <a:lnTo>
                    <a:pt x="10650" y="37"/>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08" name="Google Shape;2637;p11">
              <a:extLst>
                <a:ext uri="{FF2B5EF4-FFF2-40B4-BE49-F238E27FC236}">
                  <a16:creationId xmlns:a16="http://schemas.microsoft.com/office/drawing/2014/main" id="{83B0DA03-863E-3AD9-E445-9F740DFFFA93}"/>
                </a:ext>
              </a:extLst>
            </p:cNvPr>
            <p:cNvSpPr/>
            <p:nvPr/>
          </p:nvSpPr>
          <p:spPr>
            <a:xfrm>
              <a:off x="2235300" y="2653950"/>
              <a:ext cx="829625" cy="1010425"/>
            </a:xfrm>
            <a:custGeom>
              <a:avLst/>
              <a:gdLst/>
              <a:ahLst/>
              <a:cxnLst/>
              <a:rect l="l" t="t" r="r" b="b"/>
              <a:pathLst>
                <a:path w="33185" h="40417" extrusionOk="0">
                  <a:moveTo>
                    <a:pt x="1527" y="0"/>
                  </a:moveTo>
                  <a:lnTo>
                    <a:pt x="1491" y="327"/>
                  </a:lnTo>
                  <a:lnTo>
                    <a:pt x="1491" y="1272"/>
                  </a:lnTo>
                  <a:lnTo>
                    <a:pt x="1527" y="2035"/>
                  </a:lnTo>
                  <a:lnTo>
                    <a:pt x="1564" y="3017"/>
                  </a:lnTo>
                  <a:lnTo>
                    <a:pt x="1673" y="4180"/>
                  </a:lnTo>
                  <a:lnTo>
                    <a:pt x="1818" y="5561"/>
                  </a:lnTo>
                  <a:lnTo>
                    <a:pt x="1927" y="6542"/>
                  </a:lnTo>
                  <a:lnTo>
                    <a:pt x="1927" y="7487"/>
                  </a:lnTo>
                  <a:lnTo>
                    <a:pt x="1891" y="8396"/>
                  </a:lnTo>
                  <a:lnTo>
                    <a:pt x="1782" y="9305"/>
                  </a:lnTo>
                  <a:lnTo>
                    <a:pt x="1636" y="10213"/>
                  </a:lnTo>
                  <a:lnTo>
                    <a:pt x="1455" y="11086"/>
                  </a:lnTo>
                  <a:lnTo>
                    <a:pt x="1019" y="12866"/>
                  </a:lnTo>
                  <a:lnTo>
                    <a:pt x="582" y="14720"/>
                  </a:lnTo>
                  <a:lnTo>
                    <a:pt x="401" y="15665"/>
                  </a:lnTo>
                  <a:lnTo>
                    <a:pt x="255" y="16646"/>
                  </a:lnTo>
                  <a:lnTo>
                    <a:pt x="146" y="17664"/>
                  </a:lnTo>
                  <a:lnTo>
                    <a:pt x="74" y="18718"/>
                  </a:lnTo>
                  <a:lnTo>
                    <a:pt x="74" y="19845"/>
                  </a:lnTo>
                  <a:lnTo>
                    <a:pt x="146" y="21008"/>
                  </a:lnTo>
                  <a:lnTo>
                    <a:pt x="255" y="22571"/>
                  </a:lnTo>
                  <a:lnTo>
                    <a:pt x="328" y="24097"/>
                  </a:lnTo>
                  <a:lnTo>
                    <a:pt x="328" y="25660"/>
                  </a:lnTo>
                  <a:lnTo>
                    <a:pt x="292" y="27150"/>
                  </a:lnTo>
                  <a:lnTo>
                    <a:pt x="183" y="30058"/>
                  </a:lnTo>
                  <a:lnTo>
                    <a:pt x="74" y="32711"/>
                  </a:lnTo>
                  <a:lnTo>
                    <a:pt x="1" y="33947"/>
                  </a:lnTo>
                  <a:lnTo>
                    <a:pt x="1" y="35110"/>
                  </a:lnTo>
                  <a:lnTo>
                    <a:pt x="1" y="36128"/>
                  </a:lnTo>
                  <a:lnTo>
                    <a:pt x="37" y="37073"/>
                  </a:lnTo>
                  <a:lnTo>
                    <a:pt x="146" y="37909"/>
                  </a:lnTo>
                  <a:lnTo>
                    <a:pt x="255" y="38272"/>
                  </a:lnTo>
                  <a:lnTo>
                    <a:pt x="328" y="38636"/>
                  </a:lnTo>
                  <a:lnTo>
                    <a:pt x="437" y="38926"/>
                  </a:lnTo>
                  <a:lnTo>
                    <a:pt x="582" y="39181"/>
                  </a:lnTo>
                  <a:lnTo>
                    <a:pt x="728" y="39435"/>
                  </a:lnTo>
                  <a:lnTo>
                    <a:pt x="910" y="39617"/>
                  </a:lnTo>
                  <a:lnTo>
                    <a:pt x="1164" y="39799"/>
                  </a:lnTo>
                  <a:lnTo>
                    <a:pt x="1382" y="39980"/>
                  </a:lnTo>
                  <a:lnTo>
                    <a:pt x="1636" y="40126"/>
                  </a:lnTo>
                  <a:lnTo>
                    <a:pt x="1891" y="40235"/>
                  </a:lnTo>
                  <a:lnTo>
                    <a:pt x="2182" y="40344"/>
                  </a:lnTo>
                  <a:lnTo>
                    <a:pt x="2436" y="40380"/>
                  </a:lnTo>
                  <a:lnTo>
                    <a:pt x="2727" y="40416"/>
                  </a:lnTo>
                  <a:lnTo>
                    <a:pt x="3018" y="40416"/>
                  </a:lnTo>
                  <a:lnTo>
                    <a:pt x="3345" y="40380"/>
                  </a:lnTo>
                  <a:lnTo>
                    <a:pt x="3672" y="40271"/>
                  </a:lnTo>
                  <a:lnTo>
                    <a:pt x="3999" y="40162"/>
                  </a:lnTo>
                  <a:lnTo>
                    <a:pt x="4326" y="39980"/>
                  </a:lnTo>
                  <a:lnTo>
                    <a:pt x="4653" y="39799"/>
                  </a:lnTo>
                  <a:lnTo>
                    <a:pt x="5017" y="39508"/>
                  </a:lnTo>
                  <a:lnTo>
                    <a:pt x="5380" y="39217"/>
                  </a:lnTo>
                  <a:lnTo>
                    <a:pt x="5744" y="38854"/>
                  </a:lnTo>
                  <a:lnTo>
                    <a:pt x="6034" y="38527"/>
                  </a:lnTo>
                  <a:lnTo>
                    <a:pt x="6289" y="38163"/>
                  </a:lnTo>
                  <a:lnTo>
                    <a:pt x="6507" y="37763"/>
                  </a:lnTo>
                  <a:lnTo>
                    <a:pt x="6688" y="37327"/>
                  </a:lnTo>
                  <a:lnTo>
                    <a:pt x="6870" y="36855"/>
                  </a:lnTo>
                  <a:lnTo>
                    <a:pt x="7016" y="36346"/>
                  </a:lnTo>
                  <a:lnTo>
                    <a:pt x="7125" y="35801"/>
                  </a:lnTo>
                  <a:lnTo>
                    <a:pt x="7234" y="35255"/>
                  </a:lnTo>
                  <a:lnTo>
                    <a:pt x="7379" y="34092"/>
                  </a:lnTo>
                  <a:lnTo>
                    <a:pt x="7452" y="32893"/>
                  </a:lnTo>
                  <a:lnTo>
                    <a:pt x="7452" y="31621"/>
                  </a:lnTo>
                  <a:lnTo>
                    <a:pt x="7415" y="30349"/>
                  </a:lnTo>
                  <a:lnTo>
                    <a:pt x="7343" y="29113"/>
                  </a:lnTo>
                  <a:lnTo>
                    <a:pt x="7234" y="27877"/>
                  </a:lnTo>
                  <a:lnTo>
                    <a:pt x="6979" y="25587"/>
                  </a:lnTo>
                  <a:lnTo>
                    <a:pt x="6725" y="23697"/>
                  </a:lnTo>
                  <a:lnTo>
                    <a:pt x="6543" y="22425"/>
                  </a:lnTo>
                  <a:lnTo>
                    <a:pt x="6434" y="21626"/>
                  </a:lnTo>
                  <a:lnTo>
                    <a:pt x="6289" y="20717"/>
                  </a:lnTo>
                  <a:lnTo>
                    <a:pt x="5962" y="18718"/>
                  </a:lnTo>
                  <a:lnTo>
                    <a:pt x="5744" y="17410"/>
                  </a:lnTo>
                  <a:lnTo>
                    <a:pt x="5671" y="16755"/>
                  </a:lnTo>
                  <a:lnTo>
                    <a:pt x="5598" y="16138"/>
                  </a:lnTo>
                  <a:lnTo>
                    <a:pt x="5598" y="15556"/>
                  </a:lnTo>
                  <a:lnTo>
                    <a:pt x="5598" y="15302"/>
                  </a:lnTo>
                  <a:lnTo>
                    <a:pt x="5671" y="15047"/>
                  </a:lnTo>
                  <a:lnTo>
                    <a:pt x="5707" y="14829"/>
                  </a:lnTo>
                  <a:lnTo>
                    <a:pt x="5816" y="14647"/>
                  </a:lnTo>
                  <a:lnTo>
                    <a:pt x="5925" y="14466"/>
                  </a:lnTo>
                  <a:lnTo>
                    <a:pt x="6071" y="14357"/>
                  </a:lnTo>
                  <a:lnTo>
                    <a:pt x="6107" y="14357"/>
                  </a:lnTo>
                  <a:lnTo>
                    <a:pt x="6180" y="14393"/>
                  </a:lnTo>
                  <a:lnTo>
                    <a:pt x="6398" y="14538"/>
                  </a:lnTo>
                  <a:lnTo>
                    <a:pt x="7088" y="15193"/>
                  </a:lnTo>
                  <a:lnTo>
                    <a:pt x="8070" y="16138"/>
                  </a:lnTo>
                  <a:lnTo>
                    <a:pt x="8688" y="16683"/>
                  </a:lnTo>
                  <a:lnTo>
                    <a:pt x="9342" y="17228"/>
                  </a:lnTo>
                  <a:lnTo>
                    <a:pt x="10032" y="17809"/>
                  </a:lnTo>
                  <a:lnTo>
                    <a:pt x="10759" y="18355"/>
                  </a:lnTo>
                  <a:lnTo>
                    <a:pt x="11522" y="18863"/>
                  </a:lnTo>
                  <a:lnTo>
                    <a:pt x="12286" y="19300"/>
                  </a:lnTo>
                  <a:lnTo>
                    <a:pt x="13085" y="19699"/>
                  </a:lnTo>
                  <a:lnTo>
                    <a:pt x="13485" y="19845"/>
                  </a:lnTo>
                  <a:lnTo>
                    <a:pt x="13885" y="19990"/>
                  </a:lnTo>
                  <a:lnTo>
                    <a:pt x="14285" y="20099"/>
                  </a:lnTo>
                  <a:lnTo>
                    <a:pt x="14648" y="20172"/>
                  </a:lnTo>
                  <a:lnTo>
                    <a:pt x="15048" y="20208"/>
                  </a:lnTo>
                  <a:lnTo>
                    <a:pt x="15411" y="20208"/>
                  </a:lnTo>
                  <a:lnTo>
                    <a:pt x="15739" y="20172"/>
                  </a:lnTo>
                  <a:lnTo>
                    <a:pt x="16102" y="20099"/>
                  </a:lnTo>
                  <a:lnTo>
                    <a:pt x="16538" y="19918"/>
                  </a:lnTo>
                  <a:lnTo>
                    <a:pt x="17011" y="19736"/>
                  </a:lnTo>
                  <a:lnTo>
                    <a:pt x="18101" y="19191"/>
                  </a:lnTo>
                  <a:lnTo>
                    <a:pt x="19337" y="18464"/>
                  </a:lnTo>
                  <a:lnTo>
                    <a:pt x="20682" y="17628"/>
                  </a:lnTo>
                  <a:lnTo>
                    <a:pt x="22063" y="16683"/>
                  </a:lnTo>
                  <a:lnTo>
                    <a:pt x="23517" y="15665"/>
                  </a:lnTo>
                  <a:lnTo>
                    <a:pt x="25007" y="14611"/>
                  </a:lnTo>
                  <a:lnTo>
                    <a:pt x="27805" y="12539"/>
                  </a:lnTo>
                  <a:lnTo>
                    <a:pt x="30168" y="10686"/>
                  </a:lnTo>
                  <a:lnTo>
                    <a:pt x="31876" y="9341"/>
                  </a:lnTo>
                  <a:lnTo>
                    <a:pt x="32639" y="8687"/>
                  </a:lnTo>
                  <a:lnTo>
                    <a:pt x="32748" y="8541"/>
                  </a:lnTo>
                  <a:lnTo>
                    <a:pt x="32821" y="8396"/>
                  </a:lnTo>
                  <a:lnTo>
                    <a:pt x="32966" y="7996"/>
                  </a:lnTo>
                  <a:lnTo>
                    <a:pt x="33075" y="7560"/>
                  </a:lnTo>
                  <a:lnTo>
                    <a:pt x="33148" y="7087"/>
                  </a:lnTo>
                  <a:lnTo>
                    <a:pt x="33185" y="6542"/>
                  </a:lnTo>
                  <a:lnTo>
                    <a:pt x="33148" y="5997"/>
                  </a:lnTo>
                  <a:lnTo>
                    <a:pt x="33075" y="4870"/>
                  </a:lnTo>
                  <a:lnTo>
                    <a:pt x="32930" y="3780"/>
                  </a:lnTo>
                  <a:lnTo>
                    <a:pt x="32785" y="2908"/>
                  </a:lnTo>
                  <a:lnTo>
                    <a:pt x="32603" y="2072"/>
                  </a:lnTo>
                  <a:lnTo>
                    <a:pt x="32567" y="2035"/>
                  </a:lnTo>
                  <a:lnTo>
                    <a:pt x="32494" y="1999"/>
                  </a:lnTo>
                  <a:lnTo>
                    <a:pt x="32312" y="2035"/>
                  </a:lnTo>
                  <a:lnTo>
                    <a:pt x="32058" y="2108"/>
                  </a:lnTo>
                  <a:lnTo>
                    <a:pt x="31767" y="2290"/>
                  </a:lnTo>
                  <a:lnTo>
                    <a:pt x="30967" y="2799"/>
                  </a:lnTo>
                  <a:lnTo>
                    <a:pt x="29950" y="3526"/>
                  </a:lnTo>
                  <a:lnTo>
                    <a:pt x="28787" y="4434"/>
                  </a:lnTo>
                  <a:lnTo>
                    <a:pt x="27478" y="5488"/>
                  </a:lnTo>
                  <a:lnTo>
                    <a:pt x="24643" y="7778"/>
                  </a:lnTo>
                  <a:lnTo>
                    <a:pt x="23189" y="8905"/>
                  </a:lnTo>
                  <a:lnTo>
                    <a:pt x="21772" y="10031"/>
                  </a:lnTo>
                  <a:lnTo>
                    <a:pt x="20391" y="11049"/>
                  </a:lnTo>
                  <a:lnTo>
                    <a:pt x="19119" y="11921"/>
                  </a:lnTo>
                  <a:lnTo>
                    <a:pt x="18537" y="12321"/>
                  </a:lnTo>
                  <a:lnTo>
                    <a:pt x="17956" y="12648"/>
                  </a:lnTo>
                  <a:lnTo>
                    <a:pt x="17447" y="12903"/>
                  </a:lnTo>
                  <a:lnTo>
                    <a:pt x="17011" y="13121"/>
                  </a:lnTo>
                  <a:lnTo>
                    <a:pt x="16575" y="13266"/>
                  </a:lnTo>
                  <a:lnTo>
                    <a:pt x="16247" y="13339"/>
                  </a:lnTo>
                  <a:lnTo>
                    <a:pt x="15957" y="13339"/>
                  </a:lnTo>
                  <a:lnTo>
                    <a:pt x="15811" y="13303"/>
                  </a:lnTo>
                  <a:lnTo>
                    <a:pt x="15702" y="13266"/>
                  </a:lnTo>
                  <a:lnTo>
                    <a:pt x="15375" y="13012"/>
                  </a:lnTo>
                  <a:lnTo>
                    <a:pt x="15048" y="12721"/>
                  </a:lnTo>
                  <a:lnTo>
                    <a:pt x="14394" y="12067"/>
                  </a:lnTo>
                  <a:lnTo>
                    <a:pt x="13703" y="11304"/>
                  </a:lnTo>
                  <a:lnTo>
                    <a:pt x="13013" y="10468"/>
                  </a:lnTo>
                  <a:lnTo>
                    <a:pt x="11559" y="8578"/>
                  </a:lnTo>
                  <a:lnTo>
                    <a:pt x="10796" y="7560"/>
                  </a:lnTo>
                  <a:lnTo>
                    <a:pt x="9996" y="6542"/>
                  </a:lnTo>
                  <a:lnTo>
                    <a:pt x="9160" y="5525"/>
                  </a:lnTo>
                  <a:lnTo>
                    <a:pt x="8251" y="4507"/>
                  </a:lnTo>
                  <a:lnTo>
                    <a:pt x="7306" y="3562"/>
                  </a:lnTo>
                  <a:lnTo>
                    <a:pt x="6798" y="3089"/>
                  </a:lnTo>
                  <a:lnTo>
                    <a:pt x="6289" y="2653"/>
                  </a:lnTo>
                  <a:lnTo>
                    <a:pt x="5780" y="2217"/>
                  </a:lnTo>
                  <a:lnTo>
                    <a:pt x="5235" y="1817"/>
                  </a:lnTo>
                  <a:lnTo>
                    <a:pt x="4653" y="1454"/>
                  </a:lnTo>
                  <a:lnTo>
                    <a:pt x="4072" y="1090"/>
                  </a:lnTo>
                  <a:lnTo>
                    <a:pt x="3454" y="800"/>
                  </a:lnTo>
                  <a:lnTo>
                    <a:pt x="2836" y="509"/>
                  </a:lnTo>
                  <a:lnTo>
                    <a:pt x="2218" y="254"/>
                  </a:lnTo>
                  <a:lnTo>
                    <a:pt x="1527" y="0"/>
                  </a:lnTo>
                  <a:close/>
                </a:path>
              </a:pathLst>
            </a:custGeom>
            <a:solidFill>
              <a:srgbClr val="28282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09" name="Google Shape;2638;p11">
              <a:extLst>
                <a:ext uri="{FF2B5EF4-FFF2-40B4-BE49-F238E27FC236}">
                  <a16:creationId xmlns:a16="http://schemas.microsoft.com/office/drawing/2014/main" id="{26B715E1-B892-45AE-D1E5-D4ABCEE89AD1}"/>
                </a:ext>
              </a:extLst>
            </p:cNvPr>
            <p:cNvSpPr/>
            <p:nvPr/>
          </p:nvSpPr>
          <p:spPr>
            <a:xfrm>
              <a:off x="1835500" y="3685250"/>
              <a:ext cx="117250" cy="57275"/>
            </a:xfrm>
            <a:custGeom>
              <a:avLst/>
              <a:gdLst/>
              <a:ahLst/>
              <a:cxnLst/>
              <a:rect l="l" t="t" r="r" b="b"/>
              <a:pathLst>
                <a:path w="4690" h="2291" extrusionOk="0">
                  <a:moveTo>
                    <a:pt x="4181" y="0"/>
                  </a:moveTo>
                  <a:lnTo>
                    <a:pt x="1" y="836"/>
                  </a:lnTo>
                  <a:lnTo>
                    <a:pt x="37" y="945"/>
                  </a:lnTo>
                  <a:lnTo>
                    <a:pt x="73" y="1200"/>
                  </a:lnTo>
                  <a:lnTo>
                    <a:pt x="182" y="1563"/>
                  </a:lnTo>
                  <a:lnTo>
                    <a:pt x="292" y="1781"/>
                  </a:lnTo>
                  <a:lnTo>
                    <a:pt x="401" y="1963"/>
                  </a:lnTo>
                  <a:lnTo>
                    <a:pt x="546" y="2145"/>
                  </a:lnTo>
                  <a:lnTo>
                    <a:pt x="655" y="2254"/>
                  </a:lnTo>
                  <a:lnTo>
                    <a:pt x="800" y="2290"/>
                  </a:lnTo>
                  <a:lnTo>
                    <a:pt x="982" y="2290"/>
                  </a:lnTo>
                  <a:lnTo>
                    <a:pt x="1055" y="2254"/>
                  </a:lnTo>
                  <a:lnTo>
                    <a:pt x="1091" y="2181"/>
                  </a:lnTo>
                  <a:lnTo>
                    <a:pt x="2763" y="1454"/>
                  </a:lnTo>
                  <a:lnTo>
                    <a:pt x="3962" y="873"/>
                  </a:lnTo>
                  <a:lnTo>
                    <a:pt x="4399" y="655"/>
                  </a:lnTo>
                  <a:lnTo>
                    <a:pt x="4653" y="546"/>
                  </a:lnTo>
                  <a:lnTo>
                    <a:pt x="4689" y="473"/>
                  </a:lnTo>
                  <a:lnTo>
                    <a:pt x="4689" y="400"/>
                  </a:lnTo>
                  <a:lnTo>
                    <a:pt x="4653" y="364"/>
                  </a:lnTo>
                  <a:lnTo>
                    <a:pt x="4580" y="291"/>
                  </a:lnTo>
                  <a:lnTo>
                    <a:pt x="4362" y="182"/>
                  </a:lnTo>
                  <a:lnTo>
                    <a:pt x="4290" y="109"/>
                  </a:lnTo>
                  <a:lnTo>
                    <a:pt x="4181" y="0"/>
                  </a:lnTo>
                  <a:close/>
                </a:path>
              </a:pathLst>
            </a:custGeom>
            <a:solidFill>
              <a:srgbClr val="E79E9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10" name="Google Shape;2639;p11">
              <a:extLst>
                <a:ext uri="{FF2B5EF4-FFF2-40B4-BE49-F238E27FC236}">
                  <a16:creationId xmlns:a16="http://schemas.microsoft.com/office/drawing/2014/main" id="{80B5CFDF-2907-F7A9-0262-6D8CFA3E6A12}"/>
                </a:ext>
              </a:extLst>
            </p:cNvPr>
            <p:cNvSpPr/>
            <p:nvPr/>
          </p:nvSpPr>
          <p:spPr>
            <a:xfrm>
              <a:off x="1781900" y="2611225"/>
              <a:ext cx="350750" cy="1062225"/>
            </a:xfrm>
            <a:custGeom>
              <a:avLst/>
              <a:gdLst/>
              <a:ahLst/>
              <a:cxnLst/>
              <a:rect l="l" t="t" r="r" b="b"/>
              <a:pathLst>
                <a:path w="14030" h="42489" extrusionOk="0">
                  <a:moveTo>
                    <a:pt x="13703" y="1"/>
                  </a:moveTo>
                  <a:lnTo>
                    <a:pt x="13521" y="37"/>
                  </a:lnTo>
                  <a:lnTo>
                    <a:pt x="12939" y="74"/>
                  </a:lnTo>
                  <a:lnTo>
                    <a:pt x="12067" y="255"/>
                  </a:lnTo>
                  <a:lnTo>
                    <a:pt x="11558" y="364"/>
                  </a:lnTo>
                  <a:lnTo>
                    <a:pt x="10977" y="546"/>
                  </a:lnTo>
                  <a:lnTo>
                    <a:pt x="10359" y="764"/>
                  </a:lnTo>
                  <a:lnTo>
                    <a:pt x="9705" y="1018"/>
                  </a:lnTo>
                  <a:lnTo>
                    <a:pt x="9014" y="1346"/>
                  </a:lnTo>
                  <a:lnTo>
                    <a:pt x="8324" y="1745"/>
                  </a:lnTo>
                  <a:lnTo>
                    <a:pt x="7597" y="2182"/>
                  </a:lnTo>
                  <a:lnTo>
                    <a:pt x="6906" y="2727"/>
                  </a:lnTo>
                  <a:lnTo>
                    <a:pt x="6179" y="3308"/>
                  </a:lnTo>
                  <a:lnTo>
                    <a:pt x="5452" y="3999"/>
                  </a:lnTo>
                  <a:lnTo>
                    <a:pt x="5198" y="4326"/>
                  </a:lnTo>
                  <a:lnTo>
                    <a:pt x="4907" y="4726"/>
                  </a:lnTo>
                  <a:lnTo>
                    <a:pt x="4653" y="5198"/>
                  </a:lnTo>
                  <a:lnTo>
                    <a:pt x="4398" y="5707"/>
                  </a:lnTo>
                  <a:lnTo>
                    <a:pt x="4180" y="6289"/>
                  </a:lnTo>
                  <a:lnTo>
                    <a:pt x="3962" y="6907"/>
                  </a:lnTo>
                  <a:lnTo>
                    <a:pt x="3780" y="7524"/>
                  </a:lnTo>
                  <a:lnTo>
                    <a:pt x="3599" y="8215"/>
                  </a:lnTo>
                  <a:lnTo>
                    <a:pt x="3271" y="9596"/>
                  </a:lnTo>
                  <a:lnTo>
                    <a:pt x="3017" y="11014"/>
                  </a:lnTo>
                  <a:lnTo>
                    <a:pt x="2872" y="12431"/>
                  </a:lnTo>
                  <a:lnTo>
                    <a:pt x="2763" y="13776"/>
                  </a:lnTo>
                  <a:lnTo>
                    <a:pt x="2654" y="16574"/>
                  </a:lnTo>
                  <a:lnTo>
                    <a:pt x="2654" y="17665"/>
                  </a:lnTo>
                  <a:lnTo>
                    <a:pt x="2654" y="18573"/>
                  </a:lnTo>
                  <a:lnTo>
                    <a:pt x="2726" y="20173"/>
                  </a:lnTo>
                  <a:lnTo>
                    <a:pt x="2763" y="21554"/>
                  </a:lnTo>
                  <a:lnTo>
                    <a:pt x="2835" y="23516"/>
                  </a:lnTo>
                  <a:lnTo>
                    <a:pt x="2835" y="24025"/>
                  </a:lnTo>
                  <a:lnTo>
                    <a:pt x="2763" y="24607"/>
                  </a:lnTo>
                  <a:lnTo>
                    <a:pt x="2690" y="25261"/>
                  </a:lnTo>
                  <a:lnTo>
                    <a:pt x="2581" y="25952"/>
                  </a:lnTo>
                  <a:lnTo>
                    <a:pt x="2290" y="27478"/>
                  </a:lnTo>
                  <a:lnTo>
                    <a:pt x="1890" y="29150"/>
                  </a:lnTo>
                  <a:lnTo>
                    <a:pt x="982" y="33039"/>
                  </a:lnTo>
                  <a:lnTo>
                    <a:pt x="582" y="34929"/>
                  </a:lnTo>
                  <a:lnTo>
                    <a:pt x="255" y="36710"/>
                  </a:lnTo>
                  <a:lnTo>
                    <a:pt x="146" y="37546"/>
                  </a:lnTo>
                  <a:lnTo>
                    <a:pt x="37" y="38309"/>
                  </a:lnTo>
                  <a:lnTo>
                    <a:pt x="0" y="39000"/>
                  </a:lnTo>
                  <a:lnTo>
                    <a:pt x="0" y="39618"/>
                  </a:lnTo>
                  <a:lnTo>
                    <a:pt x="73" y="40163"/>
                  </a:lnTo>
                  <a:lnTo>
                    <a:pt x="182" y="40635"/>
                  </a:lnTo>
                  <a:lnTo>
                    <a:pt x="255" y="40817"/>
                  </a:lnTo>
                  <a:lnTo>
                    <a:pt x="364" y="40962"/>
                  </a:lnTo>
                  <a:lnTo>
                    <a:pt x="473" y="41108"/>
                  </a:lnTo>
                  <a:lnTo>
                    <a:pt x="618" y="41217"/>
                  </a:lnTo>
                  <a:lnTo>
                    <a:pt x="1163" y="41544"/>
                  </a:lnTo>
                  <a:lnTo>
                    <a:pt x="1709" y="41798"/>
                  </a:lnTo>
                  <a:lnTo>
                    <a:pt x="2290" y="42016"/>
                  </a:lnTo>
                  <a:lnTo>
                    <a:pt x="2908" y="42198"/>
                  </a:lnTo>
                  <a:lnTo>
                    <a:pt x="3490" y="42344"/>
                  </a:lnTo>
                  <a:lnTo>
                    <a:pt x="4107" y="42453"/>
                  </a:lnTo>
                  <a:lnTo>
                    <a:pt x="4725" y="42489"/>
                  </a:lnTo>
                  <a:lnTo>
                    <a:pt x="5307" y="42453"/>
                  </a:lnTo>
                  <a:lnTo>
                    <a:pt x="5925" y="42416"/>
                  </a:lnTo>
                  <a:lnTo>
                    <a:pt x="6506" y="42307"/>
                  </a:lnTo>
                  <a:lnTo>
                    <a:pt x="7088" y="42125"/>
                  </a:lnTo>
                  <a:lnTo>
                    <a:pt x="7669" y="41907"/>
                  </a:lnTo>
                  <a:lnTo>
                    <a:pt x="8215" y="41617"/>
                  </a:lnTo>
                  <a:lnTo>
                    <a:pt x="8760" y="41290"/>
                  </a:lnTo>
                  <a:lnTo>
                    <a:pt x="9269" y="40890"/>
                  </a:lnTo>
                  <a:lnTo>
                    <a:pt x="9777" y="40417"/>
                  </a:lnTo>
                  <a:lnTo>
                    <a:pt x="10104" y="39981"/>
                  </a:lnTo>
                  <a:lnTo>
                    <a:pt x="10359" y="39545"/>
                  </a:lnTo>
                  <a:lnTo>
                    <a:pt x="10541" y="39109"/>
                  </a:lnTo>
                  <a:lnTo>
                    <a:pt x="10650" y="38636"/>
                  </a:lnTo>
                  <a:lnTo>
                    <a:pt x="10722" y="38127"/>
                  </a:lnTo>
                  <a:lnTo>
                    <a:pt x="10759" y="37582"/>
                  </a:lnTo>
                  <a:lnTo>
                    <a:pt x="10722" y="36419"/>
                  </a:lnTo>
                  <a:lnTo>
                    <a:pt x="10686" y="35147"/>
                  </a:lnTo>
                  <a:lnTo>
                    <a:pt x="10650" y="34457"/>
                  </a:lnTo>
                  <a:lnTo>
                    <a:pt x="10686" y="33693"/>
                  </a:lnTo>
                  <a:lnTo>
                    <a:pt x="10759" y="32930"/>
                  </a:lnTo>
                  <a:lnTo>
                    <a:pt x="10868" y="32094"/>
                  </a:lnTo>
                  <a:lnTo>
                    <a:pt x="11013" y="31222"/>
                  </a:lnTo>
                  <a:lnTo>
                    <a:pt x="11268" y="30277"/>
                  </a:lnTo>
                  <a:lnTo>
                    <a:pt x="11994" y="27805"/>
                  </a:lnTo>
                  <a:lnTo>
                    <a:pt x="12358" y="26351"/>
                  </a:lnTo>
                  <a:lnTo>
                    <a:pt x="12721" y="24825"/>
                  </a:lnTo>
                  <a:lnTo>
                    <a:pt x="13048" y="23262"/>
                  </a:lnTo>
                  <a:lnTo>
                    <a:pt x="13339" y="21699"/>
                  </a:lnTo>
                  <a:lnTo>
                    <a:pt x="13594" y="20209"/>
                  </a:lnTo>
                  <a:lnTo>
                    <a:pt x="13739" y="18828"/>
                  </a:lnTo>
                  <a:lnTo>
                    <a:pt x="13848" y="17410"/>
                  </a:lnTo>
                  <a:lnTo>
                    <a:pt x="13921" y="15957"/>
                  </a:lnTo>
                  <a:lnTo>
                    <a:pt x="14030" y="13013"/>
                  </a:lnTo>
                  <a:lnTo>
                    <a:pt x="14030" y="10141"/>
                  </a:lnTo>
                  <a:lnTo>
                    <a:pt x="14030" y="7415"/>
                  </a:lnTo>
                  <a:lnTo>
                    <a:pt x="13957" y="4907"/>
                  </a:lnTo>
                  <a:lnTo>
                    <a:pt x="13884" y="2799"/>
                  </a:lnTo>
                  <a:lnTo>
                    <a:pt x="13775" y="1128"/>
                  </a:lnTo>
                  <a:lnTo>
                    <a:pt x="13703" y="1"/>
                  </a:lnTo>
                  <a:close/>
                </a:path>
              </a:pathLst>
            </a:custGeom>
            <a:solidFill>
              <a:srgbClr val="28282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11" name="Google Shape;2640;p11">
              <a:extLst>
                <a:ext uri="{FF2B5EF4-FFF2-40B4-BE49-F238E27FC236}">
                  <a16:creationId xmlns:a16="http://schemas.microsoft.com/office/drawing/2014/main" id="{43F7F564-5597-C874-0FD7-2FAD1517DFE1}"/>
                </a:ext>
              </a:extLst>
            </p:cNvPr>
            <p:cNvSpPr/>
            <p:nvPr/>
          </p:nvSpPr>
          <p:spPr>
            <a:xfrm>
              <a:off x="1781900" y="2611225"/>
              <a:ext cx="350750" cy="1062225"/>
            </a:xfrm>
            <a:custGeom>
              <a:avLst/>
              <a:gdLst/>
              <a:ahLst/>
              <a:cxnLst/>
              <a:rect l="l" t="t" r="r" b="b"/>
              <a:pathLst>
                <a:path w="14030" h="42489" fill="none" extrusionOk="0">
                  <a:moveTo>
                    <a:pt x="618" y="41217"/>
                  </a:moveTo>
                  <a:lnTo>
                    <a:pt x="618" y="41217"/>
                  </a:lnTo>
                  <a:lnTo>
                    <a:pt x="1163" y="41544"/>
                  </a:lnTo>
                  <a:lnTo>
                    <a:pt x="1709" y="41798"/>
                  </a:lnTo>
                  <a:lnTo>
                    <a:pt x="2290" y="42016"/>
                  </a:lnTo>
                  <a:lnTo>
                    <a:pt x="2908" y="42198"/>
                  </a:lnTo>
                  <a:lnTo>
                    <a:pt x="3490" y="42344"/>
                  </a:lnTo>
                  <a:lnTo>
                    <a:pt x="4107" y="42453"/>
                  </a:lnTo>
                  <a:lnTo>
                    <a:pt x="4725" y="42489"/>
                  </a:lnTo>
                  <a:lnTo>
                    <a:pt x="5307" y="42453"/>
                  </a:lnTo>
                  <a:lnTo>
                    <a:pt x="5925" y="42416"/>
                  </a:lnTo>
                  <a:lnTo>
                    <a:pt x="6506" y="42307"/>
                  </a:lnTo>
                  <a:lnTo>
                    <a:pt x="7088" y="42125"/>
                  </a:lnTo>
                  <a:lnTo>
                    <a:pt x="7669" y="41907"/>
                  </a:lnTo>
                  <a:lnTo>
                    <a:pt x="8215" y="41617"/>
                  </a:lnTo>
                  <a:lnTo>
                    <a:pt x="8760" y="41290"/>
                  </a:lnTo>
                  <a:lnTo>
                    <a:pt x="9269" y="40890"/>
                  </a:lnTo>
                  <a:lnTo>
                    <a:pt x="9777" y="40417"/>
                  </a:lnTo>
                  <a:lnTo>
                    <a:pt x="9777" y="40417"/>
                  </a:lnTo>
                  <a:lnTo>
                    <a:pt x="10104" y="39981"/>
                  </a:lnTo>
                  <a:lnTo>
                    <a:pt x="10359" y="39545"/>
                  </a:lnTo>
                  <a:lnTo>
                    <a:pt x="10541" y="39109"/>
                  </a:lnTo>
                  <a:lnTo>
                    <a:pt x="10650" y="38636"/>
                  </a:lnTo>
                  <a:lnTo>
                    <a:pt x="10722" y="38127"/>
                  </a:lnTo>
                  <a:lnTo>
                    <a:pt x="10759" y="37582"/>
                  </a:lnTo>
                  <a:lnTo>
                    <a:pt x="10722" y="36419"/>
                  </a:lnTo>
                  <a:lnTo>
                    <a:pt x="10686" y="35147"/>
                  </a:lnTo>
                  <a:lnTo>
                    <a:pt x="10650" y="34457"/>
                  </a:lnTo>
                  <a:lnTo>
                    <a:pt x="10686" y="33693"/>
                  </a:lnTo>
                  <a:lnTo>
                    <a:pt x="10759" y="32930"/>
                  </a:lnTo>
                  <a:lnTo>
                    <a:pt x="10868" y="32094"/>
                  </a:lnTo>
                  <a:lnTo>
                    <a:pt x="11013" y="31222"/>
                  </a:lnTo>
                  <a:lnTo>
                    <a:pt x="11268" y="30277"/>
                  </a:lnTo>
                  <a:lnTo>
                    <a:pt x="11268" y="30277"/>
                  </a:lnTo>
                  <a:lnTo>
                    <a:pt x="11994" y="27805"/>
                  </a:lnTo>
                  <a:lnTo>
                    <a:pt x="12358" y="26351"/>
                  </a:lnTo>
                  <a:lnTo>
                    <a:pt x="12721" y="24825"/>
                  </a:lnTo>
                  <a:lnTo>
                    <a:pt x="13048" y="23262"/>
                  </a:lnTo>
                  <a:lnTo>
                    <a:pt x="13339" y="21699"/>
                  </a:lnTo>
                  <a:lnTo>
                    <a:pt x="13594" y="20209"/>
                  </a:lnTo>
                  <a:lnTo>
                    <a:pt x="13739" y="18828"/>
                  </a:lnTo>
                  <a:lnTo>
                    <a:pt x="13739" y="18828"/>
                  </a:lnTo>
                  <a:lnTo>
                    <a:pt x="13848" y="17410"/>
                  </a:lnTo>
                  <a:lnTo>
                    <a:pt x="13921" y="15957"/>
                  </a:lnTo>
                  <a:lnTo>
                    <a:pt x="14030" y="13013"/>
                  </a:lnTo>
                  <a:lnTo>
                    <a:pt x="14030" y="10141"/>
                  </a:lnTo>
                  <a:lnTo>
                    <a:pt x="14030" y="7415"/>
                  </a:lnTo>
                  <a:lnTo>
                    <a:pt x="13957" y="4907"/>
                  </a:lnTo>
                  <a:lnTo>
                    <a:pt x="13884" y="2799"/>
                  </a:lnTo>
                  <a:lnTo>
                    <a:pt x="13775" y="1128"/>
                  </a:lnTo>
                  <a:lnTo>
                    <a:pt x="13703" y="1"/>
                  </a:lnTo>
                  <a:lnTo>
                    <a:pt x="13703" y="1"/>
                  </a:lnTo>
                  <a:lnTo>
                    <a:pt x="13521" y="37"/>
                  </a:lnTo>
                  <a:lnTo>
                    <a:pt x="12939" y="74"/>
                  </a:lnTo>
                  <a:lnTo>
                    <a:pt x="12067" y="255"/>
                  </a:lnTo>
                  <a:lnTo>
                    <a:pt x="11558" y="364"/>
                  </a:lnTo>
                  <a:lnTo>
                    <a:pt x="10977" y="546"/>
                  </a:lnTo>
                  <a:lnTo>
                    <a:pt x="10359" y="764"/>
                  </a:lnTo>
                  <a:lnTo>
                    <a:pt x="9705" y="1018"/>
                  </a:lnTo>
                  <a:lnTo>
                    <a:pt x="9014" y="1346"/>
                  </a:lnTo>
                  <a:lnTo>
                    <a:pt x="8324" y="1745"/>
                  </a:lnTo>
                  <a:lnTo>
                    <a:pt x="7597" y="2182"/>
                  </a:lnTo>
                  <a:lnTo>
                    <a:pt x="6906" y="2727"/>
                  </a:lnTo>
                  <a:lnTo>
                    <a:pt x="6179" y="3308"/>
                  </a:lnTo>
                  <a:lnTo>
                    <a:pt x="5452" y="3999"/>
                  </a:lnTo>
                  <a:lnTo>
                    <a:pt x="5452" y="3999"/>
                  </a:lnTo>
                  <a:lnTo>
                    <a:pt x="5198" y="4326"/>
                  </a:lnTo>
                  <a:lnTo>
                    <a:pt x="4907" y="4726"/>
                  </a:lnTo>
                  <a:lnTo>
                    <a:pt x="4653" y="5198"/>
                  </a:lnTo>
                  <a:lnTo>
                    <a:pt x="4398" y="5707"/>
                  </a:lnTo>
                  <a:lnTo>
                    <a:pt x="4180" y="6289"/>
                  </a:lnTo>
                  <a:lnTo>
                    <a:pt x="3962" y="6907"/>
                  </a:lnTo>
                  <a:lnTo>
                    <a:pt x="3780" y="7524"/>
                  </a:lnTo>
                  <a:lnTo>
                    <a:pt x="3599" y="8215"/>
                  </a:lnTo>
                  <a:lnTo>
                    <a:pt x="3271" y="9596"/>
                  </a:lnTo>
                  <a:lnTo>
                    <a:pt x="3017" y="11014"/>
                  </a:lnTo>
                  <a:lnTo>
                    <a:pt x="2872" y="12431"/>
                  </a:lnTo>
                  <a:lnTo>
                    <a:pt x="2763" y="13776"/>
                  </a:lnTo>
                  <a:lnTo>
                    <a:pt x="2763" y="13776"/>
                  </a:lnTo>
                  <a:lnTo>
                    <a:pt x="2654" y="16574"/>
                  </a:lnTo>
                  <a:lnTo>
                    <a:pt x="2654" y="16574"/>
                  </a:lnTo>
                  <a:lnTo>
                    <a:pt x="2654" y="17665"/>
                  </a:lnTo>
                  <a:lnTo>
                    <a:pt x="2654" y="18573"/>
                  </a:lnTo>
                  <a:lnTo>
                    <a:pt x="2726" y="20173"/>
                  </a:lnTo>
                  <a:lnTo>
                    <a:pt x="2726" y="20173"/>
                  </a:lnTo>
                  <a:lnTo>
                    <a:pt x="2763" y="21554"/>
                  </a:lnTo>
                  <a:lnTo>
                    <a:pt x="2763" y="21554"/>
                  </a:lnTo>
                  <a:lnTo>
                    <a:pt x="2763" y="21554"/>
                  </a:lnTo>
                  <a:lnTo>
                    <a:pt x="2835" y="23516"/>
                  </a:lnTo>
                  <a:lnTo>
                    <a:pt x="2835" y="23516"/>
                  </a:lnTo>
                  <a:lnTo>
                    <a:pt x="2835" y="24025"/>
                  </a:lnTo>
                  <a:lnTo>
                    <a:pt x="2763" y="24607"/>
                  </a:lnTo>
                  <a:lnTo>
                    <a:pt x="2690" y="25261"/>
                  </a:lnTo>
                  <a:lnTo>
                    <a:pt x="2581" y="25952"/>
                  </a:lnTo>
                  <a:lnTo>
                    <a:pt x="2290" y="27478"/>
                  </a:lnTo>
                  <a:lnTo>
                    <a:pt x="1890" y="29150"/>
                  </a:lnTo>
                  <a:lnTo>
                    <a:pt x="1890" y="29150"/>
                  </a:lnTo>
                  <a:lnTo>
                    <a:pt x="1890" y="29150"/>
                  </a:lnTo>
                  <a:lnTo>
                    <a:pt x="982" y="33039"/>
                  </a:lnTo>
                  <a:lnTo>
                    <a:pt x="582" y="34929"/>
                  </a:lnTo>
                  <a:lnTo>
                    <a:pt x="255" y="36710"/>
                  </a:lnTo>
                  <a:lnTo>
                    <a:pt x="146" y="37546"/>
                  </a:lnTo>
                  <a:lnTo>
                    <a:pt x="37" y="38309"/>
                  </a:lnTo>
                  <a:lnTo>
                    <a:pt x="0" y="39000"/>
                  </a:lnTo>
                  <a:lnTo>
                    <a:pt x="0" y="39618"/>
                  </a:lnTo>
                  <a:lnTo>
                    <a:pt x="73" y="40163"/>
                  </a:lnTo>
                  <a:lnTo>
                    <a:pt x="182" y="40635"/>
                  </a:lnTo>
                  <a:lnTo>
                    <a:pt x="255" y="40817"/>
                  </a:lnTo>
                  <a:lnTo>
                    <a:pt x="364" y="40962"/>
                  </a:lnTo>
                  <a:lnTo>
                    <a:pt x="473" y="41108"/>
                  </a:lnTo>
                  <a:lnTo>
                    <a:pt x="618" y="41217"/>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12" name="Google Shape;2641;p11">
              <a:extLst>
                <a:ext uri="{FF2B5EF4-FFF2-40B4-BE49-F238E27FC236}">
                  <a16:creationId xmlns:a16="http://schemas.microsoft.com/office/drawing/2014/main" id="{9EFBCC36-F495-71FE-2728-39A919AD461A}"/>
                </a:ext>
              </a:extLst>
            </p:cNvPr>
            <p:cNvSpPr/>
            <p:nvPr/>
          </p:nvSpPr>
          <p:spPr>
            <a:xfrm>
              <a:off x="1609250" y="2679375"/>
              <a:ext cx="477075" cy="1051325"/>
            </a:xfrm>
            <a:custGeom>
              <a:avLst/>
              <a:gdLst/>
              <a:ahLst/>
              <a:cxnLst/>
              <a:rect l="l" t="t" r="r" b="b"/>
              <a:pathLst>
                <a:path w="19083" h="42053" extrusionOk="0">
                  <a:moveTo>
                    <a:pt x="16247" y="1"/>
                  </a:moveTo>
                  <a:lnTo>
                    <a:pt x="15666" y="37"/>
                  </a:lnTo>
                  <a:lnTo>
                    <a:pt x="15084" y="110"/>
                  </a:lnTo>
                  <a:lnTo>
                    <a:pt x="14539" y="219"/>
                  </a:lnTo>
                  <a:lnTo>
                    <a:pt x="13994" y="364"/>
                  </a:lnTo>
                  <a:lnTo>
                    <a:pt x="13485" y="546"/>
                  </a:lnTo>
                  <a:lnTo>
                    <a:pt x="13049" y="764"/>
                  </a:lnTo>
                  <a:lnTo>
                    <a:pt x="12685" y="982"/>
                  </a:lnTo>
                  <a:lnTo>
                    <a:pt x="12395" y="1273"/>
                  </a:lnTo>
                  <a:lnTo>
                    <a:pt x="11522" y="2400"/>
                  </a:lnTo>
                  <a:lnTo>
                    <a:pt x="9996" y="4508"/>
                  </a:lnTo>
                  <a:lnTo>
                    <a:pt x="8033" y="7306"/>
                  </a:lnTo>
                  <a:lnTo>
                    <a:pt x="5889" y="10505"/>
                  </a:lnTo>
                  <a:lnTo>
                    <a:pt x="4798" y="12140"/>
                  </a:lnTo>
                  <a:lnTo>
                    <a:pt x="3781" y="13776"/>
                  </a:lnTo>
                  <a:lnTo>
                    <a:pt x="2799" y="15411"/>
                  </a:lnTo>
                  <a:lnTo>
                    <a:pt x="1927" y="16901"/>
                  </a:lnTo>
                  <a:lnTo>
                    <a:pt x="1200" y="18319"/>
                  </a:lnTo>
                  <a:lnTo>
                    <a:pt x="619" y="19591"/>
                  </a:lnTo>
                  <a:lnTo>
                    <a:pt x="400" y="20136"/>
                  </a:lnTo>
                  <a:lnTo>
                    <a:pt x="219" y="20645"/>
                  </a:lnTo>
                  <a:lnTo>
                    <a:pt x="73" y="21118"/>
                  </a:lnTo>
                  <a:lnTo>
                    <a:pt x="37" y="21481"/>
                  </a:lnTo>
                  <a:lnTo>
                    <a:pt x="1" y="21845"/>
                  </a:lnTo>
                  <a:lnTo>
                    <a:pt x="73" y="22281"/>
                  </a:lnTo>
                  <a:lnTo>
                    <a:pt x="146" y="22790"/>
                  </a:lnTo>
                  <a:lnTo>
                    <a:pt x="291" y="23335"/>
                  </a:lnTo>
                  <a:lnTo>
                    <a:pt x="473" y="23953"/>
                  </a:lnTo>
                  <a:lnTo>
                    <a:pt x="691" y="24607"/>
                  </a:lnTo>
                  <a:lnTo>
                    <a:pt x="1200" y="26061"/>
                  </a:lnTo>
                  <a:lnTo>
                    <a:pt x="1854" y="27623"/>
                  </a:lnTo>
                  <a:lnTo>
                    <a:pt x="2581" y="29295"/>
                  </a:lnTo>
                  <a:lnTo>
                    <a:pt x="3344" y="31004"/>
                  </a:lnTo>
                  <a:lnTo>
                    <a:pt x="4180" y="32748"/>
                  </a:lnTo>
                  <a:lnTo>
                    <a:pt x="5816" y="36056"/>
                  </a:lnTo>
                  <a:lnTo>
                    <a:pt x="7306" y="38927"/>
                  </a:lnTo>
                  <a:lnTo>
                    <a:pt x="8397" y="40962"/>
                  </a:lnTo>
                  <a:lnTo>
                    <a:pt x="8942" y="41907"/>
                  </a:lnTo>
                  <a:lnTo>
                    <a:pt x="8978" y="41980"/>
                  </a:lnTo>
                  <a:lnTo>
                    <a:pt x="9051" y="42016"/>
                  </a:lnTo>
                  <a:lnTo>
                    <a:pt x="9269" y="42053"/>
                  </a:lnTo>
                  <a:lnTo>
                    <a:pt x="9523" y="42016"/>
                  </a:lnTo>
                  <a:lnTo>
                    <a:pt x="9850" y="41944"/>
                  </a:lnTo>
                  <a:lnTo>
                    <a:pt x="10214" y="41871"/>
                  </a:lnTo>
                  <a:lnTo>
                    <a:pt x="10577" y="41726"/>
                  </a:lnTo>
                  <a:lnTo>
                    <a:pt x="11413" y="41362"/>
                  </a:lnTo>
                  <a:lnTo>
                    <a:pt x="12176" y="40999"/>
                  </a:lnTo>
                  <a:lnTo>
                    <a:pt x="12867" y="40672"/>
                  </a:lnTo>
                  <a:lnTo>
                    <a:pt x="13521" y="40308"/>
                  </a:lnTo>
                  <a:lnTo>
                    <a:pt x="12431" y="38018"/>
                  </a:lnTo>
                  <a:lnTo>
                    <a:pt x="11341" y="35583"/>
                  </a:lnTo>
                  <a:lnTo>
                    <a:pt x="10105" y="32748"/>
                  </a:lnTo>
                  <a:lnTo>
                    <a:pt x="8905" y="29732"/>
                  </a:lnTo>
                  <a:lnTo>
                    <a:pt x="8324" y="28314"/>
                  </a:lnTo>
                  <a:lnTo>
                    <a:pt x="7851" y="26933"/>
                  </a:lnTo>
                  <a:lnTo>
                    <a:pt x="7415" y="25697"/>
                  </a:lnTo>
                  <a:lnTo>
                    <a:pt x="7124" y="24643"/>
                  </a:lnTo>
                  <a:lnTo>
                    <a:pt x="7015" y="24171"/>
                  </a:lnTo>
                  <a:lnTo>
                    <a:pt x="6943" y="23771"/>
                  </a:lnTo>
                  <a:lnTo>
                    <a:pt x="6906" y="23407"/>
                  </a:lnTo>
                  <a:lnTo>
                    <a:pt x="6906" y="23117"/>
                  </a:lnTo>
                  <a:lnTo>
                    <a:pt x="6943" y="22680"/>
                  </a:lnTo>
                  <a:lnTo>
                    <a:pt x="7015" y="22317"/>
                  </a:lnTo>
                  <a:lnTo>
                    <a:pt x="7124" y="21990"/>
                  </a:lnTo>
                  <a:lnTo>
                    <a:pt x="7306" y="21663"/>
                  </a:lnTo>
                  <a:lnTo>
                    <a:pt x="7524" y="21336"/>
                  </a:lnTo>
                  <a:lnTo>
                    <a:pt x="7779" y="20936"/>
                  </a:lnTo>
                  <a:lnTo>
                    <a:pt x="8651" y="19809"/>
                  </a:lnTo>
                  <a:lnTo>
                    <a:pt x="9959" y="18065"/>
                  </a:lnTo>
                  <a:lnTo>
                    <a:pt x="10832" y="16865"/>
                  </a:lnTo>
                  <a:lnTo>
                    <a:pt x="11813" y="15411"/>
                  </a:lnTo>
                  <a:lnTo>
                    <a:pt x="13012" y="13667"/>
                  </a:lnTo>
                  <a:lnTo>
                    <a:pt x="14357" y="11559"/>
                  </a:lnTo>
                  <a:lnTo>
                    <a:pt x="15920" y="9087"/>
                  </a:lnTo>
                  <a:lnTo>
                    <a:pt x="17701" y="6252"/>
                  </a:lnTo>
                  <a:lnTo>
                    <a:pt x="17919" y="5925"/>
                  </a:lnTo>
                  <a:lnTo>
                    <a:pt x="18101" y="5525"/>
                  </a:lnTo>
                  <a:lnTo>
                    <a:pt x="18355" y="5016"/>
                  </a:lnTo>
                  <a:lnTo>
                    <a:pt x="18610" y="4362"/>
                  </a:lnTo>
                  <a:lnTo>
                    <a:pt x="18828" y="3599"/>
                  </a:lnTo>
                  <a:lnTo>
                    <a:pt x="18937" y="3163"/>
                  </a:lnTo>
                  <a:lnTo>
                    <a:pt x="19009" y="2727"/>
                  </a:lnTo>
                  <a:lnTo>
                    <a:pt x="19046" y="2291"/>
                  </a:lnTo>
                  <a:lnTo>
                    <a:pt x="19082" y="1782"/>
                  </a:lnTo>
                  <a:lnTo>
                    <a:pt x="19082" y="1564"/>
                  </a:lnTo>
                  <a:lnTo>
                    <a:pt x="19009" y="1346"/>
                  </a:lnTo>
                  <a:lnTo>
                    <a:pt x="18973" y="1127"/>
                  </a:lnTo>
                  <a:lnTo>
                    <a:pt x="18864" y="946"/>
                  </a:lnTo>
                  <a:lnTo>
                    <a:pt x="18755" y="800"/>
                  </a:lnTo>
                  <a:lnTo>
                    <a:pt x="18610" y="655"/>
                  </a:lnTo>
                  <a:lnTo>
                    <a:pt x="18428" y="510"/>
                  </a:lnTo>
                  <a:lnTo>
                    <a:pt x="18246" y="401"/>
                  </a:lnTo>
                  <a:lnTo>
                    <a:pt x="17810" y="219"/>
                  </a:lnTo>
                  <a:lnTo>
                    <a:pt x="17338" y="73"/>
                  </a:lnTo>
                  <a:lnTo>
                    <a:pt x="16792" y="1"/>
                  </a:lnTo>
                  <a:close/>
                </a:path>
              </a:pathLst>
            </a:custGeom>
            <a:solidFill>
              <a:srgbClr val="28282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13" name="Google Shape;2642;p11">
              <a:extLst>
                <a:ext uri="{FF2B5EF4-FFF2-40B4-BE49-F238E27FC236}">
                  <a16:creationId xmlns:a16="http://schemas.microsoft.com/office/drawing/2014/main" id="{3A232792-8B63-447A-3135-5D5C6BD19ADD}"/>
                </a:ext>
              </a:extLst>
            </p:cNvPr>
            <p:cNvSpPr/>
            <p:nvPr/>
          </p:nvSpPr>
          <p:spPr>
            <a:xfrm>
              <a:off x="1609250" y="2679375"/>
              <a:ext cx="477075" cy="1051325"/>
            </a:xfrm>
            <a:custGeom>
              <a:avLst/>
              <a:gdLst/>
              <a:ahLst/>
              <a:cxnLst/>
              <a:rect l="l" t="t" r="r" b="b"/>
              <a:pathLst>
                <a:path w="19083" h="42053" fill="none" extrusionOk="0">
                  <a:moveTo>
                    <a:pt x="17701" y="6252"/>
                  </a:moveTo>
                  <a:lnTo>
                    <a:pt x="17701" y="6252"/>
                  </a:lnTo>
                  <a:lnTo>
                    <a:pt x="15920" y="9087"/>
                  </a:lnTo>
                  <a:lnTo>
                    <a:pt x="14357" y="11559"/>
                  </a:lnTo>
                  <a:lnTo>
                    <a:pt x="13012" y="13667"/>
                  </a:lnTo>
                  <a:lnTo>
                    <a:pt x="11813" y="15411"/>
                  </a:lnTo>
                  <a:lnTo>
                    <a:pt x="10832" y="16865"/>
                  </a:lnTo>
                  <a:lnTo>
                    <a:pt x="9959" y="18065"/>
                  </a:lnTo>
                  <a:lnTo>
                    <a:pt x="8651" y="19809"/>
                  </a:lnTo>
                  <a:lnTo>
                    <a:pt x="7779" y="20936"/>
                  </a:lnTo>
                  <a:lnTo>
                    <a:pt x="7524" y="21336"/>
                  </a:lnTo>
                  <a:lnTo>
                    <a:pt x="7306" y="21663"/>
                  </a:lnTo>
                  <a:lnTo>
                    <a:pt x="7124" y="21990"/>
                  </a:lnTo>
                  <a:lnTo>
                    <a:pt x="7015" y="22317"/>
                  </a:lnTo>
                  <a:lnTo>
                    <a:pt x="6943" y="22680"/>
                  </a:lnTo>
                  <a:lnTo>
                    <a:pt x="6906" y="23117"/>
                  </a:lnTo>
                  <a:lnTo>
                    <a:pt x="6906" y="23117"/>
                  </a:lnTo>
                  <a:lnTo>
                    <a:pt x="6906" y="23407"/>
                  </a:lnTo>
                  <a:lnTo>
                    <a:pt x="6943" y="23771"/>
                  </a:lnTo>
                  <a:lnTo>
                    <a:pt x="7015" y="24171"/>
                  </a:lnTo>
                  <a:lnTo>
                    <a:pt x="7124" y="24643"/>
                  </a:lnTo>
                  <a:lnTo>
                    <a:pt x="7415" y="25697"/>
                  </a:lnTo>
                  <a:lnTo>
                    <a:pt x="7851" y="26933"/>
                  </a:lnTo>
                  <a:lnTo>
                    <a:pt x="8324" y="28314"/>
                  </a:lnTo>
                  <a:lnTo>
                    <a:pt x="8905" y="29732"/>
                  </a:lnTo>
                  <a:lnTo>
                    <a:pt x="10105" y="32748"/>
                  </a:lnTo>
                  <a:lnTo>
                    <a:pt x="11341" y="35583"/>
                  </a:lnTo>
                  <a:lnTo>
                    <a:pt x="12431" y="38018"/>
                  </a:lnTo>
                  <a:lnTo>
                    <a:pt x="13521" y="40308"/>
                  </a:lnTo>
                  <a:lnTo>
                    <a:pt x="13521" y="40308"/>
                  </a:lnTo>
                  <a:lnTo>
                    <a:pt x="12867" y="40672"/>
                  </a:lnTo>
                  <a:lnTo>
                    <a:pt x="12176" y="40999"/>
                  </a:lnTo>
                  <a:lnTo>
                    <a:pt x="11413" y="41362"/>
                  </a:lnTo>
                  <a:lnTo>
                    <a:pt x="10577" y="41726"/>
                  </a:lnTo>
                  <a:lnTo>
                    <a:pt x="10214" y="41871"/>
                  </a:lnTo>
                  <a:lnTo>
                    <a:pt x="9850" y="41944"/>
                  </a:lnTo>
                  <a:lnTo>
                    <a:pt x="9523" y="42016"/>
                  </a:lnTo>
                  <a:lnTo>
                    <a:pt x="9269" y="42053"/>
                  </a:lnTo>
                  <a:lnTo>
                    <a:pt x="9051" y="42016"/>
                  </a:lnTo>
                  <a:lnTo>
                    <a:pt x="8978" y="41980"/>
                  </a:lnTo>
                  <a:lnTo>
                    <a:pt x="8942" y="41907"/>
                  </a:lnTo>
                  <a:lnTo>
                    <a:pt x="8942" y="41907"/>
                  </a:lnTo>
                  <a:lnTo>
                    <a:pt x="8397" y="40962"/>
                  </a:lnTo>
                  <a:lnTo>
                    <a:pt x="7306" y="38927"/>
                  </a:lnTo>
                  <a:lnTo>
                    <a:pt x="5816" y="36056"/>
                  </a:lnTo>
                  <a:lnTo>
                    <a:pt x="4180" y="32748"/>
                  </a:lnTo>
                  <a:lnTo>
                    <a:pt x="3344" y="31004"/>
                  </a:lnTo>
                  <a:lnTo>
                    <a:pt x="2581" y="29295"/>
                  </a:lnTo>
                  <a:lnTo>
                    <a:pt x="1854" y="27623"/>
                  </a:lnTo>
                  <a:lnTo>
                    <a:pt x="1200" y="26061"/>
                  </a:lnTo>
                  <a:lnTo>
                    <a:pt x="691" y="24607"/>
                  </a:lnTo>
                  <a:lnTo>
                    <a:pt x="473" y="23953"/>
                  </a:lnTo>
                  <a:lnTo>
                    <a:pt x="291" y="23335"/>
                  </a:lnTo>
                  <a:lnTo>
                    <a:pt x="146" y="22790"/>
                  </a:lnTo>
                  <a:lnTo>
                    <a:pt x="73" y="22281"/>
                  </a:lnTo>
                  <a:lnTo>
                    <a:pt x="1" y="21845"/>
                  </a:lnTo>
                  <a:lnTo>
                    <a:pt x="37" y="21481"/>
                  </a:lnTo>
                  <a:lnTo>
                    <a:pt x="37" y="21481"/>
                  </a:lnTo>
                  <a:lnTo>
                    <a:pt x="73" y="21118"/>
                  </a:lnTo>
                  <a:lnTo>
                    <a:pt x="219" y="20645"/>
                  </a:lnTo>
                  <a:lnTo>
                    <a:pt x="400" y="20136"/>
                  </a:lnTo>
                  <a:lnTo>
                    <a:pt x="619" y="19591"/>
                  </a:lnTo>
                  <a:lnTo>
                    <a:pt x="1200" y="18319"/>
                  </a:lnTo>
                  <a:lnTo>
                    <a:pt x="1927" y="16901"/>
                  </a:lnTo>
                  <a:lnTo>
                    <a:pt x="2799" y="15411"/>
                  </a:lnTo>
                  <a:lnTo>
                    <a:pt x="3781" y="13776"/>
                  </a:lnTo>
                  <a:lnTo>
                    <a:pt x="4798" y="12140"/>
                  </a:lnTo>
                  <a:lnTo>
                    <a:pt x="5889" y="10505"/>
                  </a:lnTo>
                  <a:lnTo>
                    <a:pt x="8033" y="7306"/>
                  </a:lnTo>
                  <a:lnTo>
                    <a:pt x="9996" y="4508"/>
                  </a:lnTo>
                  <a:lnTo>
                    <a:pt x="11522" y="2400"/>
                  </a:lnTo>
                  <a:lnTo>
                    <a:pt x="12395" y="1273"/>
                  </a:lnTo>
                  <a:lnTo>
                    <a:pt x="12395" y="1273"/>
                  </a:lnTo>
                  <a:lnTo>
                    <a:pt x="12685" y="982"/>
                  </a:lnTo>
                  <a:lnTo>
                    <a:pt x="13049" y="764"/>
                  </a:lnTo>
                  <a:lnTo>
                    <a:pt x="13485" y="546"/>
                  </a:lnTo>
                  <a:lnTo>
                    <a:pt x="13994" y="364"/>
                  </a:lnTo>
                  <a:lnTo>
                    <a:pt x="14539" y="219"/>
                  </a:lnTo>
                  <a:lnTo>
                    <a:pt x="15084" y="110"/>
                  </a:lnTo>
                  <a:lnTo>
                    <a:pt x="15666" y="37"/>
                  </a:lnTo>
                  <a:lnTo>
                    <a:pt x="16247" y="1"/>
                  </a:lnTo>
                  <a:lnTo>
                    <a:pt x="16792" y="1"/>
                  </a:lnTo>
                  <a:lnTo>
                    <a:pt x="17338" y="73"/>
                  </a:lnTo>
                  <a:lnTo>
                    <a:pt x="17810" y="219"/>
                  </a:lnTo>
                  <a:lnTo>
                    <a:pt x="18246" y="401"/>
                  </a:lnTo>
                  <a:lnTo>
                    <a:pt x="18428" y="510"/>
                  </a:lnTo>
                  <a:lnTo>
                    <a:pt x="18610" y="655"/>
                  </a:lnTo>
                  <a:lnTo>
                    <a:pt x="18755" y="800"/>
                  </a:lnTo>
                  <a:lnTo>
                    <a:pt x="18864" y="946"/>
                  </a:lnTo>
                  <a:lnTo>
                    <a:pt x="18973" y="1127"/>
                  </a:lnTo>
                  <a:lnTo>
                    <a:pt x="19009" y="1346"/>
                  </a:lnTo>
                  <a:lnTo>
                    <a:pt x="19082" y="1564"/>
                  </a:lnTo>
                  <a:lnTo>
                    <a:pt x="19082" y="1782"/>
                  </a:lnTo>
                  <a:lnTo>
                    <a:pt x="19082" y="1782"/>
                  </a:lnTo>
                  <a:lnTo>
                    <a:pt x="19046" y="2291"/>
                  </a:lnTo>
                  <a:lnTo>
                    <a:pt x="19009" y="2727"/>
                  </a:lnTo>
                  <a:lnTo>
                    <a:pt x="18937" y="3163"/>
                  </a:lnTo>
                  <a:lnTo>
                    <a:pt x="18828" y="3599"/>
                  </a:lnTo>
                  <a:lnTo>
                    <a:pt x="18610" y="4362"/>
                  </a:lnTo>
                  <a:lnTo>
                    <a:pt x="18355" y="5016"/>
                  </a:lnTo>
                  <a:lnTo>
                    <a:pt x="18101" y="5525"/>
                  </a:lnTo>
                  <a:lnTo>
                    <a:pt x="17919" y="5925"/>
                  </a:lnTo>
                  <a:lnTo>
                    <a:pt x="17701" y="6252"/>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14" name="Google Shape;2643;p11">
              <a:extLst>
                <a:ext uri="{FF2B5EF4-FFF2-40B4-BE49-F238E27FC236}">
                  <a16:creationId xmlns:a16="http://schemas.microsoft.com/office/drawing/2014/main" id="{CE9E8C62-20FA-BBD4-37E3-E03D3046F68D}"/>
                </a:ext>
              </a:extLst>
            </p:cNvPr>
            <p:cNvSpPr/>
            <p:nvPr/>
          </p:nvSpPr>
          <p:spPr>
            <a:xfrm>
              <a:off x="1829150" y="3043750"/>
              <a:ext cx="100875" cy="296250"/>
            </a:xfrm>
            <a:custGeom>
              <a:avLst/>
              <a:gdLst/>
              <a:ahLst/>
              <a:cxnLst/>
              <a:rect l="l" t="t" r="r" b="b"/>
              <a:pathLst>
                <a:path w="4035" h="11850" extrusionOk="0">
                  <a:moveTo>
                    <a:pt x="4035" y="0"/>
                  </a:moveTo>
                  <a:lnTo>
                    <a:pt x="873" y="4253"/>
                  </a:lnTo>
                  <a:lnTo>
                    <a:pt x="945" y="6215"/>
                  </a:lnTo>
                  <a:lnTo>
                    <a:pt x="945" y="6325"/>
                  </a:lnTo>
                  <a:lnTo>
                    <a:pt x="909" y="6833"/>
                  </a:lnTo>
                  <a:lnTo>
                    <a:pt x="873" y="7415"/>
                  </a:lnTo>
                  <a:lnTo>
                    <a:pt x="655" y="8723"/>
                  </a:lnTo>
                  <a:lnTo>
                    <a:pt x="364" y="10214"/>
                  </a:lnTo>
                  <a:lnTo>
                    <a:pt x="0" y="11849"/>
                  </a:lnTo>
                  <a:lnTo>
                    <a:pt x="364" y="11522"/>
                  </a:lnTo>
                  <a:lnTo>
                    <a:pt x="691" y="11159"/>
                  </a:lnTo>
                  <a:lnTo>
                    <a:pt x="982" y="10795"/>
                  </a:lnTo>
                  <a:lnTo>
                    <a:pt x="1272" y="10395"/>
                  </a:lnTo>
                  <a:lnTo>
                    <a:pt x="1527" y="9959"/>
                  </a:lnTo>
                  <a:lnTo>
                    <a:pt x="1781" y="9523"/>
                  </a:lnTo>
                  <a:lnTo>
                    <a:pt x="2217" y="8578"/>
                  </a:lnTo>
                  <a:lnTo>
                    <a:pt x="2617" y="7633"/>
                  </a:lnTo>
                  <a:lnTo>
                    <a:pt x="2944" y="6615"/>
                  </a:lnTo>
                  <a:lnTo>
                    <a:pt x="3199" y="5634"/>
                  </a:lnTo>
                  <a:lnTo>
                    <a:pt x="3417" y="4689"/>
                  </a:lnTo>
                  <a:lnTo>
                    <a:pt x="3599" y="3744"/>
                  </a:lnTo>
                  <a:lnTo>
                    <a:pt x="3744" y="2872"/>
                  </a:lnTo>
                  <a:lnTo>
                    <a:pt x="3926" y="1382"/>
                  </a:lnTo>
                  <a:lnTo>
                    <a:pt x="3998" y="364"/>
                  </a:lnTo>
                  <a:lnTo>
                    <a:pt x="4035" y="0"/>
                  </a:lnTo>
                  <a:close/>
                </a:path>
              </a:pathLst>
            </a:custGeom>
            <a:solidFill>
              <a:srgbClr val="26262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15" name="Google Shape;2644;p11">
              <a:extLst>
                <a:ext uri="{FF2B5EF4-FFF2-40B4-BE49-F238E27FC236}">
                  <a16:creationId xmlns:a16="http://schemas.microsoft.com/office/drawing/2014/main" id="{256A5418-C801-8EEA-CD90-5C78AC8F551C}"/>
                </a:ext>
              </a:extLst>
            </p:cNvPr>
            <p:cNvSpPr/>
            <p:nvPr/>
          </p:nvSpPr>
          <p:spPr>
            <a:xfrm>
              <a:off x="1829150" y="3043750"/>
              <a:ext cx="100875" cy="296250"/>
            </a:xfrm>
            <a:custGeom>
              <a:avLst/>
              <a:gdLst/>
              <a:ahLst/>
              <a:cxnLst/>
              <a:rect l="l" t="t" r="r" b="b"/>
              <a:pathLst>
                <a:path w="4035" h="11850" fill="none" extrusionOk="0">
                  <a:moveTo>
                    <a:pt x="4035" y="0"/>
                  </a:moveTo>
                  <a:lnTo>
                    <a:pt x="873" y="4253"/>
                  </a:lnTo>
                  <a:lnTo>
                    <a:pt x="873" y="4253"/>
                  </a:lnTo>
                  <a:lnTo>
                    <a:pt x="873" y="4253"/>
                  </a:lnTo>
                  <a:lnTo>
                    <a:pt x="945" y="6215"/>
                  </a:lnTo>
                  <a:lnTo>
                    <a:pt x="945" y="6215"/>
                  </a:lnTo>
                  <a:lnTo>
                    <a:pt x="945" y="6325"/>
                  </a:lnTo>
                  <a:lnTo>
                    <a:pt x="945" y="6325"/>
                  </a:lnTo>
                  <a:lnTo>
                    <a:pt x="909" y="6833"/>
                  </a:lnTo>
                  <a:lnTo>
                    <a:pt x="873" y="7415"/>
                  </a:lnTo>
                  <a:lnTo>
                    <a:pt x="655" y="8723"/>
                  </a:lnTo>
                  <a:lnTo>
                    <a:pt x="364" y="10214"/>
                  </a:lnTo>
                  <a:lnTo>
                    <a:pt x="0" y="11849"/>
                  </a:lnTo>
                  <a:lnTo>
                    <a:pt x="0" y="11849"/>
                  </a:lnTo>
                  <a:lnTo>
                    <a:pt x="364" y="11522"/>
                  </a:lnTo>
                  <a:lnTo>
                    <a:pt x="691" y="11159"/>
                  </a:lnTo>
                  <a:lnTo>
                    <a:pt x="982" y="10795"/>
                  </a:lnTo>
                  <a:lnTo>
                    <a:pt x="1272" y="10395"/>
                  </a:lnTo>
                  <a:lnTo>
                    <a:pt x="1527" y="9959"/>
                  </a:lnTo>
                  <a:lnTo>
                    <a:pt x="1781" y="9523"/>
                  </a:lnTo>
                  <a:lnTo>
                    <a:pt x="2217" y="8578"/>
                  </a:lnTo>
                  <a:lnTo>
                    <a:pt x="2617" y="7633"/>
                  </a:lnTo>
                  <a:lnTo>
                    <a:pt x="2944" y="6615"/>
                  </a:lnTo>
                  <a:lnTo>
                    <a:pt x="3199" y="5634"/>
                  </a:lnTo>
                  <a:lnTo>
                    <a:pt x="3417" y="4689"/>
                  </a:lnTo>
                  <a:lnTo>
                    <a:pt x="3599" y="3744"/>
                  </a:lnTo>
                  <a:lnTo>
                    <a:pt x="3744" y="2872"/>
                  </a:lnTo>
                  <a:lnTo>
                    <a:pt x="3926" y="1382"/>
                  </a:lnTo>
                  <a:lnTo>
                    <a:pt x="3998" y="364"/>
                  </a:lnTo>
                  <a:lnTo>
                    <a:pt x="4035"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16" name="Google Shape;2645;p11">
              <a:extLst>
                <a:ext uri="{FF2B5EF4-FFF2-40B4-BE49-F238E27FC236}">
                  <a16:creationId xmlns:a16="http://schemas.microsoft.com/office/drawing/2014/main" id="{34F45A23-2A04-5859-5007-3B43FE48A9F5}"/>
                </a:ext>
              </a:extLst>
            </p:cNvPr>
            <p:cNvSpPr/>
            <p:nvPr/>
          </p:nvSpPr>
          <p:spPr>
            <a:xfrm>
              <a:off x="1818250" y="3363600"/>
              <a:ext cx="115425" cy="295325"/>
            </a:xfrm>
            <a:custGeom>
              <a:avLst/>
              <a:gdLst/>
              <a:ahLst/>
              <a:cxnLst/>
              <a:rect l="l" t="t" r="r" b="b"/>
              <a:pathLst>
                <a:path w="4617" h="11813" extrusionOk="0">
                  <a:moveTo>
                    <a:pt x="218" y="0"/>
                  </a:moveTo>
                  <a:lnTo>
                    <a:pt x="0" y="1018"/>
                  </a:lnTo>
                  <a:lnTo>
                    <a:pt x="582" y="2472"/>
                  </a:lnTo>
                  <a:lnTo>
                    <a:pt x="1200" y="3998"/>
                  </a:lnTo>
                  <a:lnTo>
                    <a:pt x="2472" y="7051"/>
                  </a:lnTo>
                  <a:lnTo>
                    <a:pt x="3671" y="9741"/>
                  </a:lnTo>
                  <a:lnTo>
                    <a:pt x="4616" y="11812"/>
                  </a:lnTo>
                  <a:lnTo>
                    <a:pt x="4616" y="11812"/>
                  </a:lnTo>
                  <a:lnTo>
                    <a:pt x="218" y="0"/>
                  </a:lnTo>
                  <a:close/>
                </a:path>
              </a:pathLst>
            </a:custGeom>
            <a:solidFill>
              <a:srgbClr val="26262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17" name="Google Shape;2646;p11">
              <a:extLst>
                <a:ext uri="{FF2B5EF4-FFF2-40B4-BE49-F238E27FC236}">
                  <a16:creationId xmlns:a16="http://schemas.microsoft.com/office/drawing/2014/main" id="{79535130-6DC3-CFAC-3437-91A585B76A9A}"/>
                </a:ext>
              </a:extLst>
            </p:cNvPr>
            <p:cNvSpPr/>
            <p:nvPr/>
          </p:nvSpPr>
          <p:spPr>
            <a:xfrm>
              <a:off x="1818250" y="3363600"/>
              <a:ext cx="115425" cy="295325"/>
            </a:xfrm>
            <a:custGeom>
              <a:avLst/>
              <a:gdLst/>
              <a:ahLst/>
              <a:cxnLst/>
              <a:rect l="l" t="t" r="r" b="b"/>
              <a:pathLst>
                <a:path w="4617" h="11813" fill="none" extrusionOk="0">
                  <a:moveTo>
                    <a:pt x="218" y="0"/>
                  </a:moveTo>
                  <a:lnTo>
                    <a:pt x="0" y="1018"/>
                  </a:lnTo>
                  <a:lnTo>
                    <a:pt x="0" y="1018"/>
                  </a:lnTo>
                  <a:lnTo>
                    <a:pt x="582" y="2472"/>
                  </a:lnTo>
                  <a:lnTo>
                    <a:pt x="1200" y="3998"/>
                  </a:lnTo>
                  <a:lnTo>
                    <a:pt x="2472" y="7051"/>
                  </a:lnTo>
                  <a:lnTo>
                    <a:pt x="3671" y="9741"/>
                  </a:lnTo>
                  <a:lnTo>
                    <a:pt x="4616" y="11812"/>
                  </a:lnTo>
                  <a:lnTo>
                    <a:pt x="218"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18" name="Google Shape;2647;p11">
              <a:extLst>
                <a:ext uri="{FF2B5EF4-FFF2-40B4-BE49-F238E27FC236}">
                  <a16:creationId xmlns:a16="http://schemas.microsoft.com/office/drawing/2014/main" id="{76CD2B81-E7C0-1050-92FD-32D1A1479E6B}"/>
                </a:ext>
              </a:extLst>
            </p:cNvPr>
            <p:cNvSpPr/>
            <p:nvPr/>
          </p:nvSpPr>
          <p:spPr>
            <a:xfrm>
              <a:off x="1814600" y="3389025"/>
              <a:ext cx="122700" cy="278975"/>
            </a:xfrm>
            <a:custGeom>
              <a:avLst/>
              <a:gdLst/>
              <a:ahLst/>
              <a:cxnLst/>
              <a:rect l="l" t="t" r="r" b="b"/>
              <a:pathLst>
                <a:path w="4908" h="11159" extrusionOk="0">
                  <a:moveTo>
                    <a:pt x="146" y="1"/>
                  </a:moveTo>
                  <a:lnTo>
                    <a:pt x="1" y="619"/>
                  </a:lnTo>
                  <a:lnTo>
                    <a:pt x="74" y="946"/>
                  </a:lnTo>
                  <a:lnTo>
                    <a:pt x="292" y="1418"/>
                  </a:lnTo>
                  <a:lnTo>
                    <a:pt x="873" y="2763"/>
                  </a:lnTo>
                  <a:lnTo>
                    <a:pt x="1673" y="4471"/>
                  </a:lnTo>
                  <a:lnTo>
                    <a:pt x="2545" y="6325"/>
                  </a:lnTo>
                  <a:lnTo>
                    <a:pt x="4181" y="9669"/>
                  </a:lnTo>
                  <a:lnTo>
                    <a:pt x="4907" y="11159"/>
                  </a:lnTo>
                  <a:lnTo>
                    <a:pt x="4762" y="10795"/>
                  </a:lnTo>
                  <a:lnTo>
                    <a:pt x="3817" y="8724"/>
                  </a:lnTo>
                  <a:lnTo>
                    <a:pt x="2618" y="6034"/>
                  </a:lnTo>
                  <a:lnTo>
                    <a:pt x="1346" y="2981"/>
                  </a:lnTo>
                  <a:lnTo>
                    <a:pt x="728" y="1455"/>
                  </a:lnTo>
                  <a:lnTo>
                    <a:pt x="146" y="1"/>
                  </a:lnTo>
                  <a:close/>
                </a:path>
              </a:pathLst>
            </a:custGeom>
            <a:solidFill>
              <a:srgbClr val="26262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19" name="Google Shape;2648;p11">
              <a:extLst>
                <a:ext uri="{FF2B5EF4-FFF2-40B4-BE49-F238E27FC236}">
                  <a16:creationId xmlns:a16="http://schemas.microsoft.com/office/drawing/2014/main" id="{473CA821-7BF8-2F9A-21F4-BBA661FD14C6}"/>
                </a:ext>
              </a:extLst>
            </p:cNvPr>
            <p:cNvSpPr/>
            <p:nvPr/>
          </p:nvSpPr>
          <p:spPr>
            <a:xfrm>
              <a:off x="1814600" y="3389025"/>
              <a:ext cx="122700" cy="278975"/>
            </a:xfrm>
            <a:custGeom>
              <a:avLst/>
              <a:gdLst/>
              <a:ahLst/>
              <a:cxnLst/>
              <a:rect l="l" t="t" r="r" b="b"/>
              <a:pathLst>
                <a:path w="4908" h="11159" fill="none" extrusionOk="0">
                  <a:moveTo>
                    <a:pt x="146" y="1"/>
                  </a:moveTo>
                  <a:lnTo>
                    <a:pt x="1" y="619"/>
                  </a:lnTo>
                  <a:lnTo>
                    <a:pt x="1" y="619"/>
                  </a:lnTo>
                  <a:lnTo>
                    <a:pt x="74" y="946"/>
                  </a:lnTo>
                  <a:lnTo>
                    <a:pt x="292" y="1418"/>
                  </a:lnTo>
                  <a:lnTo>
                    <a:pt x="873" y="2763"/>
                  </a:lnTo>
                  <a:lnTo>
                    <a:pt x="1673" y="4471"/>
                  </a:lnTo>
                  <a:lnTo>
                    <a:pt x="2545" y="6325"/>
                  </a:lnTo>
                  <a:lnTo>
                    <a:pt x="4181" y="9669"/>
                  </a:lnTo>
                  <a:lnTo>
                    <a:pt x="4907" y="11159"/>
                  </a:lnTo>
                  <a:lnTo>
                    <a:pt x="4762" y="10795"/>
                  </a:lnTo>
                  <a:lnTo>
                    <a:pt x="4762" y="10795"/>
                  </a:lnTo>
                  <a:lnTo>
                    <a:pt x="3817" y="8724"/>
                  </a:lnTo>
                  <a:lnTo>
                    <a:pt x="2618" y="6034"/>
                  </a:lnTo>
                  <a:lnTo>
                    <a:pt x="1346" y="2981"/>
                  </a:lnTo>
                  <a:lnTo>
                    <a:pt x="728" y="1455"/>
                  </a:lnTo>
                  <a:lnTo>
                    <a:pt x="146"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20" name="Google Shape;2649;p11">
              <a:extLst>
                <a:ext uri="{FF2B5EF4-FFF2-40B4-BE49-F238E27FC236}">
                  <a16:creationId xmlns:a16="http://schemas.microsoft.com/office/drawing/2014/main" id="{5FB20ECA-FDA4-6990-751D-5C2A00E7170B}"/>
                </a:ext>
              </a:extLst>
            </p:cNvPr>
            <p:cNvSpPr/>
            <p:nvPr/>
          </p:nvSpPr>
          <p:spPr>
            <a:xfrm>
              <a:off x="544325" y="4152300"/>
              <a:ext cx="312600" cy="1175800"/>
            </a:xfrm>
            <a:custGeom>
              <a:avLst/>
              <a:gdLst/>
              <a:ahLst/>
              <a:cxnLst/>
              <a:rect l="l" t="t" r="r" b="b"/>
              <a:pathLst>
                <a:path w="12504" h="47032" extrusionOk="0">
                  <a:moveTo>
                    <a:pt x="11486" y="0"/>
                  </a:moveTo>
                  <a:lnTo>
                    <a:pt x="10395" y="909"/>
                  </a:lnTo>
                  <a:lnTo>
                    <a:pt x="9269" y="1854"/>
                  </a:lnTo>
                  <a:lnTo>
                    <a:pt x="7960" y="3017"/>
                  </a:lnTo>
                  <a:lnTo>
                    <a:pt x="6615" y="4253"/>
                  </a:lnTo>
                  <a:lnTo>
                    <a:pt x="5998" y="4870"/>
                  </a:lnTo>
                  <a:lnTo>
                    <a:pt x="5416" y="5452"/>
                  </a:lnTo>
                  <a:lnTo>
                    <a:pt x="4907" y="6034"/>
                  </a:lnTo>
                  <a:lnTo>
                    <a:pt x="4507" y="6542"/>
                  </a:lnTo>
                  <a:lnTo>
                    <a:pt x="4180" y="7015"/>
                  </a:lnTo>
                  <a:lnTo>
                    <a:pt x="4071" y="7233"/>
                  </a:lnTo>
                  <a:lnTo>
                    <a:pt x="3999" y="7415"/>
                  </a:lnTo>
                  <a:lnTo>
                    <a:pt x="3926" y="7924"/>
                  </a:lnTo>
                  <a:lnTo>
                    <a:pt x="3817" y="8759"/>
                  </a:lnTo>
                  <a:lnTo>
                    <a:pt x="3780" y="9850"/>
                  </a:lnTo>
                  <a:lnTo>
                    <a:pt x="3708" y="11158"/>
                  </a:lnTo>
                  <a:lnTo>
                    <a:pt x="3671" y="14284"/>
                  </a:lnTo>
                  <a:lnTo>
                    <a:pt x="3635" y="17737"/>
                  </a:lnTo>
                  <a:lnTo>
                    <a:pt x="3635" y="24279"/>
                  </a:lnTo>
                  <a:lnTo>
                    <a:pt x="3599" y="26642"/>
                  </a:lnTo>
                  <a:lnTo>
                    <a:pt x="3562" y="27950"/>
                  </a:lnTo>
                  <a:lnTo>
                    <a:pt x="3490" y="28859"/>
                  </a:lnTo>
                  <a:lnTo>
                    <a:pt x="3308" y="30240"/>
                  </a:lnTo>
                  <a:lnTo>
                    <a:pt x="3054" y="31948"/>
                  </a:lnTo>
                  <a:lnTo>
                    <a:pt x="2799" y="33802"/>
                  </a:lnTo>
                  <a:lnTo>
                    <a:pt x="2472" y="35692"/>
                  </a:lnTo>
                  <a:lnTo>
                    <a:pt x="2109" y="37473"/>
                  </a:lnTo>
                  <a:lnTo>
                    <a:pt x="1781" y="38963"/>
                  </a:lnTo>
                  <a:lnTo>
                    <a:pt x="1600" y="39581"/>
                  </a:lnTo>
                  <a:lnTo>
                    <a:pt x="1418" y="40053"/>
                  </a:lnTo>
                  <a:lnTo>
                    <a:pt x="1091" y="40780"/>
                  </a:lnTo>
                  <a:lnTo>
                    <a:pt x="836" y="41289"/>
                  </a:lnTo>
                  <a:lnTo>
                    <a:pt x="582" y="41616"/>
                  </a:lnTo>
                  <a:lnTo>
                    <a:pt x="400" y="41834"/>
                  </a:lnTo>
                  <a:lnTo>
                    <a:pt x="219" y="42052"/>
                  </a:lnTo>
                  <a:lnTo>
                    <a:pt x="110" y="42270"/>
                  </a:lnTo>
                  <a:lnTo>
                    <a:pt x="37" y="42597"/>
                  </a:lnTo>
                  <a:lnTo>
                    <a:pt x="1" y="43070"/>
                  </a:lnTo>
                  <a:lnTo>
                    <a:pt x="37" y="43215"/>
                  </a:lnTo>
                  <a:lnTo>
                    <a:pt x="110" y="43361"/>
                  </a:lnTo>
                  <a:lnTo>
                    <a:pt x="219" y="43542"/>
                  </a:lnTo>
                  <a:lnTo>
                    <a:pt x="364" y="43724"/>
                  </a:lnTo>
                  <a:lnTo>
                    <a:pt x="764" y="44051"/>
                  </a:lnTo>
                  <a:lnTo>
                    <a:pt x="1273" y="44415"/>
                  </a:lnTo>
                  <a:lnTo>
                    <a:pt x="1890" y="44778"/>
                  </a:lnTo>
                  <a:lnTo>
                    <a:pt x="2581" y="45178"/>
                  </a:lnTo>
                  <a:lnTo>
                    <a:pt x="3344" y="45505"/>
                  </a:lnTo>
                  <a:lnTo>
                    <a:pt x="4108" y="45832"/>
                  </a:lnTo>
                  <a:lnTo>
                    <a:pt x="4871" y="46159"/>
                  </a:lnTo>
                  <a:lnTo>
                    <a:pt x="5598" y="46450"/>
                  </a:lnTo>
                  <a:lnTo>
                    <a:pt x="6252" y="46668"/>
                  </a:lnTo>
                  <a:lnTo>
                    <a:pt x="6834" y="46850"/>
                  </a:lnTo>
                  <a:lnTo>
                    <a:pt x="7342" y="46959"/>
                  </a:lnTo>
                  <a:lnTo>
                    <a:pt x="7706" y="47031"/>
                  </a:lnTo>
                  <a:lnTo>
                    <a:pt x="7815" y="47031"/>
                  </a:lnTo>
                  <a:lnTo>
                    <a:pt x="7924" y="46995"/>
                  </a:lnTo>
                  <a:lnTo>
                    <a:pt x="7960" y="46959"/>
                  </a:lnTo>
                  <a:lnTo>
                    <a:pt x="7960" y="46922"/>
                  </a:lnTo>
                  <a:lnTo>
                    <a:pt x="7488" y="45977"/>
                  </a:lnTo>
                  <a:lnTo>
                    <a:pt x="6761" y="44669"/>
                  </a:lnTo>
                  <a:lnTo>
                    <a:pt x="5525" y="42452"/>
                  </a:lnTo>
                  <a:lnTo>
                    <a:pt x="5489" y="42307"/>
                  </a:lnTo>
                  <a:lnTo>
                    <a:pt x="5525" y="42052"/>
                  </a:lnTo>
                  <a:lnTo>
                    <a:pt x="5634" y="41180"/>
                  </a:lnTo>
                  <a:lnTo>
                    <a:pt x="5889" y="39835"/>
                  </a:lnTo>
                  <a:lnTo>
                    <a:pt x="6216" y="38199"/>
                  </a:lnTo>
                  <a:lnTo>
                    <a:pt x="7161" y="34020"/>
                  </a:lnTo>
                  <a:lnTo>
                    <a:pt x="8251" y="29186"/>
                  </a:lnTo>
                  <a:lnTo>
                    <a:pt x="10541" y="19590"/>
                  </a:lnTo>
                  <a:lnTo>
                    <a:pt x="11995" y="13484"/>
                  </a:lnTo>
                  <a:lnTo>
                    <a:pt x="12176" y="12721"/>
                  </a:lnTo>
                  <a:lnTo>
                    <a:pt x="12285" y="11958"/>
                  </a:lnTo>
                  <a:lnTo>
                    <a:pt x="12394" y="11158"/>
                  </a:lnTo>
                  <a:lnTo>
                    <a:pt x="12431" y="10395"/>
                  </a:lnTo>
                  <a:lnTo>
                    <a:pt x="12467" y="9595"/>
                  </a:lnTo>
                  <a:lnTo>
                    <a:pt x="12503" y="8796"/>
                  </a:lnTo>
                  <a:lnTo>
                    <a:pt x="12503" y="7960"/>
                  </a:lnTo>
                  <a:lnTo>
                    <a:pt x="12467" y="7124"/>
                  </a:lnTo>
                  <a:lnTo>
                    <a:pt x="12322" y="5452"/>
                  </a:lnTo>
                  <a:lnTo>
                    <a:pt x="12104" y="3671"/>
                  </a:lnTo>
                  <a:lnTo>
                    <a:pt x="11813" y="1890"/>
                  </a:lnTo>
                  <a:lnTo>
                    <a:pt x="11486" y="0"/>
                  </a:lnTo>
                  <a:close/>
                </a:path>
              </a:pathLst>
            </a:custGeom>
            <a:solidFill>
              <a:srgbClr val="F5B1B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21" name="Google Shape;2650;p11">
              <a:extLst>
                <a:ext uri="{FF2B5EF4-FFF2-40B4-BE49-F238E27FC236}">
                  <a16:creationId xmlns:a16="http://schemas.microsoft.com/office/drawing/2014/main" id="{FBBEE64E-5B2A-C280-CFE5-7DF0C69D3A0E}"/>
                </a:ext>
              </a:extLst>
            </p:cNvPr>
            <p:cNvSpPr/>
            <p:nvPr/>
          </p:nvSpPr>
          <p:spPr>
            <a:xfrm>
              <a:off x="544325" y="4152300"/>
              <a:ext cx="312600" cy="1175800"/>
            </a:xfrm>
            <a:custGeom>
              <a:avLst/>
              <a:gdLst/>
              <a:ahLst/>
              <a:cxnLst/>
              <a:rect l="l" t="t" r="r" b="b"/>
              <a:pathLst>
                <a:path w="12504" h="47032" fill="none" extrusionOk="0">
                  <a:moveTo>
                    <a:pt x="11486" y="0"/>
                  </a:moveTo>
                  <a:lnTo>
                    <a:pt x="11486" y="0"/>
                  </a:lnTo>
                  <a:lnTo>
                    <a:pt x="11813" y="1890"/>
                  </a:lnTo>
                  <a:lnTo>
                    <a:pt x="12104" y="3671"/>
                  </a:lnTo>
                  <a:lnTo>
                    <a:pt x="12322" y="5452"/>
                  </a:lnTo>
                  <a:lnTo>
                    <a:pt x="12467" y="7124"/>
                  </a:lnTo>
                  <a:lnTo>
                    <a:pt x="12503" y="7960"/>
                  </a:lnTo>
                  <a:lnTo>
                    <a:pt x="12503" y="8796"/>
                  </a:lnTo>
                  <a:lnTo>
                    <a:pt x="12467" y="9595"/>
                  </a:lnTo>
                  <a:lnTo>
                    <a:pt x="12431" y="10395"/>
                  </a:lnTo>
                  <a:lnTo>
                    <a:pt x="12394" y="11158"/>
                  </a:lnTo>
                  <a:lnTo>
                    <a:pt x="12285" y="11958"/>
                  </a:lnTo>
                  <a:lnTo>
                    <a:pt x="12176" y="12721"/>
                  </a:lnTo>
                  <a:lnTo>
                    <a:pt x="11995" y="13484"/>
                  </a:lnTo>
                  <a:lnTo>
                    <a:pt x="11995" y="13484"/>
                  </a:lnTo>
                  <a:lnTo>
                    <a:pt x="10541" y="19590"/>
                  </a:lnTo>
                  <a:lnTo>
                    <a:pt x="8251" y="29186"/>
                  </a:lnTo>
                  <a:lnTo>
                    <a:pt x="7161" y="34020"/>
                  </a:lnTo>
                  <a:lnTo>
                    <a:pt x="6216" y="38199"/>
                  </a:lnTo>
                  <a:lnTo>
                    <a:pt x="5889" y="39835"/>
                  </a:lnTo>
                  <a:lnTo>
                    <a:pt x="5634" y="41180"/>
                  </a:lnTo>
                  <a:lnTo>
                    <a:pt x="5525" y="42052"/>
                  </a:lnTo>
                  <a:lnTo>
                    <a:pt x="5489" y="42307"/>
                  </a:lnTo>
                  <a:lnTo>
                    <a:pt x="5525" y="42452"/>
                  </a:lnTo>
                  <a:lnTo>
                    <a:pt x="5525" y="42452"/>
                  </a:lnTo>
                  <a:lnTo>
                    <a:pt x="6761" y="44669"/>
                  </a:lnTo>
                  <a:lnTo>
                    <a:pt x="7488" y="45977"/>
                  </a:lnTo>
                  <a:lnTo>
                    <a:pt x="7960" y="46922"/>
                  </a:lnTo>
                  <a:lnTo>
                    <a:pt x="7960" y="46922"/>
                  </a:lnTo>
                  <a:lnTo>
                    <a:pt x="7960" y="46959"/>
                  </a:lnTo>
                  <a:lnTo>
                    <a:pt x="7924" y="46995"/>
                  </a:lnTo>
                  <a:lnTo>
                    <a:pt x="7815" y="47031"/>
                  </a:lnTo>
                  <a:lnTo>
                    <a:pt x="7706" y="47031"/>
                  </a:lnTo>
                  <a:lnTo>
                    <a:pt x="7342" y="46959"/>
                  </a:lnTo>
                  <a:lnTo>
                    <a:pt x="6834" y="46850"/>
                  </a:lnTo>
                  <a:lnTo>
                    <a:pt x="6252" y="46668"/>
                  </a:lnTo>
                  <a:lnTo>
                    <a:pt x="5598" y="46450"/>
                  </a:lnTo>
                  <a:lnTo>
                    <a:pt x="4871" y="46159"/>
                  </a:lnTo>
                  <a:lnTo>
                    <a:pt x="4108" y="45832"/>
                  </a:lnTo>
                  <a:lnTo>
                    <a:pt x="3344" y="45505"/>
                  </a:lnTo>
                  <a:lnTo>
                    <a:pt x="2581" y="45178"/>
                  </a:lnTo>
                  <a:lnTo>
                    <a:pt x="1890" y="44778"/>
                  </a:lnTo>
                  <a:lnTo>
                    <a:pt x="1273" y="44415"/>
                  </a:lnTo>
                  <a:lnTo>
                    <a:pt x="764" y="44051"/>
                  </a:lnTo>
                  <a:lnTo>
                    <a:pt x="364" y="43724"/>
                  </a:lnTo>
                  <a:lnTo>
                    <a:pt x="219" y="43542"/>
                  </a:lnTo>
                  <a:lnTo>
                    <a:pt x="110" y="43361"/>
                  </a:lnTo>
                  <a:lnTo>
                    <a:pt x="37" y="43215"/>
                  </a:lnTo>
                  <a:lnTo>
                    <a:pt x="1" y="43070"/>
                  </a:lnTo>
                  <a:lnTo>
                    <a:pt x="1" y="43070"/>
                  </a:lnTo>
                  <a:lnTo>
                    <a:pt x="37" y="42597"/>
                  </a:lnTo>
                  <a:lnTo>
                    <a:pt x="110" y="42270"/>
                  </a:lnTo>
                  <a:lnTo>
                    <a:pt x="219" y="42052"/>
                  </a:lnTo>
                  <a:lnTo>
                    <a:pt x="400" y="41834"/>
                  </a:lnTo>
                  <a:lnTo>
                    <a:pt x="582" y="41616"/>
                  </a:lnTo>
                  <a:lnTo>
                    <a:pt x="836" y="41289"/>
                  </a:lnTo>
                  <a:lnTo>
                    <a:pt x="1091" y="40780"/>
                  </a:lnTo>
                  <a:lnTo>
                    <a:pt x="1418" y="40053"/>
                  </a:lnTo>
                  <a:lnTo>
                    <a:pt x="1418" y="40053"/>
                  </a:lnTo>
                  <a:lnTo>
                    <a:pt x="1600" y="39581"/>
                  </a:lnTo>
                  <a:lnTo>
                    <a:pt x="1781" y="38963"/>
                  </a:lnTo>
                  <a:lnTo>
                    <a:pt x="2109" y="37473"/>
                  </a:lnTo>
                  <a:lnTo>
                    <a:pt x="2472" y="35692"/>
                  </a:lnTo>
                  <a:lnTo>
                    <a:pt x="2799" y="33802"/>
                  </a:lnTo>
                  <a:lnTo>
                    <a:pt x="3054" y="31948"/>
                  </a:lnTo>
                  <a:lnTo>
                    <a:pt x="3308" y="30240"/>
                  </a:lnTo>
                  <a:lnTo>
                    <a:pt x="3490" y="28859"/>
                  </a:lnTo>
                  <a:lnTo>
                    <a:pt x="3562" y="27950"/>
                  </a:lnTo>
                  <a:lnTo>
                    <a:pt x="3562" y="27950"/>
                  </a:lnTo>
                  <a:lnTo>
                    <a:pt x="3599" y="26642"/>
                  </a:lnTo>
                  <a:lnTo>
                    <a:pt x="3635" y="24279"/>
                  </a:lnTo>
                  <a:lnTo>
                    <a:pt x="3635" y="17737"/>
                  </a:lnTo>
                  <a:lnTo>
                    <a:pt x="3671" y="14284"/>
                  </a:lnTo>
                  <a:lnTo>
                    <a:pt x="3708" y="11158"/>
                  </a:lnTo>
                  <a:lnTo>
                    <a:pt x="3780" y="9850"/>
                  </a:lnTo>
                  <a:lnTo>
                    <a:pt x="3817" y="8759"/>
                  </a:lnTo>
                  <a:lnTo>
                    <a:pt x="3926" y="7924"/>
                  </a:lnTo>
                  <a:lnTo>
                    <a:pt x="3999" y="7415"/>
                  </a:lnTo>
                  <a:lnTo>
                    <a:pt x="3999" y="7415"/>
                  </a:lnTo>
                  <a:lnTo>
                    <a:pt x="4071" y="7233"/>
                  </a:lnTo>
                  <a:lnTo>
                    <a:pt x="4180" y="7015"/>
                  </a:lnTo>
                  <a:lnTo>
                    <a:pt x="4507" y="6542"/>
                  </a:lnTo>
                  <a:lnTo>
                    <a:pt x="4907" y="6034"/>
                  </a:lnTo>
                  <a:lnTo>
                    <a:pt x="5416" y="5452"/>
                  </a:lnTo>
                  <a:lnTo>
                    <a:pt x="5998" y="4870"/>
                  </a:lnTo>
                  <a:lnTo>
                    <a:pt x="6615" y="4253"/>
                  </a:lnTo>
                  <a:lnTo>
                    <a:pt x="7960" y="3017"/>
                  </a:lnTo>
                  <a:lnTo>
                    <a:pt x="9269" y="1854"/>
                  </a:lnTo>
                  <a:lnTo>
                    <a:pt x="10395" y="909"/>
                  </a:lnTo>
                  <a:lnTo>
                    <a:pt x="11486"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22" name="Google Shape;2651;p11">
              <a:extLst>
                <a:ext uri="{FF2B5EF4-FFF2-40B4-BE49-F238E27FC236}">
                  <a16:creationId xmlns:a16="http://schemas.microsoft.com/office/drawing/2014/main" id="{967AA75A-58A8-A3C3-7272-DB2E641749E1}"/>
                </a:ext>
              </a:extLst>
            </p:cNvPr>
            <p:cNvSpPr/>
            <p:nvPr/>
          </p:nvSpPr>
          <p:spPr>
            <a:xfrm>
              <a:off x="492525" y="5150900"/>
              <a:ext cx="316250" cy="263525"/>
            </a:xfrm>
            <a:custGeom>
              <a:avLst/>
              <a:gdLst/>
              <a:ahLst/>
              <a:cxnLst/>
              <a:rect l="l" t="t" r="r" b="b"/>
              <a:pathLst>
                <a:path w="12650" h="10541" extrusionOk="0">
                  <a:moveTo>
                    <a:pt x="3199" y="0"/>
                  </a:moveTo>
                  <a:lnTo>
                    <a:pt x="3017" y="36"/>
                  </a:lnTo>
                  <a:lnTo>
                    <a:pt x="2872" y="73"/>
                  </a:lnTo>
                  <a:lnTo>
                    <a:pt x="2000" y="691"/>
                  </a:lnTo>
                  <a:lnTo>
                    <a:pt x="1164" y="1309"/>
                  </a:lnTo>
                  <a:lnTo>
                    <a:pt x="909" y="1527"/>
                  </a:lnTo>
                  <a:lnTo>
                    <a:pt x="691" y="1781"/>
                  </a:lnTo>
                  <a:lnTo>
                    <a:pt x="510" y="2072"/>
                  </a:lnTo>
                  <a:lnTo>
                    <a:pt x="328" y="2363"/>
                  </a:lnTo>
                  <a:lnTo>
                    <a:pt x="183" y="2653"/>
                  </a:lnTo>
                  <a:lnTo>
                    <a:pt x="73" y="2908"/>
                  </a:lnTo>
                  <a:lnTo>
                    <a:pt x="1" y="3162"/>
                  </a:lnTo>
                  <a:lnTo>
                    <a:pt x="1" y="3308"/>
                  </a:lnTo>
                  <a:lnTo>
                    <a:pt x="73" y="3489"/>
                  </a:lnTo>
                  <a:lnTo>
                    <a:pt x="255" y="3707"/>
                  </a:lnTo>
                  <a:lnTo>
                    <a:pt x="837" y="4253"/>
                  </a:lnTo>
                  <a:lnTo>
                    <a:pt x="1527" y="4907"/>
                  </a:lnTo>
                  <a:lnTo>
                    <a:pt x="2254" y="5561"/>
                  </a:lnTo>
                  <a:lnTo>
                    <a:pt x="2472" y="5561"/>
                  </a:lnTo>
                  <a:lnTo>
                    <a:pt x="2545" y="5488"/>
                  </a:lnTo>
                  <a:lnTo>
                    <a:pt x="2654" y="5416"/>
                  </a:lnTo>
                  <a:lnTo>
                    <a:pt x="2799" y="5307"/>
                  </a:lnTo>
                  <a:lnTo>
                    <a:pt x="2836" y="5307"/>
                  </a:lnTo>
                  <a:lnTo>
                    <a:pt x="2945" y="5379"/>
                  </a:lnTo>
                  <a:lnTo>
                    <a:pt x="3308" y="5634"/>
                  </a:lnTo>
                  <a:lnTo>
                    <a:pt x="4399" y="6688"/>
                  </a:lnTo>
                  <a:lnTo>
                    <a:pt x="6834" y="8977"/>
                  </a:lnTo>
                  <a:lnTo>
                    <a:pt x="7052" y="9196"/>
                  </a:lnTo>
                  <a:lnTo>
                    <a:pt x="7343" y="9377"/>
                  </a:lnTo>
                  <a:lnTo>
                    <a:pt x="7670" y="9559"/>
                  </a:lnTo>
                  <a:lnTo>
                    <a:pt x="8033" y="9741"/>
                  </a:lnTo>
                  <a:lnTo>
                    <a:pt x="8833" y="10068"/>
                  </a:lnTo>
                  <a:lnTo>
                    <a:pt x="9669" y="10322"/>
                  </a:lnTo>
                  <a:lnTo>
                    <a:pt x="10105" y="10431"/>
                  </a:lnTo>
                  <a:lnTo>
                    <a:pt x="10505" y="10504"/>
                  </a:lnTo>
                  <a:lnTo>
                    <a:pt x="10905" y="10540"/>
                  </a:lnTo>
                  <a:lnTo>
                    <a:pt x="11668" y="10540"/>
                  </a:lnTo>
                  <a:lnTo>
                    <a:pt x="11959" y="10468"/>
                  </a:lnTo>
                  <a:lnTo>
                    <a:pt x="12249" y="10395"/>
                  </a:lnTo>
                  <a:lnTo>
                    <a:pt x="12467" y="10250"/>
                  </a:lnTo>
                  <a:lnTo>
                    <a:pt x="12613" y="10068"/>
                  </a:lnTo>
                  <a:lnTo>
                    <a:pt x="12649" y="9850"/>
                  </a:lnTo>
                  <a:lnTo>
                    <a:pt x="12649" y="9632"/>
                  </a:lnTo>
                  <a:lnTo>
                    <a:pt x="12576" y="9377"/>
                  </a:lnTo>
                  <a:lnTo>
                    <a:pt x="12467" y="9123"/>
                  </a:lnTo>
                  <a:lnTo>
                    <a:pt x="12286" y="8868"/>
                  </a:lnTo>
                  <a:lnTo>
                    <a:pt x="12068" y="8578"/>
                  </a:lnTo>
                  <a:lnTo>
                    <a:pt x="11850" y="8323"/>
                  </a:lnTo>
                  <a:lnTo>
                    <a:pt x="11341" y="7778"/>
                  </a:lnTo>
                  <a:lnTo>
                    <a:pt x="10832" y="7306"/>
                  </a:lnTo>
                  <a:lnTo>
                    <a:pt x="10396" y="6942"/>
                  </a:lnTo>
                  <a:lnTo>
                    <a:pt x="10141" y="6651"/>
                  </a:lnTo>
                  <a:lnTo>
                    <a:pt x="10032" y="6579"/>
                  </a:lnTo>
                  <a:lnTo>
                    <a:pt x="9887" y="6470"/>
                  </a:lnTo>
                  <a:lnTo>
                    <a:pt x="9560" y="6324"/>
                  </a:lnTo>
                  <a:lnTo>
                    <a:pt x="8687" y="6033"/>
                  </a:lnTo>
                  <a:lnTo>
                    <a:pt x="8142" y="5888"/>
                  </a:lnTo>
                  <a:lnTo>
                    <a:pt x="7597" y="5634"/>
                  </a:lnTo>
                  <a:lnTo>
                    <a:pt x="7016" y="5343"/>
                  </a:lnTo>
                  <a:lnTo>
                    <a:pt x="6761" y="5161"/>
                  </a:lnTo>
                  <a:lnTo>
                    <a:pt x="6470" y="4979"/>
                  </a:lnTo>
                  <a:lnTo>
                    <a:pt x="5961" y="4543"/>
                  </a:lnTo>
                  <a:lnTo>
                    <a:pt x="5598" y="4107"/>
                  </a:lnTo>
                  <a:lnTo>
                    <a:pt x="5307" y="3707"/>
                  </a:lnTo>
                  <a:lnTo>
                    <a:pt x="5126" y="3308"/>
                  </a:lnTo>
                  <a:lnTo>
                    <a:pt x="4980" y="2944"/>
                  </a:lnTo>
                  <a:lnTo>
                    <a:pt x="4907" y="2617"/>
                  </a:lnTo>
                  <a:lnTo>
                    <a:pt x="4798" y="2035"/>
                  </a:lnTo>
                  <a:lnTo>
                    <a:pt x="4653" y="1708"/>
                  </a:lnTo>
                  <a:lnTo>
                    <a:pt x="4435" y="1236"/>
                  </a:lnTo>
                  <a:lnTo>
                    <a:pt x="4253" y="981"/>
                  </a:lnTo>
                  <a:lnTo>
                    <a:pt x="4035" y="691"/>
                  </a:lnTo>
                  <a:lnTo>
                    <a:pt x="3781" y="400"/>
                  </a:lnTo>
                  <a:lnTo>
                    <a:pt x="3490" y="109"/>
                  </a:lnTo>
                  <a:lnTo>
                    <a:pt x="3345" y="36"/>
                  </a:lnTo>
                  <a:lnTo>
                    <a:pt x="3199" y="0"/>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23" name="Google Shape;2652;p11">
              <a:extLst>
                <a:ext uri="{FF2B5EF4-FFF2-40B4-BE49-F238E27FC236}">
                  <a16:creationId xmlns:a16="http://schemas.microsoft.com/office/drawing/2014/main" id="{C5CDDA28-6A29-FE40-F196-0914FBB8B4C9}"/>
                </a:ext>
              </a:extLst>
            </p:cNvPr>
            <p:cNvSpPr/>
            <p:nvPr/>
          </p:nvSpPr>
          <p:spPr>
            <a:xfrm>
              <a:off x="892325" y="4184100"/>
              <a:ext cx="429825" cy="1157625"/>
            </a:xfrm>
            <a:custGeom>
              <a:avLst/>
              <a:gdLst/>
              <a:ahLst/>
              <a:cxnLst/>
              <a:rect l="l" t="t" r="r" b="b"/>
              <a:pathLst>
                <a:path w="17193" h="46305" extrusionOk="0">
                  <a:moveTo>
                    <a:pt x="1237" y="0"/>
                  </a:moveTo>
                  <a:lnTo>
                    <a:pt x="1019" y="37"/>
                  </a:lnTo>
                  <a:lnTo>
                    <a:pt x="764" y="73"/>
                  </a:lnTo>
                  <a:lnTo>
                    <a:pt x="546" y="182"/>
                  </a:lnTo>
                  <a:lnTo>
                    <a:pt x="364" y="291"/>
                  </a:lnTo>
                  <a:lnTo>
                    <a:pt x="219" y="473"/>
                  </a:lnTo>
                  <a:lnTo>
                    <a:pt x="74" y="691"/>
                  </a:lnTo>
                  <a:lnTo>
                    <a:pt x="1" y="982"/>
                  </a:lnTo>
                  <a:lnTo>
                    <a:pt x="1" y="1345"/>
                  </a:lnTo>
                  <a:lnTo>
                    <a:pt x="146" y="2435"/>
                  </a:lnTo>
                  <a:lnTo>
                    <a:pt x="437" y="4543"/>
                  </a:lnTo>
                  <a:lnTo>
                    <a:pt x="1382" y="10686"/>
                  </a:lnTo>
                  <a:lnTo>
                    <a:pt x="2109" y="15084"/>
                  </a:lnTo>
                  <a:lnTo>
                    <a:pt x="3745" y="24715"/>
                  </a:lnTo>
                  <a:lnTo>
                    <a:pt x="4362" y="28132"/>
                  </a:lnTo>
                  <a:lnTo>
                    <a:pt x="4544" y="29259"/>
                  </a:lnTo>
                  <a:lnTo>
                    <a:pt x="4690" y="29840"/>
                  </a:lnTo>
                  <a:lnTo>
                    <a:pt x="4908" y="30785"/>
                  </a:lnTo>
                  <a:lnTo>
                    <a:pt x="5235" y="32166"/>
                  </a:lnTo>
                  <a:lnTo>
                    <a:pt x="5598" y="33874"/>
                  </a:lnTo>
                  <a:lnTo>
                    <a:pt x="5998" y="35764"/>
                  </a:lnTo>
                  <a:lnTo>
                    <a:pt x="6361" y="37691"/>
                  </a:lnTo>
                  <a:lnTo>
                    <a:pt x="6652" y="39544"/>
                  </a:lnTo>
                  <a:lnTo>
                    <a:pt x="6834" y="41107"/>
                  </a:lnTo>
                  <a:lnTo>
                    <a:pt x="6870" y="41761"/>
                  </a:lnTo>
                  <a:lnTo>
                    <a:pt x="6870" y="42307"/>
                  </a:lnTo>
                  <a:lnTo>
                    <a:pt x="6834" y="43106"/>
                  </a:lnTo>
                  <a:lnTo>
                    <a:pt x="6725" y="43688"/>
                  </a:lnTo>
                  <a:lnTo>
                    <a:pt x="6616" y="44088"/>
                  </a:lnTo>
                  <a:lnTo>
                    <a:pt x="6470" y="44378"/>
                  </a:lnTo>
                  <a:lnTo>
                    <a:pt x="6398" y="44633"/>
                  </a:lnTo>
                  <a:lnTo>
                    <a:pt x="6361" y="44887"/>
                  </a:lnTo>
                  <a:lnTo>
                    <a:pt x="6398" y="45214"/>
                  </a:lnTo>
                  <a:lnTo>
                    <a:pt x="6543" y="45687"/>
                  </a:lnTo>
                  <a:lnTo>
                    <a:pt x="6616" y="45832"/>
                  </a:lnTo>
                  <a:lnTo>
                    <a:pt x="6761" y="45941"/>
                  </a:lnTo>
                  <a:lnTo>
                    <a:pt x="6943" y="46014"/>
                  </a:lnTo>
                  <a:lnTo>
                    <a:pt x="7161" y="46123"/>
                  </a:lnTo>
                  <a:lnTo>
                    <a:pt x="7452" y="46159"/>
                  </a:lnTo>
                  <a:lnTo>
                    <a:pt x="7779" y="46232"/>
                  </a:lnTo>
                  <a:lnTo>
                    <a:pt x="8506" y="46305"/>
                  </a:lnTo>
                  <a:lnTo>
                    <a:pt x="9378" y="46305"/>
                  </a:lnTo>
                  <a:lnTo>
                    <a:pt x="10287" y="46268"/>
                  </a:lnTo>
                  <a:lnTo>
                    <a:pt x="11268" y="46232"/>
                  </a:lnTo>
                  <a:lnTo>
                    <a:pt x="12286" y="46123"/>
                  </a:lnTo>
                  <a:lnTo>
                    <a:pt x="13267" y="46014"/>
                  </a:lnTo>
                  <a:lnTo>
                    <a:pt x="14212" y="45869"/>
                  </a:lnTo>
                  <a:lnTo>
                    <a:pt x="15084" y="45723"/>
                  </a:lnTo>
                  <a:lnTo>
                    <a:pt x="15848" y="45578"/>
                  </a:lnTo>
                  <a:lnTo>
                    <a:pt x="16466" y="45432"/>
                  </a:lnTo>
                  <a:lnTo>
                    <a:pt x="16902" y="45287"/>
                  </a:lnTo>
                  <a:lnTo>
                    <a:pt x="17083" y="45214"/>
                  </a:lnTo>
                  <a:lnTo>
                    <a:pt x="17156" y="45142"/>
                  </a:lnTo>
                  <a:lnTo>
                    <a:pt x="17192" y="45069"/>
                  </a:lnTo>
                  <a:lnTo>
                    <a:pt x="17192" y="44996"/>
                  </a:lnTo>
                  <a:lnTo>
                    <a:pt x="17011" y="44887"/>
                  </a:lnTo>
                  <a:lnTo>
                    <a:pt x="16793" y="44778"/>
                  </a:lnTo>
                  <a:lnTo>
                    <a:pt x="16175" y="44524"/>
                  </a:lnTo>
                  <a:lnTo>
                    <a:pt x="15375" y="44269"/>
                  </a:lnTo>
                  <a:lnTo>
                    <a:pt x="14503" y="44051"/>
                  </a:lnTo>
                  <a:lnTo>
                    <a:pt x="12795" y="43542"/>
                  </a:lnTo>
                  <a:lnTo>
                    <a:pt x="12177" y="43324"/>
                  </a:lnTo>
                  <a:lnTo>
                    <a:pt x="11922" y="43215"/>
                  </a:lnTo>
                  <a:lnTo>
                    <a:pt x="11741" y="43143"/>
                  </a:lnTo>
                  <a:lnTo>
                    <a:pt x="11704" y="43034"/>
                  </a:lnTo>
                  <a:lnTo>
                    <a:pt x="11668" y="42888"/>
                  </a:lnTo>
                  <a:lnTo>
                    <a:pt x="11559" y="42270"/>
                  </a:lnTo>
                  <a:lnTo>
                    <a:pt x="11450" y="41362"/>
                  </a:lnTo>
                  <a:lnTo>
                    <a:pt x="11304" y="40162"/>
                  </a:lnTo>
                  <a:lnTo>
                    <a:pt x="11014" y="37037"/>
                  </a:lnTo>
                  <a:lnTo>
                    <a:pt x="10687" y="33148"/>
                  </a:lnTo>
                  <a:lnTo>
                    <a:pt x="9960" y="23988"/>
                  </a:lnTo>
                  <a:lnTo>
                    <a:pt x="9305" y="14611"/>
                  </a:lnTo>
                  <a:lnTo>
                    <a:pt x="8978" y="10177"/>
                  </a:lnTo>
                  <a:lnTo>
                    <a:pt x="8615" y="5743"/>
                  </a:lnTo>
                  <a:lnTo>
                    <a:pt x="8469" y="4216"/>
                  </a:lnTo>
                  <a:lnTo>
                    <a:pt x="8360" y="3199"/>
                  </a:lnTo>
                  <a:lnTo>
                    <a:pt x="8251" y="2472"/>
                  </a:lnTo>
                  <a:lnTo>
                    <a:pt x="8106" y="1854"/>
                  </a:lnTo>
                  <a:lnTo>
                    <a:pt x="7924" y="1381"/>
                  </a:lnTo>
                  <a:lnTo>
                    <a:pt x="7706" y="945"/>
                  </a:lnTo>
                  <a:lnTo>
                    <a:pt x="7488" y="654"/>
                  </a:lnTo>
                  <a:lnTo>
                    <a:pt x="7197" y="400"/>
                  </a:lnTo>
                  <a:lnTo>
                    <a:pt x="6907" y="218"/>
                  </a:lnTo>
                  <a:lnTo>
                    <a:pt x="6579" y="109"/>
                  </a:lnTo>
                  <a:lnTo>
                    <a:pt x="6180" y="37"/>
                  </a:lnTo>
                  <a:lnTo>
                    <a:pt x="4871" y="37"/>
                  </a:lnTo>
                  <a:lnTo>
                    <a:pt x="3781" y="109"/>
                  </a:lnTo>
                  <a:lnTo>
                    <a:pt x="2545" y="182"/>
                  </a:lnTo>
                  <a:lnTo>
                    <a:pt x="2145" y="73"/>
                  </a:lnTo>
                  <a:lnTo>
                    <a:pt x="1746" y="0"/>
                  </a:lnTo>
                  <a:close/>
                </a:path>
              </a:pathLst>
            </a:custGeom>
            <a:solidFill>
              <a:srgbClr val="F5B1B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24" name="Google Shape;2653;p11">
              <a:extLst>
                <a:ext uri="{FF2B5EF4-FFF2-40B4-BE49-F238E27FC236}">
                  <a16:creationId xmlns:a16="http://schemas.microsoft.com/office/drawing/2014/main" id="{8A4B042E-76FB-5D95-B07B-021421B3E5BF}"/>
                </a:ext>
              </a:extLst>
            </p:cNvPr>
            <p:cNvSpPr/>
            <p:nvPr/>
          </p:nvSpPr>
          <p:spPr>
            <a:xfrm>
              <a:off x="892325" y="4184100"/>
              <a:ext cx="429825" cy="1157625"/>
            </a:xfrm>
            <a:custGeom>
              <a:avLst/>
              <a:gdLst/>
              <a:ahLst/>
              <a:cxnLst/>
              <a:rect l="l" t="t" r="r" b="b"/>
              <a:pathLst>
                <a:path w="17193" h="46305" fill="none" extrusionOk="0">
                  <a:moveTo>
                    <a:pt x="1" y="1345"/>
                  </a:moveTo>
                  <a:lnTo>
                    <a:pt x="1" y="1345"/>
                  </a:lnTo>
                  <a:lnTo>
                    <a:pt x="146" y="2435"/>
                  </a:lnTo>
                  <a:lnTo>
                    <a:pt x="437" y="4543"/>
                  </a:lnTo>
                  <a:lnTo>
                    <a:pt x="1382" y="10686"/>
                  </a:lnTo>
                  <a:lnTo>
                    <a:pt x="1382" y="10686"/>
                  </a:lnTo>
                  <a:lnTo>
                    <a:pt x="2109" y="15084"/>
                  </a:lnTo>
                  <a:lnTo>
                    <a:pt x="2109" y="15084"/>
                  </a:lnTo>
                  <a:lnTo>
                    <a:pt x="3745" y="24715"/>
                  </a:lnTo>
                  <a:lnTo>
                    <a:pt x="4362" y="28132"/>
                  </a:lnTo>
                  <a:lnTo>
                    <a:pt x="4544" y="29259"/>
                  </a:lnTo>
                  <a:lnTo>
                    <a:pt x="4690" y="29840"/>
                  </a:lnTo>
                  <a:lnTo>
                    <a:pt x="4690" y="29840"/>
                  </a:lnTo>
                  <a:lnTo>
                    <a:pt x="4908" y="30785"/>
                  </a:lnTo>
                  <a:lnTo>
                    <a:pt x="5235" y="32166"/>
                  </a:lnTo>
                  <a:lnTo>
                    <a:pt x="5598" y="33874"/>
                  </a:lnTo>
                  <a:lnTo>
                    <a:pt x="5998" y="35764"/>
                  </a:lnTo>
                  <a:lnTo>
                    <a:pt x="6361" y="37691"/>
                  </a:lnTo>
                  <a:lnTo>
                    <a:pt x="6652" y="39544"/>
                  </a:lnTo>
                  <a:lnTo>
                    <a:pt x="6834" y="41107"/>
                  </a:lnTo>
                  <a:lnTo>
                    <a:pt x="6870" y="41761"/>
                  </a:lnTo>
                  <a:lnTo>
                    <a:pt x="6870" y="42307"/>
                  </a:lnTo>
                  <a:lnTo>
                    <a:pt x="6870" y="42307"/>
                  </a:lnTo>
                  <a:lnTo>
                    <a:pt x="6834" y="43106"/>
                  </a:lnTo>
                  <a:lnTo>
                    <a:pt x="6725" y="43688"/>
                  </a:lnTo>
                  <a:lnTo>
                    <a:pt x="6616" y="44088"/>
                  </a:lnTo>
                  <a:lnTo>
                    <a:pt x="6470" y="44378"/>
                  </a:lnTo>
                  <a:lnTo>
                    <a:pt x="6398" y="44633"/>
                  </a:lnTo>
                  <a:lnTo>
                    <a:pt x="6361" y="44887"/>
                  </a:lnTo>
                  <a:lnTo>
                    <a:pt x="6398" y="45214"/>
                  </a:lnTo>
                  <a:lnTo>
                    <a:pt x="6543" y="45687"/>
                  </a:lnTo>
                  <a:lnTo>
                    <a:pt x="6543" y="45687"/>
                  </a:lnTo>
                  <a:lnTo>
                    <a:pt x="6616" y="45832"/>
                  </a:lnTo>
                  <a:lnTo>
                    <a:pt x="6761" y="45941"/>
                  </a:lnTo>
                  <a:lnTo>
                    <a:pt x="6943" y="46014"/>
                  </a:lnTo>
                  <a:lnTo>
                    <a:pt x="7161" y="46123"/>
                  </a:lnTo>
                  <a:lnTo>
                    <a:pt x="7452" y="46159"/>
                  </a:lnTo>
                  <a:lnTo>
                    <a:pt x="7779" y="46232"/>
                  </a:lnTo>
                  <a:lnTo>
                    <a:pt x="8506" y="46305"/>
                  </a:lnTo>
                  <a:lnTo>
                    <a:pt x="9378" y="46305"/>
                  </a:lnTo>
                  <a:lnTo>
                    <a:pt x="10287" y="46268"/>
                  </a:lnTo>
                  <a:lnTo>
                    <a:pt x="11268" y="46232"/>
                  </a:lnTo>
                  <a:lnTo>
                    <a:pt x="12286" y="46123"/>
                  </a:lnTo>
                  <a:lnTo>
                    <a:pt x="13267" y="46014"/>
                  </a:lnTo>
                  <a:lnTo>
                    <a:pt x="14212" y="45869"/>
                  </a:lnTo>
                  <a:lnTo>
                    <a:pt x="15084" y="45723"/>
                  </a:lnTo>
                  <a:lnTo>
                    <a:pt x="15848" y="45578"/>
                  </a:lnTo>
                  <a:lnTo>
                    <a:pt x="16466" y="45432"/>
                  </a:lnTo>
                  <a:lnTo>
                    <a:pt x="16902" y="45287"/>
                  </a:lnTo>
                  <a:lnTo>
                    <a:pt x="17083" y="45214"/>
                  </a:lnTo>
                  <a:lnTo>
                    <a:pt x="17156" y="45142"/>
                  </a:lnTo>
                  <a:lnTo>
                    <a:pt x="17192" y="45069"/>
                  </a:lnTo>
                  <a:lnTo>
                    <a:pt x="17192" y="44996"/>
                  </a:lnTo>
                  <a:lnTo>
                    <a:pt x="17192" y="44996"/>
                  </a:lnTo>
                  <a:lnTo>
                    <a:pt x="17011" y="44887"/>
                  </a:lnTo>
                  <a:lnTo>
                    <a:pt x="16793" y="44778"/>
                  </a:lnTo>
                  <a:lnTo>
                    <a:pt x="16175" y="44524"/>
                  </a:lnTo>
                  <a:lnTo>
                    <a:pt x="15375" y="44269"/>
                  </a:lnTo>
                  <a:lnTo>
                    <a:pt x="14503" y="44051"/>
                  </a:lnTo>
                  <a:lnTo>
                    <a:pt x="12795" y="43542"/>
                  </a:lnTo>
                  <a:lnTo>
                    <a:pt x="12177" y="43324"/>
                  </a:lnTo>
                  <a:lnTo>
                    <a:pt x="11922" y="43215"/>
                  </a:lnTo>
                  <a:lnTo>
                    <a:pt x="11741" y="43143"/>
                  </a:lnTo>
                  <a:lnTo>
                    <a:pt x="11741" y="43143"/>
                  </a:lnTo>
                  <a:lnTo>
                    <a:pt x="11704" y="43034"/>
                  </a:lnTo>
                  <a:lnTo>
                    <a:pt x="11668" y="42888"/>
                  </a:lnTo>
                  <a:lnTo>
                    <a:pt x="11559" y="42270"/>
                  </a:lnTo>
                  <a:lnTo>
                    <a:pt x="11450" y="41362"/>
                  </a:lnTo>
                  <a:lnTo>
                    <a:pt x="11304" y="40162"/>
                  </a:lnTo>
                  <a:lnTo>
                    <a:pt x="11014" y="37037"/>
                  </a:lnTo>
                  <a:lnTo>
                    <a:pt x="10687" y="33148"/>
                  </a:lnTo>
                  <a:lnTo>
                    <a:pt x="9960" y="23988"/>
                  </a:lnTo>
                  <a:lnTo>
                    <a:pt x="9305" y="14611"/>
                  </a:lnTo>
                  <a:lnTo>
                    <a:pt x="9305" y="14611"/>
                  </a:lnTo>
                  <a:lnTo>
                    <a:pt x="8978" y="10177"/>
                  </a:lnTo>
                  <a:lnTo>
                    <a:pt x="8978" y="10177"/>
                  </a:lnTo>
                  <a:lnTo>
                    <a:pt x="8615" y="5743"/>
                  </a:lnTo>
                  <a:lnTo>
                    <a:pt x="8469" y="4216"/>
                  </a:lnTo>
                  <a:lnTo>
                    <a:pt x="8360" y="3199"/>
                  </a:lnTo>
                  <a:lnTo>
                    <a:pt x="8360" y="3199"/>
                  </a:lnTo>
                  <a:lnTo>
                    <a:pt x="8251" y="2472"/>
                  </a:lnTo>
                  <a:lnTo>
                    <a:pt x="8106" y="1854"/>
                  </a:lnTo>
                  <a:lnTo>
                    <a:pt x="7924" y="1381"/>
                  </a:lnTo>
                  <a:lnTo>
                    <a:pt x="7706" y="945"/>
                  </a:lnTo>
                  <a:lnTo>
                    <a:pt x="7488" y="654"/>
                  </a:lnTo>
                  <a:lnTo>
                    <a:pt x="7197" y="400"/>
                  </a:lnTo>
                  <a:lnTo>
                    <a:pt x="6907" y="218"/>
                  </a:lnTo>
                  <a:lnTo>
                    <a:pt x="6579" y="109"/>
                  </a:lnTo>
                  <a:lnTo>
                    <a:pt x="6180" y="37"/>
                  </a:lnTo>
                  <a:lnTo>
                    <a:pt x="5780" y="37"/>
                  </a:lnTo>
                  <a:lnTo>
                    <a:pt x="5344" y="37"/>
                  </a:lnTo>
                  <a:lnTo>
                    <a:pt x="4871" y="37"/>
                  </a:lnTo>
                  <a:lnTo>
                    <a:pt x="3781" y="109"/>
                  </a:lnTo>
                  <a:lnTo>
                    <a:pt x="2545" y="182"/>
                  </a:lnTo>
                  <a:lnTo>
                    <a:pt x="2545" y="182"/>
                  </a:lnTo>
                  <a:lnTo>
                    <a:pt x="2145" y="73"/>
                  </a:lnTo>
                  <a:lnTo>
                    <a:pt x="1746" y="0"/>
                  </a:lnTo>
                  <a:lnTo>
                    <a:pt x="1237" y="0"/>
                  </a:lnTo>
                  <a:lnTo>
                    <a:pt x="1019" y="37"/>
                  </a:lnTo>
                  <a:lnTo>
                    <a:pt x="764" y="73"/>
                  </a:lnTo>
                  <a:lnTo>
                    <a:pt x="546" y="182"/>
                  </a:lnTo>
                  <a:lnTo>
                    <a:pt x="364" y="291"/>
                  </a:lnTo>
                  <a:lnTo>
                    <a:pt x="219" y="473"/>
                  </a:lnTo>
                  <a:lnTo>
                    <a:pt x="74" y="691"/>
                  </a:lnTo>
                  <a:lnTo>
                    <a:pt x="1" y="982"/>
                  </a:lnTo>
                  <a:lnTo>
                    <a:pt x="1" y="1345"/>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25" name="Google Shape;2654;p11">
              <a:extLst>
                <a:ext uri="{FF2B5EF4-FFF2-40B4-BE49-F238E27FC236}">
                  <a16:creationId xmlns:a16="http://schemas.microsoft.com/office/drawing/2014/main" id="{68D196DD-55A3-66DC-17B2-4A4B29C67618}"/>
                </a:ext>
              </a:extLst>
            </p:cNvPr>
            <p:cNvSpPr/>
            <p:nvPr/>
          </p:nvSpPr>
          <p:spPr>
            <a:xfrm>
              <a:off x="1031350" y="5276275"/>
              <a:ext cx="370750" cy="125425"/>
            </a:xfrm>
            <a:custGeom>
              <a:avLst/>
              <a:gdLst/>
              <a:ahLst/>
              <a:cxnLst/>
              <a:rect l="l" t="t" r="r" b="b"/>
              <a:pathLst>
                <a:path w="14830" h="5017" extrusionOk="0">
                  <a:moveTo>
                    <a:pt x="1091" y="1"/>
                  </a:moveTo>
                  <a:lnTo>
                    <a:pt x="909" y="37"/>
                  </a:lnTo>
                  <a:lnTo>
                    <a:pt x="764" y="110"/>
                  </a:lnTo>
                  <a:lnTo>
                    <a:pt x="619" y="219"/>
                  </a:lnTo>
                  <a:lnTo>
                    <a:pt x="546" y="401"/>
                  </a:lnTo>
                  <a:lnTo>
                    <a:pt x="292" y="1455"/>
                  </a:lnTo>
                  <a:lnTo>
                    <a:pt x="37" y="2509"/>
                  </a:lnTo>
                  <a:lnTo>
                    <a:pt x="1" y="2836"/>
                  </a:lnTo>
                  <a:lnTo>
                    <a:pt x="1" y="3163"/>
                  </a:lnTo>
                  <a:lnTo>
                    <a:pt x="37" y="3526"/>
                  </a:lnTo>
                  <a:lnTo>
                    <a:pt x="110" y="3890"/>
                  </a:lnTo>
                  <a:lnTo>
                    <a:pt x="183" y="4217"/>
                  </a:lnTo>
                  <a:lnTo>
                    <a:pt x="292" y="4508"/>
                  </a:lnTo>
                  <a:lnTo>
                    <a:pt x="401" y="4689"/>
                  </a:lnTo>
                  <a:lnTo>
                    <a:pt x="510" y="4835"/>
                  </a:lnTo>
                  <a:lnTo>
                    <a:pt x="691" y="4907"/>
                  </a:lnTo>
                  <a:lnTo>
                    <a:pt x="982" y="4944"/>
                  </a:lnTo>
                  <a:lnTo>
                    <a:pt x="1818" y="4980"/>
                  </a:lnTo>
                  <a:lnTo>
                    <a:pt x="2799" y="4980"/>
                  </a:lnTo>
                  <a:lnTo>
                    <a:pt x="3817" y="5016"/>
                  </a:lnTo>
                  <a:lnTo>
                    <a:pt x="3853" y="5016"/>
                  </a:lnTo>
                  <a:lnTo>
                    <a:pt x="3926" y="4944"/>
                  </a:lnTo>
                  <a:lnTo>
                    <a:pt x="3999" y="4871"/>
                  </a:lnTo>
                  <a:lnTo>
                    <a:pt x="4035" y="4762"/>
                  </a:lnTo>
                  <a:lnTo>
                    <a:pt x="4072" y="4617"/>
                  </a:lnTo>
                  <a:lnTo>
                    <a:pt x="4072" y="4435"/>
                  </a:lnTo>
                  <a:lnTo>
                    <a:pt x="4726" y="4435"/>
                  </a:lnTo>
                  <a:lnTo>
                    <a:pt x="6361" y="4653"/>
                  </a:lnTo>
                  <a:lnTo>
                    <a:pt x="8288" y="4871"/>
                  </a:lnTo>
                  <a:lnTo>
                    <a:pt x="9160" y="4980"/>
                  </a:lnTo>
                  <a:lnTo>
                    <a:pt x="9887" y="5016"/>
                  </a:lnTo>
                  <a:lnTo>
                    <a:pt x="10541" y="4980"/>
                  </a:lnTo>
                  <a:lnTo>
                    <a:pt x="11304" y="4907"/>
                  </a:lnTo>
                  <a:lnTo>
                    <a:pt x="12068" y="4726"/>
                  </a:lnTo>
                  <a:lnTo>
                    <a:pt x="12867" y="4508"/>
                  </a:lnTo>
                  <a:lnTo>
                    <a:pt x="13231" y="4362"/>
                  </a:lnTo>
                  <a:lnTo>
                    <a:pt x="13558" y="4217"/>
                  </a:lnTo>
                  <a:lnTo>
                    <a:pt x="13885" y="4035"/>
                  </a:lnTo>
                  <a:lnTo>
                    <a:pt x="14139" y="3853"/>
                  </a:lnTo>
                  <a:lnTo>
                    <a:pt x="14394" y="3672"/>
                  </a:lnTo>
                  <a:lnTo>
                    <a:pt x="14575" y="3454"/>
                  </a:lnTo>
                  <a:lnTo>
                    <a:pt x="14721" y="3199"/>
                  </a:lnTo>
                  <a:lnTo>
                    <a:pt x="14830" y="2981"/>
                  </a:lnTo>
                  <a:lnTo>
                    <a:pt x="14794" y="2727"/>
                  </a:lnTo>
                  <a:lnTo>
                    <a:pt x="14721" y="2472"/>
                  </a:lnTo>
                  <a:lnTo>
                    <a:pt x="14575" y="2254"/>
                  </a:lnTo>
                  <a:lnTo>
                    <a:pt x="14357" y="2072"/>
                  </a:lnTo>
                  <a:lnTo>
                    <a:pt x="14103" y="1891"/>
                  </a:lnTo>
                  <a:lnTo>
                    <a:pt x="13812" y="1709"/>
                  </a:lnTo>
                  <a:lnTo>
                    <a:pt x="13521" y="1564"/>
                  </a:lnTo>
                  <a:lnTo>
                    <a:pt x="13158" y="1418"/>
                  </a:lnTo>
                  <a:lnTo>
                    <a:pt x="12467" y="1200"/>
                  </a:lnTo>
                  <a:lnTo>
                    <a:pt x="11813" y="1018"/>
                  </a:lnTo>
                  <a:lnTo>
                    <a:pt x="11268" y="909"/>
                  </a:lnTo>
                  <a:lnTo>
                    <a:pt x="10868" y="873"/>
                  </a:lnTo>
                  <a:lnTo>
                    <a:pt x="10541" y="873"/>
                  </a:lnTo>
                  <a:lnTo>
                    <a:pt x="10178" y="946"/>
                  </a:lnTo>
                  <a:lnTo>
                    <a:pt x="9269" y="1200"/>
                  </a:lnTo>
                  <a:lnTo>
                    <a:pt x="8724" y="1346"/>
                  </a:lnTo>
                  <a:lnTo>
                    <a:pt x="8106" y="1491"/>
                  </a:lnTo>
                  <a:lnTo>
                    <a:pt x="7452" y="1600"/>
                  </a:lnTo>
                  <a:lnTo>
                    <a:pt x="6725" y="1673"/>
                  </a:lnTo>
                  <a:lnTo>
                    <a:pt x="6034" y="1673"/>
                  </a:lnTo>
                  <a:lnTo>
                    <a:pt x="5453" y="1636"/>
                  </a:lnTo>
                  <a:lnTo>
                    <a:pt x="4944" y="1491"/>
                  </a:lnTo>
                  <a:lnTo>
                    <a:pt x="4544" y="1346"/>
                  </a:lnTo>
                  <a:lnTo>
                    <a:pt x="4181" y="1127"/>
                  </a:lnTo>
                  <a:lnTo>
                    <a:pt x="3890" y="946"/>
                  </a:lnTo>
                  <a:lnTo>
                    <a:pt x="3417" y="582"/>
                  </a:lnTo>
                  <a:lnTo>
                    <a:pt x="3090" y="401"/>
                  </a:lnTo>
                  <a:lnTo>
                    <a:pt x="2581" y="219"/>
                  </a:lnTo>
                  <a:lnTo>
                    <a:pt x="2254" y="110"/>
                  </a:lnTo>
                  <a:lnTo>
                    <a:pt x="1891" y="37"/>
                  </a:lnTo>
                  <a:lnTo>
                    <a:pt x="1491" y="1"/>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26" name="Google Shape;2655;p11">
              <a:extLst>
                <a:ext uri="{FF2B5EF4-FFF2-40B4-BE49-F238E27FC236}">
                  <a16:creationId xmlns:a16="http://schemas.microsoft.com/office/drawing/2014/main" id="{9EAD985C-6E04-D909-E9C6-513CAD8CD4A9}"/>
                </a:ext>
              </a:extLst>
            </p:cNvPr>
            <p:cNvSpPr/>
            <p:nvPr/>
          </p:nvSpPr>
          <p:spPr>
            <a:xfrm>
              <a:off x="827825" y="4531200"/>
              <a:ext cx="7300" cy="27275"/>
            </a:xfrm>
            <a:custGeom>
              <a:avLst/>
              <a:gdLst/>
              <a:ahLst/>
              <a:cxnLst/>
              <a:rect l="l" t="t" r="r" b="b"/>
              <a:pathLst>
                <a:path w="292" h="1091" extrusionOk="0">
                  <a:moveTo>
                    <a:pt x="255" y="0"/>
                  </a:moveTo>
                  <a:lnTo>
                    <a:pt x="0" y="1091"/>
                  </a:lnTo>
                  <a:lnTo>
                    <a:pt x="291" y="0"/>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27" name="Google Shape;2656;p11">
              <a:extLst>
                <a:ext uri="{FF2B5EF4-FFF2-40B4-BE49-F238E27FC236}">
                  <a16:creationId xmlns:a16="http://schemas.microsoft.com/office/drawing/2014/main" id="{1C756BD9-8F5D-B506-AA17-E4561E15ECC8}"/>
                </a:ext>
              </a:extLst>
            </p:cNvPr>
            <p:cNvSpPr/>
            <p:nvPr/>
          </p:nvSpPr>
          <p:spPr>
            <a:xfrm>
              <a:off x="827825" y="4531200"/>
              <a:ext cx="7300" cy="27275"/>
            </a:xfrm>
            <a:custGeom>
              <a:avLst/>
              <a:gdLst/>
              <a:ahLst/>
              <a:cxnLst/>
              <a:rect l="l" t="t" r="r" b="b"/>
              <a:pathLst>
                <a:path w="292" h="1091" fill="none" extrusionOk="0">
                  <a:moveTo>
                    <a:pt x="255" y="0"/>
                  </a:moveTo>
                  <a:lnTo>
                    <a:pt x="255" y="0"/>
                  </a:lnTo>
                  <a:lnTo>
                    <a:pt x="0" y="1091"/>
                  </a:lnTo>
                  <a:lnTo>
                    <a:pt x="0" y="1091"/>
                  </a:lnTo>
                  <a:lnTo>
                    <a:pt x="291" y="0"/>
                  </a:lnTo>
                  <a:lnTo>
                    <a:pt x="291" y="0"/>
                  </a:lnTo>
                  <a:lnTo>
                    <a:pt x="255"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28" name="Google Shape;2657;p11">
              <a:extLst>
                <a:ext uri="{FF2B5EF4-FFF2-40B4-BE49-F238E27FC236}">
                  <a16:creationId xmlns:a16="http://schemas.microsoft.com/office/drawing/2014/main" id="{7C272C81-52B6-5630-4B21-241DBBB8C545}"/>
                </a:ext>
              </a:extLst>
            </p:cNvPr>
            <p:cNvSpPr/>
            <p:nvPr/>
          </p:nvSpPr>
          <p:spPr>
            <a:xfrm>
              <a:off x="635200" y="4503025"/>
              <a:ext cx="199000" cy="60000"/>
            </a:xfrm>
            <a:custGeom>
              <a:avLst/>
              <a:gdLst/>
              <a:ahLst/>
              <a:cxnLst/>
              <a:rect l="l" t="t" r="r" b="b"/>
              <a:pathLst>
                <a:path w="7960" h="2400" extrusionOk="0">
                  <a:moveTo>
                    <a:pt x="36" y="1"/>
                  </a:moveTo>
                  <a:lnTo>
                    <a:pt x="0" y="1309"/>
                  </a:lnTo>
                  <a:lnTo>
                    <a:pt x="473" y="1491"/>
                  </a:lnTo>
                  <a:lnTo>
                    <a:pt x="945" y="1636"/>
                  </a:lnTo>
                  <a:lnTo>
                    <a:pt x="1454" y="1745"/>
                  </a:lnTo>
                  <a:lnTo>
                    <a:pt x="1963" y="1854"/>
                  </a:lnTo>
                  <a:lnTo>
                    <a:pt x="3017" y="2000"/>
                  </a:lnTo>
                  <a:lnTo>
                    <a:pt x="4071" y="2109"/>
                  </a:lnTo>
                  <a:lnTo>
                    <a:pt x="6070" y="2254"/>
                  </a:lnTo>
                  <a:lnTo>
                    <a:pt x="6942" y="2290"/>
                  </a:lnTo>
                  <a:lnTo>
                    <a:pt x="7669" y="2399"/>
                  </a:lnTo>
                  <a:lnTo>
                    <a:pt x="7705" y="2218"/>
                  </a:lnTo>
                  <a:lnTo>
                    <a:pt x="7960" y="1127"/>
                  </a:lnTo>
                  <a:lnTo>
                    <a:pt x="7051" y="1091"/>
                  </a:lnTo>
                  <a:lnTo>
                    <a:pt x="6070" y="1018"/>
                  </a:lnTo>
                  <a:lnTo>
                    <a:pt x="5052" y="909"/>
                  </a:lnTo>
                  <a:lnTo>
                    <a:pt x="3998" y="800"/>
                  </a:lnTo>
                  <a:lnTo>
                    <a:pt x="2944" y="618"/>
                  </a:lnTo>
                  <a:lnTo>
                    <a:pt x="1926" y="437"/>
                  </a:lnTo>
                  <a:lnTo>
                    <a:pt x="945" y="219"/>
                  </a:lnTo>
                  <a:lnTo>
                    <a:pt x="36" y="1"/>
                  </a:lnTo>
                  <a:close/>
                </a:path>
              </a:pathLst>
            </a:custGeom>
            <a:solidFill>
              <a:srgbClr val="F5B1B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29" name="Google Shape;2658;p11">
              <a:extLst>
                <a:ext uri="{FF2B5EF4-FFF2-40B4-BE49-F238E27FC236}">
                  <a16:creationId xmlns:a16="http://schemas.microsoft.com/office/drawing/2014/main" id="{DA2D6B44-D2CD-1D8D-C3AA-1073A1BF3368}"/>
                </a:ext>
              </a:extLst>
            </p:cNvPr>
            <p:cNvSpPr/>
            <p:nvPr/>
          </p:nvSpPr>
          <p:spPr>
            <a:xfrm>
              <a:off x="635200" y="4503025"/>
              <a:ext cx="199000" cy="60000"/>
            </a:xfrm>
            <a:custGeom>
              <a:avLst/>
              <a:gdLst/>
              <a:ahLst/>
              <a:cxnLst/>
              <a:rect l="l" t="t" r="r" b="b"/>
              <a:pathLst>
                <a:path w="7960" h="2400" fill="none" extrusionOk="0">
                  <a:moveTo>
                    <a:pt x="36" y="1"/>
                  </a:moveTo>
                  <a:lnTo>
                    <a:pt x="36" y="1"/>
                  </a:lnTo>
                  <a:lnTo>
                    <a:pt x="0" y="1309"/>
                  </a:lnTo>
                  <a:lnTo>
                    <a:pt x="0" y="1309"/>
                  </a:lnTo>
                  <a:lnTo>
                    <a:pt x="473" y="1491"/>
                  </a:lnTo>
                  <a:lnTo>
                    <a:pt x="945" y="1636"/>
                  </a:lnTo>
                  <a:lnTo>
                    <a:pt x="1454" y="1745"/>
                  </a:lnTo>
                  <a:lnTo>
                    <a:pt x="1963" y="1854"/>
                  </a:lnTo>
                  <a:lnTo>
                    <a:pt x="3017" y="2000"/>
                  </a:lnTo>
                  <a:lnTo>
                    <a:pt x="4071" y="2109"/>
                  </a:lnTo>
                  <a:lnTo>
                    <a:pt x="6070" y="2254"/>
                  </a:lnTo>
                  <a:lnTo>
                    <a:pt x="6942" y="2290"/>
                  </a:lnTo>
                  <a:lnTo>
                    <a:pt x="7669" y="2399"/>
                  </a:lnTo>
                  <a:lnTo>
                    <a:pt x="7669" y="2399"/>
                  </a:lnTo>
                  <a:lnTo>
                    <a:pt x="7705" y="2218"/>
                  </a:lnTo>
                  <a:lnTo>
                    <a:pt x="7705" y="2218"/>
                  </a:lnTo>
                  <a:lnTo>
                    <a:pt x="7960" y="1127"/>
                  </a:lnTo>
                  <a:lnTo>
                    <a:pt x="7960" y="1127"/>
                  </a:lnTo>
                  <a:lnTo>
                    <a:pt x="7051" y="1091"/>
                  </a:lnTo>
                  <a:lnTo>
                    <a:pt x="6070" y="1018"/>
                  </a:lnTo>
                  <a:lnTo>
                    <a:pt x="5052" y="909"/>
                  </a:lnTo>
                  <a:lnTo>
                    <a:pt x="3998" y="800"/>
                  </a:lnTo>
                  <a:lnTo>
                    <a:pt x="2944" y="618"/>
                  </a:lnTo>
                  <a:lnTo>
                    <a:pt x="1926" y="437"/>
                  </a:lnTo>
                  <a:lnTo>
                    <a:pt x="945" y="219"/>
                  </a:lnTo>
                  <a:lnTo>
                    <a:pt x="36"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30" name="Google Shape;2659;p11">
              <a:extLst>
                <a:ext uri="{FF2B5EF4-FFF2-40B4-BE49-F238E27FC236}">
                  <a16:creationId xmlns:a16="http://schemas.microsoft.com/office/drawing/2014/main" id="{ECC0184A-B524-5668-DFA2-B7088FA41094}"/>
                </a:ext>
              </a:extLst>
            </p:cNvPr>
            <p:cNvSpPr/>
            <p:nvPr/>
          </p:nvSpPr>
          <p:spPr>
            <a:xfrm>
              <a:off x="936850" y="4508475"/>
              <a:ext cx="6400" cy="41825"/>
            </a:xfrm>
            <a:custGeom>
              <a:avLst/>
              <a:gdLst/>
              <a:ahLst/>
              <a:cxnLst/>
              <a:rect l="l" t="t" r="r" b="b"/>
              <a:pathLst>
                <a:path w="256" h="1673" extrusionOk="0">
                  <a:moveTo>
                    <a:pt x="1" y="1"/>
                  </a:moveTo>
                  <a:lnTo>
                    <a:pt x="1" y="1"/>
                  </a:lnTo>
                  <a:lnTo>
                    <a:pt x="1" y="1"/>
                  </a:lnTo>
                  <a:lnTo>
                    <a:pt x="255" y="1673"/>
                  </a:lnTo>
                  <a:lnTo>
                    <a:pt x="255" y="1673"/>
                  </a:lnTo>
                  <a:lnTo>
                    <a:pt x="1" y="1"/>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31" name="Google Shape;2660;p11">
              <a:extLst>
                <a:ext uri="{FF2B5EF4-FFF2-40B4-BE49-F238E27FC236}">
                  <a16:creationId xmlns:a16="http://schemas.microsoft.com/office/drawing/2014/main" id="{B4018194-930D-DAC0-F64A-3D3147B9ECEA}"/>
                </a:ext>
              </a:extLst>
            </p:cNvPr>
            <p:cNvSpPr/>
            <p:nvPr/>
          </p:nvSpPr>
          <p:spPr>
            <a:xfrm>
              <a:off x="936850" y="4508475"/>
              <a:ext cx="6400" cy="41825"/>
            </a:xfrm>
            <a:custGeom>
              <a:avLst/>
              <a:gdLst/>
              <a:ahLst/>
              <a:cxnLst/>
              <a:rect l="l" t="t" r="r" b="b"/>
              <a:pathLst>
                <a:path w="256" h="1673" fill="none" extrusionOk="0">
                  <a:moveTo>
                    <a:pt x="1" y="1"/>
                  </a:moveTo>
                  <a:lnTo>
                    <a:pt x="1" y="1"/>
                  </a:lnTo>
                  <a:lnTo>
                    <a:pt x="1" y="1"/>
                  </a:lnTo>
                  <a:lnTo>
                    <a:pt x="255" y="1673"/>
                  </a:lnTo>
                  <a:lnTo>
                    <a:pt x="255" y="1673"/>
                  </a:lnTo>
                  <a:lnTo>
                    <a:pt x="1"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32" name="Google Shape;2661;p11">
              <a:extLst>
                <a:ext uri="{FF2B5EF4-FFF2-40B4-BE49-F238E27FC236}">
                  <a16:creationId xmlns:a16="http://schemas.microsoft.com/office/drawing/2014/main" id="{055C6257-7599-9D36-3FAC-1753D3CE8B88}"/>
                </a:ext>
              </a:extLst>
            </p:cNvPr>
            <p:cNvSpPr/>
            <p:nvPr/>
          </p:nvSpPr>
          <p:spPr>
            <a:xfrm>
              <a:off x="936850" y="4482125"/>
              <a:ext cx="188125" cy="70900"/>
            </a:xfrm>
            <a:custGeom>
              <a:avLst/>
              <a:gdLst/>
              <a:ahLst/>
              <a:cxnLst/>
              <a:rect l="l" t="t" r="r" b="b"/>
              <a:pathLst>
                <a:path w="7525" h="2836" extrusionOk="0">
                  <a:moveTo>
                    <a:pt x="4326" y="1"/>
                  </a:moveTo>
                  <a:lnTo>
                    <a:pt x="3708" y="37"/>
                  </a:lnTo>
                  <a:lnTo>
                    <a:pt x="3090" y="110"/>
                  </a:lnTo>
                  <a:lnTo>
                    <a:pt x="2509" y="219"/>
                  </a:lnTo>
                  <a:lnTo>
                    <a:pt x="1964" y="328"/>
                  </a:lnTo>
                  <a:lnTo>
                    <a:pt x="1418" y="509"/>
                  </a:lnTo>
                  <a:lnTo>
                    <a:pt x="946" y="691"/>
                  </a:lnTo>
                  <a:lnTo>
                    <a:pt x="1" y="1055"/>
                  </a:lnTo>
                  <a:lnTo>
                    <a:pt x="255" y="2727"/>
                  </a:lnTo>
                  <a:lnTo>
                    <a:pt x="292" y="2836"/>
                  </a:lnTo>
                  <a:lnTo>
                    <a:pt x="655" y="2690"/>
                  </a:lnTo>
                  <a:lnTo>
                    <a:pt x="1019" y="2581"/>
                  </a:lnTo>
                  <a:lnTo>
                    <a:pt x="1818" y="2436"/>
                  </a:lnTo>
                  <a:lnTo>
                    <a:pt x="2618" y="2327"/>
                  </a:lnTo>
                  <a:lnTo>
                    <a:pt x="3490" y="2327"/>
                  </a:lnTo>
                  <a:lnTo>
                    <a:pt x="4544" y="2363"/>
                  </a:lnTo>
                  <a:lnTo>
                    <a:pt x="5562" y="2436"/>
                  </a:lnTo>
                  <a:lnTo>
                    <a:pt x="6579" y="2581"/>
                  </a:lnTo>
                  <a:lnTo>
                    <a:pt x="7524" y="2690"/>
                  </a:lnTo>
                  <a:lnTo>
                    <a:pt x="7343" y="509"/>
                  </a:lnTo>
                  <a:lnTo>
                    <a:pt x="6507" y="255"/>
                  </a:lnTo>
                  <a:lnTo>
                    <a:pt x="5743" y="110"/>
                  </a:lnTo>
                  <a:lnTo>
                    <a:pt x="5017" y="37"/>
                  </a:lnTo>
                  <a:lnTo>
                    <a:pt x="4326" y="1"/>
                  </a:lnTo>
                  <a:close/>
                </a:path>
              </a:pathLst>
            </a:custGeom>
            <a:solidFill>
              <a:srgbClr val="F5B1B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33" name="Google Shape;2662;p11">
              <a:extLst>
                <a:ext uri="{FF2B5EF4-FFF2-40B4-BE49-F238E27FC236}">
                  <a16:creationId xmlns:a16="http://schemas.microsoft.com/office/drawing/2014/main" id="{9C7A20A7-9397-DA58-7083-C565B1983690}"/>
                </a:ext>
              </a:extLst>
            </p:cNvPr>
            <p:cNvSpPr/>
            <p:nvPr/>
          </p:nvSpPr>
          <p:spPr>
            <a:xfrm>
              <a:off x="936850" y="4482125"/>
              <a:ext cx="188125" cy="70900"/>
            </a:xfrm>
            <a:custGeom>
              <a:avLst/>
              <a:gdLst/>
              <a:ahLst/>
              <a:cxnLst/>
              <a:rect l="l" t="t" r="r" b="b"/>
              <a:pathLst>
                <a:path w="7525" h="2836" fill="none" extrusionOk="0">
                  <a:moveTo>
                    <a:pt x="4326" y="1"/>
                  </a:moveTo>
                  <a:lnTo>
                    <a:pt x="4326" y="1"/>
                  </a:lnTo>
                  <a:lnTo>
                    <a:pt x="3708" y="37"/>
                  </a:lnTo>
                  <a:lnTo>
                    <a:pt x="3090" y="110"/>
                  </a:lnTo>
                  <a:lnTo>
                    <a:pt x="2509" y="219"/>
                  </a:lnTo>
                  <a:lnTo>
                    <a:pt x="1964" y="328"/>
                  </a:lnTo>
                  <a:lnTo>
                    <a:pt x="1418" y="509"/>
                  </a:lnTo>
                  <a:lnTo>
                    <a:pt x="946" y="691"/>
                  </a:lnTo>
                  <a:lnTo>
                    <a:pt x="1" y="1055"/>
                  </a:lnTo>
                  <a:lnTo>
                    <a:pt x="1" y="1055"/>
                  </a:lnTo>
                  <a:lnTo>
                    <a:pt x="255" y="2727"/>
                  </a:lnTo>
                  <a:lnTo>
                    <a:pt x="255" y="2727"/>
                  </a:lnTo>
                  <a:lnTo>
                    <a:pt x="292" y="2836"/>
                  </a:lnTo>
                  <a:lnTo>
                    <a:pt x="292" y="2836"/>
                  </a:lnTo>
                  <a:lnTo>
                    <a:pt x="655" y="2690"/>
                  </a:lnTo>
                  <a:lnTo>
                    <a:pt x="1019" y="2581"/>
                  </a:lnTo>
                  <a:lnTo>
                    <a:pt x="1818" y="2436"/>
                  </a:lnTo>
                  <a:lnTo>
                    <a:pt x="2618" y="2327"/>
                  </a:lnTo>
                  <a:lnTo>
                    <a:pt x="3490" y="2327"/>
                  </a:lnTo>
                  <a:lnTo>
                    <a:pt x="3490" y="2327"/>
                  </a:lnTo>
                  <a:lnTo>
                    <a:pt x="4544" y="2363"/>
                  </a:lnTo>
                  <a:lnTo>
                    <a:pt x="5562" y="2436"/>
                  </a:lnTo>
                  <a:lnTo>
                    <a:pt x="6579" y="2581"/>
                  </a:lnTo>
                  <a:lnTo>
                    <a:pt x="7524" y="2690"/>
                  </a:lnTo>
                  <a:lnTo>
                    <a:pt x="7524" y="2690"/>
                  </a:lnTo>
                  <a:lnTo>
                    <a:pt x="7343" y="509"/>
                  </a:lnTo>
                  <a:lnTo>
                    <a:pt x="7343" y="509"/>
                  </a:lnTo>
                  <a:lnTo>
                    <a:pt x="6507" y="255"/>
                  </a:lnTo>
                  <a:lnTo>
                    <a:pt x="5743" y="110"/>
                  </a:lnTo>
                  <a:lnTo>
                    <a:pt x="5017" y="37"/>
                  </a:lnTo>
                  <a:lnTo>
                    <a:pt x="4326"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34" name="Google Shape;2663;p11">
              <a:extLst>
                <a:ext uri="{FF2B5EF4-FFF2-40B4-BE49-F238E27FC236}">
                  <a16:creationId xmlns:a16="http://schemas.microsoft.com/office/drawing/2014/main" id="{BA0D8E0A-CD7B-FE5A-32A5-BCF65F410A9B}"/>
                </a:ext>
              </a:extLst>
            </p:cNvPr>
            <p:cNvSpPr/>
            <p:nvPr/>
          </p:nvSpPr>
          <p:spPr>
            <a:xfrm>
              <a:off x="277175" y="3420825"/>
              <a:ext cx="932300" cy="1110400"/>
            </a:xfrm>
            <a:custGeom>
              <a:avLst/>
              <a:gdLst/>
              <a:ahLst/>
              <a:cxnLst/>
              <a:rect l="l" t="t" r="r" b="b"/>
              <a:pathLst>
                <a:path w="37292" h="44416" extrusionOk="0">
                  <a:moveTo>
                    <a:pt x="21590" y="1"/>
                  </a:moveTo>
                  <a:lnTo>
                    <a:pt x="20972" y="37"/>
                  </a:lnTo>
                  <a:lnTo>
                    <a:pt x="20318" y="110"/>
                  </a:lnTo>
                  <a:lnTo>
                    <a:pt x="19700" y="183"/>
                  </a:lnTo>
                  <a:lnTo>
                    <a:pt x="19082" y="328"/>
                  </a:lnTo>
                  <a:lnTo>
                    <a:pt x="18428" y="510"/>
                  </a:lnTo>
                  <a:lnTo>
                    <a:pt x="17810" y="691"/>
                  </a:lnTo>
                  <a:lnTo>
                    <a:pt x="17192" y="946"/>
                  </a:lnTo>
                  <a:lnTo>
                    <a:pt x="16575" y="1237"/>
                  </a:lnTo>
                  <a:lnTo>
                    <a:pt x="15739" y="1709"/>
                  </a:lnTo>
                  <a:lnTo>
                    <a:pt x="14939" y="2291"/>
                  </a:lnTo>
                  <a:lnTo>
                    <a:pt x="14539" y="2581"/>
                  </a:lnTo>
                  <a:lnTo>
                    <a:pt x="14139" y="2909"/>
                  </a:lnTo>
                  <a:lnTo>
                    <a:pt x="13740" y="3272"/>
                  </a:lnTo>
                  <a:lnTo>
                    <a:pt x="13376" y="3672"/>
                  </a:lnTo>
                  <a:lnTo>
                    <a:pt x="13303" y="3744"/>
                  </a:lnTo>
                  <a:lnTo>
                    <a:pt x="12722" y="4762"/>
                  </a:lnTo>
                  <a:lnTo>
                    <a:pt x="12177" y="5780"/>
                  </a:lnTo>
                  <a:lnTo>
                    <a:pt x="11704" y="6797"/>
                  </a:lnTo>
                  <a:lnTo>
                    <a:pt x="11304" y="7852"/>
                  </a:lnTo>
                  <a:lnTo>
                    <a:pt x="10905" y="8869"/>
                  </a:lnTo>
                  <a:lnTo>
                    <a:pt x="10577" y="9923"/>
                  </a:lnTo>
                  <a:lnTo>
                    <a:pt x="10287" y="10977"/>
                  </a:lnTo>
                  <a:lnTo>
                    <a:pt x="10032" y="12031"/>
                  </a:lnTo>
                  <a:lnTo>
                    <a:pt x="9814" y="13085"/>
                  </a:lnTo>
                  <a:lnTo>
                    <a:pt x="9632" y="14139"/>
                  </a:lnTo>
                  <a:lnTo>
                    <a:pt x="9269" y="16320"/>
                  </a:lnTo>
                  <a:lnTo>
                    <a:pt x="8942" y="18501"/>
                  </a:lnTo>
                  <a:lnTo>
                    <a:pt x="8578" y="20718"/>
                  </a:lnTo>
                  <a:lnTo>
                    <a:pt x="8179" y="23008"/>
                  </a:lnTo>
                  <a:lnTo>
                    <a:pt x="7924" y="24171"/>
                  </a:lnTo>
                  <a:lnTo>
                    <a:pt x="7670" y="25334"/>
                  </a:lnTo>
                  <a:lnTo>
                    <a:pt x="7343" y="26497"/>
                  </a:lnTo>
                  <a:lnTo>
                    <a:pt x="7016" y="27696"/>
                  </a:lnTo>
                  <a:lnTo>
                    <a:pt x="6616" y="28896"/>
                  </a:lnTo>
                  <a:lnTo>
                    <a:pt x="6143" y="30095"/>
                  </a:lnTo>
                  <a:lnTo>
                    <a:pt x="5634" y="31331"/>
                  </a:lnTo>
                  <a:lnTo>
                    <a:pt x="5053" y="32567"/>
                  </a:lnTo>
                  <a:lnTo>
                    <a:pt x="4435" y="33839"/>
                  </a:lnTo>
                  <a:lnTo>
                    <a:pt x="3708" y="35111"/>
                  </a:lnTo>
                  <a:lnTo>
                    <a:pt x="2909" y="36383"/>
                  </a:lnTo>
                  <a:lnTo>
                    <a:pt x="2036" y="37691"/>
                  </a:lnTo>
                  <a:lnTo>
                    <a:pt x="1055" y="39036"/>
                  </a:lnTo>
                  <a:lnTo>
                    <a:pt x="1" y="40345"/>
                  </a:lnTo>
                  <a:lnTo>
                    <a:pt x="255" y="40635"/>
                  </a:lnTo>
                  <a:lnTo>
                    <a:pt x="546" y="40890"/>
                  </a:lnTo>
                  <a:lnTo>
                    <a:pt x="873" y="41071"/>
                  </a:lnTo>
                  <a:lnTo>
                    <a:pt x="1200" y="41253"/>
                  </a:lnTo>
                  <a:lnTo>
                    <a:pt x="1600" y="41399"/>
                  </a:lnTo>
                  <a:lnTo>
                    <a:pt x="2000" y="41544"/>
                  </a:lnTo>
                  <a:lnTo>
                    <a:pt x="2436" y="41617"/>
                  </a:lnTo>
                  <a:lnTo>
                    <a:pt x="2872" y="41726"/>
                  </a:lnTo>
                  <a:lnTo>
                    <a:pt x="3817" y="41835"/>
                  </a:lnTo>
                  <a:lnTo>
                    <a:pt x="4799" y="41871"/>
                  </a:lnTo>
                  <a:lnTo>
                    <a:pt x="8906" y="41871"/>
                  </a:lnTo>
                  <a:lnTo>
                    <a:pt x="9560" y="41907"/>
                  </a:lnTo>
                  <a:lnTo>
                    <a:pt x="10178" y="41980"/>
                  </a:lnTo>
                  <a:lnTo>
                    <a:pt x="10723" y="42089"/>
                  </a:lnTo>
                  <a:lnTo>
                    <a:pt x="11232" y="42235"/>
                  </a:lnTo>
                  <a:lnTo>
                    <a:pt x="11668" y="42416"/>
                  </a:lnTo>
                  <a:lnTo>
                    <a:pt x="12031" y="42598"/>
                  </a:lnTo>
                  <a:lnTo>
                    <a:pt x="12504" y="42780"/>
                  </a:lnTo>
                  <a:lnTo>
                    <a:pt x="13049" y="42961"/>
                  </a:lnTo>
                  <a:lnTo>
                    <a:pt x="13703" y="43143"/>
                  </a:lnTo>
                  <a:lnTo>
                    <a:pt x="14975" y="43434"/>
                  </a:lnTo>
                  <a:lnTo>
                    <a:pt x="16393" y="43761"/>
                  </a:lnTo>
                  <a:lnTo>
                    <a:pt x="17883" y="44015"/>
                  </a:lnTo>
                  <a:lnTo>
                    <a:pt x="19409" y="44234"/>
                  </a:lnTo>
                  <a:lnTo>
                    <a:pt x="20900" y="44379"/>
                  </a:lnTo>
                  <a:lnTo>
                    <a:pt x="22281" y="44415"/>
                  </a:lnTo>
                  <a:lnTo>
                    <a:pt x="22899" y="44415"/>
                  </a:lnTo>
                  <a:lnTo>
                    <a:pt x="23480" y="44379"/>
                  </a:lnTo>
                  <a:lnTo>
                    <a:pt x="23989" y="44306"/>
                  </a:lnTo>
                  <a:lnTo>
                    <a:pt x="24425" y="44234"/>
                  </a:lnTo>
                  <a:lnTo>
                    <a:pt x="24970" y="44052"/>
                  </a:lnTo>
                  <a:lnTo>
                    <a:pt x="25516" y="43870"/>
                  </a:lnTo>
                  <a:lnTo>
                    <a:pt x="26642" y="43398"/>
                  </a:lnTo>
                  <a:lnTo>
                    <a:pt x="27224" y="43180"/>
                  </a:lnTo>
                  <a:lnTo>
                    <a:pt x="27842" y="42961"/>
                  </a:lnTo>
                  <a:lnTo>
                    <a:pt x="28496" y="42743"/>
                  </a:lnTo>
                  <a:lnTo>
                    <a:pt x="29186" y="42598"/>
                  </a:lnTo>
                  <a:lnTo>
                    <a:pt x="29913" y="42489"/>
                  </a:lnTo>
                  <a:lnTo>
                    <a:pt x="30713" y="42453"/>
                  </a:lnTo>
                  <a:lnTo>
                    <a:pt x="31549" y="42489"/>
                  </a:lnTo>
                  <a:lnTo>
                    <a:pt x="32021" y="42562"/>
                  </a:lnTo>
                  <a:lnTo>
                    <a:pt x="32494" y="42634"/>
                  </a:lnTo>
                  <a:lnTo>
                    <a:pt x="32966" y="42743"/>
                  </a:lnTo>
                  <a:lnTo>
                    <a:pt x="33475" y="42852"/>
                  </a:lnTo>
                  <a:lnTo>
                    <a:pt x="33984" y="43034"/>
                  </a:lnTo>
                  <a:lnTo>
                    <a:pt x="34529" y="43216"/>
                  </a:lnTo>
                  <a:lnTo>
                    <a:pt x="35074" y="43434"/>
                  </a:lnTo>
                  <a:lnTo>
                    <a:pt x="35656" y="43688"/>
                  </a:lnTo>
                  <a:lnTo>
                    <a:pt x="36274" y="43979"/>
                  </a:lnTo>
                  <a:lnTo>
                    <a:pt x="36892" y="44306"/>
                  </a:lnTo>
                  <a:lnTo>
                    <a:pt x="37037" y="43652"/>
                  </a:lnTo>
                  <a:lnTo>
                    <a:pt x="37146" y="42889"/>
                  </a:lnTo>
                  <a:lnTo>
                    <a:pt x="37219" y="42016"/>
                  </a:lnTo>
                  <a:lnTo>
                    <a:pt x="37292" y="41071"/>
                  </a:lnTo>
                  <a:lnTo>
                    <a:pt x="37292" y="39981"/>
                  </a:lnTo>
                  <a:lnTo>
                    <a:pt x="37292" y="38818"/>
                  </a:lnTo>
                  <a:lnTo>
                    <a:pt x="37255" y="37582"/>
                  </a:lnTo>
                  <a:lnTo>
                    <a:pt x="37183" y="36274"/>
                  </a:lnTo>
                  <a:lnTo>
                    <a:pt x="36964" y="33475"/>
                  </a:lnTo>
                  <a:lnTo>
                    <a:pt x="36674" y="30495"/>
                  </a:lnTo>
                  <a:lnTo>
                    <a:pt x="36310" y="27369"/>
                  </a:lnTo>
                  <a:lnTo>
                    <a:pt x="35874" y="24171"/>
                  </a:lnTo>
                  <a:lnTo>
                    <a:pt x="35402" y="20972"/>
                  </a:lnTo>
                  <a:lnTo>
                    <a:pt x="34856" y="17810"/>
                  </a:lnTo>
                  <a:lnTo>
                    <a:pt x="34275" y="14757"/>
                  </a:lnTo>
                  <a:lnTo>
                    <a:pt x="33693" y="11886"/>
                  </a:lnTo>
                  <a:lnTo>
                    <a:pt x="33075" y="9233"/>
                  </a:lnTo>
                  <a:lnTo>
                    <a:pt x="32458" y="6907"/>
                  </a:lnTo>
                  <a:lnTo>
                    <a:pt x="32167" y="5853"/>
                  </a:lnTo>
                  <a:lnTo>
                    <a:pt x="31840" y="4908"/>
                  </a:lnTo>
                  <a:lnTo>
                    <a:pt x="31549" y="4035"/>
                  </a:lnTo>
                  <a:lnTo>
                    <a:pt x="31258" y="3308"/>
                  </a:lnTo>
                  <a:lnTo>
                    <a:pt x="31004" y="2799"/>
                  </a:lnTo>
                  <a:lnTo>
                    <a:pt x="30786" y="2327"/>
                  </a:lnTo>
                  <a:lnTo>
                    <a:pt x="30422" y="2145"/>
                  </a:lnTo>
                  <a:lnTo>
                    <a:pt x="29477" y="1709"/>
                  </a:lnTo>
                  <a:lnTo>
                    <a:pt x="28823" y="1418"/>
                  </a:lnTo>
                  <a:lnTo>
                    <a:pt x="28023" y="1091"/>
                  </a:lnTo>
                  <a:lnTo>
                    <a:pt x="27115" y="800"/>
                  </a:lnTo>
                  <a:lnTo>
                    <a:pt x="26133" y="510"/>
                  </a:lnTo>
                  <a:lnTo>
                    <a:pt x="25079" y="292"/>
                  </a:lnTo>
                  <a:lnTo>
                    <a:pt x="23953" y="110"/>
                  </a:lnTo>
                  <a:lnTo>
                    <a:pt x="23371" y="37"/>
                  </a:lnTo>
                  <a:lnTo>
                    <a:pt x="22790" y="1"/>
                  </a:lnTo>
                  <a:close/>
                </a:path>
              </a:pathLst>
            </a:custGeom>
            <a:solidFill>
              <a:srgbClr val="EB8C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35" name="Google Shape;2664;p11">
              <a:extLst>
                <a:ext uri="{FF2B5EF4-FFF2-40B4-BE49-F238E27FC236}">
                  <a16:creationId xmlns:a16="http://schemas.microsoft.com/office/drawing/2014/main" id="{C59F10F1-AC07-4538-0982-1BD3CBF421EC}"/>
                </a:ext>
              </a:extLst>
            </p:cNvPr>
            <p:cNvSpPr/>
            <p:nvPr/>
          </p:nvSpPr>
          <p:spPr>
            <a:xfrm>
              <a:off x="277175" y="3420825"/>
              <a:ext cx="932300" cy="1110400"/>
            </a:xfrm>
            <a:custGeom>
              <a:avLst/>
              <a:gdLst/>
              <a:ahLst/>
              <a:cxnLst/>
              <a:rect l="l" t="t" r="r" b="b"/>
              <a:pathLst>
                <a:path w="37292" h="44416" fill="none" extrusionOk="0">
                  <a:moveTo>
                    <a:pt x="1" y="40345"/>
                  </a:moveTo>
                  <a:lnTo>
                    <a:pt x="1" y="40345"/>
                  </a:lnTo>
                  <a:lnTo>
                    <a:pt x="255" y="40635"/>
                  </a:lnTo>
                  <a:lnTo>
                    <a:pt x="546" y="40890"/>
                  </a:lnTo>
                  <a:lnTo>
                    <a:pt x="873" y="41071"/>
                  </a:lnTo>
                  <a:lnTo>
                    <a:pt x="1200" y="41253"/>
                  </a:lnTo>
                  <a:lnTo>
                    <a:pt x="1600" y="41399"/>
                  </a:lnTo>
                  <a:lnTo>
                    <a:pt x="2000" y="41544"/>
                  </a:lnTo>
                  <a:lnTo>
                    <a:pt x="2436" y="41617"/>
                  </a:lnTo>
                  <a:lnTo>
                    <a:pt x="2872" y="41726"/>
                  </a:lnTo>
                  <a:lnTo>
                    <a:pt x="3817" y="41835"/>
                  </a:lnTo>
                  <a:lnTo>
                    <a:pt x="4799" y="41871"/>
                  </a:lnTo>
                  <a:lnTo>
                    <a:pt x="5816" y="41871"/>
                  </a:lnTo>
                  <a:lnTo>
                    <a:pt x="6798" y="41871"/>
                  </a:lnTo>
                  <a:lnTo>
                    <a:pt x="6798" y="41871"/>
                  </a:lnTo>
                  <a:lnTo>
                    <a:pt x="8215" y="41871"/>
                  </a:lnTo>
                  <a:lnTo>
                    <a:pt x="8906" y="41871"/>
                  </a:lnTo>
                  <a:lnTo>
                    <a:pt x="9560" y="41907"/>
                  </a:lnTo>
                  <a:lnTo>
                    <a:pt x="10178" y="41980"/>
                  </a:lnTo>
                  <a:lnTo>
                    <a:pt x="10723" y="42089"/>
                  </a:lnTo>
                  <a:lnTo>
                    <a:pt x="11232" y="42235"/>
                  </a:lnTo>
                  <a:lnTo>
                    <a:pt x="11668" y="42416"/>
                  </a:lnTo>
                  <a:lnTo>
                    <a:pt x="11668" y="42416"/>
                  </a:lnTo>
                  <a:lnTo>
                    <a:pt x="12031" y="42598"/>
                  </a:lnTo>
                  <a:lnTo>
                    <a:pt x="12504" y="42780"/>
                  </a:lnTo>
                  <a:lnTo>
                    <a:pt x="13049" y="42961"/>
                  </a:lnTo>
                  <a:lnTo>
                    <a:pt x="13703" y="43143"/>
                  </a:lnTo>
                  <a:lnTo>
                    <a:pt x="13703" y="43143"/>
                  </a:lnTo>
                  <a:lnTo>
                    <a:pt x="14975" y="43434"/>
                  </a:lnTo>
                  <a:lnTo>
                    <a:pt x="16393" y="43761"/>
                  </a:lnTo>
                  <a:lnTo>
                    <a:pt x="17883" y="44015"/>
                  </a:lnTo>
                  <a:lnTo>
                    <a:pt x="19409" y="44234"/>
                  </a:lnTo>
                  <a:lnTo>
                    <a:pt x="20900" y="44379"/>
                  </a:lnTo>
                  <a:lnTo>
                    <a:pt x="22281" y="44415"/>
                  </a:lnTo>
                  <a:lnTo>
                    <a:pt x="22899" y="44415"/>
                  </a:lnTo>
                  <a:lnTo>
                    <a:pt x="23480" y="44379"/>
                  </a:lnTo>
                  <a:lnTo>
                    <a:pt x="23989" y="44306"/>
                  </a:lnTo>
                  <a:lnTo>
                    <a:pt x="24425" y="44234"/>
                  </a:lnTo>
                  <a:lnTo>
                    <a:pt x="24425" y="44234"/>
                  </a:lnTo>
                  <a:lnTo>
                    <a:pt x="24970" y="44052"/>
                  </a:lnTo>
                  <a:lnTo>
                    <a:pt x="25516" y="43870"/>
                  </a:lnTo>
                  <a:lnTo>
                    <a:pt x="26642" y="43398"/>
                  </a:lnTo>
                  <a:lnTo>
                    <a:pt x="27224" y="43180"/>
                  </a:lnTo>
                  <a:lnTo>
                    <a:pt x="27842" y="42961"/>
                  </a:lnTo>
                  <a:lnTo>
                    <a:pt x="28496" y="42743"/>
                  </a:lnTo>
                  <a:lnTo>
                    <a:pt x="29186" y="42598"/>
                  </a:lnTo>
                  <a:lnTo>
                    <a:pt x="29913" y="42489"/>
                  </a:lnTo>
                  <a:lnTo>
                    <a:pt x="30713" y="42453"/>
                  </a:lnTo>
                  <a:lnTo>
                    <a:pt x="31549" y="42489"/>
                  </a:lnTo>
                  <a:lnTo>
                    <a:pt x="32021" y="42562"/>
                  </a:lnTo>
                  <a:lnTo>
                    <a:pt x="32494" y="42634"/>
                  </a:lnTo>
                  <a:lnTo>
                    <a:pt x="32966" y="42743"/>
                  </a:lnTo>
                  <a:lnTo>
                    <a:pt x="33475" y="42852"/>
                  </a:lnTo>
                  <a:lnTo>
                    <a:pt x="33984" y="43034"/>
                  </a:lnTo>
                  <a:lnTo>
                    <a:pt x="34529" y="43216"/>
                  </a:lnTo>
                  <a:lnTo>
                    <a:pt x="35074" y="43434"/>
                  </a:lnTo>
                  <a:lnTo>
                    <a:pt x="35656" y="43688"/>
                  </a:lnTo>
                  <a:lnTo>
                    <a:pt x="36274" y="43979"/>
                  </a:lnTo>
                  <a:lnTo>
                    <a:pt x="36892" y="44306"/>
                  </a:lnTo>
                  <a:lnTo>
                    <a:pt x="36892" y="44306"/>
                  </a:lnTo>
                  <a:lnTo>
                    <a:pt x="37037" y="43652"/>
                  </a:lnTo>
                  <a:lnTo>
                    <a:pt x="37146" y="42889"/>
                  </a:lnTo>
                  <a:lnTo>
                    <a:pt x="37219" y="42016"/>
                  </a:lnTo>
                  <a:lnTo>
                    <a:pt x="37292" y="41071"/>
                  </a:lnTo>
                  <a:lnTo>
                    <a:pt x="37292" y="39981"/>
                  </a:lnTo>
                  <a:lnTo>
                    <a:pt x="37292" y="38818"/>
                  </a:lnTo>
                  <a:lnTo>
                    <a:pt x="37255" y="37582"/>
                  </a:lnTo>
                  <a:lnTo>
                    <a:pt x="37183" y="36274"/>
                  </a:lnTo>
                  <a:lnTo>
                    <a:pt x="36964" y="33475"/>
                  </a:lnTo>
                  <a:lnTo>
                    <a:pt x="36674" y="30495"/>
                  </a:lnTo>
                  <a:lnTo>
                    <a:pt x="36310" y="27369"/>
                  </a:lnTo>
                  <a:lnTo>
                    <a:pt x="35874" y="24171"/>
                  </a:lnTo>
                  <a:lnTo>
                    <a:pt x="35402" y="20972"/>
                  </a:lnTo>
                  <a:lnTo>
                    <a:pt x="34856" y="17810"/>
                  </a:lnTo>
                  <a:lnTo>
                    <a:pt x="34275" y="14757"/>
                  </a:lnTo>
                  <a:lnTo>
                    <a:pt x="33693" y="11886"/>
                  </a:lnTo>
                  <a:lnTo>
                    <a:pt x="33075" y="9233"/>
                  </a:lnTo>
                  <a:lnTo>
                    <a:pt x="32458" y="6907"/>
                  </a:lnTo>
                  <a:lnTo>
                    <a:pt x="32167" y="5853"/>
                  </a:lnTo>
                  <a:lnTo>
                    <a:pt x="31840" y="4908"/>
                  </a:lnTo>
                  <a:lnTo>
                    <a:pt x="31549" y="4035"/>
                  </a:lnTo>
                  <a:lnTo>
                    <a:pt x="31258" y="3308"/>
                  </a:lnTo>
                  <a:lnTo>
                    <a:pt x="31258" y="3308"/>
                  </a:lnTo>
                  <a:lnTo>
                    <a:pt x="31258" y="3308"/>
                  </a:lnTo>
                  <a:lnTo>
                    <a:pt x="31004" y="2799"/>
                  </a:lnTo>
                  <a:lnTo>
                    <a:pt x="30786" y="2327"/>
                  </a:lnTo>
                  <a:lnTo>
                    <a:pt x="30786" y="2327"/>
                  </a:lnTo>
                  <a:lnTo>
                    <a:pt x="30422" y="2145"/>
                  </a:lnTo>
                  <a:lnTo>
                    <a:pt x="29477" y="1709"/>
                  </a:lnTo>
                  <a:lnTo>
                    <a:pt x="28823" y="1418"/>
                  </a:lnTo>
                  <a:lnTo>
                    <a:pt x="28023" y="1091"/>
                  </a:lnTo>
                  <a:lnTo>
                    <a:pt x="27115" y="800"/>
                  </a:lnTo>
                  <a:lnTo>
                    <a:pt x="26133" y="510"/>
                  </a:lnTo>
                  <a:lnTo>
                    <a:pt x="25079" y="292"/>
                  </a:lnTo>
                  <a:lnTo>
                    <a:pt x="23953" y="110"/>
                  </a:lnTo>
                  <a:lnTo>
                    <a:pt x="23371" y="37"/>
                  </a:lnTo>
                  <a:lnTo>
                    <a:pt x="22790" y="1"/>
                  </a:lnTo>
                  <a:lnTo>
                    <a:pt x="22172" y="1"/>
                  </a:lnTo>
                  <a:lnTo>
                    <a:pt x="21590" y="1"/>
                  </a:lnTo>
                  <a:lnTo>
                    <a:pt x="20972" y="37"/>
                  </a:lnTo>
                  <a:lnTo>
                    <a:pt x="20318" y="110"/>
                  </a:lnTo>
                  <a:lnTo>
                    <a:pt x="19700" y="183"/>
                  </a:lnTo>
                  <a:lnTo>
                    <a:pt x="19082" y="328"/>
                  </a:lnTo>
                  <a:lnTo>
                    <a:pt x="18428" y="510"/>
                  </a:lnTo>
                  <a:lnTo>
                    <a:pt x="17810" y="691"/>
                  </a:lnTo>
                  <a:lnTo>
                    <a:pt x="17192" y="946"/>
                  </a:lnTo>
                  <a:lnTo>
                    <a:pt x="16575" y="1237"/>
                  </a:lnTo>
                  <a:lnTo>
                    <a:pt x="16575" y="1237"/>
                  </a:lnTo>
                  <a:lnTo>
                    <a:pt x="15739" y="1709"/>
                  </a:lnTo>
                  <a:lnTo>
                    <a:pt x="14939" y="2291"/>
                  </a:lnTo>
                  <a:lnTo>
                    <a:pt x="14539" y="2581"/>
                  </a:lnTo>
                  <a:lnTo>
                    <a:pt x="14139" y="2909"/>
                  </a:lnTo>
                  <a:lnTo>
                    <a:pt x="13740" y="3272"/>
                  </a:lnTo>
                  <a:lnTo>
                    <a:pt x="13376" y="3672"/>
                  </a:lnTo>
                  <a:lnTo>
                    <a:pt x="13376" y="3672"/>
                  </a:lnTo>
                  <a:lnTo>
                    <a:pt x="13303" y="3744"/>
                  </a:lnTo>
                  <a:lnTo>
                    <a:pt x="13303" y="3744"/>
                  </a:lnTo>
                  <a:lnTo>
                    <a:pt x="12722" y="4762"/>
                  </a:lnTo>
                  <a:lnTo>
                    <a:pt x="12177" y="5780"/>
                  </a:lnTo>
                  <a:lnTo>
                    <a:pt x="11704" y="6797"/>
                  </a:lnTo>
                  <a:lnTo>
                    <a:pt x="11304" y="7852"/>
                  </a:lnTo>
                  <a:lnTo>
                    <a:pt x="10905" y="8869"/>
                  </a:lnTo>
                  <a:lnTo>
                    <a:pt x="10577" y="9923"/>
                  </a:lnTo>
                  <a:lnTo>
                    <a:pt x="10287" y="10977"/>
                  </a:lnTo>
                  <a:lnTo>
                    <a:pt x="10032" y="12031"/>
                  </a:lnTo>
                  <a:lnTo>
                    <a:pt x="9814" y="13085"/>
                  </a:lnTo>
                  <a:lnTo>
                    <a:pt x="9632" y="14139"/>
                  </a:lnTo>
                  <a:lnTo>
                    <a:pt x="9269" y="16320"/>
                  </a:lnTo>
                  <a:lnTo>
                    <a:pt x="8942" y="18501"/>
                  </a:lnTo>
                  <a:lnTo>
                    <a:pt x="8578" y="20718"/>
                  </a:lnTo>
                  <a:lnTo>
                    <a:pt x="8179" y="23008"/>
                  </a:lnTo>
                  <a:lnTo>
                    <a:pt x="7924" y="24171"/>
                  </a:lnTo>
                  <a:lnTo>
                    <a:pt x="7670" y="25334"/>
                  </a:lnTo>
                  <a:lnTo>
                    <a:pt x="7343" y="26497"/>
                  </a:lnTo>
                  <a:lnTo>
                    <a:pt x="7016" y="27696"/>
                  </a:lnTo>
                  <a:lnTo>
                    <a:pt x="6616" y="28896"/>
                  </a:lnTo>
                  <a:lnTo>
                    <a:pt x="6143" y="30095"/>
                  </a:lnTo>
                  <a:lnTo>
                    <a:pt x="5634" y="31331"/>
                  </a:lnTo>
                  <a:lnTo>
                    <a:pt x="5053" y="32567"/>
                  </a:lnTo>
                  <a:lnTo>
                    <a:pt x="4435" y="33839"/>
                  </a:lnTo>
                  <a:lnTo>
                    <a:pt x="3708" y="35111"/>
                  </a:lnTo>
                  <a:lnTo>
                    <a:pt x="2909" y="36383"/>
                  </a:lnTo>
                  <a:lnTo>
                    <a:pt x="2036" y="37691"/>
                  </a:lnTo>
                  <a:lnTo>
                    <a:pt x="1055" y="39036"/>
                  </a:lnTo>
                  <a:lnTo>
                    <a:pt x="1" y="40345"/>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36" name="Google Shape;2665;p11">
              <a:extLst>
                <a:ext uri="{FF2B5EF4-FFF2-40B4-BE49-F238E27FC236}">
                  <a16:creationId xmlns:a16="http://schemas.microsoft.com/office/drawing/2014/main" id="{F32AEABC-98F2-C830-F644-D119369A1D55}"/>
                </a:ext>
              </a:extLst>
            </p:cNvPr>
            <p:cNvSpPr/>
            <p:nvPr/>
          </p:nvSpPr>
          <p:spPr>
            <a:xfrm>
              <a:off x="584300" y="2670300"/>
              <a:ext cx="764200" cy="875050"/>
            </a:xfrm>
            <a:custGeom>
              <a:avLst/>
              <a:gdLst/>
              <a:ahLst/>
              <a:cxnLst/>
              <a:rect l="l" t="t" r="r" b="b"/>
              <a:pathLst>
                <a:path w="30568" h="35002" extrusionOk="0">
                  <a:moveTo>
                    <a:pt x="26933" y="0"/>
                  </a:moveTo>
                  <a:lnTo>
                    <a:pt x="26315" y="73"/>
                  </a:lnTo>
                  <a:lnTo>
                    <a:pt x="25661" y="182"/>
                  </a:lnTo>
                  <a:lnTo>
                    <a:pt x="24934" y="327"/>
                  </a:lnTo>
                  <a:lnTo>
                    <a:pt x="24207" y="509"/>
                  </a:lnTo>
                  <a:lnTo>
                    <a:pt x="23844" y="618"/>
                  </a:lnTo>
                  <a:lnTo>
                    <a:pt x="23516" y="764"/>
                  </a:lnTo>
                  <a:lnTo>
                    <a:pt x="23262" y="909"/>
                  </a:lnTo>
                  <a:lnTo>
                    <a:pt x="23044" y="1054"/>
                  </a:lnTo>
                  <a:lnTo>
                    <a:pt x="22899" y="1200"/>
                  </a:lnTo>
                  <a:lnTo>
                    <a:pt x="22862" y="1381"/>
                  </a:lnTo>
                  <a:lnTo>
                    <a:pt x="22862" y="1672"/>
                  </a:lnTo>
                  <a:lnTo>
                    <a:pt x="22971" y="2072"/>
                  </a:lnTo>
                  <a:lnTo>
                    <a:pt x="23407" y="3271"/>
                  </a:lnTo>
                  <a:lnTo>
                    <a:pt x="24025" y="4798"/>
                  </a:lnTo>
                  <a:lnTo>
                    <a:pt x="24679" y="6543"/>
                  </a:lnTo>
                  <a:lnTo>
                    <a:pt x="25007" y="7415"/>
                  </a:lnTo>
                  <a:lnTo>
                    <a:pt x="25297" y="8287"/>
                  </a:lnTo>
                  <a:lnTo>
                    <a:pt x="25552" y="9123"/>
                  </a:lnTo>
                  <a:lnTo>
                    <a:pt x="25770" y="9886"/>
                  </a:lnTo>
                  <a:lnTo>
                    <a:pt x="25915" y="10613"/>
                  </a:lnTo>
                  <a:lnTo>
                    <a:pt x="25952" y="11231"/>
                  </a:lnTo>
                  <a:lnTo>
                    <a:pt x="25952" y="11486"/>
                  </a:lnTo>
                  <a:lnTo>
                    <a:pt x="25915" y="11740"/>
                  </a:lnTo>
                  <a:lnTo>
                    <a:pt x="25879" y="11958"/>
                  </a:lnTo>
                  <a:lnTo>
                    <a:pt x="25770" y="12103"/>
                  </a:lnTo>
                  <a:lnTo>
                    <a:pt x="25661" y="12249"/>
                  </a:lnTo>
                  <a:lnTo>
                    <a:pt x="25479" y="12321"/>
                  </a:lnTo>
                  <a:lnTo>
                    <a:pt x="25261" y="12358"/>
                  </a:lnTo>
                  <a:lnTo>
                    <a:pt x="24970" y="12321"/>
                  </a:lnTo>
                  <a:lnTo>
                    <a:pt x="24679" y="12285"/>
                  </a:lnTo>
                  <a:lnTo>
                    <a:pt x="24316" y="12176"/>
                  </a:lnTo>
                  <a:lnTo>
                    <a:pt x="23516" y="11885"/>
                  </a:lnTo>
                  <a:lnTo>
                    <a:pt x="22608" y="11486"/>
                  </a:lnTo>
                  <a:lnTo>
                    <a:pt x="21626" y="10977"/>
                  </a:lnTo>
                  <a:lnTo>
                    <a:pt x="20536" y="10359"/>
                  </a:lnTo>
                  <a:lnTo>
                    <a:pt x="19446" y="9705"/>
                  </a:lnTo>
                  <a:lnTo>
                    <a:pt x="17156" y="8323"/>
                  </a:lnTo>
                  <a:lnTo>
                    <a:pt x="14939" y="6942"/>
                  </a:lnTo>
                  <a:lnTo>
                    <a:pt x="12976" y="5707"/>
                  </a:lnTo>
                  <a:lnTo>
                    <a:pt x="12177" y="5234"/>
                  </a:lnTo>
                  <a:lnTo>
                    <a:pt x="11486" y="4871"/>
                  </a:lnTo>
                  <a:lnTo>
                    <a:pt x="10977" y="4798"/>
                  </a:lnTo>
                  <a:lnTo>
                    <a:pt x="9778" y="4653"/>
                  </a:lnTo>
                  <a:lnTo>
                    <a:pt x="8288" y="4544"/>
                  </a:lnTo>
                  <a:lnTo>
                    <a:pt x="7561" y="4507"/>
                  </a:lnTo>
                  <a:lnTo>
                    <a:pt x="6943" y="4544"/>
                  </a:lnTo>
                  <a:lnTo>
                    <a:pt x="6616" y="4616"/>
                  </a:lnTo>
                  <a:lnTo>
                    <a:pt x="6252" y="4725"/>
                  </a:lnTo>
                  <a:lnTo>
                    <a:pt x="5852" y="4871"/>
                  </a:lnTo>
                  <a:lnTo>
                    <a:pt x="5453" y="5089"/>
                  </a:lnTo>
                  <a:lnTo>
                    <a:pt x="4508" y="5670"/>
                  </a:lnTo>
                  <a:lnTo>
                    <a:pt x="3526" y="6324"/>
                  </a:lnTo>
                  <a:lnTo>
                    <a:pt x="2545" y="7051"/>
                  </a:lnTo>
                  <a:lnTo>
                    <a:pt x="1673" y="7778"/>
                  </a:lnTo>
                  <a:lnTo>
                    <a:pt x="946" y="8432"/>
                  </a:lnTo>
                  <a:lnTo>
                    <a:pt x="655" y="8760"/>
                  </a:lnTo>
                  <a:lnTo>
                    <a:pt x="437" y="9014"/>
                  </a:lnTo>
                  <a:lnTo>
                    <a:pt x="328" y="9159"/>
                  </a:lnTo>
                  <a:lnTo>
                    <a:pt x="255" y="9341"/>
                  </a:lnTo>
                  <a:lnTo>
                    <a:pt x="110" y="9777"/>
                  </a:lnTo>
                  <a:lnTo>
                    <a:pt x="37" y="10286"/>
                  </a:lnTo>
                  <a:lnTo>
                    <a:pt x="1" y="10868"/>
                  </a:lnTo>
                  <a:lnTo>
                    <a:pt x="1" y="11522"/>
                  </a:lnTo>
                  <a:lnTo>
                    <a:pt x="37" y="12249"/>
                  </a:lnTo>
                  <a:lnTo>
                    <a:pt x="146" y="13012"/>
                  </a:lnTo>
                  <a:lnTo>
                    <a:pt x="255" y="13848"/>
                  </a:lnTo>
                  <a:lnTo>
                    <a:pt x="401" y="14720"/>
                  </a:lnTo>
                  <a:lnTo>
                    <a:pt x="582" y="15593"/>
                  </a:lnTo>
                  <a:lnTo>
                    <a:pt x="982" y="17446"/>
                  </a:lnTo>
                  <a:lnTo>
                    <a:pt x="1491" y="19336"/>
                  </a:lnTo>
                  <a:lnTo>
                    <a:pt x="2036" y="21153"/>
                  </a:lnTo>
                  <a:lnTo>
                    <a:pt x="2072" y="21299"/>
                  </a:lnTo>
                  <a:lnTo>
                    <a:pt x="2181" y="21444"/>
                  </a:lnTo>
                  <a:lnTo>
                    <a:pt x="2436" y="21735"/>
                  </a:lnTo>
                  <a:lnTo>
                    <a:pt x="2836" y="22026"/>
                  </a:lnTo>
                  <a:lnTo>
                    <a:pt x="3345" y="22353"/>
                  </a:lnTo>
                  <a:lnTo>
                    <a:pt x="3781" y="22625"/>
                  </a:lnTo>
                  <a:lnTo>
                    <a:pt x="3781" y="22625"/>
                  </a:lnTo>
                  <a:lnTo>
                    <a:pt x="3781" y="22680"/>
                  </a:lnTo>
                  <a:lnTo>
                    <a:pt x="3744" y="24061"/>
                  </a:lnTo>
                  <a:lnTo>
                    <a:pt x="3672" y="25333"/>
                  </a:lnTo>
                  <a:lnTo>
                    <a:pt x="3563" y="26424"/>
                  </a:lnTo>
                  <a:lnTo>
                    <a:pt x="3417" y="27478"/>
                  </a:lnTo>
                  <a:lnTo>
                    <a:pt x="3235" y="28495"/>
                  </a:lnTo>
                  <a:lnTo>
                    <a:pt x="3017" y="29477"/>
                  </a:lnTo>
                  <a:lnTo>
                    <a:pt x="2727" y="30422"/>
                  </a:lnTo>
                  <a:lnTo>
                    <a:pt x="2363" y="31330"/>
                  </a:lnTo>
                  <a:lnTo>
                    <a:pt x="2000" y="32166"/>
                  </a:lnTo>
                  <a:lnTo>
                    <a:pt x="1564" y="32966"/>
                  </a:lnTo>
                  <a:lnTo>
                    <a:pt x="1091" y="33693"/>
                  </a:lnTo>
                  <a:lnTo>
                    <a:pt x="1018" y="33765"/>
                  </a:lnTo>
                  <a:lnTo>
                    <a:pt x="982" y="33911"/>
                  </a:lnTo>
                  <a:lnTo>
                    <a:pt x="1018" y="34056"/>
                  </a:lnTo>
                  <a:lnTo>
                    <a:pt x="1091" y="34202"/>
                  </a:lnTo>
                  <a:lnTo>
                    <a:pt x="1236" y="34311"/>
                  </a:lnTo>
                  <a:lnTo>
                    <a:pt x="1455" y="34420"/>
                  </a:lnTo>
                  <a:lnTo>
                    <a:pt x="1709" y="34529"/>
                  </a:lnTo>
                  <a:lnTo>
                    <a:pt x="2400" y="34674"/>
                  </a:lnTo>
                  <a:lnTo>
                    <a:pt x="3235" y="34819"/>
                  </a:lnTo>
                  <a:lnTo>
                    <a:pt x="4253" y="34929"/>
                  </a:lnTo>
                  <a:lnTo>
                    <a:pt x="5380" y="34965"/>
                  </a:lnTo>
                  <a:lnTo>
                    <a:pt x="6616" y="35001"/>
                  </a:lnTo>
                  <a:lnTo>
                    <a:pt x="8542" y="35001"/>
                  </a:lnTo>
                  <a:lnTo>
                    <a:pt x="10541" y="34929"/>
                  </a:lnTo>
                  <a:lnTo>
                    <a:pt x="12467" y="34819"/>
                  </a:lnTo>
                  <a:lnTo>
                    <a:pt x="14321" y="34674"/>
                  </a:lnTo>
                  <a:lnTo>
                    <a:pt x="15993" y="34492"/>
                  </a:lnTo>
                  <a:lnTo>
                    <a:pt x="17338" y="34274"/>
                  </a:lnTo>
                  <a:lnTo>
                    <a:pt x="17883" y="34129"/>
                  </a:lnTo>
                  <a:lnTo>
                    <a:pt x="18319" y="34020"/>
                  </a:lnTo>
                  <a:lnTo>
                    <a:pt x="18610" y="33874"/>
                  </a:lnTo>
                  <a:lnTo>
                    <a:pt x="18828" y="33765"/>
                  </a:lnTo>
                  <a:lnTo>
                    <a:pt x="18900" y="33584"/>
                  </a:lnTo>
                  <a:lnTo>
                    <a:pt x="18973" y="33329"/>
                  </a:lnTo>
                  <a:lnTo>
                    <a:pt x="19010" y="33111"/>
                  </a:lnTo>
                  <a:lnTo>
                    <a:pt x="19010" y="32857"/>
                  </a:lnTo>
                  <a:lnTo>
                    <a:pt x="18937" y="32239"/>
                  </a:lnTo>
                  <a:lnTo>
                    <a:pt x="18791" y="31476"/>
                  </a:lnTo>
                  <a:lnTo>
                    <a:pt x="18573" y="30676"/>
                  </a:lnTo>
                  <a:lnTo>
                    <a:pt x="18355" y="29767"/>
                  </a:lnTo>
                  <a:lnTo>
                    <a:pt x="18065" y="28822"/>
                  </a:lnTo>
                  <a:lnTo>
                    <a:pt x="17774" y="27966"/>
                  </a:lnTo>
                  <a:lnTo>
                    <a:pt x="19264" y="28459"/>
                  </a:lnTo>
                  <a:lnTo>
                    <a:pt x="23226" y="29695"/>
                  </a:lnTo>
                  <a:lnTo>
                    <a:pt x="26097" y="30603"/>
                  </a:lnTo>
                  <a:lnTo>
                    <a:pt x="26969" y="30894"/>
                  </a:lnTo>
                  <a:lnTo>
                    <a:pt x="27333" y="31040"/>
                  </a:lnTo>
                  <a:lnTo>
                    <a:pt x="27369" y="31076"/>
                  </a:lnTo>
                  <a:lnTo>
                    <a:pt x="27369" y="31040"/>
                  </a:lnTo>
                  <a:lnTo>
                    <a:pt x="27442" y="30930"/>
                  </a:lnTo>
                  <a:lnTo>
                    <a:pt x="27623" y="30458"/>
                  </a:lnTo>
                  <a:lnTo>
                    <a:pt x="27805" y="29767"/>
                  </a:lnTo>
                  <a:lnTo>
                    <a:pt x="27987" y="28968"/>
                  </a:lnTo>
                  <a:lnTo>
                    <a:pt x="28132" y="28132"/>
                  </a:lnTo>
                  <a:lnTo>
                    <a:pt x="28241" y="27369"/>
                  </a:lnTo>
                  <a:lnTo>
                    <a:pt x="28241" y="27041"/>
                  </a:lnTo>
                  <a:lnTo>
                    <a:pt x="28241" y="26751"/>
                  </a:lnTo>
                  <a:lnTo>
                    <a:pt x="28205" y="26533"/>
                  </a:lnTo>
                  <a:lnTo>
                    <a:pt x="28169" y="26424"/>
                  </a:lnTo>
                  <a:lnTo>
                    <a:pt x="28023" y="26315"/>
                  </a:lnTo>
                  <a:lnTo>
                    <a:pt x="27805" y="26206"/>
                  </a:lnTo>
                  <a:lnTo>
                    <a:pt x="27078" y="25987"/>
                  </a:lnTo>
                  <a:lnTo>
                    <a:pt x="26097" y="25697"/>
                  </a:lnTo>
                  <a:lnTo>
                    <a:pt x="25007" y="25442"/>
                  </a:lnTo>
                  <a:lnTo>
                    <a:pt x="22899" y="24933"/>
                  </a:lnTo>
                  <a:lnTo>
                    <a:pt x="21699" y="24606"/>
                  </a:lnTo>
                  <a:lnTo>
                    <a:pt x="20790" y="24316"/>
                  </a:lnTo>
                  <a:lnTo>
                    <a:pt x="19591" y="23988"/>
                  </a:lnTo>
                  <a:lnTo>
                    <a:pt x="16611" y="23080"/>
                  </a:lnTo>
                  <a:lnTo>
                    <a:pt x="16096" y="22916"/>
                  </a:lnTo>
                  <a:lnTo>
                    <a:pt x="16096" y="22916"/>
                  </a:lnTo>
                  <a:lnTo>
                    <a:pt x="15956" y="22498"/>
                  </a:lnTo>
                  <a:lnTo>
                    <a:pt x="15811" y="21880"/>
                  </a:lnTo>
                  <a:lnTo>
                    <a:pt x="15702" y="21372"/>
                  </a:lnTo>
                  <a:lnTo>
                    <a:pt x="15666" y="21008"/>
                  </a:lnTo>
                  <a:lnTo>
                    <a:pt x="15702" y="20717"/>
                  </a:lnTo>
                  <a:lnTo>
                    <a:pt x="15811" y="20427"/>
                  </a:lnTo>
                  <a:lnTo>
                    <a:pt x="15956" y="20172"/>
                  </a:lnTo>
                  <a:lnTo>
                    <a:pt x="16175" y="19954"/>
                  </a:lnTo>
                  <a:lnTo>
                    <a:pt x="16393" y="19700"/>
                  </a:lnTo>
                  <a:lnTo>
                    <a:pt x="16647" y="19482"/>
                  </a:lnTo>
                  <a:lnTo>
                    <a:pt x="17229" y="19082"/>
                  </a:lnTo>
                  <a:lnTo>
                    <a:pt x="17810" y="18682"/>
                  </a:lnTo>
                  <a:lnTo>
                    <a:pt x="18319" y="18282"/>
                  </a:lnTo>
                  <a:lnTo>
                    <a:pt x="18537" y="18064"/>
                  </a:lnTo>
                  <a:lnTo>
                    <a:pt x="18719" y="17846"/>
                  </a:lnTo>
                  <a:lnTo>
                    <a:pt x="18864" y="17628"/>
                  </a:lnTo>
                  <a:lnTo>
                    <a:pt x="18937" y="17410"/>
                  </a:lnTo>
                  <a:lnTo>
                    <a:pt x="18937" y="17155"/>
                  </a:lnTo>
                  <a:lnTo>
                    <a:pt x="18900" y="16901"/>
                  </a:lnTo>
                  <a:lnTo>
                    <a:pt x="18791" y="16610"/>
                  </a:lnTo>
                  <a:lnTo>
                    <a:pt x="18646" y="16283"/>
                  </a:lnTo>
                  <a:lnTo>
                    <a:pt x="18283" y="15629"/>
                  </a:lnTo>
                  <a:lnTo>
                    <a:pt x="17846" y="15011"/>
                  </a:lnTo>
                  <a:lnTo>
                    <a:pt x="17120" y="14066"/>
                  </a:lnTo>
                  <a:lnTo>
                    <a:pt x="16974" y="13812"/>
                  </a:lnTo>
                  <a:lnTo>
                    <a:pt x="17011" y="13775"/>
                  </a:lnTo>
                  <a:lnTo>
                    <a:pt x="17083" y="13812"/>
                  </a:lnTo>
                  <a:lnTo>
                    <a:pt x="18174" y="14357"/>
                  </a:lnTo>
                  <a:lnTo>
                    <a:pt x="19773" y="15047"/>
                  </a:lnTo>
                  <a:lnTo>
                    <a:pt x="21699" y="15811"/>
                  </a:lnTo>
                  <a:lnTo>
                    <a:pt x="22753" y="16174"/>
                  </a:lnTo>
                  <a:lnTo>
                    <a:pt x="23807" y="16538"/>
                  </a:lnTo>
                  <a:lnTo>
                    <a:pt x="24898" y="16865"/>
                  </a:lnTo>
                  <a:lnTo>
                    <a:pt x="25915" y="17155"/>
                  </a:lnTo>
                  <a:lnTo>
                    <a:pt x="26897" y="17410"/>
                  </a:lnTo>
                  <a:lnTo>
                    <a:pt x="27805" y="17592"/>
                  </a:lnTo>
                  <a:lnTo>
                    <a:pt x="28605" y="17664"/>
                  </a:lnTo>
                  <a:lnTo>
                    <a:pt x="28968" y="17701"/>
                  </a:lnTo>
                  <a:lnTo>
                    <a:pt x="29295" y="17701"/>
                  </a:lnTo>
                  <a:lnTo>
                    <a:pt x="29586" y="17664"/>
                  </a:lnTo>
                  <a:lnTo>
                    <a:pt x="29877" y="17592"/>
                  </a:lnTo>
                  <a:lnTo>
                    <a:pt x="30059" y="17519"/>
                  </a:lnTo>
                  <a:lnTo>
                    <a:pt x="30240" y="17410"/>
                  </a:lnTo>
                  <a:lnTo>
                    <a:pt x="30386" y="17228"/>
                  </a:lnTo>
                  <a:lnTo>
                    <a:pt x="30495" y="16974"/>
                  </a:lnTo>
                  <a:lnTo>
                    <a:pt x="30531" y="16647"/>
                  </a:lnTo>
                  <a:lnTo>
                    <a:pt x="30567" y="16247"/>
                  </a:lnTo>
                  <a:lnTo>
                    <a:pt x="30567" y="15811"/>
                  </a:lnTo>
                  <a:lnTo>
                    <a:pt x="30531" y="15302"/>
                  </a:lnTo>
                  <a:lnTo>
                    <a:pt x="30422" y="14102"/>
                  </a:lnTo>
                  <a:lnTo>
                    <a:pt x="30204" y="12758"/>
                  </a:lnTo>
                  <a:lnTo>
                    <a:pt x="29913" y="11304"/>
                  </a:lnTo>
                  <a:lnTo>
                    <a:pt x="29550" y="9741"/>
                  </a:lnTo>
                  <a:lnTo>
                    <a:pt x="29186" y="8178"/>
                  </a:lnTo>
                  <a:lnTo>
                    <a:pt x="28387" y="5125"/>
                  </a:lnTo>
                  <a:lnTo>
                    <a:pt x="27660" y="2508"/>
                  </a:lnTo>
                  <a:lnTo>
                    <a:pt x="26933" y="0"/>
                  </a:lnTo>
                  <a:close/>
                </a:path>
              </a:pathLst>
            </a:custGeom>
            <a:solidFill>
              <a:srgbClr val="D76009"/>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37" name="Google Shape;2666;p11">
              <a:extLst>
                <a:ext uri="{FF2B5EF4-FFF2-40B4-BE49-F238E27FC236}">
                  <a16:creationId xmlns:a16="http://schemas.microsoft.com/office/drawing/2014/main" id="{9881647C-064C-831F-C3DB-9141EC33D5FA}"/>
                </a:ext>
              </a:extLst>
            </p:cNvPr>
            <p:cNvSpPr/>
            <p:nvPr/>
          </p:nvSpPr>
          <p:spPr>
            <a:xfrm>
              <a:off x="584300" y="2670300"/>
              <a:ext cx="764200" cy="875050"/>
            </a:xfrm>
            <a:custGeom>
              <a:avLst/>
              <a:gdLst/>
              <a:ahLst/>
              <a:cxnLst/>
              <a:rect l="l" t="t" r="r" b="b"/>
              <a:pathLst>
                <a:path w="30568" h="35002" fill="none" extrusionOk="0">
                  <a:moveTo>
                    <a:pt x="27333" y="31040"/>
                  </a:moveTo>
                  <a:lnTo>
                    <a:pt x="27333" y="31040"/>
                  </a:lnTo>
                  <a:lnTo>
                    <a:pt x="27369" y="31076"/>
                  </a:lnTo>
                  <a:lnTo>
                    <a:pt x="27369" y="31040"/>
                  </a:lnTo>
                  <a:lnTo>
                    <a:pt x="27442" y="30930"/>
                  </a:lnTo>
                  <a:lnTo>
                    <a:pt x="27623" y="30458"/>
                  </a:lnTo>
                  <a:lnTo>
                    <a:pt x="27805" y="29767"/>
                  </a:lnTo>
                  <a:lnTo>
                    <a:pt x="27987" y="28968"/>
                  </a:lnTo>
                  <a:lnTo>
                    <a:pt x="28132" y="28132"/>
                  </a:lnTo>
                  <a:lnTo>
                    <a:pt x="28241" y="27369"/>
                  </a:lnTo>
                  <a:lnTo>
                    <a:pt x="28241" y="27041"/>
                  </a:lnTo>
                  <a:lnTo>
                    <a:pt x="28241" y="26751"/>
                  </a:lnTo>
                  <a:lnTo>
                    <a:pt x="28205" y="26533"/>
                  </a:lnTo>
                  <a:lnTo>
                    <a:pt x="28169" y="26424"/>
                  </a:lnTo>
                  <a:lnTo>
                    <a:pt x="28169" y="26424"/>
                  </a:lnTo>
                  <a:lnTo>
                    <a:pt x="28023" y="26315"/>
                  </a:lnTo>
                  <a:lnTo>
                    <a:pt x="27805" y="26206"/>
                  </a:lnTo>
                  <a:lnTo>
                    <a:pt x="27078" y="25987"/>
                  </a:lnTo>
                  <a:lnTo>
                    <a:pt x="26097" y="25697"/>
                  </a:lnTo>
                  <a:lnTo>
                    <a:pt x="25007" y="25442"/>
                  </a:lnTo>
                  <a:lnTo>
                    <a:pt x="22899" y="24933"/>
                  </a:lnTo>
                  <a:lnTo>
                    <a:pt x="21699" y="24606"/>
                  </a:lnTo>
                  <a:lnTo>
                    <a:pt x="21699" y="24606"/>
                  </a:lnTo>
                  <a:lnTo>
                    <a:pt x="20790" y="24316"/>
                  </a:lnTo>
                  <a:lnTo>
                    <a:pt x="19591" y="23988"/>
                  </a:lnTo>
                  <a:lnTo>
                    <a:pt x="16611" y="23080"/>
                  </a:lnTo>
                  <a:lnTo>
                    <a:pt x="15011" y="22571"/>
                  </a:lnTo>
                  <a:lnTo>
                    <a:pt x="13449" y="22026"/>
                  </a:lnTo>
                  <a:lnTo>
                    <a:pt x="12722" y="21735"/>
                  </a:lnTo>
                  <a:lnTo>
                    <a:pt x="12031" y="21408"/>
                  </a:lnTo>
                  <a:lnTo>
                    <a:pt x="11413" y="21117"/>
                  </a:lnTo>
                  <a:lnTo>
                    <a:pt x="10868" y="20826"/>
                  </a:lnTo>
                  <a:lnTo>
                    <a:pt x="10868" y="20826"/>
                  </a:lnTo>
                  <a:lnTo>
                    <a:pt x="10141" y="20390"/>
                  </a:lnTo>
                  <a:lnTo>
                    <a:pt x="9414" y="20027"/>
                  </a:lnTo>
                  <a:lnTo>
                    <a:pt x="7670" y="19154"/>
                  </a:lnTo>
                  <a:lnTo>
                    <a:pt x="6579" y="18573"/>
                  </a:lnTo>
                  <a:lnTo>
                    <a:pt x="5235" y="17846"/>
                  </a:lnTo>
                  <a:lnTo>
                    <a:pt x="3599" y="16901"/>
                  </a:lnTo>
                  <a:lnTo>
                    <a:pt x="1600" y="15702"/>
                  </a:lnTo>
                  <a:lnTo>
                    <a:pt x="1600" y="15702"/>
                  </a:lnTo>
                  <a:lnTo>
                    <a:pt x="1854" y="15992"/>
                  </a:lnTo>
                  <a:lnTo>
                    <a:pt x="2072" y="16283"/>
                  </a:lnTo>
                  <a:lnTo>
                    <a:pt x="2509" y="16901"/>
                  </a:lnTo>
                  <a:lnTo>
                    <a:pt x="2836" y="17555"/>
                  </a:lnTo>
                  <a:lnTo>
                    <a:pt x="3126" y="18282"/>
                  </a:lnTo>
                  <a:lnTo>
                    <a:pt x="3345" y="18973"/>
                  </a:lnTo>
                  <a:lnTo>
                    <a:pt x="3526" y="19700"/>
                  </a:lnTo>
                  <a:lnTo>
                    <a:pt x="3635" y="20463"/>
                  </a:lnTo>
                  <a:lnTo>
                    <a:pt x="3744" y="21226"/>
                  </a:lnTo>
                  <a:lnTo>
                    <a:pt x="3781" y="21953"/>
                  </a:lnTo>
                  <a:lnTo>
                    <a:pt x="3781" y="22680"/>
                  </a:lnTo>
                  <a:lnTo>
                    <a:pt x="3744" y="24061"/>
                  </a:lnTo>
                  <a:lnTo>
                    <a:pt x="3672" y="25333"/>
                  </a:lnTo>
                  <a:lnTo>
                    <a:pt x="3563" y="26424"/>
                  </a:lnTo>
                  <a:lnTo>
                    <a:pt x="3563" y="26424"/>
                  </a:lnTo>
                  <a:lnTo>
                    <a:pt x="3417" y="27478"/>
                  </a:lnTo>
                  <a:lnTo>
                    <a:pt x="3235" y="28495"/>
                  </a:lnTo>
                  <a:lnTo>
                    <a:pt x="3017" y="29477"/>
                  </a:lnTo>
                  <a:lnTo>
                    <a:pt x="2727" y="30422"/>
                  </a:lnTo>
                  <a:lnTo>
                    <a:pt x="2363" y="31330"/>
                  </a:lnTo>
                  <a:lnTo>
                    <a:pt x="2000" y="32166"/>
                  </a:lnTo>
                  <a:lnTo>
                    <a:pt x="1564" y="32966"/>
                  </a:lnTo>
                  <a:lnTo>
                    <a:pt x="1091" y="33693"/>
                  </a:lnTo>
                  <a:lnTo>
                    <a:pt x="1091" y="33693"/>
                  </a:lnTo>
                  <a:lnTo>
                    <a:pt x="1018" y="33765"/>
                  </a:lnTo>
                  <a:lnTo>
                    <a:pt x="1018" y="33765"/>
                  </a:lnTo>
                  <a:lnTo>
                    <a:pt x="982" y="33911"/>
                  </a:lnTo>
                  <a:lnTo>
                    <a:pt x="1018" y="34056"/>
                  </a:lnTo>
                  <a:lnTo>
                    <a:pt x="1091" y="34202"/>
                  </a:lnTo>
                  <a:lnTo>
                    <a:pt x="1236" y="34311"/>
                  </a:lnTo>
                  <a:lnTo>
                    <a:pt x="1455" y="34420"/>
                  </a:lnTo>
                  <a:lnTo>
                    <a:pt x="1709" y="34529"/>
                  </a:lnTo>
                  <a:lnTo>
                    <a:pt x="2400" y="34674"/>
                  </a:lnTo>
                  <a:lnTo>
                    <a:pt x="3235" y="34819"/>
                  </a:lnTo>
                  <a:lnTo>
                    <a:pt x="4253" y="34929"/>
                  </a:lnTo>
                  <a:lnTo>
                    <a:pt x="5380" y="34965"/>
                  </a:lnTo>
                  <a:lnTo>
                    <a:pt x="6616" y="35001"/>
                  </a:lnTo>
                  <a:lnTo>
                    <a:pt x="6616" y="35001"/>
                  </a:lnTo>
                  <a:lnTo>
                    <a:pt x="8542" y="35001"/>
                  </a:lnTo>
                  <a:lnTo>
                    <a:pt x="10541" y="34929"/>
                  </a:lnTo>
                  <a:lnTo>
                    <a:pt x="12467" y="34819"/>
                  </a:lnTo>
                  <a:lnTo>
                    <a:pt x="14321" y="34674"/>
                  </a:lnTo>
                  <a:lnTo>
                    <a:pt x="15993" y="34492"/>
                  </a:lnTo>
                  <a:lnTo>
                    <a:pt x="17338" y="34274"/>
                  </a:lnTo>
                  <a:lnTo>
                    <a:pt x="17883" y="34129"/>
                  </a:lnTo>
                  <a:lnTo>
                    <a:pt x="18319" y="34020"/>
                  </a:lnTo>
                  <a:lnTo>
                    <a:pt x="18610" y="33874"/>
                  </a:lnTo>
                  <a:lnTo>
                    <a:pt x="18828" y="33765"/>
                  </a:lnTo>
                  <a:lnTo>
                    <a:pt x="18828" y="33765"/>
                  </a:lnTo>
                  <a:lnTo>
                    <a:pt x="18900" y="33584"/>
                  </a:lnTo>
                  <a:lnTo>
                    <a:pt x="18973" y="33329"/>
                  </a:lnTo>
                  <a:lnTo>
                    <a:pt x="18973" y="33329"/>
                  </a:lnTo>
                  <a:lnTo>
                    <a:pt x="19010" y="33111"/>
                  </a:lnTo>
                  <a:lnTo>
                    <a:pt x="19010" y="32857"/>
                  </a:lnTo>
                  <a:lnTo>
                    <a:pt x="18937" y="32239"/>
                  </a:lnTo>
                  <a:lnTo>
                    <a:pt x="18791" y="31476"/>
                  </a:lnTo>
                  <a:lnTo>
                    <a:pt x="18573" y="30676"/>
                  </a:lnTo>
                  <a:lnTo>
                    <a:pt x="18355" y="29767"/>
                  </a:lnTo>
                  <a:lnTo>
                    <a:pt x="18065" y="28822"/>
                  </a:lnTo>
                  <a:lnTo>
                    <a:pt x="17410" y="26896"/>
                  </a:lnTo>
                  <a:lnTo>
                    <a:pt x="16756" y="24970"/>
                  </a:lnTo>
                  <a:lnTo>
                    <a:pt x="16211" y="23262"/>
                  </a:lnTo>
                  <a:lnTo>
                    <a:pt x="15956" y="22498"/>
                  </a:lnTo>
                  <a:lnTo>
                    <a:pt x="15811" y="21880"/>
                  </a:lnTo>
                  <a:lnTo>
                    <a:pt x="15702" y="21372"/>
                  </a:lnTo>
                  <a:lnTo>
                    <a:pt x="15666" y="21008"/>
                  </a:lnTo>
                  <a:lnTo>
                    <a:pt x="15666" y="21008"/>
                  </a:lnTo>
                  <a:lnTo>
                    <a:pt x="15702" y="20717"/>
                  </a:lnTo>
                  <a:lnTo>
                    <a:pt x="15811" y="20427"/>
                  </a:lnTo>
                  <a:lnTo>
                    <a:pt x="15956" y="20172"/>
                  </a:lnTo>
                  <a:lnTo>
                    <a:pt x="16175" y="19954"/>
                  </a:lnTo>
                  <a:lnTo>
                    <a:pt x="16393" y="19700"/>
                  </a:lnTo>
                  <a:lnTo>
                    <a:pt x="16647" y="19482"/>
                  </a:lnTo>
                  <a:lnTo>
                    <a:pt x="17229" y="19082"/>
                  </a:lnTo>
                  <a:lnTo>
                    <a:pt x="17810" y="18682"/>
                  </a:lnTo>
                  <a:lnTo>
                    <a:pt x="18319" y="18282"/>
                  </a:lnTo>
                  <a:lnTo>
                    <a:pt x="18537" y="18064"/>
                  </a:lnTo>
                  <a:lnTo>
                    <a:pt x="18719" y="17846"/>
                  </a:lnTo>
                  <a:lnTo>
                    <a:pt x="18864" y="17628"/>
                  </a:lnTo>
                  <a:lnTo>
                    <a:pt x="18937" y="17410"/>
                  </a:lnTo>
                  <a:lnTo>
                    <a:pt x="18937" y="17410"/>
                  </a:lnTo>
                  <a:lnTo>
                    <a:pt x="18937" y="17155"/>
                  </a:lnTo>
                  <a:lnTo>
                    <a:pt x="18900" y="16901"/>
                  </a:lnTo>
                  <a:lnTo>
                    <a:pt x="18791" y="16610"/>
                  </a:lnTo>
                  <a:lnTo>
                    <a:pt x="18646" y="16283"/>
                  </a:lnTo>
                  <a:lnTo>
                    <a:pt x="18283" y="15629"/>
                  </a:lnTo>
                  <a:lnTo>
                    <a:pt x="17846" y="15011"/>
                  </a:lnTo>
                  <a:lnTo>
                    <a:pt x="17120" y="14066"/>
                  </a:lnTo>
                  <a:lnTo>
                    <a:pt x="16974" y="13812"/>
                  </a:lnTo>
                  <a:lnTo>
                    <a:pt x="17011" y="13775"/>
                  </a:lnTo>
                  <a:lnTo>
                    <a:pt x="17083" y="13812"/>
                  </a:lnTo>
                  <a:lnTo>
                    <a:pt x="17083" y="13812"/>
                  </a:lnTo>
                  <a:lnTo>
                    <a:pt x="18174" y="14357"/>
                  </a:lnTo>
                  <a:lnTo>
                    <a:pt x="19773" y="15047"/>
                  </a:lnTo>
                  <a:lnTo>
                    <a:pt x="21699" y="15811"/>
                  </a:lnTo>
                  <a:lnTo>
                    <a:pt x="22753" y="16174"/>
                  </a:lnTo>
                  <a:lnTo>
                    <a:pt x="23807" y="16538"/>
                  </a:lnTo>
                  <a:lnTo>
                    <a:pt x="24898" y="16865"/>
                  </a:lnTo>
                  <a:lnTo>
                    <a:pt x="25915" y="17155"/>
                  </a:lnTo>
                  <a:lnTo>
                    <a:pt x="26897" y="17410"/>
                  </a:lnTo>
                  <a:lnTo>
                    <a:pt x="27805" y="17592"/>
                  </a:lnTo>
                  <a:lnTo>
                    <a:pt x="28605" y="17664"/>
                  </a:lnTo>
                  <a:lnTo>
                    <a:pt x="28968" y="17701"/>
                  </a:lnTo>
                  <a:lnTo>
                    <a:pt x="29295" y="17701"/>
                  </a:lnTo>
                  <a:lnTo>
                    <a:pt x="29586" y="17664"/>
                  </a:lnTo>
                  <a:lnTo>
                    <a:pt x="29877" y="17592"/>
                  </a:lnTo>
                  <a:lnTo>
                    <a:pt x="30059" y="17519"/>
                  </a:lnTo>
                  <a:lnTo>
                    <a:pt x="30240" y="17410"/>
                  </a:lnTo>
                  <a:lnTo>
                    <a:pt x="30240" y="17410"/>
                  </a:lnTo>
                  <a:lnTo>
                    <a:pt x="30386" y="17228"/>
                  </a:lnTo>
                  <a:lnTo>
                    <a:pt x="30495" y="16974"/>
                  </a:lnTo>
                  <a:lnTo>
                    <a:pt x="30531" y="16647"/>
                  </a:lnTo>
                  <a:lnTo>
                    <a:pt x="30567" y="16247"/>
                  </a:lnTo>
                  <a:lnTo>
                    <a:pt x="30567" y="15811"/>
                  </a:lnTo>
                  <a:lnTo>
                    <a:pt x="30531" y="15302"/>
                  </a:lnTo>
                  <a:lnTo>
                    <a:pt x="30422" y="14102"/>
                  </a:lnTo>
                  <a:lnTo>
                    <a:pt x="30204" y="12758"/>
                  </a:lnTo>
                  <a:lnTo>
                    <a:pt x="29913" y="11304"/>
                  </a:lnTo>
                  <a:lnTo>
                    <a:pt x="29550" y="9741"/>
                  </a:lnTo>
                  <a:lnTo>
                    <a:pt x="29186" y="8178"/>
                  </a:lnTo>
                  <a:lnTo>
                    <a:pt x="28387" y="5125"/>
                  </a:lnTo>
                  <a:lnTo>
                    <a:pt x="27660" y="2508"/>
                  </a:lnTo>
                  <a:lnTo>
                    <a:pt x="26933" y="0"/>
                  </a:lnTo>
                  <a:lnTo>
                    <a:pt x="26933" y="0"/>
                  </a:lnTo>
                  <a:lnTo>
                    <a:pt x="26315" y="73"/>
                  </a:lnTo>
                  <a:lnTo>
                    <a:pt x="25661" y="182"/>
                  </a:lnTo>
                  <a:lnTo>
                    <a:pt x="24934" y="327"/>
                  </a:lnTo>
                  <a:lnTo>
                    <a:pt x="24207" y="509"/>
                  </a:lnTo>
                  <a:lnTo>
                    <a:pt x="23844" y="618"/>
                  </a:lnTo>
                  <a:lnTo>
                    <a:pt x="23516" y="764"/>
                  </a:lnTo>
                  <a:lnTo>
                    <a:pt x="23262" y="909"/>
                  </a:lnTo>
                  <a:lnTo>
                    <a:pt x="23044" y="1054"/>
                  </a:lnTo>
                  <a:lnTo>
                    <a:pt x="22899" y="1200"/>
                  </a:lnTo>
                  <a:lnTo>
                    <a:pt x="22862" y="1381"/>
                  </a:lnTo>
                  <a:lnTo>
                    <a:pt x="22862" y="1381"/>
                  </a:lnTo>
                  <a:lnTo>
                    <a:pt x="22862" y="1672"/>
                  </a:lnTo>
                  <a:lnTo>
                    <a:pt x="22971" y="2072"/>
                  </a:lnTo>
                  <a:lnTo>
                    <a:pt x="23407" y="3271"/>
                  </a:lnTo>
                  <a:lnTo>
                    <a:pt x="24025" y="4798"/>
                  </a:lnTo>
                  <a:lnTo>
                    <a:pt x="24679" y="6543"/>
                  </a:lnTo>
                  <a:lnTo>
                    <a:pt x="25007" y="7415"/>
                  </a:lnTo>
                  <a:lnTo>
                    <a:pt x="25297" y="8287"/>
                  </a:lnTo>
                  <a:lnTo>
                    <a:pt x="25552" y="9123"/>
                  </a:lnTo>
                  <a:lnTo>
                    <a:pt x="25770" y="9886"/>
                  </a:lnTo>
                  <a:lnTo>
                    <a:pt x="25915" y="10613"/>
                  </a:lnTo>
                  <a:lnTo>
                    <a:pt x="25952" y="11231"/>
                  </a:lnTo>
                  <a:lnTo>
                    <a:pt x="25952" y="11486"/>
                  </a:lnTo>
                  <a:lnTo>
                    <a:pt x="25915" y="11740"/>
                  </a:lnTo>
                  <a:lnTo>
                    <a:pt x="25879" y="11958"/>
                  </a:lnTo>
                  <a:lnTo>
                    <a:pt x="25770" y="12103"/>
                  </a:lnTo>
                  <a:lnTo>
                    <a:pt x="25770" y="12103"/>
                  </a:lnTo>
                  <a:lnTo>
                    <a:pt x="25661" y="12249"/>
                  </a:lnTo>
                  <a:lnTo>
                    <a:pt x="25479" y="12321"/>
                  </a:lnTo>
                  <a:lnTo>
                    <a:pt x="25261" y="12358"/>
                  </a:lnTo>
                  <a:lnTo>
                    <a:pt x="24970" y="12321"/>
                  </a:lnTo>
                  <a:lnTo>
                    <a:pt x="24679" y="12285"/>
                  </a:lnTo>
                  <a:lnTo>
                    <a:pt x="24316" y="12176"/>
                  </a:lnTo>
                  <a:lnTo>
                    <a:pt x="23516" y="11885"/>
                  </a:lnTo>
                  <a:lnTo>
                    <a:pt x="22608" y="11486"/>
                  </a:lnTo>
                  <a:lnTo>
                    <a:pt x="21626" y="10977"/>
                  </a:lnTo>
                  <a:lnTo>
                    <a:pt x="20536" y="10359"/>
                  </a:lnTo>
                  <a:lnTo>
                    <a:pt x="19446" y="9705"/>
                  </a:lnTo>
                  <a:lnTo>
                    <a:pt x="17156" y="8323"/>
                  </a:lnTo>
                  <a:lnTo>
                    <a:pt x="14939" y="6942"/>
                  </a:lnTo>
                  <a:lnTo>
                    <a:pt x="12976" y="5707"/>
                  </a:lnTo>
                  <a:lnTo>
                    <a:pt x="12177" y="5234"/>
                  </a:lnTo>
                  <a:lnTo>
                    <a:pt x="11486" y="4871"/>
                  </a:lnTo>
                  <a:lnTo>
                    <a:pt x="11486" y="4871"/>
                  </a:lnTo>
                  <a:lnTo>
                    <a:pt x="10977" y="4798"/>
                  </a:lnTo>
                  <a:lnTo>
                    <a:pt x="9778" y="4653"/>
                  </a:lnTo>
                  <a:lnTo>
                    <a:pt x="8288" y="4544"/>
                  </a:lnTo>
                  <a:lnTo>
                    <a:pt x="7561" y="4507"/>
                  </a:lnTo>
                  <a:lnTo>
                    <a:pt x="6943" y="4544"/>
                  </a:lnTo>
                  <a:lnTo>
                    <a:pt x="6943" y="4544"/>
                  </a:lnTo>
                  <a:lnTo>
                    <a:pt x="6616" y="4616"/>
                  </a:lnTo>
                  <a:lnTo>
                    <a:pt x="6252" y="4725"/>
                  </a:lnTo>
                  <a:lnTo>
                    <a:pt x="5852" y="4871"/>
                  </a:lnTo>
                  <a:lnTo>
                    <a:pt x="5453" y="5089"/>
                  </a:lnTo>
                  <a:lnTo>
                    <a:pt x="4508" y="5670"/>
                  </a:lnTo>
                  <a:lnTo>
                    <a:pt x="3526" y="6324"/>
                  </a:lnTo>
                  <a:lnTo>
                    <a:pt x="2545" y="7051"/>
                  </a:lnTo>
                  <a:lnTo>
                    <a:pt x="1673" y="7778"/>
                  </a:lnTo>
                  <a:lnTo>
                    <a:pt x="946" y="8432"/>
                  </a:lnTo>
                  <a:lnTo>
                    <a:pt x="655" y="8760"/>
                  </a:lnTo>
                  <a:lnTo>
                    <a:pt x="437" y="9014"/>
                  </a:lnTo>
                  <a:lnTo>
                    <a:pt x="437" y="9014"/>
                  </a:lnTo>
                  <a:lnTo>
                    <a:pt x="328" y="9159"/>
                  </a:lnTo>
                  <a:lnTo>
                    <a:pt x="255" y="9341"/>
                  </a:lnTo>
                  <a:lnTo>
                    <a:pt x="110" y="9777"/>
                  </a:lnTo>
                  <a:lnTo>
                    <a:pt x="37" y="10286"/>
                  </a:lnTo>
                  <a:lnTo>
                    <a:pt x="1" y="10868"/>
                  </a:lnTo>
                  <a:lnTo>
                    <a:pt x="1" y="11522"/>
                  </a:lnTo>
                  <a:lnTo>
                    <a:pt x="37" y="12249"/>
                  </a:lnTo>
                  <a:lnTo>
                    <a:pt x="146" y="13012"/>
                  </a:lnTo>
                  <a:lnTo>
                    <a:pt x="255" y="13848"/>
                  </a:lnTo>
                  <a:lnTo>
                    <a:pt x="401" y="14720"/>
                  </a:lnTo>
                  <a:lnTo>
                    <a:pt x="582" y="15593"/>
                  </a:lnTo>
                  <a:lnTo>
                    <a:pt x="982" y="17446"/>
                  </a:lnTo>
                  <a:lnTo>
                    <a:pt x="1491" y="19336"/>
                  </a:lnTo>
                  <a:lnTo>
                    <a:pt x="2036" y="21153"/>
                  </a:lnTo>
                  <a:lnTo>
                    <a:pt x="2036" y="21153"/>
                  </a:lnTo>
                  <a:lnTo>
                    <a:pt x="2072" y="21299"/>
                  </a:lnTo>
                  <a:lnTo>
                    <a:pt x="2181" y="21444"/>
                  </a:lnTo>
                  <a:lnTo>
                    <a:pt x="2436" y="21735"/>
                  </a:lnTo>
                  <a:lnTo>
                    <a:pt x="2836" y="22026"/>
                  </a:lnTo>
                  <a:lnTo>
                    <a:pt x="3345" y="22353"/>
                  </a:lnTo>
                  <a:lnTo>
                    <a:pt x="3926" y="22716"/>
                  </a:lnTo>
                  <a:lnTo>
                    <a:pt x="4617" y="23080"/>
                  </a:lnTo>
                  <a:lnTo>
                    <a:pt x="5380" y="23443"/>
                  </a:lnTo>
                  <a:lnTo>
                    <a:pt x="6252" y="23807"/>
                  </a:lnTo>
                  <a:lnTo>
                    <a:pt x="8142" y="24606"/>
                  </a:lnTo>
                  <a:lnTo>
                    <a:pt x="10250" y="25406"/>
                  </a:lnTo>
                  <a:lnTo>
                    <a:pt x="12467" y="26206"/>
                  </a:lnTo>
                  <a:lnTo>
                    <a:pt x="14757" y="26969"/>
                  </a:lnTo>
                  <a:lnTo>
                    <a:pt x="19264" y="28459"/>
                  </a:lnTo>
                  <a:lnTo>
                    <a:pt x="23226" y="29695"/>
                  </a:lnTo>
                  <a:lnTo>
                    <a:pt x="26097" y="30603"/>
                  </a:lnTo>
                  <a:lnTo>
                    <a:pt x="26969" y="30894"/>
                  </a:lnTo>
                  <a:lnTo>
                    <a:pt x="27333" y="3104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38" name="Google Shape;2667;p11">
              <a:extLst>
                <a:ext uri="{FF2B5EF4-FFF2-40B4-BE49-F238E27FC236}">
                  <a16:creationId xmlns:a16="http://schemas.microsoft.com/office/drawing/2014/main" id="{FA85FA8C-628F-375D-EA7A-02CE6F4912EC}"/>
                </a:ext>
              </a:extLst>
            </p:cNvPr>
            <p:cNvSpPr/>
            <p:nvPr/>
          </p:nvSpPr>
          <p:spPr>
            <a:xfrm>
              <a:off x="670625" y="4066875"/>
              <a:ext cx="315325" cy="394375"/>
            </a:xfrm>
            <a:custGeom>
              <a:avLst/>
              <a:gdLst/>
              <a:ahLst/>
              <a:cxnLst/>
              <a:rect l="l" t="t" r="r" b="b"/>
              <a:pathLst>
                <a:path w="12613" h="15775" extrusionOk="0">
                  <a:moveTo>
                    <a:pt x="5452" y="1"/>
                  </a:moveTo>
                  <a:lnTo>
                    <a:pt x="364" y="10250"/>
                  </a:lnTo>
                  <a:lnTo>
                    <a:pt x="219" y="10577"/>
                  </a:lnTo>
                  <a:lnTo>
                    <a:pt x="110" y="10941"/>
                  </a:lnTo>
                  <a:lnTo>
                    <a:pt x="37" y="11268"/>
                  </a:lnTo>
                  <a:lnTo>
                    <a:pt x="1" y="11595"/>
                  </a:lnTo>
                  <a:lnTo>
                    <a:pt x="1" y="11958"/>
                  </a:lnTo>
                  <a:lnTo>
                    <a:pt x="1" y="12285"/>
                  </a:lnTo>
                  <a:lnTo>
                    <a:pt x="73" y="12649"/>
                  </a:lnTo>
                  <a:lnTo>
                    <a:pt x="182" y="12976"/>
                  </a:lnTo>
                  <a:lnTo>
                    <a:pt x="291" y="13267"/>
                  </a:lnTo>
                  <a:lnTo>
                    <a:pt x="437" y="13594"/>
                  </a:lnTo>
                  <a:lnTo>
                    <a:pt x="618" y="13885"/>
                  </a:lnTo>
                  <a:lnTo>
                    <a:pt x="837" y="14139"/>
                  </a:lnTo>
                  <a:lnTo>
                    <a:pt x="1091" y="14394"/>
                  </a:lnTo>
                  <a:lnTo>
                    <a:pt x="1345" y="14648"/>
                  </a:lnTo>
                  <a:lnTo>
                    <a:pt x="1636" y="14830"/>
                  </a:lnTo>
                  <a:lnTo>
                    <a:pt x="1963" y="15011"/>
                  </a:lnTo>
                  <a:lnTo>
                    <a:pt x="2726" y="15411"/>
                  </a:lnTo>
                  <a:lnTo>
                    <a:pt x="3090" y="15557"/>
                  </a:lnTo>
                  <a:lnTo>
                    <a:pt x="3417" y="15666"/>
                  </a:lnTo>
                  <a:lnTo>
                    <a:pt x="3744" y="15738"/>
                  </a:lnTo>
                  <a:lnTo>
                    <a:pt x="4108" y="15775"/>
                  </a:lnTo>
                  <a:lnTo>
                    <a:pt x="4435" y="15775"/>
                  </a:lnTo>
                  <a:lnTo>
                    <a:pt x="4798" y="15738"/>
                  </a:lnTo>
                  <a:lnTo>
                    <a:pt x="5125" y="15702"/>
                  </a:lnTo>
                  <a:lnTo>
                    <a:pt x="5452" y="15593"/>
                  </a:lnTo>
                  <a:lnTo>
                    <a:pt x="5780" y="15484"/>
                  </a:lnTo>
                  <a:lnTo>
                    <a:pt x="6070" y="15302"/>
                  </a:lnTo>
                  <a:lnTo>
                    <a:pt x="6361" y="15120"/>
                  </a:lnTo>
                  <a:lnTo>
                    <a:pt x="6652" y="14939"/>
                  </a:lnTo>
                  <a:lnTo>
                    <a:pt x="6906" y="14684"/>
                  </a:lnTo>
                  <a:lnTo>
                    <a:pt x="7124" y="14430"/>
                  </a:lnTo>
                  <a:lnTo>
                    <a:pt x="7342" y="14139"/>
                  </a:lnTo>
                  <a:lnTo>
                    <a:pt x="7524" y="13812"/>
                  </a:lnTo>
                  <a:lnTo>
                    <a:pt x="12613" y="3563"/>
                  </a:lnTo>
                  <a:lnTo>
                    <a:pt x="5452" y="1"/>
                  </a:lnTo>
                  <a:close/>
                </a:path>
              </a:pathLst>
            </a:custGeom>
            <a:solidFill>
              <a:srgbClr val="DC536A"/>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39" name="Google Shape;2668;p11">
              <a:extLst>
                <a:ext uri="{FF2B5EF4-FFF2-40B4-BE49-F238E27FC236}">
                  <a16:creationId xmlns:a16="http://schemas.microsoft.com/office/drawing/2014/main" id="{AC2C66CF-02DE-925C-0357-4C0E1BD497C1}"/>
                </a:ext>
              </a:extLst>
            </p:cNvPr>
            <p:cNvSpPr/>
            <p:nvPr/>
          </p:nvSpPr>
          <p:spPr>
            <a:xfrm>
              <a:off x="670625" y="4066875"/>
              <a:ext cx="315325" cy="394375"/>
            </a:xfrm>
            <a:custGeom>
              <a:avLst/>
              <a:gdLst/>
              <a:ahLst/>
              <a:cxnLst/>
              <a:rect l="l" t="t" r="r" b="b"/>
              <a:pathLst>
                <a:path w="12613" h="15775" fill="none" extrusionOk="0">
                  <a:moveTo>
                    <a:pt x="12613" y="3563"/>
                  </a:moveTo>
                  <a:lnTo>
                    <a:pt x="5452" y="1"/>
                  </a:lnTo>
                  <a:lnTo>
                    <a:pt x="364" y="10250"/>
                  </a:lnTo>
                  <a:lnTo>
                    <a:pt x="364" y="10250"/>
                  </a:lnTo>
                  <a:lnTo>
                    <a:pt x="219" y="10577"/>
                  </a:lnTo>
                  <a:lnTo>
                    <a:pt x="110" y="10941"/>
                  </a:lnTo>
                  <a:lnTo>
                    <a:pt x="37" y="11268"/>
                  </a:lnTo>
                  <a:lnTo>
                    <a:pt x="1" y="11595"/>
                  </a:lnTo>
                  <a:lnTo>
                    <a:pt x="1" y="11958"/>
                  </a:lnTo>
                  <a:lnTo>
                    <a:pt x="1" y="12285"/>
                  </a:lnTo>
                  <a:lnTo>
                    <a:pt x="73" y="12649"/>
                  </a:lnTo>
                  <a:lnTo>
                    <a:pt x="182" y="12976"/>
                  </a:lnTo>
                  <a:lnTo>
                    <a:pt x="291" y="13267"/>
                  </a:lnTo>
                  <a:lnTo>
                    <a:pt x="437" y="13594"/>
                  </a:lnTo>
                  <a:lnTo>
                    <a:pt x="618" y="13885"/>
                  </a:lnTo>
                  <a:lnTo>
                    <a:pt x="837" y="14139"/>
                  </a:lnTo>
                  <a:lnTo>
                    <a:pt x="1091" y="14394"/>
                  </a:lnTo>
                  <a:lnTo>
                    <a:pt x="1345" y="14648"/>
                  </a:lnTo>
                  <a:lnTo>
                    <a:pt x="1636" y="14830"/>
                  </a:lnTo>
                  <a:lnTo>
                    <a:pt x="1963" y="15011"/>
                  </a:lnTo>
                  <a:lnTo>
                    <a:pt x="2726" y="15411"/>
                  </a:lnTo>
                  <a:lnTo>
                    <a:pt x="2726" y="15411"/>
                  </a:lnTo>
                  <a:lnTo>
                    <a:pt x="3090" y="15557"/>
                  </a:lnTo>
                  <a:lnTo>
                    <a:pt x="3417" y="15666"/>
                  </a:lnTo>
                  <a:lnTo>
                    <a:pt x="3744" y="15738"/>
                  </a:lnTo>
                  <a:lnTo>
                    <a:pt x="4108" y="15775"/>
                  </a:lnTo>
                  <a:lnTo>
                    <a:pt x="4435" y="15775"/>
                  </a:lnTo>
                  <a:lnTo>
                    <a:pt x="4798" y="15738"/>
                  </a:lnTo>
                  <a:lnTo>
                    <a:pt x="5125" y="15702"/>
                  </a:lnTo>
                  <a:lnTo>
                    <a:pt x="5452" y="15593"/>
                  </a:lnTo>
                  <a:lnTo>
                    <a:pt x="5780" y="15484"/>
                  </a:lnTo>
                  <a:lnTo>
                    <a:pt x="6070" y="15302"/>
                  </a:lnTo>
                  <a:lnTo>
                    <a:pt x="6361" y="15120"/>
                  </a:lnTo>
                  <a:lnTo>
                    <a:pt x="6652" y="14939"/>
                  </a:lnTo>
                  <a:lnTo>
                    <a:pt x="6906" y="14684"/>
                  </a:lnTo>
                  <a:lnTo>
                    <a:pt x="7124" y="14430"/>
                  </a:lnTo>
                  <a:lnTo>
                    <a:pt x="7342" y="14139"/>
                  </a:lnTo>
                  <a:lnTo>
                    <a:pt x="7524" y="13812"/>
                  </a:lnTo>
                  <a:lnTo>
                    <a:pt x="12613" y="3563"/>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40" name="Google Shape;2669;p11">
              <a:extLst>
                <a:ext uri="{FF2B5EF4-FFF2-40B4-BE49-F238E27FC236}">
                  <a16:creationId xmlns:a16="http://schemas.microsoft.com/office/drawing/2014/main" id="{5C88D79B-23D8-99FD-263D-38C6ACD7499D}"/>
                </a:ext>
              </a:extLst>
            </p:cNvPr>
            <p:cNvSpPr/>
            <p:nvPr/>
          </p:nvSpPr>
          <p:spPr>
            <a:xfrm>
              <a:off x="745125" y="1323675"/>
              <a:ext cx="1558350" cy="2955850"/>
            </a:xfrm>
            <a:custGeom>
              <a:avLst/>
              <a:gdLst/>
              <a:ahLst/>
              <a:cxnLst/>
              <a:rect l="l" t="t" r="r" b="b"/>
              <a:pathLst>
                <a:path w="62334" h="118234" extrusionOk="0">
                  <a:moveTo>
                    <a:pt x="60844" y="1"/>
                  </a:moveTo>
                  <a:lnTo>
                    <a:pt x="60626" y="37"/>
                  </a:lnTo>
                  <a:lnTo>
                    <a:pt x="60407" y="74"/>
                  </a:lnTo>
                  <a:lnTo>
                    <a:pt x="60189" y="183"/>
                  </a:lnTo>
                  <a:lnTo>
                    <a:pt x="59971" y="292"/>
                  </a:lnTo>
                  <a:lnTo>
                    <a:pt x="59753" y="473"/>
                  </a:lnTo>
                  <a:lnTo>
                    <a:pt x="53756" y="6761"/>
                  </a:lnTo>
                  <a:lnTo>
                    <a:pt x="1" y="114672"/>
                  </a:lnTo>
                  <a:lnTo>
                    <a:pt x="7161" y="118234"/>
                  </a:lnTo>
                  <a:lnTo>
                    <a:pt x="60916" y="10323"/>
                  </a:lnTo>
                  <a:lnTo>
                    <a:pt x="62297" y="1746"/>
                  </a:lnTo>
                  <a:lnTo>
                    <a:pt x="62334" y="1491"/>
                  </a:lnTo>
                  <a:lnTo>
                    <a:pt x="62297" y="1237"/>
                  </a:lnTo>
                  <a:lnTo>
                    <a:pt x="62225" y="982"/>
                  </a:lnTo>
                  <a:lnTo>
                    <a:pt x="62152" y="801"/>
                  </a:lnTo>
                  <a:lnTo>
                    <a:pt x="62007" y="582"/>
                  </a:lnTo>
                  <a:lnTo>
                    <a:pt x="61861" y="437"/>
                  </a:lnTo>
                  <a:lnTo>
                    <a:pt x="61680" y="292"/>
                  </a:lnTo>
                  <a:lnTo>
                    <a:pt x="61498" y="183"/>
                  </a:lnTo>
                  <a:lnTo>
                    <a:pt x="61280" y="74"/>
                  </a:lnTo>
                  <a:lnTo>
                    <a:pt x="61062" y="37"/>
                  </a:lnTo>
                  <a:lnTo>
                    <a:pt x="60844" y="1"/>
                  </a:lnTo>
                  <a:close/>
                </a:path>
              </a:pathLst>
            </a:custGeom>
            <a:solidFill>
              <a:srgbClr val="FCBF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41" name="Google Shape;2670;p11">
              <a:extLst>
                <a:ext uri="{FF2B5EF4-FFF2-40B4-BE49-F238E27FC236}">
                  <a16:creationId xmlns:a16="http://schemas.microsoft.com/office/drawing/2014/main" id="{217EA44F-5D6B-DF14-EEA8-5974D8BDD489}"/>
                </a:ext>
              </a:extLst>
            </p:cNvPr>
            <p:cNvSpPr/>
            <p:nvPr/>
          </p:nvSpPr>
          <p:spPr>
            <a:xfrm>
              <a:off x="2087200" y="1269175"/>
              <a:ext cx="238100" cy="312600"/>
            </a:xfrm>
            <a:custGeom>
              <a:avLst/>
              <a:gdLst/>
              <a:ahLst/>
              <a:cxnLst/>
              <a:rect l="l" t="t" r="r" b="b"/>
              <a:pathLst>
                <a:path w="9524" h="12504" extrusionOk="0">
                  <a:moveTo>
                    <a:pt x="8324" y="0"/>
                  </a:moveTo>
                  <a:lnTo>
                    <a:pt x="8142" y="37"/>
                  </a:lnTo>
                  <a:lnTo>
                    <a:pt x="7997" y="109"/>
                  </a:lnTo>
                  <a:lnTo>
                    <a:pt x="7851" y="218"/>
                  </a:lnTo>
                  <a:lnTo>
                    <a:pt x="7706" y="327"/>
                  </a:lnTo>
                  <a:lnTo>
                    <a:pt x="73" y="8941"/>
                  </a:lnTo>
                  <a:lnTo>
                    <a:pt x="1" y="9087"/>
                  </a:lnTo>
                  <a:lnTo>
                    <a:pt x="328" y="9414"/>
                  </a:lnTo>
                  <a:lnTo>
                    <a:pt x="546" y="9741"/>
                  </a:lnTo>
                  <a:lnTo>
                    <a:pt x="691" y="10032"/>
                  </a:lnTo>
                  <a:lnTo>
                    <a:pt x="764" y="10286"/>
                  </a:lnTo>
                  <a:lnTo>
                    <a:pt x="836" y="10504"/>
                  </a:lnTo>
                  <a:lnTo>
                    <a:pt x="946" y="10686"/>
                  </a:lnTo>
                  <a:lnTo>
                    <a:pt x="1055" y="10831"/>
                  </a:lnTo>
                  <a:lnTo>
                    <a:pt x="1236" y="10940"/>
                  </a:lnTo>
                  <a:lnTo>
                    <a:pt x="1382" y="10977"/>
                  </a:lnTo>
                  <a:lnTo>
                    <a:pt x="1563" y="10977"/>
                  </a:lnTo>
                  <a:lnTo>
                    <a:pt x="1709" y="10940"/>
                  </a:lnTo>
                  <a:lnTo>
                    <a:pt x="1891" y="10868"/>
                  </a:lnTo>
                  <a:lnTo>
                    <a:pt x="2218" y="10722"/>
                  </a:lnTo>
                  <a:lnTo>
                    <a:pt x="2581" y="10504"/>
                  </a:lnTo>
                  <a:lnTo>
                    <a:pt x="2945" y="10322"/>
                  </a:lnTo>
                  <a:lnTo>
                    <a:pt x="3272" y="10141"/>
                  </a:lnTo>
                  <a:lnTo>
                    <a:pt x="3453" y="10104"/>
                  </a:lnTo>
                  <a:lnTo>
                    <a:pt x="3599" y="10068"/>
                  </a:lnTo>
                  <a:lnTo>
                    <a:pt x="3780" y="10104"/>
                  </a:lnTo>
                  <a:lnTo>
                    <a:pt x="3926" y="10141"/>
                  </a:lnTo>
                  <a:lnTo>
                    <a:pt x="4071" y="10250"/>
                  </a:lnTo>
                  <a:lnTo>
                    <a:pt x="4180" y="10322"/>
                  </a:lnTo>
                  <a:lnTo>
                    <a:pt x="4253" y="10395"/>
                  </a:lnTo>
                  <a:lnTo>
                    <a:pt x="4289" y="10504"/>
                  </a:lnTo>
                  <a:lnTo>
                    <a:pt x="4326" y="10686"/>
                  </a:lnTo>
                  <a:lnTo>
                    <a:pt x="4326" y="10904"/>
                  </a:lnTo>
                  <a:lnTo>
                    <a:pt x="4362" y="11086"/>
                  </a:lnTo>
                  <a:lnTo>
                    <a:pt x="4398" y="11267"/>
                  </a:lnTo>
                  <a:lnTo>
                    <a:pt x="4435" y="11376"/>
                  </a:lnTo>
                  <a:lnTo>
                    <a:pt x="4507" y="11449"/>
                  </a:lnTo>
                  <a:lnTo>
                    <a:pt x="4616" y="11558"/>
                  </a:lnTo>
                  <a:lnTo>
                    <a:pt x="4762" y="11631"/>
                  </a:lnTo>
                  <a:lnTo>
                    <a:pt x="5016" y="11740"/>
                  </a:lnTo>
                  <a:lnTo>
                    <a:pt x="5271" y="11776"/>
                  </a:lnTo>
                  <a:lnTo>
                    <a:pt x="5452" y="11776"/>
                  </a:lnTo>
                  <a:lnTo>
                    <a:pt x="5634" y="11740"/>
                  </a:lnTo>
                  <a:lnTo>
                    <a:pt x="5961" y="11704"/>
                  </a:lnTo>
                  <a:lnTo>
                    <a:pt x="6107" y="11704"/>
                  </a:lnTo>
                  <a:lnTo>
                    <a:pt x="6288" y="11776"/>
                  </a:lnTo>
                  <a:lnTo>
                    <a:pt x="6434" y="11849"/>
                  </a:lnTo>
                  <a:lnTo>
                    <a:pt x="6470" y="11922"/>
                  </a:lnTo>
                  <a:lnTo>
                    <a:pt x="6506" y="12031"/>
                  </a:lnTo>
                  <a:lnTo>
                    <a:pt x="6543" y="12103"/>
                  </a:lnTo>
                  <a:lnTo>
                    <a:pt x="6652" y="12212"/>
                  </a:lnTo>
                  <a:lnTo>
                    <a:pt x="6870" y="12321"/>
                  </a:lnTo>
                  <a:lnTo>
                    <a:pt x="7233" y="12503"/>
                  </a:lnTo>
                  <a:lnTo>
                    <a:pt x="9487" y="1236"/>
                  </a:lnTo>
                  <a:lnTo>
                    <a:pt x="9523" y="1018"/>
                  </a:lnTo>
                  <a:lnTo>
                    <a:pt x="9487" y="836"/>
                  </a:lnTo>
                  <a:lnTo>
                    <a:pt x="9450" y="691"/>
                  </a:lnTo>
                  <a:lnTo>
                    <a:pt x="9378" y="545"/>
                  </a:lnTo>
                  <a:lnTo>
                    <a:pt x="9305" y="400"/>
                  </a:lnTo>
                  <a:lnTo>
                    <a:pt x="9196" y="291"/>
                  </a:lnTo>
                  <a:lnTo>
                    <a:pt x="9087" y="182"/>
                  </a:lnTo>
                  <a:lnTo>
                    <a:pt x="8942" y="109"/>
                  </a:lnTo>
                  <a:lnTo>
                    <a:pt x="8796" y="37"/>
                  </a:lnTo>
                  <a:lnTo>
                    <a:pt x="8651" y="0"/>
                  </a:lnTo>
                  <a:close/>
                </a:path>
              </a:pathLst>
            </a:custGeom>
            <a:solidFill>
              <a:srgbClr val="FFAE8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42" name="Google Shape;2671;p11">
              <a:extLst>
                <a:ext uri="{FF2B5EF4-FFF2-40B4-BE49-F238E27FC236}">
                  <a16:creationId xmlns:a16="http://schemas.microsoft.com/office/drawing/2014/main" id="{5E8E3B55-7546-6C87-7DAE-7A4BE2518AA2}"/>
                </a:ext>
              </a:extLst>
            </p:cNvPr>
            <p:cNvSpPr/>
            <p:nvPr/>
          </p:nvSpPr>
          <p:spPr>
            <a:xfrm>
              <a:off x="2238025" y="1242825"/>
              <a:ext cx="94525" cy="119950"/>
            </a:xfrm>
            <a:custGeom>
              <a:avLst/>
              <a:gdLst/>
              <a:ahLst/>
              <a:cxnLst/>
              <a:rect l="l" t="t" r="r" b="b"/>
              <a:pathLst>
                <a:path w="3781" h="4798" extrusionOk="0">
                  <a:moveTo>
                    <a:pt x="3090" y="0"/>
                  </a:moveTo>
                  <a:lnTo>
                    <a:pt x="2909" y="37"/>
                  </a:lnTo>
                  <a:lnTo>
                    <a:pt x="2763" y="182"/>
                  </a:lnTo>
                  <a:lnTo>
                    <a:pt x="37" y="3271"/>
                  </a:lnTo>
                  <a:lnTo>
                    <a:pt x="1" y="3344"/>
                  </a:lnTo>
                  <a:lnTo>
                    <a:pt x="37" y="3417"/>
                  </a:lnTo>
                  <a:lnTo>
                    <a:pt x="255" y="3635"/>
                  </a:lnTo>
                  <a:lnTo>
                    <a:pt x="473" y="3744"/>
                  </a:lnTo>
                  <a:lnTo>
                    <a:pt x="691" y="3816"/>
                  </a:lnTo>
                  <a:lnTo>
                    <a:pt x="910" y="3816"/>
                  </a:lnTo>
                  <a:lnTo>
                    <a:pt x="1346" y="3780"/>
                  </a:lnTo>
                  <a:lnTo>
                    <a:pt x="1564" y="3816"/>
                  </a:lnTo>
                  <a:lnTo>
                    <a:pt x="1746" y="3889"/>
                  </a:lnTo>
                  <a:lnTo>
                    <a:pt x="1964" y="4035"/>
                  </a:lnTo>
                  <a:lnTo>
                    <a:pt x="2218" y="4253"/>
                  </a:lnTo>
                  <a:lnTo>
                    <a:pt x="2763" y="4798"/>
                  </a:lnTo>
                  <a:lnTo>
                    <a:pt x="2872" y="4798"/>
                  </a:lnTo>
                  <a:lnTo>
                    <a:pt x="2945" y="4761"/>
                  </a:lnTo>
                  <a:lnTo>
                    <a:pt x="2945" y="4725"/>
                  </a:lnTo>
                  <a:lnTo>
                    <a:pt x="3781" y="691"/>
                  </a:lnTo>
                  <a:lnTo>
                    <a:pt x="3781" y="473"/>
                  </a:lnTo>
                  <a:lnTo>
                    <a:pt x="3708" y="291"/>
                  </a:lnTo>
                  <a:lnTo>
                    <a:pt x="3599" y="146"/>
                  </a:lnTo>
                  <a:lnTo>
                    <a:pt x="3454" y="37"/>
                  </a:lnTo>
                  <a:lnTo>
                    <a:pt x="3272" y="0"/>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43" name="Google Shape;2672;p11">
              <a:extLst>
                <a:ext uri="{FF2B5EF4-FFF2-40B4-BE49-F238E27FC236}">
                  <a16:creationId xmlns:a16="http://schemas.microsoft.com/office/drawing/2014/main" id="{478A1414-8206-2974-CF7B-B56982CA1400}"/>
                </a:ext>
              </a:extLst>
            </p:cNvPr>
            <p:cNvSpPr/>
            <p:nvPr/>
          </p:nvSpPr>
          <p:spPr>
            <a:xfrm>
              <a:off x="716050" y="2627600"/>
              <a:ext cx="139975" cy="259875"/>
            </a:xfrm>
            <a:custGeom>
              <a:avLst/>
              <a:gdLst/>
              <a:ahLst/>
              <a:cxnLst/>
              <a:rect l="l" t="t" r="r" b="b"/>
              <a:pathLst>
                <a:path w="5599" h="10395" extrusionOk="0">
                  <a:moveTo>
                    <a:pt x="3853" y="0"/>
                  </a:moveTo>
                  <a:lnTo>
                    <a:pt x="3781" y="36"/>
                  </a:lnTo>
                  <a:lnTo>
                    <a:pt x="3672" y="109"/>
                  </a:lnTo>
                  <a:lnTo>
                    <a:pt x="3563" y="218"/>
                  </a:lnTo>
                  <a:lnTo>
                    <a:pt x="3454" y="363"/>
                  </a:lnTo>
                  <a:lnTo>
                    <a:pt x="3199" y="763"/>
                  </a:lnTo>
                  <a:lnTo>
                    <a:pt x="2690" y="1817"/>
                  </a:lnTo>
                  <a:lnTo>
                    <a:pt x="2182" y="2871"/>
                  </a:lnTo>
                  <a:lnTo>
                    <a:pt x="1128" y="4834"/>
                  </a:lnTo>
                  <a:lnTo>
                    <a:pt x="1" y="6797"/>
                  </a:lnTo>
                  <a:lnTo>
                    <a:pt x="110" y="7015"/>
                  </a:lnTo>
                  <a:lnTo>
                    <a:pt x="401" y="7487"/>
                  </a:lnTo>
                  <a:lnTo>
                    <a:pt x="582" y="7814"/>
                  </a:lnTo>
                  <a:lnTo>
                    <a:pt x="837" y="8105"/>
                  </a:lnTo>
                  <a:lnTo>
                    <a:pt x="1128" y="8396"/>
                  </a:lnTo>
                  <a:lnTo>
                    <a:pt x="1418" y="8687"/>
                  </a:lnTo>
                  <a:lnTo>
                    <a:pt x="1818" y="8941"/>
                  </a:lnTo>
                  <a:lnTo>
                    <a:pt x="2327" y="9196"/>
                  </a:lnTo>
                  <a:lnTo>
                    <a:pt x="3454" y="9777"/>
                  </a:lnTo>
                  <a:lnTo>
                    <a:pt x="4508" y="10213"/>
                  </a:lnTo>
                  <a:lnTo>
                    <a:pt x="4908" y="10359"/>
                  </a:lnTo>
                  <a:lnTo>
                    <a:pt x="5126" y="10395"/>
                  </a:lnTo>
                  <a:lnTo>
                    <a:pt x="5271" y="10395"/>
                  </a:lnTo>
                  <a:lnTo>
                    <a:pt x="5380" y="10322"/>
                  </a:lnTo>
                  <a:lnTo>
                    <a:pt x="5489" y="10250"/>
                  </a:lnTo>
                  <a:lnTo>
                    <a:pt x="5525" y="10140"/>
                  </a:lnTo>
                  <a:lnTo>
                    <a:pt x="5562" y="9995"/>
                  </a:lnTo>
                  <a:lnTo>
                    <a:pt x="5598" y="9813"/>
                  </a:lnTo>
                  <a:lnTo>
                    <a:pt x="5562" y="9450"/>
                  </a:lnTo>
                  <a:lnTo>
                    <a:pt x="5489" y="9050"/>
                  </a:lnTo>
                  <a:lnTo>
                    <a:pt x="5380" y="8650"/>
                  </a:lnTo>
                  <a:lnTo>
                    <a:pt x="5235" y="8251"/>
                  </a:lnTo>
                  <a:lnTo>
                    <a:pt x="5089" y="7960"/>
                  </a:lnTo>
                  <a:lnTo>
                    <a:pt x="4944" y="7633"/>
                  </a:lnTo>
                  <a:lnTo>
                    <a:pt x="4835" y="7269"/>
                  </a:lnTo>
                  <a:lnTo>
                    <a:pt x="4726" y="6833"/>
                  </a:lnTo>
                  <a:lnTo>
                    <a:pt x="4726" y="6324"/>
                  </a:lnTo>
                  <a:lnTo>
                    <a:pt x="4726" y="5706"/>
                  </a:lnTo>
                  <a:lnTo>
                    <a:pt x="4798" y="5016"/>
                  </a:lnTo>
                  <a:lnTo>
                    <a:pt x="4908" y="4216"/>
                  </a:lnTo>
                  <a:lnTo>
                    <a:pt x="5089" y="3307"/>
                  </a:lnTo>
                  <a:lnTo>
                    <a:pt x="4980" y="2508"/>
                  </a:lnTo>
                  <a:lnTo>
                    <a:pt x="4835" y="1781"/>
                  </a:lnTo>
                  <a:lnTo>
                    <a:pt x="4617" y="1018"/>
                  </a:lnTo>
                  <a:lnTo>
                    <a:pt x="4508" y="654"/>
                  </a:lnTo>
                  <a:lnTo>
                    <a:pt x="4362" y="363"/>
                  </a:lnTo>
                  <a:lnTo>
                    <a:pt x="4217" y="145"/>
                  </a:lnTo>
                  <a:lnTo>
                    <a:pt x="4144" y="73"/>
                  </a:lnTo>
                  <a:lnTo>
                    <a:pt x="4072" y="0"/>
                  </a:lnTo>
                  <a:close/>
                </a:path>
              </a:pathLst>
            </a:custGeom>
            <a:solidFill>
              <a:srgbClr val="F5B1B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44" name="Google Shape;2673;p11">
              <a:extLst>
                <a:ext uri="{FF2B5EF4-FFF2-40B4-BE49-F238E27FC236}">
                  <a16:creationId xmlns:a16="http://schemas.microsoft.com/office/drawing/2014/main" id="{AB4A0B16-9892-34DF-9602-D4C76947936D}"/>
                </a:ext>
              </a:extLst>
            </p:cNvPr>
            <p:cNvSpPr/>
            <p:nvPr/>
          </p:nvSpPr>
          <p:spPr>
            <a:xfrm>
              <a:off x="716050" y="2627600"/>
              <a:ext cx="139975" cy="259875"/>
            </a:xfrm>
            <a:custGeom>
              <a:avLst/>
              <a:gdLst/>
              <a:ahLst/>
              <a:cxnLst/>
              <a:rect l="l" t="t" r="r" b="b"/>
              <a:pathLst>
                <a:path w="5599" h="10395" fill="none" extrusionOk="0">
                  <a:moveTo>
                    <a:pt x="5089" y="3307"/>
                  </a:moveTo>
                  <a:lnTo>
                    <a:pt x="5089" y="3307"/>
                  </a:lnTo>
                  <a:lnTo>
                    <a:pt x="4908" y="4216"/>
                  </a:lnTo>
                  <a:lnTo>
                    <a:pt x="4798" y="5016"/>
                  </a:lnTo>
                  <a:lnTo>
                    <a:pt x="4726" y="5706"/>
                  </a:lnTo>
                  <a:lnTo>
                    <a:pt x="4726" y="6324"/>
                  </a:lnTo>
                  <a:lnTo>
                    <a:pt x="4726" y="6833"/>
                  </a:lnTo>
                  <a:lnTo>
                    <a:pt x="4835" y="7269"/>
                  </a:lnTo>
                  <a:lnTo>
                    <a:pt x="4944" y="7633"/>
                  </a:lnTo>
                  <a:lnTo>
                    <a:pt x="5089" y="7960"/>
                  </a:lnTo>
                  <a:lnTo>
                    <a:pt x="5089" y="7960"/>
                  </a:lnTo>
                  <a:lnTo>
                    <a:pt x="5235" y="8251"/>
                  </a:lnTo>
                  <a:lnTo>
                    <a:pt x="5380" y="8650"/>
                  </a:lnTo>
                  <a:lnTo>
                    <a:pt x="5489" y="9050"/>
                  </a:lnTo>
                  <a:lnTo>
                    <a:pt x="5562" y="9450"/>
                  </a:lnTo>
                  <a:lnTo>
                    <a:pt x="5598" y="9813"/>
                  </a:lnTo>
                  <a:lnTo>
                    <a:pt x="5562" y="9995"/>
                  </a:lnTo>
                  <a:lnTo>
                    <a:pt x="5525" y="10140"/>
                  </a:lnTo>
                  <a:lnTo>
                    <a:pt x="5489" y="10250"/>
                  </a:lnTo>
                  <a:lnTo>
                    <a:pt x="5380" y="10322"/>
                  </a:lnTo>
                  <a:lnTo>
                    <a:pt x="5271" y="10395"/>
                  </a:lnTo>
                  <a:lnTo>
                    <a:pt x="5126" y="10395"/>
                  </a:lnTo>
                  <a:lnTo>
                    <a:pt x="5126" y="10395"/>
                  </a:lnTo>
                  <a:lnTo>
                    <a:pt x="4908" y="10359"/>
                  </a:lnTo>
                  <a:lnTo>
                    <a:pt x="4508" y="10213"/>
                  </a:lnTo>
                  <a:lnTo>
                    <a:pt x="3454" y="9777"/>
                  </a:lnTo>
                  <a:lnTo>
                    <a:pt x="2327" y="9196"/>
                  </a:lnTo>
                  <a:lnTo>
                    <a:pt x="1818" y="8941"/>
                  </a:lnTo>
                  <a:lnTo>
                    <a:pt x="1418" y="8687"/>
                  </a:lnTo>
                  <a:lnTo>
                    <a:pt x="1418" y="8687"/>
                  </a:lnTo>
                  <a:lnTo>
                    <a:pt x="1128" y="8396"/>
                  </a:lnTo>
                  <a:lnTo>
                    <a:pt x="837" y="8105"/>
                  </a:lnTo>
                  <a:lnTo>
                    <a:pt x="582" y="7814"/>
                  </a:lnTo>
                  <a:lnTo>
                    <a:pt x="401" y="7487"/>
                  </a:lnTo>
                  <a:lnTo>
                    <a:pt x="110" y="7015"/>
                  </a:lnTo>
                  <a:lnTo>
                    <a:pt x="1" y="6797"/>
                  </a:lnTo>
                  <a:lnTo>
                    <a:pt x="1" y="6797"/>
                  </a:lnTo>
                  <a:lnTo>
                    <a:pt x="1128" y="4834"/>
                  </a:lnTo>
                  <a:lnTo>
                    <a:pt x="2182" y="2871"/>
                  </a:lnTo>
                  <a:lnTo>
                    <a:pt x="2690" y="1817"/>
                  </a:lnTo>
                  <a:lnTo>
                    <a:pt x="3199" y="763"/>
                  </a:lnTo>
                  <a:lnTo>
                    <a:pt x="3199" y="763"/>
                  </a:lnTo>
                  <a:lnTo>
                    <a:pt x="3454" y="363"/>
                  </a:lnTo>
                  <a:lnTo>
                    <a:pt x="3563" y="218"/>
                  </a:lnTo>
                  <a:lnTo>
                    <a:pt x="3672" y="109"/>
                  </a:lnTo>
                  <a:lnTo>
                    <a:pt x="3781" y="36"/>
                  </a:lnTo>
                  <a:lnTo>
                    <a:pt x="3853" y="0"/>
                  </a:lnTo>
                  <a:lnTo>
                    <a:pt x="3963" y="0"/>
                  </a:lnTo>
                  <a:lnTo>
                    <a:pt x="4072" y="0"/>
                  </a:lnTo>
                  <a:lnTo>
                    <a:pt x="4144" y="73"/>
                  </a:lnTo>
                  <a:lnTo>
                    <a:pt x="4217" y="145"/>
                  </a:lnTo>
                  <a:lnTo>
                    <a:pt x="4362" y="363"/>
                  </a:lnTo>
                  <a:lnTo>
                    <a:pt x="4508" y="654"/>
                  </a:lnTo>
                  <a:lnTo>
                    <a:pt x="4617" y="1018"/>
                  </a:lnTo>
                  <a:lnTo>
                    <a:pt x="4835" y="1781"/>
                  </a:lnTo>
                  <a:lnTo>
                    <a:pt x="4980" y="2508"/>
                  </a:lnTo>
                  <a:lnTo>
                    <a:pt x="5089" y="3307"/>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45" name="Google Shape;2674;p11">
              <a:extLst>
                <a:ext uri="{FF2B5EF4-FFF2-40B4-BE49-F238E27FC236}">
                  <a16:creationId xmlns:a16="http://schemas.microsoft.com/office/drawing/2014/main" id="{595A5C21-135E-A69D-EAF4-3B3EF86F9FC3}"/>
                </a:ext>
              </a:extLst>
            </p:cNvPr>
            <p:cNvSpPr/>
            <p:nvPr/>
          </p:nvSpPr>
          <p:spPr>
            <a:xfrm>
              <a:off x="835100" y="2710275"/>
              <a:ext cx="8200" cy="47275"/>
            </a:xfrm>
            <a:custGeom>
              <a:avLst/>
              <a:gdLst/>
              <a:ahLst/>
              <a:cxnLst/>
              <a:rect l="l" t="t" r="r" b="b"/>
              <a:pathLst>
                <a:path w="328" h="1891" extrusionOk="0">
                  <a:moveTo>
                    <a:pt x="327" y="0"/>
                  </a:moveTo>
                  <a:lnTo>
                    <a:pt x="182" y="691"/>
                  </a:lnTo>
                  <a:lnTo>
                    <a:pt x="146" y="909"/>
                  </a:lnTo>
                  <a:lnTo>
                    <a:pt x="146" y="909"/>
                  </a:lnTo>
                  <a:lnTo>
                    <a:pt x="327" y="0"/>
                  </a:lnTo>
                  <a:close/>
                  <a:moveTo>
                    <a:pt x="146" y="909"/>
                  </a:moveTo>
                  <a:lnTo>
                    <a:pt x="73" y="1273"/>
                  </a:lnTo>
                  <a:lnTo>
                    <a:pt x="0" y="1890"/>
                  </a:lnTo>
                  <a:lnTo>
                    <a:pt x="73" y="1345"/>
                  </a:lnTo>
                  <a:lnTo>
                    <a:pt x="146" y="909"/>
                  </a:lnTo>
                  <a:close/>
                </a:path>
              </a:pathLst>
            </a:custGeom>
            <a:solidFill>
              <a:srgbClr val="C1C1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46" name="Google Shape;2675;p11">
              <a:extLst>
                <a:ext uri="{FF2B5EF4-FFF2-40B4-BE49-F238E27FC236}">
                  <a16:creationId xmlns:a16="http://schemas.microsoft.com/office/drawing/2014/main" id="{2F668885-3215-00FE-14CA-ACAB7FB81DC6}"/>
                </a:ext>
              </a:extLst>
            </p:cNvPr>
            <p:cNvSpPr/>
            <p:nvPr/>
          </p:nvSpPr>
          <p:spPr>
            <a:xfrm>
              <a:off x="834175" y="2710275"/>
              <a:ext cx="9125" cy="60900"/>
            </a:xfrm>
            <a:custGeom>
              <a:avLst/>
              <a:gdLst/>
              <a:ahLst/>
              <a:cxnLst/>
              <a:rect l="l" t="t" r="r" b="b"/>
              <a:pathLst>
                <a:path w="365" h="2436" fill="none" extrusionOk="0">
                  <a:moveTo>
                    <a:pt x="364" y="0"/>
                  </a:moveTo>
                  <a:lnTo>
                    <a:pt x="364" y="0"/>
                  </a:lnTo>
                  <a:lnTo>
                    <a:pt x="219" y="691"/>
                  </a:lnTo>
                  <a:lnTo>
                    <a:pt x="110" y="1345"/>
                  </a:lnTo>
                  <a:lnTo>
                    <a:pt x="37" y="1890"/>
                  </a:lnTo>
                  <a:lnTo>
                    <a:pt x="1" y="2436"/>
                  </a:lnTo>
                  <a:lnTo>
                    <a:pt x="1" y="2436"/>
                  </a:lnTo>
                  <a:lnTo>
                    <a:pt x="1" y="2436"/>
                  </a:lnTo>
                  <a:lnTo>
                    <a:pt x="1" y="2436"/>
                  </a:lnTo>
                  <a:lnTo>
                    <a:pt x="37" y="1890"/>
                  </a:lnTo>
                  <a:lnTo>
                    <a:pt x="110" y="1273"/>
                  </a:lnTo>
                  <a:lnTo>
                    <a:pt x="110" y="1273"/>
                  </a:lnTo>
                  <a:lnTo>
                    <a:pt x="364"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47" name="Google Shape;2676;p11">
              <a:extLst>
                <a:ext uri="{FF2B5EF4-FFF2-40B4-BE49-F238E27FC236}">
                  <a16:creationId xmlns:a16="http://schemas.microsoft.com/office/drawing/2014/main" id="{8EE8093E-E047-697A-C2DD-BC2F5497E66F}"/>
                </a:ext>
              </a:extLst>
            </p:cNvPr>
            <p:cNvSpPr/>
            <p:nvPr/>
          </p:nvSpPr>
          <p:spPr>
            <a:xfrm>
              <a:off x="791475" y="2693925"/>
              <a:ext cx="51825" cy="77250"/>
            </a:xfrm>
            <a:custGeom>
              <a:avLst/>
              <a:gdLst/>
              <a:ahLst/>
              <a:cxnLst/>
              <a:rect l="l" t="t" r="r" b="b"/>
              <a:pathLst>
                <a:path w="2073" h="3090" extrusionOk="0">
                  <a:moveTo>
                    <a:pt x="582" y="0"/>
                  </a:moveTo>
                  <a:lnTo>
                    <a:pt x="437" y="37"/>
                  </a:lnTo>
                  <a:lnTo>
                    <a:pt x="328" y="146"/>
                  </a:lnTo>
                  <a:lnTo>
                    <a:pt x="219" y="291"/>
                  </a:lnTo>
                  <a:lnTo>
                    <a:pt x="110" y="509"/>
                  </a:lnTo>
                  <a:lnTo>
                    <a:pt x="37" y="727"/>
                  </a:lnTo>
                  <a:lnTo>
                    <a:pt x="1" y="982"/>
                  </a:lnTo>
                  <a:lnTo>
                    <a:pt x="1" y="1200"/>
                  </a:lnTo>
                  <a:lnTo>
                    <a:pt x="73" y="1418"/>
                  </a:lnTo>
                  <a:lnTo>
                    <a:pt x="255" y="1745"/>
                  </a:lnTo>
                  <a:lnTo>
                    <a:pt x="618" y="2181"/>
                  </a:lnTo>
                  <a:lnTo>
                    <a:pt x="836" y="2435"/>
                  </a:lnTo>
                  <a:lnTo>
                    <a:pt x="1127" y="2690"/>
                  </a:lnTo>
                  <a:lnTo>
                    <a:pt x="1418" y="2908"/>
                  </a:lnTo>
                  <a:lnTo>
                    <a:pt x="1709" y="3090"/>
                  </a:lnTo>
                  <a:lnTo>
                    <a:pt x="1745" y="2544"/>
                  </a:lnTo>
                  <a:lnTo>
                    <a:pt x="1818" y="1999"/>
                  </a:lnTo>
                  <a:lnTo>
                    <a:pt x="1927" y="1345"/>
                  </a:lnTo>
                  <a:lnTo>
                    <a:pt x="2072" y="654"/>
                  </a:lnTo>
                  <a:lnTo>
                    <a:pt x="1781" y="436"/>
                  </a:lnTo>
                  <a:lnTo>
                    <a:pt x="1636" y="327"/>
                  </a:lnTo>
                  <a:lnTo>
                    <a:pt x="1527" y="291"/>
                  </a:lnTo>
                  <a:lnTo>
                    <a:pt x="1127" y="255"/>
                  </a:lnTo>
                  <a:lnTo>
                    <a:pt x="909" y="182"/>
                  </a:lnTo>
                  <a:lnTo>
                    <a:pt x="800" y="146"/>
                  </a:lnTo>
                  <a:lnTo>
                    <a:pt x="727" y="73"/>
                  </a:lnTo>
                  <a:lnTo>
                    <a:pt x="655" y="0"/>
                  </a:lnTo>
                  <a:close/>
                </a:path>
              </a:pathLst>
            </a:custGeom>
            <a:solidFill>
              <a:srgbClr val="B9889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48" name="Google Shape;2677;p11">
              <a:extLst>
                <a:ext uri="{FF2B5EF4-FFF2-40B4-BE49-F238E27FC236}">
                  <a16:creationId xmlns:a16="http://schemas.microsoft.com/office/drawing/2014/main" id="{B81F10A7-EA8D-678F-D2EE-105903DE591F}"/>
                </a:ext>
              </a:extLst>
            </p:cNvPr>
            <p:cNvSpPr/>
            <p:nvPr/>
          </p:nvSpPr>
          <p:spPr>
            <a:xfrm>
              <a:off x="791475" y="2693925"/>
              <a:ext cx="51825" cy="77250"/>
            </a:xfrm>
            <a:custGeom>
              <a:avLst/>
              <a:gdLst/>
              <a:ahLst/>
              <a:cxnLst/>
              <a:rect l="l" t="t" r="r" b="b"/>
              <a:pathLst>
                <a:path w="2073" h="3090" fill="none" extrusionOk="0">
                  <a:moveTo>
                    <a:pt x="582" y="0"/>
                  </a:moveTo>
                  <a:lnTo>
                    <a:pt x="582" y="0"/>
                  </a:lnTo>
                  <a:lnTo>
                    <a:pt x="437" y="37"/>
                  </a:lnTo>
                  <a:lnTo>
                    <a:pt x="328" y="146"/>
                  </a:lnTo>
                  <a:lnTo>
                    <a:pt x="219" y="291"/>
                  </a:lnTo>
                  <a:lnTo>
                    <a:pt x="110" y="509"/>
                  </a:lnTo>
                  <a:lnTo>
                    <a:pt x="37" y="727"/>
                  </a:lnTo>
                  <a:lnTo>
                    <a:pt x="1" y="982"/>
                  </a:lnTo>
                  <a:lnTo>
                    <a:pt x="1" y="1200"/>
                  </a:lnTo>
                  <a:lnTo>
                    <a:pt x="73" y="1418"/>
                  </a:lnTo>
                  <a:lnTo>
                    <a:pt x="73" y="1418"/>
                  </a:lnTo>
                  <a:lnTo>
                    <a:pt x="255" y="1745"/>
                  </a:lnTo>
                  <a:lnTo>
                    <a:pt x="618" y="2181"/>
                  </a:lnTo>
                  <a:lnTo>
                    <a:pt x="836" y="2435"/>
                  </a:lnTo>
                  <a:lnTo>
                    <a:pt x="1127" y="2690"/>
                  </a:lnTo>
                  <a:lnTo>
                    <a:pt x="1418" y="2908"/>
                  </a:lnTo>
                  <a:lnTo>
                    <a:pt x="1709" y="3090"/>
                  </a:lnTo>
                  <a:lnTo>
                    <a:pt x="1709" y="3090"/>
                  </a:lnTo>
                  <a:lnTo>
                    <a:pt x="1745" y="2544"/>
                  </a:lnTo>
                  <a:lnTo>
                    <a:pt x="1818" y="1999"/>
                  </a:lnTo>
                  <a:lnTo>
                    <a:pt x="1927" y="1345"/>
                  </a:lnTo>
                  <a:lnTo>
                    <a:pt x="2072" y="654"/>
                  </a:lnTo>
                  <a:lnTo>
                    <a:pt x="2072" y="654"/>
                  </a:lnTo>
                  <a:lnTo>
                    <a:pt x="2072" y="654"/>
                  </a:lnTo>
                  <a:lnTo>
                    <a:pt x="2072" y="654"/>
                  </a:lnTo>
                  <a:lnTo>
                    <a:pt x="1781" y="436"/>
                  </a:lnTo>
                  <a:lnTo>
                    <a:pt x="1636" y="327"/>
                  </a:lnTo>
                  <a:lnTo>
                    <a:pt x="1527" y="291"/>
                  </a:lnTo>
                  <a:lnTo>
                    <a:pt x="1527" y="291"/>
                  </a:lnTo>
                  <a:lnTo>
                    <a:pt x="1127" y="255"/>
                  </a:lnTo>
                  <a:lnTo>
                    <a:pt x="909" y="182"/>
                  </a:lnTo>
                  <a:lnTo>
                    <a:pt x="800" y="146"/>
                  </a:lnTo>
                  <a:lnTo>
                    <a:pt x="727" y="73"/>
                  </a:lnTo>
                  <a:lnTo>
                    <a:pt x="727" y="73"/>
                  </a:lnTo>
                  <a:lnTo>
                    <a:pt x="655" y="0"/>
                  </a:lnTo>
                  <a:lnTo>
                    <a:pt x="582"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49" name="Google Shape;2678;p11">
              <a:extLst>
                <a:ext uri="{FF2B5EF4-FFF2-40B4-BE49-F238E27FC236}">
                  <a16:creationId xmlns:a16="http://schemas.microsoft.com/office/drawing/2014/main" id="{82D65BA7-2E69-B66D-3666-A65A68AE8DBD}"/>
                </a:ext>
              </a:extLst>
            </p:cNvPr>
            <p:cNvSpPr/>
            <p:nvPr/>
          </p:nvSpPr>
          <p:spPr>
            <a:xfrm>
              <a:off x="1061350" y="2599425"/>
              <a:ext cx="178100" cy="96325"/>
            </a:xfrm>
            <a:custGeom>
              <a:avLst/>
              <a:gdLst/>
              <a:ahLst/>
              <a:cxnLst/>
              <a:rect l="l" t="t" r="r" b="b"/>
              <a:pathLst>
                <a:path w="7124" h="3853" extrusionOk="0">
                  <a:moveTo>
                    <a:pt x="2399" y="0"/>
                  </a:moveTo>
                  <a:lnTo>
                    <a:pt x="2145" y="37"/>
                  </a:lnTo>
                  <a:lnTo>
                    <a:pt x="1818" y="109"/>
                  </a:lnTo>
                  <a:lnTo>
                    <a:pt x="1527" y="218"/>
                  </a:lnTo>
                  <a:lnTo>
                    <a:pt x="1236" y="327"/>
                  </a:lnTo>
                  <a:lnTo>
                    <a:pt x="982" y="509"/>
                  </a:lnTo>
                  <a:lnTo>
                    <a:pt x="727" y="655"/>
                  </a:lnTo>
                  <a:lnTo>
                    <a:pt x="509" y="836"/>
                  </a:lnTo>
                  <a:lnTo>
                    <a:pt x="327" y="1054"/>
                  </a:lnTo>
                  <a:lnTo>
                    <a:pt x="182" y="1236"/>
                  </a:lnTo>
                  <a:lnTo>
                    <a:pt x="73" y="1454"/>
                  </a:lnTo>
                  <a:lnTo>
                    <a:pt x="37" y="1636"/>
                  </a:lnTo>
                  <a:lnTo>
                    <a:pt x="0" y="1818"/>
                  </a:lnTo>
                  <a:lnTo>
                    <a:pt x="37" y="1963"/>
                  </a:lnTo>
                  <a:lnTo>
                    <a:pt x="109" y="2108"/>
                  </a:lnTo>
                  <a:lnTo>
                    <a:pt x="255" y="2181"/>
                  </a:lnTo>
                  <a:lnTo>
                    <a:pt x="473" y="2254"/>
                  </a:lnTo>
                  <a:lnTo>
                    <a:pt x="763" y="2290"/>
                  </a:lnTo>
                  <a:lnTo>
                    <a:pt x="1054" y="2326"/>
                  </a:lnTo>
                  <a:lnTo>
                    <a:pt x="1381" y="2399"/>
                  </a:lnTo>
                  <a:lnTo>
                    <a:pt x="1672" y="2472"/>
                  </a:lnTo>
                  <a:lnTo>
                    <a:pt x="1927" y="2581"/>
                  </a:lnTo>
                  <a:lnTo>
                    <a:pt x="2435" y="2835"/>
                  </a:lnTo>
                  <a:lnTo>
                    <a:pt x="2908" y="3126"/>
                  </a:lnTo>
                  <a:lnTo>
                    <a:pt x="3635" y="3635"/>
                  </a:lnTo>
                  <a:lnTo>
                    <a:pt x="3889" y="3817"/>
                  </a:lnTo>
                  <a:lnTo>
                    <a:pt x="3998" y="3853"/>
                  </a:lnTo>
                  <a:lnTo>
                    <a:pt x="4071" y="3853"/>
                  </a:lnTo>
                  <a:lnTo>
                    <a:pt x="5743" y="3344"/>
                  </a:lnTo>
                  <a:lnTo>
                    <a:pt x="7124" y="2944"/>
                  </a:lnTo>
                  <a:lnTo>
                    <a:pt x="6979" y="2581"/>
                  </a:lnTo>
                  <a:lnTo>
                    <a:pt x="6761" y="2217"/>
                  </a:lnTo>
                  <a:lnTo>
                    <a:pt x="6506" y="1890"/>
                  </a:lnTo>
                  <a:lnTo>
                    <a:pt x="6215" y="1600"/>
                  </a:lnTo>
                  <a:lnTo>
                    <a:pt x="5925" y="1345"/>
                  </a:lnTo>
                  <a:lnTo>
                    <a:pt x="5597" y="1091"/>
                  </a:lnTo>
                  <a:lnTo>
                    <a:pt x="5234" y="836"/>
                  </a:lnTo>
                  <a:lnTo>
                    <a:pt x="4871" y="655"/>
                  </a:lnTo>
                  <a:lnTo>
                    <a:pt x="4507" y="473"/>
                  </a:lnTo>
                  <a:lnTo>
                    <a:pt x="4144" y="327"/>
                  </a:lnTo>
                  <a:lnTo>
                    <a:pt x="3780" y="182"/>
                  </a:lnTo>
                  <a:lnTo>
                    <a:pt x="3417" y="109"/>
                  </a:lnTo>
                  <a:lnTo>
                    <a:pt x="3053" y="37"/>
                  </a:lnTo>
                  <a:lnTo>
                    <a:pt x="2726" y="0"/>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50" name="Google Shape;2679;p11">
              <a:extLst>
                <a:ext uri="{FF2B5EF4-FFF2-40B4-BE49-F238E27FC236}">
                  <a16:creationId xmlns:a16="http://schemas.microsoft.com/office/drawing/2014/main" id="{A194F3D4-BD0A-1934-D5F6-4DCA2EA32253}"/>
                </a:ext>
              </a:extLst>
            </p:cNvPr>
            <p:cNvSpPr/>
            <p:nvPr/>
          </p:nvSpPr>
          <p:spPr>
            <a:xfrm>
              <a:off x="1228525" y="3339050"/>
              <a:ext cx="176300" cy="98175"/>
            </a:xfrm>
            <a:custGeom>
              <a:avLst/>
              <a:gdLst/>
              <a:ahLst/>
              <a:cxnLst/>
              <a:rect l="l" t="t" r="r" b="b"/>
              <a:pathLst>
                <a:path w="7052" h="3927" extrusionOk="0">
                  <a:moveTo>
                    <a:pt x="4072" y="1"/>
                  </a:moveTo>
                  <a:lnTo>
                    <a:pt x="3890" y="37"/>
                  </a:lnTo>
                  <a:lnTo>
                    <a:pt x="3454" y="182"/>
                  </a:lnTo>
                  <a:lnTo>
                    <a:pt x="3018" y="364"/>
                  </a:lnTo>
                  <a:lnTo>
                    <a:pt x="2581" y="582"/>
                  </a:lnTo>
                  <a:lnTo>
                    <a:pt x="2182" y="800"/>
                  </a:lnTo>
                  <a:lnTo>
                    <a:pt x="1782" y="982"/>
                  </a:lnTo>
                  <a:lnTo>
                    <a:pt x="1491" y="1055"/>
                  </a:lnTo>
                  <a:lnTo>
                    <a:pt x="1346" y="1055"/>
                  </a:lnTo>
                  <a:lnTo>
                    <a:pt x="1237" y="1018"/>
                  </a:lnTo>
                  <a:lnTo>
                    <a:pt x="1200" y="1018"/>
                  </a:lnTo>
                  <a:lnTo>
                    <a:pt x="1091" y="1055"/>
                  </a:lnTo>
                  <a:lnTo>
                    <a:pt x="909" y="1200"/>
                  </a:lnTo>
                  <a:lnTo>
                    <a:pt x="728" y="1491"/>
                  </a:lnTo>
                  <a:lnTo>
                    <a:pt x="510" y="1818"/>
                  </a:lnTo>
                  <a:lnTo>
                    <a:pt x="146" y="2436"/>
                  </a:lnTo>
                  <a:lnTo>
                    <a:pt x="1" y="2727"/>
                  </a:lnTo>
                  <a:lnTo>
                    <a:pt x="292" y="2981"/>
                  </a:lnTo>
                  <a:lnTo>
                    <a:pt x="655" y="3199"/>
                  </a:lnTo>
                  <a:lnTo>
                    <a:pt x="1019" y="3417"/>
                  </a:lnTo>
                  <a:lnTo>
                    <a:pt x="1382" y="3563"/>
                  </a:lnTo>
                  <a:lnTo>
                    <a:pt x="1782" y="3672"/>
                  </a:lnTo>
                  <a:lnTo>
                    <a:pt x="2182" y="3781"/>
                  </a:lnTo>
                  <a:lnTo>
                    <a:pt x="2581" y="3853"/>
                  </a:lnTo>
                  <a:lnTo>
                    <a:pt x="2981" y="3890"/>
                  </a:lnTo>
                  <a:lnTo>
                    <a:pt x="3381" y="3926"/>
                  </a:lnTo>
                  <a:lnTo>
                    <a:pt x="3781" y="3890"/>
                  </a:lnTo>
                  <a:lnTo>
                    <a:pt x="4181" y="3853"/>
                  </a:lnTo>
                  <a:lnTo>
                    <a:pt x="4544" y="3817"/>
                  </a:lnTo>
                  <a:lnTo>
                    <a:pt x="4908" y="3744"/>
                  </a:lnTo>
                  <a:lnTo>
                    <a:pt x="5235" y="3635"/>
                  </a:lnTo>
                  <a:lnTo>
                    <a:pt x="5489" y="3490"/>
                  </a:lnTo>
                  <a:lnTo>
                    <a:pt x="5743" y="3345"/>
                  </a:lnTo>
                  <a:lnTo>
                    <a:pt x="5998" y="3163"/>
                  </a:lnTo>
                  <a:lnTo>
                    <a:pt x="6252" y="2945"/>
                  </a:lnTo>
                  <a:lnTo>
                    <a:pt x="6434" y="2727"/>
                  </a:lnTo>
                  <a:lnTo>
                    <a:pt x="6616" y="2472"/>
                  </a:lnTo>
                  <a:lnTo>
                    <a:pt x="6761" y="2218"/>
                  </a:lnTo>
                  <a:lnTo>
                    <a:pt x="6870" y="1927"/>
                  </a:lnTo>
                  <a:lnTo>
                    <a:pt x="6979" y="1673"/>
                  </a:lnTo>
                  <a:lnTo>
                    <a:pt x="7016" y="1455"/>
                  </a:lnTo>
                  <a:lnTo>
                    <a:pt x="7052" y="1200"/>
                  </a:lnTo>
                  <a:lnTo>
                    <a:pt x="7016" y="1018"/>
                  </a:lnTo>
                  <a:lnTo>
                    <a:pt x="6979" y="837"/>
                  </a:lnTo>
                  <a:lnTo>
                    <a:pt x="6870" y="728"/>
                  </a:lnTo>
                  <a:lnTo>
                    <a:pt x="6761" y="655"/>
                  </a:lnTo>
                  <a:lnTo>
                    <a:pt x="6579" y="619"/>
                  </a:lnTo>
                  <a:lnTo>
                    <a:pt x="6361" y="619"/>
                  </a:lnTo>
                  <a:lnTo>
                    <a:pt x="6107" y="728"/>
                  </a:lnTo>
                  <a:lnTo>
                    <a:pt x="5707" y="909"/>
                  </a:lnTo>
                  <a:lnTo>
                    <a:pt x="5344" y="1018"/>
                  </a:lnTo>
                  <a:lnTo>
                    <a:pt x="5089" y="1055"/>
                  </a:lnTo>
                  <a:lnTo>
                    <a:pt x="4871" y="1091"/>
                  </a:lnTo>
                  <a:lnTo>
                    <a:pt x="4726" y="1055"/>
                  </a:lnTo>
                  <a:lnTo>
                    <a:pt x="4617" y="982"/>
                  </a:lnTo>
                  <a:lnTo>
                    <a:pt x="4544" y="909"/>
                  </a:lnTo>
                  <a:lnTo>
                    <a:pt x="4508" y="800"/>
                  </a:lnTo>
                  <a:lnTo>
                    <a:pt x="4471" y="546"/>
                  </a:lnTo>
                  <a:lnTo>
                    <a:pt x="4471" y="291"/>
                  </a:lnTo>
                  <a:lnTo>
                    <a:pt x="4435" y="182"/>
                  </a:lnTo>
                  <a:lnTo>
                    <a:pt x="4399" y="110"/>
                  </a:lnTo>
                  <a:lnTo>
                    <a:pt x="4362" y="37"/>
                  </a:lnTo>
                  <a:lnTo>
                    <a:pt x="4253" y="1"/>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51" name="Google Shape;2680;p11">
              <a:extLst>
                <a:ext uri="{FF2B5EF4-FFF2-40B4-BE49-F238E27FC236}">
                  <a16:creationId xmlns:a16="http://schemas.microsoft.com/office/drawing/2014/main" id="{B47749CA-3076-AD79-A7BE-3BD1B2016B12}"/>
                </a:ext>
              </a:extLst>
            </p:cNvPr>
            <p:cNvSpPr/>
            <p:nvPr/>
          </p:nvSpPr>
          <p:spPr>
            <a:xfrm>
              <a:off x="590675" y="2782975"/>
              <a:ext cx="699675" cy="762375"/>
            </a:xfrm>
            <a:custGeom>
              <a:avLst/>
              <a:gdLst/>
              <a:ahLst/>
              <a:cxnLst/>
              <a:rect l="l" t="t" r="r" b="b"/>
              <a:pathLst>
                <a:path w="27987" h="30495" extrusionOk="0">
                  <a:moveTo>
                    <a:pt x="7306" y="0"/>
                  </a:moveTo>
                  <a:lnTo>
                    <a:pt x="6688" y="37"/>
                  </a:lnTo>
                  <a:lnTo>
                    <a:pt x="6361" y="109"/>
                  </a:lnTo>
                  <a:lnTo>
                    <a:pt x="6034" y="218"/>
                  </a:lnTo>
                  <a:lnTo>
                    <a:pt x="5634" y="400"/>
                  </a:lnTo>
                  <a:lnTo>
                    <a:pt x="5198" y="618"/>
                  </a:lnTo>
                  <a:lnTo>
                    <a:pt x="4253" y="1163"/>
                  </a:lnTo>
                  <a:lnTo>
                    <a:pt x="3308" y="1854"/>
                  </a:lnTo>
                  <a:lnTo>
                    <a:pt x="2326" y="2581"/>
                  </a:lnTo>
                  <a:lnTo>
                    <a:pt x="1454" y="3271"/>
                  </a:lnTo>
                  <a:lnTo>
                    <a:pt x="727" y="3962"/>
                  </a:lnTo>
                  <a:lnTo>
                    <a:pt x="182" y="4507"/>
                  </a:lnTo>
                  <a:lnTo>
                    <a:pt x="109" y="4652"/>
                  </a:lnTo>
                  <a:lnTo>
                    <a:pt x="36" y="4834"/>
                  </a:lnTo>
                  <a:lnTo>
                    <a:pt x="0" y="5052"/>
                  </a:lnTo>
                  <a:lnTo>
                    <a:pt x="0" y="5343"/>
                  </a:lnTo>
                  <a:lnTo>
                    <a:pt x="36" y="6070"/>
                  </a:lnTo>
                  <a:lnTo>
                    <a:pt x="182" y="6906"/>
                  </a:lnTo>
                  <a:lnTo>
                    <a:pt x="400" y="7887"/>
                  </a:lnTo>
                  <a:lnTo>
                    <a:pt x="691" y="8941"/>
                  </a:lnTo>
                  <a:lnTo>
                    <a:pt x="1054" y="10104"/>
                  </a:lnTo>
                  <a:lnTo>
                    <a:pt x="1527" y="11304"/>
                  </a:lnTo>
                  <a:lnTo>
                    <a:pt x="1345" y="11195"/>
                  </a:lnTo>
                  <a:lnTo>
                    <a:pt x="1345" y="11195"/>
                  </a:lnTo>
                  <a:lnTo>
                    <a:pt x="1563" y="11449"/>
                  </a:lnTo>
                  <a:lnTo>
                    <a:pt x="1926" y="12285"/>
                  </a:lnTo>
                  <a:lnTo>
                    <a:pt x="2326" y="13157"/>
                  </a:lnTo>
                  <a:lnTo>
                    <a:pt x="2726" y="13993"/>
                  </a:lnTo>
                  <a:lnTo>
                    <a:pt x="3199" y="14829"/>
                  </a:lnTo>
                  <a:lnTo>
                    <a:pt x="3380" y="15811"/>
                  </a:lnTo>
                  <a:lnTo>
                    <a:pt x="3489" y="16792"/>
                  </a:lnTo>
                  <a:lnTo>
                    <a:pt x="3526" y="17737"/>
                  </a:lnTo>
                  <a:lnTo>
                    <a:pt x="3526" y="18718"/>
                  </a:lnTo>
                  <a:lnTo>
                    <a:pt x="3489" y="19590"/>
                  </a:lnTo>
                  <a:lnTo>
                    <a:pt x="3453" y="20463"/>
                  </a:lnTo>
                  <a:lnTo>
                    <a:pt x="3308" y="21917"/>
                  </a:lnTo>
                  <a:lnTo>
                    <a:pt x="3162" y="22971"/>
                  </a:lnTo>
                  <a:lnTo>
                    <a:pt x="2980" y="23988"/>
                  </a:lnTo>
                  <a:lnTo>
                    <a:pt x="2762" y="24970"/>
                  </a:lnTo>
                  <a:lnTo>
                    <a:pt x="2472" y="25915"/>
                  </a:lnTo>
                  <a:lnTo>
                    <a:pt x="2108" y="26823"/>
                  </a:lnTo>
                  <a:lnTo>
                    <a:pt x="1745" y="27659"/>
                  </a:lnTo>
                  <a:lnTo>
                    <a:pt x="1309" y="28459"/>
                  </a:lnTo>
                  <a:lnTo>
                    <a:pt x="836" y="29186"/>
                  </a:lnTo>
                  <a:lnTo>
                    <a:pt x="763" y="29258"/>
                  </a:lnTo>
                  <a:lnTo>
                    <a:pt x="727" y="29367"/>
                  </a:lnTo>
                  <a:lnTo>
                    <a:pt x="727" y="29513"/>
                  </a:lnTo>
                  <a:lnTo>
                    <a:pt x="763" y="29586"/>
                  </a:lnTo>
                  <a:lnTo>
                    <a:pt x="872" y="29695"/>
                  </a:lnTo>
                  <a:lnTo>
                    <a:pt x="981" y="29804"/>
                  </a:lnTo>
                  <a:lnTo>
                    <a:pt x="1163" y="29876"/>
                  </a:lnTo>
                  <a:lnTo>
                    <a:pt x="1599" y="30058"/>
                  </a:lnTo>
                  <a:lnTo>
                    <a:pt x="2145" y="30167"/>
                  </a:lnTo>
                  <a:lnTo>
                    <a:pt x="2799" y="30276"/>
                  </a:lnTo>
                  <a:lnTo>
                    <a:pt x="3598" y="30385"/>
                  </a:lnTo>
                  <a:lnTo>
                    <a:pt x="4434" y="30422"/>
                  </a:lnTo>
                  <a:lnTo>
                    <a:pt x="6361" y="30494"/>
                  </a:lnTo>
                  <a:lnTo>
                    <a:pt x="8287" y="30494"/>
                  </a:lnTo>
                  <a:lnTo>
                    <a:pt x="10286" y="30422"/>
                  </a:lnTo>
                  <a:lnTo>
                    <a:pt x="12212" y="30312"/>
                  </a:lnTo>
                  <a:lnTo>
                    <a:pt x="14066" y="30167"/>
                  </a:lnTo>
                  <a:lnTo>
                    <a:pt x="15738" y="29985"/>
                  </a:lnTo>
                  <a:lnTo>
                    <a:pt x="17083" y="29767"/>
                  </a:lnTo>
                  <a:lnTo>
                    <a:pt x="17628" y="29622"/>
                  </a:lnTo>
                  <a:lnTo>
                    <a:pt x="18064" y="29513"/>
                  </a:lnTo>
                  <a:lnTo>
                    <a:pt x="18355" y="29367"/>
                  </a:lnTo>
                  <a:lnTo>
                    <a:pt x="18573" y="29258"/>
                  </a:lnTo>
                  <a:lnTo>
                    <a:pt x="18645" y="29077"/>
                  </a:lnTo>
                  <a:lnTo>
                    <a:pt x="18718" y="28822"/>
                  </a:lnTo>
                  <a:lnTo>
                    <a:pt x="18755" y="28386"/>
                  </a:lnTo>
                  <a:lnTo>
                    <a:pt x="18682" y="27841"/>
                  </a:lnTo>
                  <a:lnTo>
                    <a:pt x="18573" y="27187"/>
                  </a:lnTo>
                  <a:lnTo>
                    <a:pt x="18427" y="26460"/>
                  </a:lnTo>
                  <a:lnTo>
                    <a:pt x="18209" y="25697"/>
                  </a:lnTo>
                  <a:lnTo>
                    <a:pt x="17955" y="24861"/>
                  </a:lnTo>
                  <a:lnTo>
                    <a:pt x="17410" y="23080"/>
                  </a:lnTo>
                  <a:lnTo>
                    <a:pt x="20826" y="24243"/>
                  </a:lnTo>
                  <a:lnTo>
                    <a:pt x="23843" y="25297"/>
                  </a:lnTo>
                  <a:lnTo>
                    <a:pt x="26060" y="26096"/>
                  </a:lnTo>
                  <a:lnTo>
                    <a:pt x="26751" y="26387"/>
                  </a:lnTo>
                  <a:lnTo>
                    <a:pt x="27078" y="26533"/>
                  </a:lnTo>
                  <a:lnTo>
                    <a:pt x="27078" y="26569"/>
                  </a:lnTo>
                  <a:lnTo>
                    <a:pt x="27114" y="26533"/>
                  </a:lnTo>
                  <a:lnTo>
                    <a:pt x="27187" y="26423"/>
                  </a:lnTo>
                  <a:lnTo>
                    <a:pt x="27368" y="25951"/>
                  </a:lnTo>
                  <a:lnTo>
                    <a:pt x="27550" y="25260"/>
                  </a:lnTo>
                  <a:lnTo>
                    <a:pt x="27732" y="24461"/>
                  </a:lnTo>
                  <a:lnTo>
                    <a:pt x="27877" y="23625"/>
                  </a:lnTo>
                  <a:lnTo>
                    <a:pt x="27986" y="22862"/>
                  </a:lnTo>
                  <a:lnTo>
                    <a:pt x="27986" y="22534"/>
                  </a:lnTo>
                  <a:lnTo>
                    <a:pt x="27986" y="22244"/>
                  </a:lnTo>
                  <a:lnTo>
                    <a:pt x="27950" y="22026"/>
                  </a:lnTo>
                  <a:lnTo>
                    <a:pt x="27914" y="21917"/>
                  </a:lnTo>
                  <a:lnTo>
                    <a:pt x="27768" y="21808"/>
                  </a:lnTo>
                  <a:lnTo>
                    <a:pt x="27550" y="21699"/>
                  </a:lnTo>
                  <a:lnTo>
                    <a:pt x="26823" y="21480"/>
                  </a:lnTo>
                  <a:lnTo>
                    <a:pt x="25842" y="21190"/>
                  </a:lnTo>
                  <a:lnTo>
                    <a:pt x="24752" y="20935"/>
                  </a:lnTo>
                  <a:lnTo>
                    <a:pt x="22644" y="20426"/>
                  </a:lnTo>
                  <a:lnTo>
                    <a:pt x="21444" y="20099"/>
                  </a:lnTo>
                  <a:lnTo>
                    <a:pt x="20463" y="19809"/>
                  </a:lnTo>
                  <a:lnTo>
                    <a:pt x="19118" y="19409"/>
                  </a:lnTo>
                  <a:lnTo>
                    <a:pt x="17555" y="18936"/>
                  </a:lnTo>
                  <a:lnTo>
                    <a:pt x="15847" y="18427"/>
                  </a:lnTo>
                  <a:lnTo>
                    <a:pt x="15520" y="17264"/>
                  </a:lnTo>
                  <a:lnTo>
                    <a:pt x="15447" y="16828"/>
                  </a:lnTo>
                  <a:lnTo>
                    <a:pt x="15411" y="16501"/>
                  </a:lnTo>
                  <a:lnTo>
                    <a:pt x="15447" y="16210"/>
                  </a:lnTo>
                  <a:lnTo>
                    <a:pt x="15556" y="15920"/>
                  </a:lnTo>
                  <a:lnTo>
                    <a:pt x="15701" y="15665"/>
                  </a:lnTo>
                  <a:lnTo>
                    <a:pt x="15920" y="15447"/>
                  </a:lnTo>
                  <a:lnTo>
                    <a:pt x="16138" y="15193"/>
                  </a:lnTo>
                  <a:lnTo>
                    <a:pt x="16392" y="14975"/>
                  </a:lnTo>
                  <a:lnTo>
                    <a:pt x="16974" y="14575"/>
                  </a:lnTo>
                  <a:lnTo>
                    <a:pt x="17555" y="14175"/>
                  </a:lnTo>
                  <a:lnTo>
                    <a:pt x="18064" y="13775"/>
                  </a:lnTo>
                  <a:lnTo>
                    <a:pt x="18282" y="13557"/>
                  </a:lnTo>
                  <a:lnTo>
                    <a:pt x="18464" y="13339"/>
                  </a:lnTo>
                  <a:lnTo>
                    <a:pt x="18609" y="13121"/>
                  </a:lnTo>
                  <a:lnTo>
                    <a:pt x="18682" y="12903"/>
                  </a:lnTo>
                  <a:lnTo>
                    <a:pt x="18682" y="12648"/>
                  </a:lnTo>
                  <a:lnTo>
                    <a:pt x="18645" y="12394"/>
                  </a:lnTo>
                  <a:lnTo>
                    <a:pt x="18536" y="12103"/>
                  </a:lnTo>
                  <a:lnTo>
                    <a:pt x="18391" y="11776"/>
                  </a:lnTo>
                  <a:lnTo>
                    <a:pt x="18028" y="11122"/>
                  </a:lnTo>
                  <a:lnTo>
                    <a:pt x="17591" y="10504"/>
                  </a:lnTo>
                  <a:lnTo>
                    <a:pt x="16865" y="9559"/>
                  </a:lnTo>
                  <a:lnTo>
                    <a:pt x="16719" y="9305"/>
                  </a:lnTo>
                  <a:lnTo>
                    <a:pt x="16828" y="9305"/>
                  </a:lnTo>
                  <a:lnTo>
                    <a:pt x="17010" y="9414"/>
                  </a:lnTo>
                  <a:lnTo>
                    <a:pt x="17228" y="9414"/>
                  </a:lnTo>
                  <a:lnTo>
                    <a:pt x="17301" y="9341"/>
                  </a:lnTo>
                  <a:lnTo>
                    <a:pt x="17337" y="9196"/>
                  </a:lnTo>
                  <a:lnTo>
                    <a:pt x="17337" y="9050"/>
                  </a:lnTo>
                  <a:lnTo>
                    <a:pt x="17264" y="8614"/>
                  </a:lnTo>
                  <a:lnTo>
                    <a:pt x="17083" y="8069"/>
                  </a:lnTo>
                  <a:lnTo>
                    <a:pt x="16792" y="7415"/>
                  </a:lnTo>
                  <a:lnTo>
                    <a:pt x="16428" y="6688"/>
                  </a:lnTo>
                  <a:lnTo>
                    <a:pt x="15992" y="5888"/>
                  </a:lnTo>
                  <a:lnTo>
                    <a:pt x="15520" y="5052"/>
                  </a:lnTo>
                  <a:lnTo>
                    <a:pt x="14975" y="4216"/>
                  </a:lnTo>
                  <a:lnTo>
                    <a:pt x="14393" y="3417"/>
                  </a:lnTo>
                  <a:lnTo>
                    <a:pt x="13775" y="2617"/>
                  </a:lnTo>
                  <a:lnTo>
                    <a:pt x="13121" y="1890"/>
                  </a:lnTo>
                  <a:lnTo>
                    <a:pt x="12503" y="1272"/>
                  </a:lnTo>
                  <a:lnTo>
                    <a:pt x="12176" y="981"/>
                  </a:lnTo>
                  <a:lnTo>
                    <a:pt x="11849" y="763"/>
                  </a:lnTo>
                  <a:lnTo>
                    <a:pt x="11558" y="545"/>
                  </a:lnTo>
                  <a:lnTo>
                    <a:pt x="11231" y="364"/>
                  </a:lnTo>
                  <a:lnTo>
                    <a:pt x="10722" y="291"/>
                  </a:lnTo>
                  <a:lnTo>
                    <a:pt x="9523" y="146"/>
                  </a:lnTo>
                  <a:lnTo>
                    <a:pt x="8033" y="37"/>
                  </a:lnTo>
                  <a:lnTo>
                    <a:pt x="7306" y="0"/>
                  </a:lnTo>
                  <a:close/>
                </a:path>
              </a:pathLst>
            </a:custGeom>
            <a:solidFill>
              <a:srgbClr val="D76009"/>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52" name="Google Shape;2681;p11">
              <a:extLst>
                <a:ext uri="{FF2B5EF4-FFF2-40B4-BE49-F238E27FC236}">
                  <a16:creationId xmlns:a16="http://schemas.microsoft.com/office/drawing/2014/main" id="{9004F06B-185D-07A4-AEE5-169824A05560}"/>
                </a:ext>
              </a:extLst>
            </p:cNvPr>
            <p:cNvSpPr/>
            <p:nvPr/>
          </p:nvSpPr>
          <p:spPr>
            <a:xfrm>
              <a:off x="590675" y="2782975"/>
              <a:ext cx="699675" cy="762375"/>
            </a:xfrm>
            <a:custGeom>
              <a:avLst/>
              <a:gdLst/>
              <a:ahLst/>
              <a:cxnLst/>
              <a:rect l="l" t="t" r="r" b="b"/>
              <a:pathLst>
                <a:path w="27987" h="30495" fill="none" extrusionOk="0">
                  <a:moveTo>
                    <a:pt x="763" y="29258"/>
                  </a:moveTo>
                  <a:lnTo>
                    <a:pt x="763" y="29258"/>
                  </a:lnTo>
                  <a:lnTo>
                    <a:pt x="727" y="29367"/>
                  </a:lnTo>
                  <a:lnTo>
                    <a:pt x="727" y="29513"/>
                  </a:lnTo>
                  <a:lnTo>
                    <a:pt x="763" y="29586"/>
                  </a:lnTo>
                  <a:lnTo>
                    <a:pt x="872" y="29695"/>
                  </a:lnTo>
                  <a:lnTo>
                    <a:pt x="981" y="29804"/>
                  </a:lnTo>
                  <a:lnTo>
                    <a:pt x="1163" y="29876"/>
                  </a:lnTo>
                  <a:lnTo>
                    <a:pt x="1599" y="30058"/>
                  </a:lnTo>
                  <a:lnTo>
                    <a:pt x="2145" y="30167"/>
                  </a:lnTo>
                  <a:lnTo>
                    <a:pt x="2799" y="30276"/>
                  </a:lnTo>
                  <a:lnTo>
                    <a:pt x="3598" y="30385"/>
                  </a:lnTo>
                  <a:lnTo>
                    <a:pt x="4434" y="30422"/>
                  </a:lnTo>
                  <a:lnTo>
                    <a:pt x="4434" y="30422"/>
                  </a:lnTo>
                  <a:lnTo>
                    <a:pt x="6361" y="30494"/>
                  </a:lnTo>
                  <a:lnTo>
                    <a:pt x="6361" y="30494"/>
                  </a:lnTo>
                  <a:lnTo>
                    <a:pt x="8287" y="30494"/>
                  </a:lnTo>
                  <a:lnTo>
                    <a:pt x="10286" y="30422"/>
                  </a:lnTo>
                  <a:lnTo>
                    <a:pt x="12212" y="30312"/>
                  </a:lnTo>
                  <a:lnTo>
                    <a:pt x="14066" y="30167"/>
                  </a:lnTo>
                  <a:lnTo>
                    <a:pt x="15738" y="29985"/>
                  </a:lnTo>
                  <a:lnTo>
                    <a:pt x="17083" y="29767"/>
                  </a:lnTo>
                  <a:lnTo>
                    <a:pt x="17628" y="29622"/>
                  </a:lnTo>
                  <a:lnTo>
                    <a:pt x="18064" y="29513"/>
                  </a:lnTo>
                  <a:lnTo>
                    <a:pt x="18355" y="29367"/>
                  </a:lnTo>
                  <a:lnTo>
                    <a:pt x="18573" y="29258"/>
                  </a:lnTo>
                  <a:lnTo>
                    <a:pt x="18573" y="29258"/>
                  </a:lnTo>
                  <a:lnTo>
                    <a:pt x="18645" y="29077"/>
                  </a:lnTo>
                  <a:lnTo>
                    <a:pt x="18718" y="28822"/>
                  </a:lnTo>
                  <a:lnTo>
                    <a:pt x="18718" y="28822"/>
                  </a:lnTo>
                  <a:lnTo>
                    <a:pt x="18718" y="28822"/>
                  </a:lnTo>
                  <a:lnTo>
                    <a:pt x="18755" y="28386"/>
                  </a:lnTo>
                  <a:lnTo>
                    <a:pt x="18682" y="27841"/>
                  </a:lnTo>
                  <a:lnTo>
                    <a:pt x="18573" y="27187"/>
                  </a:lnTo>
                  <a:lnTo>
                    <a:pt x="18427" y="26460"/>
                  </a:lnTo>
                  <a:lnTo>
                    <a:pt x="18209" y="25697"/>
                  </a:lnTo>
                  <a:lnTo>
                    <a:pt x="17955" y="24861"/>
                  </a:lnTo>
                  <a:lnTo>
                    <a:pt x="17410" y="23080"/>
                  </a:lnTo>
                  <a:lnTo>
                    <a:pt x="17410" y="23080"/>
                  </a:lnTo>
                  <a:lnTo>
                    <a:pt x="20826" y="24243"/>
                  </a:lnTo>
                  <a:lnTo>
                    <a:pt x="23843" y="25297"/>
                  </a:lnTo>
                  <a:lnTo>
                    <a:pt x="26060" y="26096"/>
                  </a:lnTo>
                  <a:lnTo>
                    <a:pt x="26751" y="26387"/>
                  </a:lnTo>
                  <a:lnTo>
                    <a:pt x="27078" y="26533"/>
                  </a:lnTo>
                  <a:lnTo>
                    <a:pt x="27078" y="26533"/>
                  </a:lnTo>
                  <a:lnTo>
                    <a:pt x="27078" y="26569"/>
                  </a:lnTo>
                  <a:lnTo>
                    <a:pt x="27114" y="26533"/>
                  </a:lnTo>
                  <a:lnTo>
                    <a:pt x="27187" y="26423"/>
                  </a:lnTo>
                  <a:lnTo>
                    <a:pt x="27368" y="25951"/>
                  </a:lnTo>
                  <a:lnTo>
                    <a:pt x="27550" y="25260"/>
                  </a:lnTo>
                  <a:lnTo>
                    <a:pt x="27732" y="24461"/>
                  </a:lnTo>
                  <a:lnTo>
                    <a:pt x="27877" y="23625"/>
                  </a:lnTo>
                  <a:lnTo>
                    <a:pt x="27986" y="22862"/>
                  </a:lnTo>
                  <a:lnTo>
                    <a:pt x="27986" y="22534"/>
                  </a:lnTo>
                  <a:lnTo>
                    <a:pt x="27986" y="22244"/>
                  </a:lnTo>
                  <a:lnTo>
                    <a:pt x="27950" y="22026"/>
                  </a:lnTo>
                  <a:lnTo>
                    <a:pt x="27914" y="21917"/>
                  </a:lnTo>
                  <a:lnTo>
                    <a:pt x="27914" y="21917"/>
                  </a:lnTo>
                  <a:lnTo>
                    <a:pt x="27768" y="21808"/>
                  </a:lnTo>
                  <a:lnTo>
                    <a:pt x="27550" y="21699"/>
                  </a:lnTo>
                  <a:lnTo>
                    <a:pt x="26823" y="21480"/>
                  </a:lnTo>
                  <a:lnTo>
                    <a:pt x="25842" y="21190"/>
                  </a:lnTo>
                  <a:lnTo>
                    <a:pt x="24752" y="20935"/>
                  </a:lnTo>
                  <a:lnTo>
                    <a:pt x="22644" y="20426"/>
                  </a:lnTo>
                  <a:lnTo>
                    <a:pt x="21444" y="20099"/>
                  </a:lnTo>
                  <a:lnTo>
                    <a:pt x="21444" y="20099"/>
                  </a:lnTo>
                  <a:lnTo>
                    <a:pt x="20463" y="19809"/>
                  </a:lnTo>
                  <a:lnTo>
                    <a:pt x="19118" y="19409"/>
                  </a:lnTo>
                  <a:lnTo>
                    <a:pt x="17555" y="18936"/>
                  </a:lnTo>
                  <a:lnTo>
                    <a:pt x="15847" y="18427"/>
                  </a:lnTo>
                  <a:lnTo>
                    <a:pt x="15847" y="18427"/>
                  </a:lnTo>
                  <a:lnTo>
                    <a:pt x="15520" y="17264"/>
                  </a:lnTo>
                  <a:lnTo>
                    <a:pt x="15447" y="16828"/>
                  </a:lnTo>
                  <a:lnTo>
                    <a:pt x="15411" y="16501"/>
                  </a:lnTo>
                  <a:lnTo>
                    <a:pt x="15411" y="16501"/>
                  </a:lnTo>
                  <a:lnTo>
                    <a:pt x="15447" y="16210"/>
                  </a:lnTo>
                  <a:lnTo>
                    <a:pt x="15556" y="15920"/>
                  </a:lnTo>
                  <a:lnTo>
                    <a:pt x="15701" y="15665"/>
                  </a:lnTo>
                  <a:lnTo>
                    <a:pt x="15920" y="15447"/>
                  </a:lnTo>
                  <a:lnTo>
                    <a:pt x="16138" y="15193"/>
                  </a:lnTo>
                  <a:lnTo>
                    <a:pt x="16392" y="14975"/>
                  </a:lnTo>
                  <a:lnTo>
                    <a:pt x="16974" y="14575"/>
                  </a:lnTo>
                  <a:lnTo>
                    <a:pt x="17555" y="14175"/>
                  </a:lnTo>
                  <a:lnTo>
                    <a:pt x="18064" y="13775"/>
                  </a:lnTo>
                  <a:lnTo>
                    <a:pt x="18282" y="13557"/>
                  </a:lnTo>
                  <a:lnTo>
                    <a:pt x="18464" y="13339"/>
                  </a:lnTo>
                  <a:lnTo>
                    <a:pt x="18609" y="13121"/>
                  </a:lnTo>
                  <a:lnTo>
                    <a:pt x="18682" y="12903"/>
                  </a:lnTo>
                  <a:lnTo>
                    <a:pt x="18682" y="12903"/>
                  </a:lnTo>
                  <a:lnTo>
                    <a:pt x="18682" y="12648"/>
                  </a:lnTo>
                  <a:lnTo>
                    <a:pt x="18645" y="12394"/>
                  </a:lnTo>
                  <a:lnTo>
                    <a:pt x="18536" y="12103"/>
                  </a:lnTo>
                  <a:lnTo>
                    <a:pt x="18391" y="11776"/>
                  </a:lnTo>
                  <a:lnTo>
                    <a:pt x="18028" y="11122"/>
                  </a:lnTo>
                  <a:lnTo>
                    <a:pt x="17591" y="10504"/>
                  </a:lnTo>
                  <a:lnTo>
                    <a:pt x="16865" y="9559"/>
                  </a:lnTo>
                  <a:lnTo>
                    <a:pt x="16719" y="9305"/>
                  </a:lnTo>
                  <a:lnTo>
                    <a:pt x="16756" y="9305"/>
                  </a:lnTo>
                  <a:lnTo>
                    <a:pt x="16828" y="9305"/>
                  </a:lnTo>
                  <a:lnTo>
                    <a:pt x="16828" y="9305"/>
                  </a:lnTo>
                  <a:lnTo>
                    <a:pt x="17010" y="9414"/>
                  </a:lnTo>
                  <a:lnTo>
                    <a:pt x="17119" y="9414"/>
                  </a:lnTo>
                  <a:lnTo>
                    <a:pt x="17228" y="9414"/>
                  </a:lnTo>
                  <a:lnTo>
                    <a:pt x="17301" y="9341"/>
                  </a:lnTo>
                  <a:lnTo>
                    <a:pt x="17337" y="9196"/>
                  </a:lnTo>
                  <a:lnTo>
                    <a:pt x="17337" y="9050"/>
                  </a:lnTo>
                  <a:lnTo>
                    <a:pt x="17264" y="8614"/>
                  </a:lnTo>
                  <a:lnTo>
                    <a:pt x="17083" y="8069"/>
                  </a:lnTo>
                  <a:lnTo>
                    <a:pt x="16792" y="7415"/>
                  </a:lnTo>
                  <a:lnTo>
                    <a:pt x="16428" y="6688"/>
                  </a:lnTo>
                  <a:lnTo>
                    <a:pt x="15992" y="5888"/>
                  </a:lnTo>
                  <a:lnTo>
                    <a:pt x="15520" y="5052"/>
                  </a:lnTo>
                  <a:lnTo>
                    <a:pt x="14975" y="4216"/>
                  </a:lnTo>
                  <a:lnTo>
                    <a:pt x="14393" y="3417"/>
                  </a:lnTo>
                  <a:lnTo>
                    <a:pt x="13775" y="2617"/>
                  </a:lnTo>
                  <a:lnTo>
                    <a:pt x="13121" y="1890"/>
                  </a:lnTo>
                  <a:lnTo>
                    <a:pt x="12503" y="1272"/>
                  </a:lnTo>
                  <a:lnTo>
                    <a:pt x="12176" y="981"/>
                  </a:lnTo>
                  <a:lnTo>
                    <a:pt x="11849" y="763"/>
                  </a:lnTo>
                  <a:lnTo>
                    <a:pt x="11558" y="545"/>
                  </a:lnTo>
                  <a:lnTo>
                    <a:pt x="11231" y="364"/>
                  </a:lnTo>
                  <a:lnTo>
                    <a:pt x="11231" y="364"/>
                  </a:lnTo>
                  <a:lnTo>
                    <a:pt x="10722" y="291"/>
                  </a:lnTo>
                  <a:lnTo>
                    <a:pt x="9523" y="146"/>
                  </a:lnTo>
                  <a:lnTo>
                    <a:pt x="8033" y="37"/>
                  </a:lnTo>
                  <a:lnTo>
                    <a:pt x="7306" y="0"/>
                  </a:lnTo>
                  <a:lnTo>
                    <a:pt x="6688" y="37"/>
                  </a:lnTo>
                  <a:lnTo>
                    <a:pt x="6688" y="37"/>
                  </a:lnTo>
                  <a:lnTo>
                    <a:pt x="6361" y="109"/>
                  </a:lnTo>
                  <a:lnTo>
                    <a:pt x="6034" y="218"/>
                  </a:lnTo>
                  <a:lnTo>
                    <a:pt x="5634" y="400"/>
                  </a:lnTo>
                  <a:lnTo>
                    <a:pt x="5198" y="618"/>
                  </a:lnTo>
                  <a:lnTo>
                    <a:pt x="4253" y="1163"/>
                  </a:lnTo>
                  <a:lnTo>
                    <a:pt x="3308" y="1854"/>
                  </a:lnTo>
                  <a:lnTo>
                    <a:pt x="2326" y="2581"/>
                  </a:lnTo>
                  <a:lnTo>
                    <a:pt x="1454" y="3271"/>
                  </a:lnTo>
                  <a:lnTo>
                    <a:pt x="727" y="3962"/>
                  </a:lnTo>
                  <a:lnTo>
                    <a:pt x="182" y="4507"/>
                  </a:lnTo>
                  <a:lnTo>
                    <a:pt x="182" y="4507"/>
                  </a:lnTo>
                  <a:lnTo>
                    <a:pt x="109" y="4652"/>
                  </a:lnTo>
                  <a:lnTo>
                    <a:pt x="36" y="4834"/>
                  </a:lnTo>
                  <a:lnTo>
                    <a:pt x="0" y="5052"/>
                  </a:lnTo>
                  <a:lnTo>
                    <a:pt x="0" y="5343"/>
                  </a:lnTo>
                  <a:lnTo>
                    <a:pt x="36" y="6070"/>
                  </a:lnTo>
                  <a:lnTo>
                    <a:pt x="182" y="6906"/>
                  </a:lnTo>
                  <a:lnTo>
                    <a:pt x="400" y="7887"/>
                  </a:lnTo>
                  <a:lnTo>
                    <a:pt x="691" y="8941"/>
                  </a:lnTo>
                  <a:lnTo>
                    <a:pt x="1054" y="10104"/>
                  </a:lnTo>
                  <a:lnTo>
                    <a:pt x="1527" y="11304"/>
                  </a:lnTo>
                  <a:lnTo>
                    <a:pt x="1527" y="11304"/>
                  </a:lnTo>
                  <a:lnTo>
                    <a:pt x="1345" y="11195"/>
                  </a:lnTo>
                  <a:lnTo>
                    <a:pt x="1345" y="11195"/>
                  </a:lnTo>
                  <a:lnTo>
                    <a:pt x="1563" y="11449"/>
                  </a:lnTo>
                  <a:lnTo>
                    <a:pt x="1563" y="11449"/>
                  </a:lnTo>
                  <a:lnTo>
                    <a:pt x="1926" y="12285"/>
                  </a:lnTo>
                  <a:lnTo>
                    <a:pt x="2326" y="13157"/>
                  </a:lnTo>
                  <a:lnTo>
                    <a:pt x="2726" y="13993"/>
                  </a:lnTo>
                  <a:lnTo>
                    <a:pt x="3199" y="14829"/>
                  </a:lnTo>
                  <a:lnTo>
                    <a:pt x="3199" y="14829"/>
                  </a:lnTo>
                  <a:lnTo>
                    <a:pt x="3380" y="15811"/>
                  </a:lnTo>
                  <a:lnTo>
                    <a:pt x="3489" y="16792"/>
                  </a:lnTo>
                  <a:lnTo>
                    <a:pt x="3526" y="17737"/>
                  </a:lnTo>
                  <a:lnTo>
                    <a:pt x="3526" y="18718"/>
                  </a:lnTo>
                  <a:lnTo>
                    <a:pt x="3489" y="19590"/>
                  </a:lnTo>
                  <a:lnTo>
                    <a:pt x="3453" y="20463"/>
                  </a:lnTo>
                  <a:lnTo>
                    <a:pt x="3308" y="21917"/>
                  </a:lnTo>
                  <a:lnTo>
                    <a:pt x="3308" y="21917"/>
                  </a:lnTo>
                  <a:lnTo>
                    <a:pt x="3162" y="22971"/>
                  </a:lnTo>
                  <a:lnTo>
                    <a:pt x="2980" y="23988"/>
                  </a:lnTo>
                  <a:lnTo>
                    <a:pt x="2762" y="24970"/>
                  </a:lnTo>
                  <a:lnTo>
                    <a:pt x="2472" y="25915"/>
                  </a:lnTo>
                  <a:lnTo>
                    <a:pt x="2108" y="26823"/>
                  </a:lnTo>
                  <a:lnTo>
                    <a:pt x="1745" y="27659"/>
                  </a:lnTo>
                  <a:lnTo>
                    <a:pt x="1309" y="28459"/>
                  </a:lnTo>
                  <a:lnTo>
                    <a:pt x="836" y="29186"/>
                  </a:lnTo>
                  <a:lnTo>
                    <a:pt x="836" y="29186"/>
                  </a:lnTo>
                  <a:lnTo>
                    <a:pt x="763" y="29258"/>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53" name="Google Shape;2682;p11">
              <a:extLst>
                <a:ext uri="{FF2B5EF4-FFF2-40B4-BE49-F238E27FC236}">
                  <a16:creationId xmlns:a16="http://schemas.microsoft.com/office/drawing/2014/main" id="{1D4C5F83-35AB-B5A6-3919-92075000F1B7}"/>
                </a:ext>
              </a:extLst>
            </p:cNvPr>
            <p:cNvSpPr/>
            <p:nvPr/>
          </p:nvSpPr>
          <p:spPr>
            <a:xfrm>
              <a:off x="750575" y="3030125"/>
              <a:ext cx="177225" cy="194475"/>
            </a:xfrm>
            <a:custGeom>
              <a:avLst/>
              <a:gdLst/>
              <a:ahLst/>
              <a:cxnLst/>
              <a:rect l="l" t="t" r="r" b="b"/>
              <a:pathLst>
                <a:path w="7089" h="7779" extrusionOk="0">
                  <a:moveTo>
                    <a:pt x="292" y="0"/>
                  </a:moveTo>
                  <a:lnTo>
                    <a:pt x="110" y="982"/>
                  </a:lnTo>
                  <a:lnTo>
                    <a:pt x="1" y="1781"/>
                  </a:lnTo>
                  <a:lnTo>
                    <a:pt x="1" y="2435"/>
                  </a:lnTo>
                  <a:lnTo>
                    <a:pt x="37" y="2944"/>
                  </a:lnTo>
                  <a:lnTo>
                    <a:pt x="110" y="3380"/>
                  </a:lnTo>
                  <a:lnTo>
                    <a:pt x="255" y="3707"/>
                  </a:lnTo>
                  <a:lnTo>
                    <a:pt x="364" y="3962"/>
                  </a:lnTo>
                  <a:lnTo>
                    <a:pt x="510" y="4180"/>
                  </a:lnTo>
                  <a:lnTo>
                    <a:pt x="619" y="4289"/>
                  </a:lnTo>
                  <a:lnTo>
                    <a:pt x="801" y="4434"/>
                  </a:lnTo>
                  <a:lnTo>
                    <a:pt x="1382" y="4834"/>
                  </a:lnTo>
                  <a:lnTo>
                    <a:pt x="2182" y="5307"/>
                  </a:lnTo>
                  <a:lnTo>
                    <a:pt x="3127" y="5816"/>
                  </a:lnTo>
                  <a:lnTo>
                    <a:pt x="5235" y="6870"/>
                  </a:lnTo>
                  <a:lnTo>
                    <a:pt x="7088" y="7778"/>
                  </a:lnTo>
                  <a:lnTo>
                    <a:pt x="5162" y="6542"/>
                  </a:lnTo>
                  <a:lnTo>
                    <a:pt x="3672" y="5525"/>
                  </a:lnTo>
                  <a:lnTo>
                    <a:pt x="3054" y="5089"/>
                  </a:lnTo>
                  <a:lnTo>
                    <a:pt x="2509" y="4652"/>
                  </a:lnTo>
                  <a:lnTo>
                    <a:pt x="2036" y="4253"/>
                  </a:lnTo>
                  <a:lnTo>
                    <a:pt x="1673" y="3816"/>
                  </a:lnTo>
                  <a:lnTo>
                    <a:pt x="1346" y="3417"/>
                  </a:lnTo>
                  <a:lnTo>
                    <a:pt x="1055" y="3017"/>
                  </a:lnTo>
                  <a:lnTo>
                    <a:pt x="837" y="2617"/>
                  </a:lnTo>
                  <a:lnTo>
                    <a:pt x="692" y="2145"/>
                  </a:lnTo>
                  <a:lnTo>
                    <a:pt x="546" y="1672"/>
                  </a:lnTo>
                  <a:lnTo>
                    <a:pt x="437" y="1163"/>
                  </a:lnTo>
                  <a:lnTo>
                    <a:pt x="364" y="618"/>
                  </a:lnTo>
                  <a:lnTo>
                    <a:pt x="292" y="0"/>
                  </a:lnTo>
                  <a:close/>
                </a:path>
              </a:pathLst>
            </a:custGeom>
            <a:solidFill>
              <a:srgbClr val="A44E1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54" name="Google Shape;2683;p11">
              <a:extLst>
                <a:ext uri="{FF2B5EF4-FFF2-40B4-BE49-F238E27FC236}">
                  <a16:creationId xmlns:a16="http://schemas.microsoft.com/office/drawing/2014/main" id="{B87F5457-C638-E944-C3F2-7384FE9A7242}"/>
                </a:ext>
              </a:extLst>
            </p:cNvPr>
            <p:cNvSpPr/>
            <p:nvPr/>
          </p:nvSpPr>
          <p:spPr>
            <a:xfrm>
              <a:off x="750575" y="3030125"/>
              <a:ext cx="177225" cy="194475"/>
            </a:xfrm>
            <a:custGeom>
              <a:avLst/>
              <a:gdLst/>
              <a:ahLst/>
              <a:cxnLst/>
              <a:rect l="l" t="t" r="r" b="b"/>
              <a:pathLst>
                <a:path w="7089" h="7779" fill="none" extrusionOk="0">
                  <a:moveTo>
                    <a:pt x="292" y="0"/>
                  </a:moveTo>
                  <a:lnTo>
                    <a:pt x="292" y="0"/>
                  </a:lnTo>
                  <a:lnTo>
                    <a:pt x="110" y="982"/>
                  </a:lnTo>
                  <a:lnTo>
                    <a:pt x="1" y="1781"/>
                  </a:lnTo>
                  <a:lnTo>
                    <a:pt x="1" y="2435"/>
                  </a:lnTo>
                  <a:lnTo>
                    <a:pt x="37" y="2944"/>
                  </a:lnTo>
                  <a:lnTo>
                    <a:pt x="110" y="3380"/>
                  </a:lnTo>
                  <a:lnTo>
                    <a:pt x="255" y="3707"/>
                  </a:lnTo>
                  <a:lnTo>
                    <a:pt x="364" y="3962"/>
                  </a:lnTo>
                  <a:lnTo>
                    <a:pt x="510" y="4180"/>
                  </a:lnTo>
                  <a:lnTo>
                    <a:pt x="510" y="4180"/>
                  </a:lnTo>
                  <a:lnTo>
                    <a:pt x="619" y="4289"/>
                  </a:lnTo>
                  <a:lnTo>
                    <a:pt x="801" y="4434"/>
                  </a:lnTo>
                  <a:lnTo>
                    <a:pt x="1382" y="4834"/>
                  </a:lnTo>
                  <a:lnTo>
                    <a:pt x="2182" y="5307"/>
                  </a:lnTo>
                  <a:lnTo>
                    <a:pt x="3127" y="5816"/>
                  </a:lnTo>
                  <a:lnTo>
                    <a:pt x="5235" y="6870"/>
                  </a:lnTo>
                  <a:lnTo>
                    <a:pt x="7088" y="7778"/>
                  </a:lnTo>
                  <a:lnTo>
                    <a:pt x="7088" y="7778"/>
                  </a:lnTo>
                  <a:lnTo>
                    <a:pt x="5162" y="6542"/>
                  </a:lnTo>
                  <a:lnTo>
                    <a:pt x="3672" y="5525"/>
                  </a:lnTo>
                  <a:lnTo>
                    <a:pt x="3054" y="5089"/>
                  </a:lnTo>
                  <a:lnTo>
                    <a:pt x="2509" y="4652"/>
                  </a:lnTo>
                  <a:lnTo>
                    <a:pt x="2036" y="4253"/>
                  </a:lnTo>
                  <a:lnTo>
                    <a:pt x="1673" y="3816"/>
                  </a:lnTo>
                  <a:lnTo>
                    <a:pt x="1346" y="3417"/>
                  </a:lnTo>
                  <a:lnTo>
                    <a:pt x="1055" y="3017"/>
                  </a:lnTo>
                  <a:lnTo>
                    <a:pt x="837" y="2617"/>
                  </a:lnTo>
                  <a:lnTo>
                    <a:pt x="692" y="2145"/>
                  </a:lnTo>
                  <a:lnTo>
                    <a:pt x="546" y="1672"/>
                  </a:lnTo>
                  <a:lnTo>
                    <a:pt x="437" y="1163"/>
                  </a:lnTo>
                  <a:lnTo>
                    <a:pt x="364" y="618"/>
                  </a:lnTo>
                  <a:lnTo>
                    <a:pt x="292"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55" name="Google Shape;2684;p11">
              <a:extLst>
                <a:ext uri="{FF2B5EF4-FFF2-40B4-BE49-F238E27FC236}">
                  <a16:creationId xmlns:a16="http://schemas.microsoft.com/office/drawing/2014/main" id="{B2CD252F-AE2C-54A4-7AD3-DBD5FC3217E0}"/>
                </a:ext>
              </a:extLst>
            </p:cNvPr>
            <p:cNvSpPr/>
            <p:nvPr/>
          </p:nvSpPr>
          <p:spPr>
            <a:xfrm>
              <a:off x="678800" y="3237300"/>
              <a:ext cx="25" cy="20900"/>
            </a:xfrm>
            <a:custGeom>
              <a:avLst/>
              <a:gdLst/>
              <a:ahLst/>
              <a:cxnLst/>
              <a:rect l="l" t="t" r="r" b="b"/>
              <a:pathLst>
                <a:path w="1" h="836" extrusionOk="0">
                  <a:moveTo>
                    <a:pt x="1" y="0"/>
                  </a:moveTo>
                  <a:lnTo>
                    <a:pt x="1" y="0"/>
                  </a:lnTo>
                  <a:lnTo>
                    <a:pt x="1" y="836"/>
                  </a:lnTo>
                  <a:lnTo>
                    <a:pt x="1" y="836"/>
                  </a:lnTo>
                  <a:lnTo>
                    <a:pt x="1" y="0"/>
                  </a:lnTo>
                  <a:close/>
                </a:path>
              </a:pathLst>
            </a:custGeom>
            <a:solidFill>
              <a:srgbClr val="C1C1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56" name="Google Shape;2685;p11">
              <a:extLst>
                <a:ext uri="{FF2B5EF4-FFF2-40B4-BE49-F238E27FC236}">
                  <a16:creationId xmlns:a16="http://schemas.microsoft.com/office/drawing/2014/main" id="{73F6FDE5-E689-9238-95DF-9A1B59972B94}"/>
                </a:ext>
              </a:extLst>
            </p:cNvPr>
            <p:cNvSpPr/>
            <p:nvPr/>
          </p:nvSpPr>
          <p:spPr>
            <a:xfrm>
              <a:off x="678800" y="3237300"/>
              <a:ext cx="25" cy="20900"/>
            </a:xfrm>
            <a:custGeom>
              <a:avLst/>
              <a:gdLst/>
              <a:ahLst/>
              <a:cxnLst/>
              <a:rect l="l" t="t" r="r" b="b"/>
              <a:pathLst>
                <a:path w="1" h="836" fill="none" extrusionOk="0">
                  <a:moveTo>
                    <a:pt x="1" y="0"/>
                  </a:moveTo>
                  <a:lnTo>
                    <a:pt x="1" y="0"/>
                  </a:lnTo>
                  <a:lnTo>
                    <a:pt x="1" y="836"/>
                  </a:lnTo>
                  <a:lnTo>
                    <a:pt x="1" y="836"/>
                  </a:lnTo>
                  <a:lnTo>
                    <a:pt x="1"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57" name="Google Shape;2686;p11">
              <a:extLst>
                <a:ext uri="{FF2B5EF4-FFF2-40B4-BE49-F238E27FC236}">
                  <a16:creationId xmlns:a16="http://schemas.microsoft.com/office/drawing/2014/main" id="{8E438575-2C09-870A-ED82-DF281EC36E7E}"/>
                </a:ext>
              </a:extLst>
            </p:cNvPr>
            <p:cNvSpPr/>
            <p:nvPr/>
          </p:nvSpPr>
          <p:spPr>
            <a:xfrm>
              <a:off x="677900" y="3236375"/>
              <a:ext cx="320775" cy="125425"/>
            </a:xfrm>
            <a:custGeom>
              <a:avLst/>
              <a:gdLst/>
              <a:ahLst/>
              <a:cxnLst/>
              <a:rect l="l" t="t" r="r" b="b"/>
              <a:pathLst>
                <a:path w="12831" h="5017" extrusionOk="0">
                  <a:moveTo>
                    <a:pt x="37" y="1"/>
                  </a:moveTo>
                  <a:lnTo>
                    <a:pt x="37" y="37"/>
                  </a:lnTo>
                  <a:lnTo>
                    <a:pt x="37" y="873"/>
                  </a:lnTo>
                  <a:lnTo>
                    <a:pt x="0" y="1345"/>
                  </a:lnTo>
                  <a:lnTo>
                    <a:pt x="37" y="1345"/>
                  </a:lnTo>
                  <a:lnTo>
                    <a:pt x="291" y="1382"/>
                  </a:lnTo>
                  <a:lnTo>
                    <a:pt x="727" y="1491"/>
                  </a:lnTo>
                  <a:lnTo>
                    <a:pt x="2217" y="1927"/>
                  </a:lnTo>
                  <a:lnTo>
                    <a:pt x="6470" y="3163"/>
                  </a:lnTo>
                  <a:lnTo>
                    <a:pt x="10686" y="4435"/>
                  </a:lnTo>
                  <a:lnTo>
                    <a:pt x="12176" y="4871"/>
                  </a:lnTo>
                  <a:lnTo>
                    <a:pt x="12612" y="4980"/>
                  </a:lnTo>
                  <a:lnTo>
                    <a:pt x="12830" y="5016"/>
                  </a:lnTo>
                  <a:lnTo>
                    <a:pt x="10868" y="4253"/>
                  </a:lnTo>
                  <a:lnTo>
                    <a:pt x="6470" y="2581"/>
                  </a:lnTo>
                  <a:lnTo>
                    <a:pt x="2072" y="873"/>
                  </a:lnTo>
                  <a:lnTo>
                    <a:pt x="618" y="291"/>
                  </a:lnTo>
                  <a:lnTo>
                    <a:pt x="182" y="110"/>
                  </a:lnTo>
                  <a:lnTo>
                    <a:pt x="37" y="1"/>
                  </a:lnTo>
                  <a:close/>
                </a:path>
              </a:pathLst>
            </a:custGeom>
            <a:solidFill>
              <a:srgbClr val="A44E1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58" name="Google Shape;2687;p11">
              <a:extLst>
                <a:ext uri="{FF2B5EF4-FFF2-40B4-BE49-F238E27FC236}">
                  <a16:creationId xmlns:a16="http://schemas.microsoft.com/office/drawing/2014/main" id="{C543494A-4522-519A-5A3D-E63D61D49453}"/>
                </a:ext>
              </a:extLst>
            </p:cNvPr>
            <p:cNvSpPr/>
            <p:nvPr/>
          </p:nvSpPr>
          <p:spPr>
            <a:xfrm>
              <a:off x="677900" y="3236375"/>
              <a:ext cx="320775" cy="125425"/>
            </a:xfrm>
            <a:custGeom>
              <a:avLst/>
              <a:gdLst/>
              <a:ahLst/>
              <a:cxnLst/>
              <a:rect l="l" t="t" r="r" b="b"/>
              <a:pathLst>
                <a:path w="12831" h="5017" fill="none" extrusionOk="0">
                  <a:moveTo>
                    <a:pt x="37" y="1"/>
                  </a:moveTo>
                  <a:lnTo>
                    <a:pt x="37" y="1"/>
                  </a:lnTo>
                  <a:lnTo>
                    <a:pt x="37" y="37"/>
                  </a:lnTo>
                  <a:lnTo>
                    <a:pt x="37" y="37"/>
                  </a:lnTo>
                  <a:lnTo>
                    <a:pt x="37" y="873"/>
                  </a:lnTo>
                  <a:lnTo>
                    <a:pt x="37" y="873"/>
                  </a:lnTo>
                  <a:lnTo>
                    <a:pt x="0" y="1345"/>
                  </a:lnTo>
                  <a:lnTo>
                    <a:pt x="0" y="1345"/>
                  </a:lnTo>
                  <a:lnTo>
                    <a:pt x="37" y="1345"/>
                  </a:lnTo>
                  <a:lnTo>
                    <a:pt x="37" y="1345"/>
                  </a:lnTo>
                  <a:lnTo>
                    <a:pt x="291" y="1382"/>
                  </a:lnTo>
                  <a:lnTo>
                    <a:pt x="727" y="1491"/>
                  </a:lnTo>
                  <a:lnTo>
                    <a:pt x="2217" y="1927"/>
                  </a:lnTo>
                  <a:lnTo>
                    <a:pt x="6470" y="3163"/>
                  </a:lnTo>
                  <a:lnTo>
                    <a:pt x="6470" y="3163"/>
                  </a:lnTo>
                  <a:lnTo>
                    <a:pt x="10686" y="4435"/>
                  </a:lnTo>
                  <a:lnTo>
                    <a:pt x="12176" y="4871"/>
                  </a:lnTo>
                  <a:lnTo>
                    <a:pt x="12612" y="4980"/>
                  </a:lnTo>
                  <a:lnTo>
                    <a:pt x="12830" y="5016"/>
                  </a:lnTo>
                  <a:lnTo>
                    <a:pt x="12830" y="5016"/>
                  </a:lnTo>
                  <a:lnTo>
                    <a:pt x="12830" y="5016"/>
                  </a:lnTo>
                  <a:lnTo>
                    <a:pt x="12830" y="5016"/>
                  </a:lnTo>
                  <a:lnTo>
                    <a:pt x="10868" y="4253"/>
                  </a:lnTo>
                  <a:lnTo>
                    <a:pt x="6470" y="2581"/>
                  </a:lnTo>
                  <a:lnTo>
                    <a:pt x="2072" y="873"/>
                  </a:lnTo>
                  <a:lnTo>
                    <a:pt x="618" y="291"/>
                  </a:lnTo>
                  <a:lnTo>
                    <a:pt x="182" y="110"/>
                  </a:lnTo>
                  <a:lnTo>
                    <a:pt x="37"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59" name="Google Shape;2688;p11">
              <a:extLst>
                <a:ext uri="{FF2B5EF4-FFF2-40B4-BE49-F238E27FC236}">
                  <a16:creationId xmlns:a16="http://schemas.microsoft.com/office/drawing/2014/main" id="{424C8D71-CF16-C533-EA4A-BC2C7E20316D}"/>
                </a:ext>
              </a:extLst>
            </p:cNvPr>
            <p:cNvSpPr/>
            <p:nvPr/>
          </p:nvSpPr>
          <p:spPr>
            <a:xfrm>
              <a:off x="1008650" y="3015575"/>
              <a:ext cx="25" cy="25"/>
            </a:xfrm>
            <a:custGeom>
              <a:avLst/>
              <a:gdLst/>
              <a:ahLst/>
              <a:cxnLst/>
              <a:rect l="l" t="t" r="r" b="b"/>
              <a:pathLst>
                <a:path w="1" h="1" extrusionOk="0">
                  <a:moveTo>
                    <a:pt x="0" y="1"/>
                  </a:moveTo>
                  <a:lnTo>
                    <a:pt x="0" y="1"/>
                  </a:lnTo>
                  <a:lnTo>
                    <a:pt x="0" y="1"/>
                  </a:lnTo>
                  <a:lnTo>
                    <a:pt x="0" y="1"/>
                  </a:lnTo>
                  <a:lnTo>
                    <a:pt x="0" y="1"/>
                  </a:lnTo>
                  <a:lnTo>
                    <a:pt x="0" y="1"/>
                  </a:lnTo>
                  <a:lnTo>
                    <a:pt x="0" y="1"/>
                  </a:lnTo>
                  <a:close/>
                </a:path>
              </a:pathLst>
            </a:custGeom>
            <a:solidFill>
              <a:srgbClr val="C1C1C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60" name="Google Shape;2689;p11">
              <a:extLst>
                <a:ext uri="{FF2B5EF4-FFF2-40B4-BE49-F238E27FC236}">
                  <a16:creationId xmlns:a16="http://schemas.microsoft.com/office/drawing/2014/main" id="{C7C37CB3-A620-BA5D-377B-F534D7F35A1D}"/>
                </a:ext>
              </a:extLst>
            </p:cNvPr>
            <p:cNvSpPr/>
            <p:nvPr/>
          </p:nvSpPr>
          <p:spPr>
            <a:xfrm>
              <a:off x="1008650" y="3015575"/>
              <a:ext cx="25" cy="25"/>
            </a:xfrm>
            <a:custGeom>
              <a:avLst/>
              <a:gdLst/>
              <a:ahLst/>
              <a:cxnLst/>
              <a:rect l="l" t="t" r="r" b="b"/>
              <a:pathLst>
                <a:path w="1" h="1" fill="none" extrusionOk="0">
                  <a:moveTo>
                    <a:pt x="0" y="1"/>
                  </a:moveTo>
                  <a:lnTo>
                    <a:pt x="0" y="1"/>
                  </a:lnTo>
                  <a:lnTo>
                    <a:pt x="0" y="1"/>
                  </a:lnTo>
                  <a:lnTo>
                    <a:pt x="0" y="1"/>
                  </a:lnTo>
                  <a:lnTo>
                    <a:pt x="0" y="1"/>
                  </a:lnTo>
                  <a:lnTo>
                    <a:pt x="0" y="1"/>
                  </a:lnTo>
                  <a:lnTo>
                    <a:pt x="0"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61" name="Google Shape;2690;p11">
              <a:extLst>
                <a:ext uri="{FF2B5EF4-FFF2-40B4-BE49-F238E27FC236}">
                  <a16:creationId xmlns:a16="http://schemas.microsoft.com/office/drawing/2014/main" id="{6D272CA1-2A0E-3E9C-52DF-8F6B0C92551A}"/>
                </a:ext>
              </a:extLst>
            </p:cNvPr>
            <p:cNvSpPr/>
            <p:nvPr/>
          </p:nvSpPr>
          <p:spPr>
            <a:xfrm>
              <a:off x="923225" y="2912900"/>
              <a:ext cx="85450" cy="102700"/>
            </a:xfrm>
            <a:custGeom>
              <a:avLst/>
              <a:gdLst/>
              <a:ahLst/>
              <a:cxnLst/>
              <a:rect l="l" t="t" r="r" b="b"/>
              <a:pathLst>
                <a:path w="3418" h="4108" extrusionOk="0">
                  <a:moveTo>
                    <a:pt x="1" y="1"/>
                  </a:moveTo>
                  <a:lnTo>
                    <a:pt x="1418" y="1382"/>
                  </a:lnTo>
                  <a:lnTo>
                    <a:pt x="1891" y="1854"/>
                  </a:lnTo>
                  <a:lnTo>
                    <a:pt x="2254" y="2254"/>
                  </a:lnTo>
                  <a:lnTo>
                    <a:pt x="2509" y="2654"/>
                  </a:lnTo>
                  <a:lnTo>
                    <a:pt x="2799" y="3054"/>
                  </a:lnTo>
                  <a:lnTo>
                    <a:pt x="3417" y="4108"/>
                  </a:lnTo>
                  <a:lnTo>
                    <a:pt x="2472" y="1782"/>
                  </a:lnTo>
                  <a:lnTo>
                    <a:pt x="2145" y="982"/>
                  </a:lnTo>
                  <a:lnTo>
                    <a:pt x="1891" y="837"/>
                  </a:lnTo>
                  <a:lnTo>
                    <a:pt x="1273" y="509"/>
                  </a:lnTo>
                  <a:lnTo>
                    <a:pt x="546" y="182"/>
                  </a:lnTo>
                  <a:lnTo>
                    <a:pt x="255" y="73"/>
                  </a:lnTo>
                  <a:lnTo>
                    <a:pt x="1" y="1"/>
                  </a:lnTo>
                  <a:close/>
                </a:path>
              </a:pathLst>
            </a:custGeom>
            <a:solidFill>
              <a:srgbClr val="A44E1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62" name="Google Shape;2691;p11">
              <a:extLst>
                <a:ext uri="{FF2B5EF4-FFF2-40B4-BE49-F238E27FC236}">
                  <a16:creationId xmlns:a16="http://schemas.microsoft.com/office/drawing/2014/main" id="{301386EC-E2DE-CE98-C510-9BAA1BF6A805}"/>
                </a:ext>
              </a:extLst>
            </p:cNvPr>
            <p:cNvSpPr/>
            <p:nvPr/>
          </p:nvSpPr>
          <p:spPr>
            <a:xfrm>
              <a:off x="923225" y="2912900"/>
              <a:ext cx="85450" cy="102700"/>
            </a:xfrm>
            <a:custGeom>
              <a:avLst/>
              <a:gdLst/>
              <a:ahLst/>
              <a:cxnLst/>
              <a:rect l="l" t="t" r="r" b="b"/>
              <a:pathLst>
                <a:path w="3418" h="4108" fill="none" extrusionOk="0">
                  <a:moveTo>
                    <a:pt x="1" y="1"/>
                  </a:moveTo>
                  <a:lnTo>
                    <a:pt x="1" y="1"/>
                  </a:lnTo>
                  <a:lnTo>
                    <a:pt x="1418" y="1382"/>
                  </a:lnTo>
                  <a:lnTo>
                    <a:pt x="1891" y="1854"/>
                  </a:lnTo>
                  <a:lnTo>
                    <a:pt x="2254" y="2254"/>
                  </a:lnTo>
                  <a:lnTo>
                    <a:pt x="2509" y="2654"/>
                  </a:lnTo>
                  <a:lnTo>
                    <a:pt x="2799" y="3054"/>
                  </a:lnTo>
                  <a:lnTo>
                    <a:pt x="3417" y="4108"/>
                  </a:lnTo>
                  <a:lnTo>
                    <a:pt x="3417" y="4108"/>
                  </a:lnTo>
                  <a:lnTo>
                    <a:pt x="3417" y="4108"/>
                  </a:lnTo>
                  <a:lnTo>
                    <a:pt x="3417" y="4108"/>
                  </a:lnTo>
                  <a:lnTo>
                    <a:pt x="2472" y="1782"/>
                  </a:lnTo>
                  <a:lnTo>
                    <a:pt x="2145" y="982"/>
                  </a:lnTo>
                  <a:lnTo>
                    <a:pt x="2145" y="982"/>
                  </a:lnTo>
                  <a:lnTo>
                    <a:pt x="1891" y="837"/>
                  </a:lnTo>
                  <a:lnTo>
                    <a:pt x="1273" y="509"/>
                  </a:lnTo>
                  <a:lnTo>
                    <a:pt x="546" y="182"/>
                  </a:lnTo>
                  <a:lnTo>
                    <a:pt x="255" y="73"/>
                  </a:lnTo>
                  <a:lnTo>
                    <a:pt x="1"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63" name="Google Shape;2692;p11">
              <a:extLst>
                <a:ext uri="{FF2B5EF4-FFF2-40B4-BE49-F238E27FC236}">
                  <a16:creationId xmlns:a16="http://schemas.microsoft.com/office/drawing/2014/main" id="{0A0F12F6-6789-0D61-55B6-C72EE18F0934}"/>
                </a:ext>
              </a:extLst>
            </p:cNvPr>
            <p:cNvSpPr/>
            <p:nvPr/>
          </p:nvSpPr>
          <p:spPr>
            <a:xfrm>
              <a:off x="277175" y="3514425"/>
              <a:ext cx="442550" cy="985000"/>
            </a:xfrm>
            <a:custGeom>
              <a:avLst/>
              <a:gdLst/>
              <a:ahLst/>
              <a:cxnLst/>
              <a:rect l="l" t="t" r="r" b="b"/>
              <a:pathLst>
                <a:path w="17702" h="39400" extrusionOk="0">
                  <a:moveTo>
                    <a:pt x="13303" y="0"/>
                  </a:moveTo>
                  <a:lnTo>
                    <a:pt x="12722" y="1018"/>
                  </a:lnTo>
                  <a:lnTo>
                    <a:pt x="12177" y="2036"/>
                  </a:lnTo>
                  <a:lnTo>
                    <a:pt x="11704" y="3090"/>
                  </a:lnTo>
                  <a:lnTo>
                    <a:pt x="11268" y="4108"/>
                  </a:lnTo>
                  <a:lnTo>
                    <a:pt x="10905" y="5125"/>
                  </a:lnTo>
                  <a:lnTo>
                    <a:pt x="10577" y="6179"/>
                  </a:lnTo>
                  <a:lnTo>
                    <a:pt x="10287" y="7233"/>
                  </a:lnTo>
                  <a:lnTo>
                    <a:pt x="10032" y="8287"/>
                  </a:lnTo>
                  <a:lnTo>
                    <a:pt x="9814" y="9341"/>
                  </a:lnTo>
                  <a:lnTo>
                    <a:pt x="9632" y="10395"/>
                  </a:lnTo>
                  <a:lnTo>
                    <a:pt x="9269" y="12576"/>
                  </a:lnTo>
                  <a:lnTo>
                    <a:pt x="8942" y="14757"/>
                  </a:lnTo>
                  <a:lnTo>
                    <a:pt x="8578" y="16974"/>
                  </a:lnTo>
                  <a:lnTo>
                    <a:pt x="8179" y="19264"/>
                  </a:lnTo>
                  <a:lnTo>
                    <a:pt x="7924" y="20427"/>
                  </a:lnTo>
                  <a:lnTo>
                    <a:pt x="7670" y="21590"/>
                  </a:lnTo>
                  <a:lnTo>
                    <a:pt x="7343" y="22753"/>
                  </a:lnTo>
                  <a:lnTo>
                    <a:pt x="7016" y="23952"/>
                  </a:lnTo>
                  <a:lnTo>
                    <a:pt x="6616" y="25152"/>
                  </a:lnTo>
                  <a:lnTo>
                    <a:pt x="6143" y="26351"/>
                  </a:lnTo>
                  <a:lnTo>
                    <a:pt x="5634" y="27587"/>
                  </a:lnTo>
                  <a:lnTo>
                    <a:pt x="5053" y="28823"/>
                  </a:lnTo>
                  <a:lnTo>
                    <a:pt x="4435" y="30095"/>
                  </a:lnTo>
                  <a:lnTo>
                    <a:pt x="3708" y="31367"/>
                  </a:lnTo>
                  <a:lnTo>
                    <a:pt x="2909" y="32639"/>
                  </a:lnTo>
                  <a:lnTo>
                    <a:pt x="2036" y="33947"/>
                  </a:lnTo>
                  <a:lnTo>
                    <a:pt x="1055" y="35292"/>
                  </a:lnTo>
                  <a:lnTo>
                    <a:pt x="1" y="36601"/>
                  </a:lnTo>
                  <a:lnTo>
                    <a:pt x="219" y="36855"/>
                  </a:lnTo>
                  <a:lnTo>
                    <a:pt x="473" y="37073"/>
                  </a:lnTo>
                  <a:lnTo>
                    <a:pt x="728" y="37255"/>
                  </a:lnTo>
                  <a:lnTo>
                    <a:pt x="1019" y="37437"/>
                  </a:lnTo>
                  <a:lnTo>
                    <a:pt x="1346" y="37582"/>
                  </a:lnTo>
                  <a:lnTo>
                    <a:pt x="1709" y="37691"/>
                  </a:lnTo>
                  <a:lnTo>
                    <a:pt x="2436" y="37873"/>
                  </a:lnTo>
                  <a:lnTo>
                    <a:pt x="3199" y="38018"/>
                  </a:lnTo>
                  <a:lnTo>
                    <a:pt x="4035" y="38091"/>
                  </a:lnTo>
                  <a:lnTo>
                    <a:pt x="4908" y="38127"/>
                  </a:lnTo>
                  <a:lnTo>
                    <a:pt x="8942" y="38127"/>
                  </a:lnTo>
                  <a:lnTo>
                    <a:pt x="9487" y="38163"/>
                  </a:lnTo>
                  <a:lnTo>
                    <a:pt x="9996" y="38236"/>
                  </a:lnTo>
                  <a:lnTo>
                    <a:pt x="10468" y="38272"/>
                  </a:lnTo>
                  <a:lnTo>
                    <a:pt x="10905" y="38382"/>
                  </a:lnTo>
                  <a:lnTo>
                    <a:pt x="11304" y="38527"/>
                  </a:lnTo>
                  <a:lnTo>
                    <a:pt x="11668" y="38672"/>
                  </a:lnTo>
                  <a:lnTo>
                    <a:pt x="12031" y="38854"/>
                  </a:lnTo>
                  <a:lnTo>
                    <a:pt x="12504" y="39036"/>
                  </a:lnTo>
                  <a:lnTo>
                    <a:pt x="13049" y="39217"/>
                  </a:lnTo>
                  <a:lnTo>
                    <a:pt x="13703" y="39399"/>
                  </a:lnTo>
                  <a:lnTo>
                    <a:pt x="14103" y="38382"/>
                  </a:lnTo>
                  <a:lnTo>
                    <a:pt x="14503" y="37364"/>
                  </a:lnTo>
                  <a:lnTo>
                    <a:pt x="14903" y="36273"/>
                  </a:lnTo>
                  <a:lnTo>
                    <a:pt x="15230" y="35183"/>
                  </a:lnTo>
                  <a:lnTo>
                    <a:pt x="15557" y="34093"/>
                  </a:lnTo>
                  <a:lnTo>
                    <a:pt x="15848" y="32930"/>
                  </a:lnTo>
                  <a:lnTo>
                    <a:pt x="16102" y="31767"/>
                  </a:lnTo>
                  <a:lnTo>
                    <a:pt x="16356" y="30604"/>
                  </a:lnTo>
                  <a:lnTo>
                    <a:pt x="16575" y="29404"/>
                  </a:lnTo>
                  <a:lnTo>
                    <a:pt x="16793" y="28205"/>
                  </a:lnTo>
                  <a:lnTo>
                    <a:pt x="16974" y="26969"/>
                  </a:lnTo>
                  <a:lnTo>
                    <a:pt x="17120" y="25733"/>
                  </a:lnTo>
                  <a:lnTo>
                    <a:pt x="17374" y="23225"/>
                  </a:lnTo>
                  <a:lnTo>
                    <a:pt x="17556" y="20681"/>
                  </a:lnTo>
                  <a:lnTo>
                    <a:pt x="17665" y="18137"/>
                  </a:lnTo>
                  <a:lnTo>
                    <a:pt x="17701" y="15556"/>
                  </a:lnTo>
                  <a:lnTo>
                    <a:pt x="17701" y="13049"/>
                  </a:lnTo>
                  <a:lnTo>
                    <a:pt x="17629" y="10541"/>
                  </a:lnTo>
                  <a:lnTo>
                    <a:pt x="17520" y="8106"/>
                  </a:lnTo>
                  <a:lnTo>
                    <a:pt x="17374" y="5707"/>
                  </a:lnTo>
                  <a:lnTo>
                    <a:pt x="17192" y="3381"/>
                  </a:lnTo>
                  <a:lnTo>
                    <a:pt x="16974" y="1164"/>
                  </a:lnTo>
                  <a:lnTo>
                    <a:pt x="16211" y="1127"/>
                  </a:lnTo>
                  <a:lnTo>
                    <a:pt x="15484" y="1054"/>
                  </a:lnTo>
                  <a:lnTo>
                    <a:pt x="14830" y="945"/>
                  </a:lnTo>
                  <a:lnTo>
                    <a:pt x="14285" y="836"/>
                  </a:lnTo>
                  <a:lnTo>
                    <a:pt x="13849" y="691"/>
                  </a:lnTo>
                  <a:lnTo>
                    <a:pt x="13521" y="546"/>
                  </a:lnTo>
                  <a:lnTo>
                    <a:pt x="13412" y="473"/>
                  </a:lnTo>
                  <a:lnTo>
                    <a:pt x="13340" y="364"/>
                  </a:lnTo>
                  <a:lnTo>
                    <a:pt x="13303" y="255"/>
                  </a:lnTo>
                  <a:lnTo>
                    <a:pt x="13267" y="182"/>
                  </a:lnTo>
                  <a:lnTo>
                    <a:pt x="13303" y="0"/>
                  </a:lnTo>
                  <a:close/>
                </a:path>
              </a:pathLst>
            </a:custGeom>
            <a:solidFill>
              <a:srgbClr val="BB750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64" name="Google Shape;2693;p11">
              <a:extLst>
                <a:ext uri="{FF2B5EF4-FFF2-40B4-BE49-F238E27FC236}">
                  <a16:creationId xmlns:a16="http://schemas.microsoft.com/office/drawing/2014/main" id="{AE3727FB-FF0B-F7A9-9489-22CE0FE62344}"/>
                </a:ext>
              </a:extLst>
            </p:cNvPr>
            <p:cNvSpPr/>
            <p:nvPr/>
          </p:nvSpPr>
          <p:spPr>
            <a:xfrm>
              <a:off x="277175" y="3514425"/>
              <a:ext cx="442550" cy="985000"/>
            </a:xfrm>
            <a:custGeom>
              <a:avLst/>
              <a:gdLst/>
              <a:ahLst/>
              <a:cxnLst/>
              <a:rect l="l" t="t" r="r" b="b"/>
              <a:pathLst>
                <a:path w="17702" h="39400" fill="none" extrusionOk="0">
                  <a:moveTo>
                    <a:pt x="13303" y="0"/>
                  </a:moveTo>
                  <a:lnTo>
                    <a:pt x="13303" y="0"/>
                  </a:lnTo>
                  <a:lnTo>
                    <a:pt x="12722" y="1018"/>
                  </a:lnTo>
                  <a:lnTo>
                    <a:pt x="12177" y="2036"/>
                  </a:lnTo>
                  <a:lnTo>
                    <a:pt x="11704" y="3090"/>
                  </a:lnTo>
                  <a:lnTo>
                    <a:pt x="11268" y="4108"/>
                  </a:lnTo>
                  <a:lnTo>
                    <a:pt x="10905" y="5125"/>
                  </a:lnTo>
                  <a:lnTo>
                    <a:pt x="10577" y="6179"/>
                  </a:lnTo>
                  <a:lnTo>
                    <a:pt x="10287" y="7233"/>
                  </a:lnTo>
                  <a:lnTo>
                    <a:pt x="10032" y="8287"/>
                  </a:lnTo>
                  <a:lnTo>
                    <a:pt x="9814" y="9341"/>
                  </a:lnTo>
                  <a:lnTo>
                    <a:pt x="9632" y="10395"/>
                  </a:lnTo>
                  <a:lnTo>
                    <a:pt x="9269" y="12576"/>
                  </a:lnTo>
                  <a:lnTo>
                    <a:pt x="8942" y="14757"/>
                  </a:lnTo>
                  <a:lnTo>
                    <a:pt x="8578" y="16974"/>
                  </a:lnTo>
                  <a:lnTo>
                    <a:pt x="8179" y="19264"/>
                  </a:lnTo>
                  <a:lnTo>
                    <a:pt x="7924" y="20427"/>
                  </a:lnTo>
                  <a:lnTo>
                    <a:pt x="7670" y="21590"/>
                  </a:lnTo>
                  <a:lnTo>
                    <a:pt x="7343" y="22753"/>
                  </a:lnTo>
                  <a:lnTo>
                    <a:pt x="7016" y="23952"/>
                  </a:lnTo>
                  <a:lnTo>
                    <a:pt x="6616" y="25152"/>
                  </a:lnTo>
                  <a:lnTo>
                    <a:pt x="6143" y="26351"/>
                  </a:lnTo>
                  <a:lnTo>
                    <a:pt x="5634" y="27587"/>
                  </a:lnTo>
                  <a:lnTo>
                    <a:pt x="5053" y="28823"/>
                  </a:lnTo>
                  <a:lnTo>
                    <a:pt x="4435" y="30095"/>
                  </a:lnTo>
                  <a:lnTo>
                    <a:pt x="3708" y="31367"/>
                  </a:lnTo>
                  <a:lnTo>
                    <a:pt x="2909" y="32639"/>
                  </a:lnTo>
                  <a:lnTo>
                    <a:pt x="2036" y="33947"/>
                  </a:lnTo>
                  <a:lnTo>
                    <a:pt x="1055" y="35292"/>
                  </a:lnTo>
                  <a:lnTo>
                    <a:pt x="1" y="36601"/>
                  </a:lnTo>
                  <a:lnTo>
                    <a:pt x="1" y="36601"/>
                  </a:lnTo>
                  <a:lnTo>
                    <a:pt x="219" y="36855"/>
                  </a:lnTo>
                  <a:lnTo>
                    <a:pt x="473" y="37073"/>
                  </a:lnTo>
                  <a:lnTo>
                    <a:pt x="728" y="37255"/>
                  </a:lnTo>
                  <a:lnTo>
                    <a:pt x="1019" y="37437"/>
                  </a:lnTo>
                  <a:lnTo>
                    <a:pt x="1346" y="37582"/>
                  </a:lnTo>
                  <a:lnTo>
                    <a:pt x="1709" y="37691"/>
                  </a:lnTo>
                  <a:lnTo>
                    <a:pt x="2436" y="37873"/>
                  </a:lnTo>
                  <a:lnTo>
                    <a:pt x="3199" y="38018"/>
                  </a:lnTo>
                  <a:lnTo>
                    <a:pt x="4035" y="38091"/>
                  </a:lnTo>
                  <a:lnTo>
                    <a:pt x="4908" y="38127"/>
                  </a:lnTo>
                  <a:lnTo>
                    <a:pt x="5780" y="38127"/>
                  </a:lnTo>
                  <a:lnTo>
                    <a:pt x="5780" y="38127"/>
                  </a:lnTo>
                  <a:lnTo>
                    <a:pt x="6798" y="38127"/>
                  </a:lnTo>
                  <a:lnTo>
                    <a:pt x="6798" y="38127"/>
                  </a:lnTo>
                  <a:lnTo>
                    <a:pt x="7815" y="38127"/>
                  </a:lnTo>
                  <a:lnTo>
                    <a:pt x="7815" y="38127"/>
                  </a:lnTo>
                  <a:lnTo>
                    <a:pt x="8942" y="38127"/>
                  </a:lnTo>
                  <a:lnTo>
                    <a:pt x="9487" y="38163"/>
                  </a:lnTo>
                  <a:lnTo>
                    <a:pt x="9996" y="38236"/>
                  </a:lnTo>
                  <a:lnTo>
                    <a:pt x="10468" y="38272"/>
                  </a:lnTo>
                  <a:lnTo>
                    <a:pt x="10905" y="38382"/>
                  </a:lnTo>
                  <a:lnTo>
                    <a:pt x="11304" y="38527"/>
                  </a:lnTo>
                  <a:lnTo>
                    <a:pt x="11668" y="38672"/>
                  </a:lnTo>
                  <a:lnTo>
                    <a:pt x="11668" y="38672"/>
                  </a:lnTo>
                  <a:lnTo>
                    <a:pt x="12031" y="38854"/>
                  </a:lnTo>
                  <a:lnTo>
                    <a:pt x="12504" y="39036"/>
                  </a:lnTo>
                  <a:lnTo>
                    <a:pt x="13049" y="39217"/>
                  </a:lnTo>
                  <a:lnTo>
                    <a:pt x="13703" y="39399"/>
                  </a:lnTo>
                  <a:lnTo>
                    <a:pt x="13703" y="39399"/>
                  </a:lnTo>
                  <a:lnTo>
                    <a:pt x="14103" y="38382"/>
                  </a:lnTo>
                  <a:lnTo>
                    <a:pt x="14503" y="37364"/>
                  </a:lnTo>
                  <a:lnTo>
                    <a:pt x="14903" y="36273"/>
                  </a:lnTo>
                  <a:lnTo>
                    <a:pt x="15230" y="35183"/>
                  </a:lnTo>
                  <a:lnTo>
                    <a:pt x="15557" y="34093"/>
                  </a:lnTo>
                  <a:lnTo>
                    <a:pt x="15848" y="32930"/>
                  </a:lnTo>
                  <a:lnTo>
                    <a:pt x="16102" y="31767"/>
                  </a:lnTo>
                  <a:lnTo>
                    <a:pt x="16356" y="30604"/>
                  </a:lnTo>
                  <a:lnTo>
                    <a:pt x="16575" y="29404"/>
                  </a:lnTo>
                  <a:lnTo>
                    <a:pt x="16793" y="28205"/>
                  </a:lnTo>
                  <a:lnTo>
                    <a:pt x="16974" y="26969"/>
                  </a:lnTo>
                  <a:lnTo>
                    <a:pt x="17120" y="25733"/>
                  </a:lnTo>
                  <a:lnTo>
                    <a:pt x="17374" y="23225"/>
                  </a:lnTo>
                  <a:lnTo>
                    <a:pt x="17556" y="20681"/>
                  </a:lnTo>
                  <a:lnTo>
                    <a:pt x="17665" y="18137"/>
                  </a:lnTo>
                  <a:lnTo>
                    <a:pt x="17701" y="15556"/>
                  </a:lnTo>
                  <a:lnTo>
                    <a:pt x="17701" y="13049"/>
                  </a:lnTo>
                  <a:lnTo>
                    <a:pt x="17629" y="10541"/>
                  </a:lnTo>
                  <a:lnTo>
                    <a:pt x="17520" y="8106"/>
                  </a:lnTo>
                  <a:lnTo>
                    <a:pt x="17374" y="5707"/>
                  </a:lnTo>
                  <a:lnTo>
                    <a:pt x="17192" y="3381"/>
                  </a:lnTo>
                  <a:lnTo>
                    <a:pt x="16974" y="1164"/>
                  </a:lnTo>
                  <a:lnTo>
                    <a:pt x="16974" y="1164"/>
                  </a:lnTo>
                  <a:lnTo>
                    <a:pt x="16974" y="1164"/>
                  </a:lnTo>
                  <a:lnTo>
                    <a:pt x="16211" y="1127"/>
                  </a:lnTo>
                  <a:lnTo>
                    <a:pt x="15484" y="1054"/>
                  </a:lnTo>
                  <a:lnTo>
                    <a:pt x="14830" y="945"/>
                  </a:lnTo>
                  <a:lnTo>
                    <a:pt x="14285" y="836"/>
                  </a:lnTo>
                  <a:lnTo>
                    <a:pt x="13849" y="691"/>
                  </a:lnTo>
                  <a:lnTo>
                    <a:pt x="13521" y="546"/>
                  </a:lnTo>
                  <a:lnTo>
                    <a:pt x="13412" y="473"/>
                  </a:lnTo>
                  <a:lnTo>
                    <a:pt x="13340" y="364"/>
                  </a:lnTo>
                  <a:lnTo>
                    <a:pt x="13303" y="255"/>
                  </a:lnTo>
                  <a:lnTo>
                    <a:pt x="13267" y="182"/>
                  </a:lnTo>
                  <a:lnTo>
                    <a:pt x="13267" y="182"/>
                  </a:lnTo>
                  <a:lnTo>
                    <a:pt x="13267" y="182"/>
                  </a:lnTo>
                  <a:lnTo>
                    <a:pt x="13267" y="182"/>
                  </a:lnTo>
                  <a:lnTo>
                    <a:pt x="13267" y="182"/>
                  </a:lnTo>
                  <a:lnTo>
                    <a:pt x="13267" y="182"/>
                  </a:lnTo>
                  <a:lnTo>
                    <a:pt x="13303"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65" name="Google Shape;2694;p11">
              <a:extLst>
                <a:ext uri="{FF2B5EF4-FFF2-40B4-BE49-F238E27FC236}">
                  <a16:creationId xmlns:a16="http://schemas.microsoft.com/office/drawing/2014/main" id="{1411E310-4A0E-506D-9AD4-4DE050F4F2C1}"/>
                </a:ext>
              </a:extLst>
            </p:cNvPr>
            <p:cNvSpPr/>
            <p:nvPr/>
          </p:nvSpPr>
          <p:spPr>
            <a:xfrm>
              <a:off x="608850" y="3416300"/>
              <a:ext cx="48175" cy="102700"/>
            </a:xfrm>
            <a:custGeom>
              <a:avLst/>
              <a:gdLst/>
              <a:ahLst/>
              <a:cxnLst/>
              <a:rect l="l" t="t" r="r" b="b"/>
              <a:pathLst>
                <a:path w="1927" h="4108" extrusionOk="0">
                  <a:moveTo>
                    <a:pt x="0" y="4107"/>
                  </a:moveTo>
                  <a:lnTo>
                    <a:pt x="0" y="4107"/>
                  </a:lnTo>
                  <a:lnTo>
                    <a:pt x="0" y="4107"/>
                  </a:lnTo>
                  <a:lnTo>
                    <a:pt x="0" y="4107"/>
                  </a:lnTo>
                  <a:lnTo>
                    <a:pt x="0" y="4107"/>
                  </a:lnTo>
                  <a:close/>
                  <a:moveTo>
                    <a:pt x="1926" y="0"/>
                  </a:moveTo>
                  <a:lnTo>
                    <a:pt x="1926" y="0"/>
                  </a:lnTo>
                  <a:lnTo>
                    <a:pt x="1926" y="0"/>
                  </a:lnTo>
                  <a:lnTo>
                    <a:pt x="1563" y="1090"/>
                  </a:lnTo>
                  <a:lnTo>
                    <a:pt x="1127" y="2072"/>
                  </a:lnTo>
                  <a:lnTo>
                    <a:pt x="909" y="2544"/>
                  </a:lnTo>
                  <a:lnTo>
                    <a:pt x="654" y="3017"/>
                  </a:lnTo>
                  <a:lnTo>
                    <a:pt x="364" y="3453"/>
                  </a:lnTo>
                  <a:lnTo>
                    <a:pt x="109" y="3853"/>
                  </a:lnTo>
                  <a:lnTo>
                    <a:pt x="109" y="3853"/>
                  </a:lnTo>
                  <a:lnTo>
                    <a:pt x="36" y="3925"/>
                  </a:lnTo>
                  <a:lnTo>
                    <a:pt x="36" y="3925"/>
                  </a:lnTo>
                  <a:lnTo>
                    <a:pt x="36" y="3925"/>
                  </a:lnTo>
                  <a:lnTo>
                    <a:pt x="36" y="3925"/>
                  </a:lnTo>
                  <a:lnTo>
                    <a:pt x="36" y="3925"/>
                  </a:lnTo>
                  <a:lnTo>
                    <a:pt x="0" y="4107"/>
                  </a:lnTo>
                  <a:lnTo>
                    <a:pt x="0" y="4107"/>
                  </a:lnTo>
                  <a:lnTo>
                    <a:pt x="36" y="3925"/>
                  </a:lnTo>
                  <a:lnTo>
                    <a:pt x="36" y="3925"/>
                  </a:lnTo>
                  <a:lnTo>
                    <a:pt x="109" y="3853"/>
                  </a:lnTo>
                  <a:lnTo>
                    <a:pt x="109" y="3853"/>
                  </a:lnTo>
                  <a:lnTo>
                    <a:pt x="364" y="3453"/>
                  </a:lnTo>
                  <a:lnTo>
                    <a:pt x="654" y="3017"/>
                  </a:lnTo>
                  <a:lnTo>
                    <a:pt x="909" y="2544"/>
                  </a:lnTo>
                  <a:lnTo>
                    <a:pt x="1127" y="2072"/>
                  </a:lnTo>
                  <a:lnTo>
                    <a:pt x="1563" y="1090"/>
                  </a:lnTo>
                  <a:lnTo>
                    <a:pt x="1926" y="0"/>
                  </a:lnTo>
                  <a:close/>
                </a:path>
              </a:pathLst>
            </a:custGeom>
            <a:solidFill>
              <a:srgbClr val="B9561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66" name="Google Shape;2695;p11">
              <a:extLst>
                <a:ext uri="{FF2B5EF4-FFF2-40B4-BE49-F238E27FC236}">
                  <a16:creationId xmlns:a16="http://schemas.microsoft.com/office/drawing/2014/main" id="{70F8BBED-4EFA-57FF-CD81-5EDD81258695}"/>
                </a:ext>
              </a:extLst>
            </p:cNvPr>
            <p:cNvSpPr/>
            <p:nvPr/>
          </p:nvSpPr>
          <p:spPr>
            <a:xfrm>
              <a:off x="608850" y="3518975"/>
              <a:ext cx="25" cy="25"/>
            </a:xfrm>
            <a:custGeom>
              <a:avLst/>
              <a:gdLst/>
              <a:ahLst/>
              <a:cxnLst/>
              <a:rect l="l" t="t" r="r" b="b"/>
              <a:pathLst>
                <a:path w="1" h="1" fill="none" extrusionOk="0">
                  <a:moveTo>
                    <a:pt x="0" y="0"/>
                  </a:moveTo>
                  <a:lnTo>
                    <a:pt x="0" y="0"/>
                  </a:lnTo>
                  <a:lnTo>
                    <a:pt x="0" y="0"/>
                  </a:lnTo>
                  <a:lnTo>
                    <a:pt x="0" y="0"/>
                  </a:lnTo>
                  <a:lnTo>
                    <a:pt x="0"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67" name="Google Shape;2696;p11">
              <a:extLst>
                <a:ext uri="{FF2B5EF4-FFF2-40B4-BE49-F238E27FC236}">
                  <a16:creationId xmlns:a16="http://schemas.microsoft.com/office/drawing/2014/main" id="{9FDBDCCA-99F2-7491-5EDB-A6158572A396}"/>
                </a:ext>
              </a:extLst>
            </p:cNvPr>
            <p:cNvSpPr/>
            <p:nvPr/>
          </p:nvSpPr>
          <p:spPr>
            <a:xfrm>
              <a:off x="608850" y="3416300"/>
              <a:ext cx="48175" cy="102700"/>
            </a:xfrm>
            <a:custGeom>
              <a:avLst/>
              <a:gdLst/>
              <a:ahLst/>
              <a:cxnLst/>
              <a:rect l="l" t="t" r="r" b="b"/>
              <a:pathLst>
                <a:path w="1927" h="4108" fill="none" extrusionOk="0">
                  <a:moveTo>
                    <a:pt x="1926" y="0"/>
                  </a:moveTo>
                  <a:lnTo>
                    <a:pt x="1926" y="0"/>
                  </a:lnTo>
                  <a:lnTo>
                    <a:pt x="1926" y="0"/>
                  </a:lnTo>
                  <a:lnTo>
                    <a:pt x="1563" y="1090"/>
                  </a:lnTo>
                  <a:lnTo>
                    <a:pt x="1127" y="2072"/>
                  </a:lnTo>
                  <a:lnTo>
                    <a:pt x="909" y="2544"/>
                  </a:lnTo>
                  <a:lnTo>
                    <a:pt x="654" y="3017"/>
                  </a:lnTo>
                  <a:lnTo>
                    <a:pt x="364" y="3453"/>
                  </a:lnTo>
                  <a:lnTo>
                    <a:pt x="109" y="3853"/>
                  </a:lnTo>
                  <a:lnTo>
                    <a:pt x="109" y="3853"/>
                  </a:lnTo>
                  <a:lnTo>
                    <a:pt x="36" y="3925"/>
                  </a:lnTo>
                  <a:lnTo>
                    <a:pt x="36" y="3925"/>
                  </a:lnTo>
                  <a:lnTo>
                    <a:pt x="36" y="3925"/>
                  </a:lnTo>
                  <a:lnTo>
                    <a:pt x="36" y="3925"/>
                  </a:lnTo>
                  <a:lnTo>
                    <a:pt x="36" y="3925"/>
                  </a:lnTo>
                  <a:lnTo>
                    <a:pt x="0" y="4107"/>
                  </a:lnTo>
                  <a:lnTo>
                    <a:pt x="0" y="4107"/>
                  </a:lnTo>
                  <a:lnTo>
                    <a:pt x="36" y="3925"/>
                  </a:lnTo>
                  <a:lnTo>
                    <a:pt x="36" y="3925"/>
                  </a:lnTo>
                  <a:lnTo>
                    <a:pt x="109" y="3853"/>
                  </a:lnTo>
                  <a:lnTo>
                    <a:pt x="109" y="3853"/>
                  </a:lnTo>
                  <a:lnTo>
                    <a:pt x="364" y="3453"/>
                  </a:lnTo>
                  <a:lnTo>
                    <a:pt x="654" y="3017"/>
                  </a:lnTo>
                  <a:lnTo>
                    <a:pt x="909" y="2544"/>
                  </a:lnTo>
                  <a:lnTo>
                    <a:pt x="1127" y="2072"/>
                  </a:lnTo>
                  <a:lnTo>
                    <a:pt x="1563" y="1090"/>
                  </a:lnTo>
                  <a:lnTo>
                    <a:pt x="1926"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68" name="Google Shape;2697;p11">
              <a:extLst>
                <a:ext uri="{FF2B5EF4-FFF2-40B4-BE49-F238E27FC236}">
                  <a16:creationId xmlns:a16="http://schemas.microsoft.com/office/drawing/2014/main" id="{AA6FF98B-13F5-F731-D1A8-9581DB390F2F}"/>
                </a:ext>
              </a:extLst>
            </p:cNvPr>
            <p:cNvSpPr/>
            <p:nvPr/>
          </p:nvSpPr>
          <p:spPr>
            <a:xfrm>
              <a:off x="608850" y="3330875"/>
              <a:ext cx="92700" cy="212650"/>
            </a:xfrm>
            <a:custGeom>
              <a:avLst/>
              <a:gdLst/>
              <a:ahLst/>
              <a:cxnLst/>
              <a:rect l="l" t="t" r="r" b="b"/>
              <a:pathLst>
                <a:path w="3708" h="8506" extrusionOk="0">
                  <a:moveTo>
                    <a:pt x="2581" y="1"/>
                  </a:moveTo>
                  <a:lnTo>
                    <a:pt x="2472" y="873"/>
                  </a:lnTo>
                  <a:lnTo>
                    <a:pt x="2326" y="1745"/>
                  </a:lnTo>
                  <a:lnTo>
                    <a:pt x="2144" y="2618"/>
                  </a:lnTo>
                  <a:lnTo>
                    <a:pt x="1926" y="3417"/>
                  </a:lnTo>
                  <a:lnTo>
                    <a:pt x="1563" y="4507"/>
                  </a:lnTo>
                  <a:lnTo>
                    <a:pt x="1127" y="5489"/>
                  </a:lnTo>
                  <a:lnTo>
                    <a:pt x="909" y="5961"/>
                  </a:lnTo>
                  <a:lnTo>
                    <a:pt x="654" y="6434"/>
                  </a:lnTo>
                  <a:lnTo>
                    <a:pt x="364" y="6870"/>
                  </a:lnTo>
                  <a:lnTo>
                    <a:pt x="109" y="7270"/>
                  </a:lnTo>
                  <a:lnTo>
                    <a:pt x="36" y="7342"/>
                  </a:lnTo>
                  <a:lnTo>
                    <a:pt x="0" y="7524"/>
                  </a:lnTo>
                  <a:lnTo>
                    <a:pt x="36" y="7597"/>
                  </a:lnTo>
                  <a:lnTo>
                    <a:pt x="73" y="7706"/>
                  </a:lnTo>
                  <a:lnTo>
                    <a:pt x="145" y="7815"/>
                  </a:lnTo>
                  <a:lnTo>
                    <a:pt x="254" y="7888"/>
                  </a:lnTo>
                  <a:lnTo>
                    <a:pt x="582" y="8033"/>
                  </a:lnTo>
                  <a:lnTo>
                    <a:pt x="1018" y="8178"/>
                  </a:lnTo>
                  <a:lnTo>
                    <a:pt x="1563" y="8287"/>
                  </a:lnTo>
                  <a:lnTo>
                    <a:pt x="2217" y="8396"/>
                  </a:lnTo>
                  <a:lnTo>
                    <a:pt x="2944" y="8469"/>
                  </a:lnTo>
                  <a:lnTo>
                    <a:pt x="3707" y="8506"/>
                  </a:lnTo>
                  <a:lnTo>
                    <a:pt x="3526" y="6652"/>
                  </a:lnTo>
                  <a:lnTo>
                    <a:pt x="3308" y="4835"/>
                  </a:lnTo>
                  <a:lnTo>
                    <a:pt x="2944" y="2254"/>
                  </a:lnTo>
                  <a:lnTo>
                    <a:pt x="2581" y="1"/>
                  </a:lnTo>
                  <a:close/>
                </a:path>
              </a:pathLst>
            </a:custGeom>
            <a:solidFill>
              <a:srgbClr val="B95611"/>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69" name="Google Shape;2698;p11">
              <a:extLst>
                <a:ext uri="{FF2B5EF4-FFF2-40B4-BE49-F238E27FC236}">
                  <a16:creationId xmlns:a16="http://schemas.microsoft.com/office/drawing/2014/main" id="{8EC42C3C-3B81-981A-7FE1-95B4135E78A0}"/>
                </a:ext>
              </a:extLst>
            </p:cNvPr>
            <p:cNvSpPr/>
            <p:nvPr/>
          </p:nvSpPr>
          <p:spPr>
            <a:xfrm>
              <a:off x="608850" y="3330875"/>
              <a:ext cx="92700" cy="212650"/>
            </a:xfrm>
            <a:custGeom>
              <a:avLst/>
              <a:gdLst/>
              <a:ahLst/>
              <a:cxnLst/>
              <a:rect l="l" t="t" r="r" b="b"/>
              <a:pathLst>
                <a:path w="3708" h="8506" fill="none" extrusionOk="0">
                  <a:moveTo>
                    <a:pt x="2581" y="1"/>
                  </a:moveTo>
                  <a:lnTo>
                    <a:pt x="2581" y="1"/>
                  </a:lnTo>
                  <a:lnTo>
                    <a:pt x="2581" y="1"/>
                  </a:lnTo>
                  <a:lnTo>
                    <a:pt x="2472" y="873"/>
                  </a:lnTo>
                  <a:lnTo>
                    <a:pt x="2326" y="1745"/>
                  </a:lnTo>
                  <a:lnTo>
                    <a:pt x="2144" y="2618"/>
                  </a:lnTo>
                  <a:lnTo>
                    <a:pt x="1926" y="3417"/>
                  </a:lnTo>
                  <a:lnTo>
                    <a:pt x="1926" y="3417"/>
                  </a:lnTo>
                  <a:lnTo>
                    <a:pt x="1563" y="4507"/>
                  </a:lnTo>
                  <a:lnTo>
                    <a:pt x="1127" y="5489"/>
                  </a:lnTo>
                  <a:lnTo>
                    <a:pt x="909" y="5961"/>
                  </a:lnTo>
                  <a:lnTo>
                    <a:pt x="654" y="6434"/>
                  </a:lnTo>
                  <a:lnTo>
                    <a:pt x="364" y="6870"/>
                  </a:lnTo>
                  <a:lnTo>
                    <a:pt x="109" y="7270"/>
                  </a:lnTo>
                  <a:lnTo>
                    <a:pt x="109" y="7270"/>
                  </a:lnTo>
                  <a:lnTo>
                    <a:pt x="36" y="7342"/>
                  </a:lnTo>
                  <a:lnTo>
                    <a:pt x="36" y="7342"/>
                  </a:lnTo>
                  <a:lnTo>
                    <a:pt x="0" y="7524"/>
                  </a:lnTo>
                  <a:lnTo>
                    <a:pt x="0" y="7524"/>
                  </a:lnTo>
                  <a:lnTo>
                    <a:pt x="0" y="7524"/>
                  </a:lnTo>
                  <a:lnTo>
                    <a:pt x="0" y="7524"/>
                  </a:lnTo>
                  <a:lnTo>
                    <a:pt x="0" y="7524"/>
                  </a:lnTo>
                  <a:lnTo>
                    <a:pt x="0" y="7524"/>
                  </a:lnTo>
                  <a:lnTo>
                    <a:pt x="36" y="7597"/>
                  </a:lnTo>
                  <a:lnTo>
                    <a:pt x="73" y="7706"/>
                  </a:lnTo>
                  <a:lnTo>
                    <a:pt x="145" y="7815"/>
                  </a:lnTo>
                  <a:lnTo>
                    <a:pt x="254" y="7888"/>
                  </a:lnTo>
                  <a:lnTo>
                    <a:pt x="582" y="8033"/>
                  </a:lnTo>
                  <a:lnTo>
                    <a:pt x="1018" y="8178"/>
                  </a:lnTo>
                  <a:lnTo>
                    <a:pt x="1563" y="8287"/>
                  </a:lnTo>
                  <a:lnTo>
                    <a:pt x="2217" y="8396"/>
                  </a:lnTo>
                  <a:lnTo>
                    <a:pt x="2944" y="8469"/>
                  </a:lnTo>
                  <a:lnTo>
                    <a:pt x="3707" y="8506"/>
                  </a:lnTo>
                  <a:lnTo>
                    <a:pt x="3707" y="8506"/>
                  </a:lnTo>
                  <a:lnTo>
                    <a:pt x="3707" y="8506"/>
                  </a:lnTo>
                  <a:lnTo>
                    <a:pt x="3707" y="8506"/>
                  </a:lnTo>
                  <a:lnTo>
                    <a:pt x="3526" y="6652"/>
                  </a:lnTo>
                  <a:lnTo>
                    <a:pt x="3308" y="4835"/>
                  </a:lnTo>
                  <a:lnTo>
                    <a:pt x="3308" y="4835"/>
                  </a:lnTo>
                  <a:lnTo>
                    <a:pt x="2944" y="2254"/>
                  </a:lnTo>
                  <a:lnTo>
                    <a:pt x="2581"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70" name="Google Shape;2699;p11">
              <a:extLst>
                <a:ext uri="{FF2B5EF4-FFF2-40B4-BE49-F238E27FC236}">
                  <a16:creationId xmlns:a16="http://schemas.microsoft.com/office/drawing/2014/main" id="{62344557-338E-5FD8-74C6-41E95F4489EF}"/>
                </a:ext>
              </a:extLst>
            </p:cNvPr>
            <p:cNvSpPr/>
            <p:nvPr/>
          </p:nvSpPr>
          <p:spPr>
            <a:xfrm>
              <a:off x="712425" y="2539450"/>
              <a:ext cx="203550" cy="181750"/>
            </a:xfrm>
            <a:custGeom>
              <a:avLst/>
              <a:gdLst/>
              <a:ahLst/>
              <a:cxnLst/>
              <a:rect l="l" t="t" r="r" b="b"/>
              <a:pathLst>
                <a:path w="8142" h="7270" extrusionOk="0">
                  <a:moveTo>
                    <a:pt x="4943" y="1"/>
                  </a:moveTo>
                  <a:lnTo>
                    <a:pt x="0" y="1382"/>
                  </a:lnTo>
                  <a:lnTo>
                    <a:pt x="473" y="2290"/>
                  </a:lnTo>
                  <a:lnTo>
                    <a:pt x="1672" y="4871"/>
                  </a:lnTo>
                  <a:lnTo>
                    <a:pt x="1890" y="5271"/>
                  </a:lnTo>
                  <a:lnTo>
                    <a:pt x="2109" y="5598"/>
                  </a:lnTo>
                  <a:lnTo>
                    <a:pt x="2399" y="5925"/>
                  </a:lnTo>
                  <a:lnTo>
                    <a:pt x="2654" y="6216"/>
                  </a:lnTo>
                  <a:lnTo>
                    <a:pt x="2944" y="6434"/>
                  </a:lnTo>
                  <a:lnTo>
                    <a:pt x="3272" y="6652"/>
                  </a:lnTo>
                  <a:lnTo>
                    <a:pt x="3599" y="6833"/>
                  </a:lnTo>
                  <a:lnTo>
                    <a:pt x="3962" y="6979"/>
                  </a:lnTo>
                  <a:lnTo>
                    <a:pt x="4326" y="7088"/>
                  </a:lnTo>
                  <a:lnTo>
                    <a:pt x="4725" y="7161"/>
                  </a:lnTo>
                  <a:lnTo>
                    <a:pt x="5125" y="7233"/>
                  </a:lnTo>
                  <a:lnTo>
                    <a:pt x="5525" y="7270"/>
                  </a:lnTo>
                  <a:lnTo>
                    <a:pt x="6361" y="7270"/>
                  </a:lnTo>
                  <a:lnTo>
                    <a:pt x="7233" y="7233"/>
                  </a:lnTo>
                  <a:lnTo>
                    <a:pt x="7415" y="7197"/>
                  </a:lnTo>
                  <a:lnTo>
                    <a:pt x="7597" y="7124"/>
                  </a:lnTo>
                  <a:lnTo>
                    <a:pt x="7742" y="7052"/>
                  </a:lnTo>
                  <a:lnTo>
                    <a:pt x="7887" y="6979"/>
                  </a:lnTo>
                  <a:lnTo>
                    <a:pt x="7960" y="6870"/>
                  </a:lnTo>
                  <a:lnTo>
                    <a:pt x="8033" y="6724"/>
                  </a:lnTo>
                  <a:lnTo>
                    <a:pt x="8106" y="6615"/>
                  </a:lnTo>
                  <a:lnTo>
                    <a:pt x="8142" y="6470"/>
                  </a:lnTo>
                  <a:lnTo>
                    <a:pt x="8142" y="6143"/>
                  </a:lnTo>
                  <a:lnTo>
                    <a:pt x="8106" y="5816"/>
                  </a:lnTo>
                  <a:lnTo>
                    <a:pt x="7997" y="5416"/>
                  </a:lnTo>
                  <a:lnTo>
                    <a:pt x="7887" y="5053"/>
                  </a:lnTo>
                  <a:lnTo>
                    <a:pt x="7560" y="4289"/>
                  </a:lnTo>
                  <a:lnTo>
                    <a:pt x="7306" y="3599"/>
                  </a:lnTo>
                  <a:lnTo>
                    <a:pt x="7197" y="3344"/>
                  </a:lnTo>
                  <a:lnTo>
                    <a:pt x="7124" y="3090"/>
                  </a:lnTo>
                  <a:lnTo>
                    <a:pt x="7124" y="2908"/>
                  </a:lnTo>
                  <a:lnTo>
                    <a:pt x="7124" y="2872"/>
                  </a:lnTo>
                  <a:lnTo>
                    <a:pt x="7161" y="2799"/>
                  </a:lnTo>
                  <a:lnTo>
                    <a:pt x="7270" y="2726"/>
                  </a:lnTo>
                  <a:lnTo>
                    <a:pt x="7306" y="2617"/>
                  </a:lnTo>
                  <a:lnTo>
                    <a:pt x="7342" y="2545"/>
                  </a:lnTo>
                  <a:lnTo>
                    <a:pt x="7306" y="2436"/>
                  </a:lnTo>
                  <a:lnTo>
                    <a:pt x="7233" y="2327"/>
                  </a:lnTo>
                  <a:lnTo>
                    <a:pt x="7124" y="2181"/>
                  </a:lnTo>
                  <a:lnTo>
                    <a:pt x="6833" y="1927"/>
                  </a:lnTo>
                  <a:lnTo>
                    <a:pt x="5998" y="1164"/>
                  </a:lnTo>
                  <a:lnTo>
                    <a:pt x="5489" y="618"/>
                  </a:lnTo>
                  <a:lnTo>
                    <a:pt x="4943" y="1"/>
                  </a:lnTo>
                  <a:close/>
                </a:path>
              </a:pathLst>
            </a:custGeom>
            <a:solidFill>
              <a:srgbClr val="F5B1B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71" name="Google Shape;2700;p11">
              <a:extLst>
                <a:ext uri="{FF2B5EF4-FFF2-40B4-BE49-F238E27FC236}">
                  <a16:creationId xmlns:a16="http://schemas.microsoft.com/office/drawing/2014/main" id="{3D89A988-8293-529F-5389-E74C0D06DFDF}"/>
                </a:ext>
              </a:extLst>
            </p:cNvPr>
            <p:cNvSpPr/>
            <p:nvPr/>
          </p:nvSpPr>
          <p:spPr>
            <a:xfrm>
              <a:off x="274450" y="2480400"/>
              <a:ext cx="574300" cy="476150"/>
            </a:xfrm>
            <a:custGeom>
              <a:avLst/>
              <a:gdLst/>
              <a:ahLst/>
              <a:cxnLst/>
              <a:rect l="l" t="t" r="r" b="b"/>
              <a:pathLst>
                <a:path w="22972" h="19046" extrusionOk="0">
                  <a:moveTo>
                    <a:pt x="19046" y="0"/>
                  </a:moveTo>
                  <a:lnTo>
                    <a:pt x="18610" y="36"/>
                  </a:lnTo>
                  <a:lnTo>
                    <a:pt x="18137" y="36"/>
                  </a:lnTo>
                  <a:lnTo>
                    <a:pt x="17665" y="109"/>
                  </a:lnTo>
                  <a:lnTo>
                    <a:pt x="17120" y="218"/>
                  </a:lnTo>
                  <a:lnTo>
                    <a:pt x="16756" y="291"/>
                  </a:lnTo>
                  <a:lnTo>
                    <a:pt x="16393" y="436"/>
                  </a:lnTo>
                  <a:lnTo>
                    <a:pt x="16066" y="582"/>
                  </a:lnTo>
                  <a:lnTo>
                    <a:pt x="15775" y="763"/>
                  </a:lnTo>
                  <a:lnTo>
                    <a:pt x="15484" y="981"/>
                  </a:lnTo>
                  <a:lnTo>
                    <a:pt x="15230" y="1199"/>
                  </a:lnTo>
                  <a:lnTo>
                    <a:pt x="14975" y="1454"/>
                  </a:lnTo>
                  <a:lnTo>
                    <a:pt x="14757" y="1745"/>
                  </a:lnTo>
                  <a:lnTo>
                    <a:pt x="14539" y="1999"/>
                  </a:lnTo>
                  <a:lnTo>
                    <a:pt x="14321" y="2326"/>
                  </a:lnTo>
                  <a:lnTo>
                    <a:pt x="13994" y="2944"/>
                  </a:lnTo>
                  <a:lnTo>
                    <a:pt x="13667" y="3598"/>
                  </a:lnTo>
                  <a:lnTo>
                    <a:pt x="13449" y="4289"/>
                  </a:lnTo>
                  <a:lnTo>
                    <a:pt x="13231" y="4943"/>
                  </a:lnTo>
                  <a:lnTo>
                    <a:pt x="13049" y="5597"/>
                  </a:lnTo>
                  <a:lnTo>
                    <a:pt x="12722" y="6833"/>
                  </a:lnTo>
                  <a:lnTo>
                    <a:pt x="12576" y="7342"/>
                  </a:lnTo>
                  <a:lnTo>
                    <a:pt x="12431" y="7742"/>
                  </a:lnTo>
                  <a:lnTo>
                    <a:pt x="12286" y="8069"/>
                  </a:lnTo>
                  <a:lnTo>
                    <a:pt x="12213" y="8214"/>
                  </a:lnTo>
                  <a:lnTo>
                    <a:pt x="12140" y="8287"/>
                  </a:lnTo>
                  <a:lnTo>
                    <a:pt x="11777" y="8541"/>
                  </a:lnTo>
                  <a:lnTo>
                    <a:pt x="11450" y="8687"/>
                  </a:lnTo>
                  <a:lnTo>
                    <a:pt x="11086" y="8759"/>
                  </a:lnTo>
                  <a:lnTo>
                    <a:pt x="10650" y="8796"/>
                  </a:lnTo>
                  <a:lnTo>
                    <a:pt x="10105" y="8832"/>
                  </a:lnTo>
                  <a:lnTo>
                    <a:pt x="9414" y="8941"/>
                  </a:lnTo>
                  <a:lnTo>
                    <a:pt x="8506" y="9159"/>
                  </a:lnTo>
                  <a:lnTo>
                    <a:pt x="7379" y="9486"/>
                  </a:lnTo>
                  <a:lnTo>
                    <a:pt x="6797" y="9704"/>
                  </a:lnTo>
                  <a:lnTo>
                    <a:pt x="6361" y="9959"/>
                  </a:lnTo>
                  <a:lnTo>
                    <a:pt x="6034" y="10213"/>
                  </a:lnTo>
                  <a:lnTo>
                    <a:pt x="5780" y="10504"/>
                  </a:lnTo>
                  <a:lnTo>
                    <a:pt x="5598" y="10795"/>
                  </a:lnTo>
                  <a:lnTo>
                    <a:pt x="5489" y="11085"/>
                  </a:lnTo>
                  <a:lnTo>
                    <a:pt x="5453" y="11413"/>
                  </a:lnTo>
                  <a:lnTo>
                    <a:pt x="5416" y="11703"/>
                  </a:lnTo>
                  <a:lnTo>
                    <a:pt x="5489" y="12285"/>
                  </a:lnTo>
                  <a:lnTo>
                    <a:pt x="5525" y="12830"/>
                  </a:lnTo>
                  <a:lnTo>
                    <a:pt x="5525" y="13084"/>
                  </a:lnTo>
                  <a:lnTo>
                    <a:pt x="5489" y="13303"/>
                  </a:lnTo>
                  <a:lnTo>
                    <a:pt x="5380" y="13484"/>
                  </a:lnTo>
                  <a:lnTo>
                    <a:pt x="5235" y="13630"/>
                  </a:lnTo>
                  <a:lnTo>
                    <a:pt x="5053" y="13739"/>
                  </a:lnTo>
                  <a:lnTo>
                    <a:pt x="4871" y="13811"/>
                  </a:lnTo>
                  <a:lnTo>
                    <a:pt x="4580" y="13920"/>
                  </a:lnTo>
                  <a:lnTo>
                    <a:pt x="4253" y="13957"/>
                  </a:lnTo>
                  <a:lnTo>
                    <a:pt x="3926" y="13920"/>
                  </a:lnTo>
                  <a:lnTo>
                    <a:pt x="3563" y="13957"/>
                  </a:lnTo>
                  <a:lnTo>
                    <a:pt x="3199" y="13993"/>
                  </a:lnTo>
                  <a:lnTo>
                    <a:pt x="2836" y="14102"/>
                  </a:lnTo>
                  <a:lnTo>
                    <a:pt x="2618" y="14211"/>
                  </a:lnTo>
                  <a:lnTo>
                    <a:pt x="2400" y="14320"/>
                  </a:lnTo>
                  <a:lnTo>
                    <a:pt x="1927" y="14684"/>
                  </a:lnTo>
                  <a:lnTo>
                    <a:pt x="1455" y="15084"/>
                  </a:lnTo>
                  <a:lnTo>
                    <a:pt x="1019" y="15556"/>
                  </a:lnTo>
                  <a:lnTo>
                    <a:pt x="655" y="16028"/>
                  </a:lnTo>
                  <a:lnTo>
                    <a:pt x="328" y="16537"/>
                  </a:lnTo>
                  <a:lnTo>
                    <a:pt x="110" y="17010"/>
                  </a:lnTo>
                  <a:lnTo>
                    <a:pt x="37" y="17228"/>
                  </a:lnTo>
                  <a:lnTo>
                    <a:pt x="1" y="17410"/>
                  </a:lnTo>
                  <a:lnTo>
                    <a:pt x="1" y="17591"/>
                  </a:lnTo>
                  <a:lnTo>
                    <a:pt x="37" y="17773"/>
                  </a:lnTo>
                  <a:lnTo>
                    <a:pt x="183" y="17991"/>
                  </a:lnTo>
                  <a:lnTo>
                    <a:pt x="364" y="18173"/>
                  </a:lnTo>
                  <a:lnTo>
                    <a:pt x="619" y="18355"/>
                  </a:lnTo>
                  <a:lnTo>
                    <a:pt x="946" y="18500"/>
                  </a:lnTo>
                  <a:lnTo>
                    <a:pt x="1309" y="18645"/>
                  </a:lnTo>
                  <a:lnTo>
                    <a:pt x="1745" y="18754"/>
                  </a:lnTo>
                  <a:lnTo>
                    <a:pt x="2254" y="18863"/>
                  </a:lnTo>
                  <a:lnTo>
                    <a:pt x="2763" y="18936"/>
                  </a:lnTo>
                  <a:lnTo>
                    <a:pt x="3345" y="19009"/>
                  </a:lnTo>
                  <a:lnTo>
                    <a:pt x="3963" y="19045"/>
                  </a:lnTo>
                  <a:lnTo>
                    <a:pt x="5307" y="19045"/>
                  </a:lnTo>
                  <a:lnTo>
                    <a:pt x="5998" y="19009"/>
                  </a:lnTo>
                  <a:lnTo>
                    <a:pt x="6725" y="18936"/>
                  </a:lnTo>
                  <a:lnTo>
                    <a:pt x="7488" y="18863"/>
                  </a:lnTo>
                  <a:lnTo>
                    <a:pt x="8251" y="18754"/>
                  </a:lnTo>
                  <a:lnTo>
                    <a:pt x="9015" y="18609"/>
                  </a:lnTo>
                  <a:lnTo>
                    <a:pt x="9814" y="18427"/>
                  </a:lnTo>
                  <a:lnTo>
                    <a:pt x="10614" y="18246"/>
                  </a:lnTo>
                  <a:lnTo>
                    <a:pt x="11377" y="18028"/>
                  </a:lnTo>
                  <a:lnTo>
                    <a:pt x="12177" y="17773"/>
                  </a:lnTo>
                  <a:lnTo>
                    <a:pt x="12940" y="17482"/>
                  </a:lnTo>
                  <a:lnTo>
                    <a:pt x="13703" y="17155"/>
                  </a:lnTo>
                  <a:lnTo>
                    <a:pt x="14466" y="16828"/>
                  </a:lnTo>
                  <a:lnTo>
                    <a:pt x="15193" y="16465"/>
                  </a:lnTo>
                  <a:lnTo>
                    <a:pt x="15848" y="16101"/>
                  </a:lnTo>
                  <a:lnTo>
                    <a:pt x="16429" y="15738"/>
                  </a:lnTo>
                  <a:lnTo>
                    <a:pt x="16974" y="15374"/>
                  </a:lnTo>
                  <a:lnTo>
                    <a:pt x="17447" y="15047"/>
                  </a:lnTo>
                  <a:lnTo>
                    <a:pt x="17883" y="14720"/>
                  </a:lnTo>
                  <a:lnTo>
                    <a:pt x="18283" y="14393"/>
                  </a:lnTo>
                  <a:lnTo>
                    <a:pt x="18610" y="14066"/>
                  </a:lnTo>
                  <a:lnTo>
                    <a:pt x="18937" y="13775"/>
                  </a:lnTo>
                  <a:lnTo>
                    <a:pt x="19191" y="13448"/>
                  </a:lnTo>
                  <a:lnTo>
                    <a:pt x="19409" y="13157"/>
                  </a:lnTo>
                  <a:lnTo>
                    <a:pt x="19591" y="12866"/>
                  </a:lnTo>
                  <a:lnTo>
                    <a:pt x="19773" y="12576"/>
                  </a:lnTo>
                  <a:lnTo>
                    <a:pt x="19882" y="12285"/>
                  </a:lnTo>
                  <a:lnTo>
                    <a:pt x="20064" y="11740"/>
                  </a:lnTo>
                  <a:lnTo>
                    <a:pt x="20173" y="11231"/>
                  </a:lnTo>
                  <a:lnTo>
                    <a:pt x="20209" y="10758"/>
                  </a:lnTo>
                  <a:lnTo>
                    <a:pt x="20173" y="10322"/>
                  </a:lnTo>
                  <a:lnTo>
                    <a:pt x="20136" y="9886"/>
                  </a:lnTo>
                  <a:lnTo>
                    <a:pt x="20064" y="9123"/>
                  </a:lnTo>
                  <a:lnTo>
                    <a:pt x="20064" y="8759"/>
                  </a:lnTo>
                  <a:lnTo>
                    <a:pt x="20136" y="8469"/>
                  </a:lnTo>
                  <a:lnTo>
                    <a:pt x="20173" y="8287"/>
                  </a:lnTo>
                  <a:lnTo>
                    <a:pt x="20209" y="8141"/>
                  </a:lnTo>
                  <a:lnTo>
                    <a:pt x="20173" y="7778"/>
                  </a:lnTo>
                  <a:lnTo>
                    <a:pt x="20136" y="7596"/>
                  </a:lnTo>
                  <a:lnTo>
                    <a:pt x="20064" y="7451"/>
                  </a:lnTo>
                  <a:lnTo>
                    <a:pt x="19991" y="7306"/>
                  </a:lnTo>
                  <a:lnTo>
                    <a:pt x="19882" y="7196"/>
                  </a:lnTo>
                  <a:lnTo>
                    <a:pt x="19518" y="6869"/>
                  </a:lnTo>
                  <a:lnTo>
                    <a:pt x="19337" y="6688"/>
                  </a:lnTo>
                  <a:lnTo>
                    <a:pt x="19155" y="6506"/>
                  </a:lnTo>
                  <a:lnTo>
                    <a:pt x="19046" y="6324"/>
                  </a:lnTo>
                  <a:lnTo>
                    <a:pt x="19010" y="6142"/>
                  </a:lnTo>
                  <a:lnTo>
                    <a:pt x="19010" y="6033"/>
                  </a:lnTo>
                  <a:lnTo>
                    <a:pt x="19010" y="5961"/>
                  </a:lnTo>
                  <a:lnTo>
                    <a:pt x="19082" y="5852"/>
                  </a:lnTo>
                  <a:lnTo>
                    <a:pt x="19155" y="5743"/>
                  </a:lnTo>
                  <a:lnTo>
                    <a:pt x="19300" y="5597"/>
                  </a:lnTo>
                  <a:lnTo>
                    <a:pt x="19482" y="5488"/>
                  </a:lnTo>
                  <a:lnTo>
                    <a:pt x="19628" y="5416"/>
                  </a:lnTo>
                  <a:lnTo>
                    <a:pt x="19809" y="5379"/>
                  </a:lnTo>
                  <a:lnTo>
                    <a:pt x="19955" y="5343"/>
                  </a:lnTo>
                  <a:lnTo>
                    <a:pt x="20136" y="5379"/>
                  </a:lnTo>
                  <a:lnTo>
                    <a:pt x="20245" y="5416"/>
                  </a:lnTo>
                  <a:lnTo>
                    <a:pt x="20354" y="5488"/>
                  </a:lnTo>
                  <a:lnTo>
                    <a:pt x="20463" y="5561"/>
                  </a:lnTo>
                  <a:lnTo>
                    <a:pt x="20609" y="5634"/>
                  </a:lnTo>
                  <a:lnTo>
                    <a:pt x="20936" y="5634"/>
                  </a:lnTo>
                  <a:lnTo>
                    <a:pt x="21081" y="5597"/>
                  </a:lnTo>
                  <a:lnTo>
                    <a:pt x="21227" y="5525"/>
                  </a:lnTo>
                  <a:lnTo>
                    <a:pt x="21336" y="5452"/>
                  </a:lnTo>
                  <a:lnTo>
                    <a:pt x="21445" y="5343"/>
                  </a:lnTo>
                  <a:lnTo>
                    <a:pt x="21554" y="5125"/>
                  </a:lnTo>
                  <a:lnTo>
                    <a:pt x="21736" y="4870"/>
                  </a:lnTo>
                  <a:lnTo>
                    <a:pt x="22172" y="4289"/>
                  </a:lnTo>
                  <a:lnTo>
                    <a:pt x="22390" y="3925"/>
                  </a:lnTo>
                  <a:lnTo>
                    <a:pt x="22608" y="3562"/>
                  </a:lnTo>
                  <a:lnTo>
                    <a:pt x="22790" y="3126"/>
                  </a:lnTo>
                  <a:lnTo>
                    <a:pt x="22971" y="2653"/>
                  </a:lnTo>
                  <a:lnTo>
                    <a:pt x="22971" y="2508"/>
                  </a:lnTo>
                  <a:lnTo>
                    <a:pt x="22935" y="2290"/>
                  </a:lnTo>
                  <a:lnTo>
                    <a:pt x="22862" y="2108"/>
                  </a:lnTo>
                  <a:lnTo>
                    <a:pt x="22753" y="1890"/>
                  </a:lnTo>
                  <a:lnTo>
                    <a:pt x="22535" y="1490"/>
                  </a:lnTo>
                  <a:lnTo>
                    <a:pt x="22281" y="1199"/>
                  </a:lnTo>
                  <a:lnTo>
                    <a:pt x="21990" y="945"/>
                  </a:lnTo>
                  <a:lnTo>
                    <a:pt x="21590" y="691"/>
                  </a:lnTo>
                  <a:lnTo>
                    <a:pt x="21081" y="436"/>
                  </a:lnTo>
                  <a:lnTo>
                    <a:pt x="20536" y="254"/>
                  </a:lnTo>
                  <a:lnTo>
                    <a:pt x="20209" y="145"/>
                  </a:lnTo>
                  <a:lnTo>
                    <a:pt x="19846" y="73"/>
                  </a:lnTo>
                  <a:lnTo>
                    <a:pt x="19446" y="36"/>
                  </a:lnTo>
                  <a:lnTo>
                    <a:pt x="19046" y="0"/>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72" name="Google Shape;2701;p11">
              <a:extLst>
                <a:ext uri="{FF2B5EF4-FFF2-40B4-BE49-F238E27FC236}">
                  <a16:creationId xmlns:a16="http://schemas.microsoft.com/office/drawing/2014/main" id="{D1DEA095-0B0A-F407-0626-D068DA68356F}"/>
                </a:ext>
              </a:extLst>
            </p:cNvPr>
            <p:cNvSpPr/>
            <p:nvPr/>
          </p:nvSpPr>
          <p:spPr>
            <a:xfrm>
              <a:off x="4028975" y="2222325"/>
              <a:ext cx="203550" cy="331700"/>
            </a:xfrm>
            <a:custGeom>
              <a:avLst/>
              <a:gdLst/>
              <a:ahLst/>
              <a:cxnLst/>
              <a:rect l="l" t="t" r="r" b="b"/>
              <a:pathLst>
                <a:path w="8142" h="13268" extrusionOk="0">
                  <a:moveTo>
                    <a:pt x="7778" y="1"/>
                  </a:moveTo>
                  <a:lnTo>
                    <a:pt x="7597" y="74"/>
                  </a:lnTo>
                  <a:lnTo>
                    <a:pt x="7415" y="255"/>
                  </a:lnTo>
                  <a:lnTo>
                    <a:pt x="7233" y="473"/>
                  </a:lnTo>
                  <a:lnTo>
                    <a:pt x="7051" y="764"/>
                  </a:lnTo>
                  <a:lnTo>
                    <a:pt x="6688" y="1418"/>
                  </a:lnTo>
                  <a:lnTo>
                    <a:pt x="5997" y="2872"/>
                  </a:lnTo>
                  <a:lnTo>
                    <a:pt x="5670" y="3417"/>
                  </a:lnTo>
                  <a:lnTo>
                    <a:pt x="5525" y="3599"/>
                  </a:lnTo>
                  <a:lnTo>
                    <a:pt x="5379" y="3708"/>
                  </a:lnTo>
                  <a:lnTo>
                    <a:pt x="5234" y="3781"/>
                  </a:lnTo>
                  <a:lnTo>
                    <a:pt x="5016" y="3817"/>
                  </a:lnTo>
                  <a:lnTo>
                    <a:pt x="4834" y="3781"/>
                  </a:lnTo>
                  <a:lnTo>
                    <a:pt x="4653" y="3708"/>
                  </a:lnTo>
                  <a:lnTo>
                    <a:pt x="4216" y="3563"/>
                  </a:lnTo>
                  <a:lnTo>
                    <a:pt x="3780" y="3345"/>
                  </a:lnTo>
                  <a:lnTo>
                    <a:pt x="3562" y="3272"/>
                  </a:lnTo>
                  <a:lnTo>
                    <a:pt x="3380" y="3236"/>
                  </a:lnTo>
                  <a:lnTo>
                    <a:pt x="3162" y="3199"/>
                  </a:lnTo>
                  <a:lnTo>
                    <a:pt x="2944" y="3236"/>
                  </a:lnTo>
                  <a:lnTo>
                    <a:pt x="2726" y="3308"/>
                  </a:lnTo>
                  <a:lnTo>
                    <a:pt x="2545" y="3454"/>
                  </a:lnTo>
                  <a:lnTo>
                    <a:pt x="2363" y="3672"/>
                  </a:lnTo>
                  <a:lnTo>
                    <a:pt x="2181" y="3963"/>
                  </a:lnTo>
                  <a:lnTo>
                    <a:pt x="2108" y="4108"/>
                  </a:lnTo>
                  <a:lnTo>
                    <a:pt x="2072" y="4253"/>
                  </a:lnTo>
                  <a:lnTo>
                    <a:pt x="2036" y="4580"/>
                  </a:lnTo>
                  <a:lnTo>
                    <a:pt x="2036" y="4944"/>
                  </a:lnTo>
                  <a:lnTo>
                    <a:pt x="2072" y="5344"/>
                  </a:lnTo>
                  <a:lnTo>
                    <a:pt x="2072" y="5816"/>
                  </a:lnTo>
                  <a:lnTo>
                    <a:pt x="2036" y="6361"/>
                  </a:lnTo>
                  <a:lnTo>
                    <a:pt x="1963" y="6979"/>
                  </a:lnTo>
                  <a:lnTo>
                    <a:pt x="1745" y="7706"/>
                  </a:lnTo>
                  <a:lnTo>
                    <a:pt x="1563" y="8251"/>
                  </a:lnTo>
                  <a:lnTo>
                    <a:pt x="1309" y="8869"/>
                  </a:lnTo>
                  <a:lnTo>
                    <a:pt x="691" y="10250"/>
                  </a:lnTo>
                  <a:lnTo>
                    <a:pt x="182" y="11486"/>
                  </a:lnTo>
                  <a:lnTo>
                    <a:pt x="37" y="11959"/>
                  </a:lnTo>
                  <a:lnTo>
                    <a:pt x="0" y="12140"/>
                  </a:lnTo>
                  <a:lnTo>
                    <a:pt x="0" y="12249"/>
                  </a:lnTo>
                  <a:lnTo>
                    <a:pt x="37" y="12358"/>
                  </a:lnTo>
                  <a:lnTo>
                    <a:pt x="146" y="12467"/>
                  </a:lnTo>
                  <a:lnTo>
                    <a:pt x="364" y="12540"/>
                  </a:lnTo>
                  <a:lnTo>
                    <a:pt x="582" y="12649"/>
                  </a:lnTo>
                  <a:lnTo>
                    <a:pt x="1163" y="12831"/>
                  </a:lnTo>
                  <a:lnTo>
                    <a:pt x="1854" y="12976"/>
                  </a:lnTo>
                  <a:lnTo>
                    <a:pt x="3126" y="13194"/>
                  </a:lnTo>
                  <a:lnTo>
                    <a:pt x="3671" y="13267"/>
                  </a:lnTo>
                  <a:lnTo>
                    <a:pt x="3962" y="12431"/>
                  </a:lnTo>
                  <a:lnTo>
                    <a:pt x="4253" y="11450"/>
                  </a:lnTo>
                  <a:lnTo>
                    <a:pt x="4507" y="10396"/>
                  </a:lnTo>
                  <a:lnTo>
                    <a:pt x="4725" y="9378"/>
                  </a:lnTo>
                  <a:lnTo>
                    <a:pt x="4907" y="8469"/>
                  </a:lnTo>
                  <a:lnTo>
                    <a:pt x="5161" y="7524"/>
                  </a:lnTo>
                  <a:lnTo>
                    <a:pt x="5307" y="7088"/>
                  </a:lnTo>
                  <a:lnTo>
                    <a:pt x="5489" y="6688"/>
                  </a:lnTo>
                  <a:lnTo>
                    <a:pt x="5670" y="6289"/>
                  </a:lnTo>
                  <a:lnTo>
                    <a:pt x="5925" y="5889"/>
                  </a:lnTo>
                  <a:lnTo>
                    <a:pt x="6288" y="5307"/>
                  </a:lnTo>
                  <a:lnTo>
                    <a:pt x="6688" y="4508"/>
                  </a:lnTo>
                  <a:lnTo>
                    <a:pt x="7088" y="3599"/>
                  </a:lnTo>
                  <a:lnTo>
                    <a:pt x="7451" y="2654"/>
                  </a:lnTo>
                  <a:lnTo>
                    <a:pt x="7778" y="1745"/>
                  </a:lnTo>
                  <a:lnTo>
                    <a:pt x="8033" y="982"/>
                  </a:lnTo>
                  <a:lnTo>
                    <a:pt x="8142" y="437"/>
                  </a:lnTo>
                  <a:lnTo>
                    <a:pt x="8142" y="255"/>
                  </a:lnTo>
                  <a:lnTo>
                    <a:pt x="8142" y="146"/>
                  </a:lnTo>
                  <a:lnTo>
                    <a:pt x="8033" y="74"/>
                  </a:lnTo>
                  <a:lnTo>
                    <a:pt x="7960" y="37"/>
                  </a:lnTo>
                  <a:lnTo>
                    <a:pt x="7887" y="1"/>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73" name="Google Shape;2702;p11">
              <a:extLst>
                <a:ext uri="{FF2B5EF4-FFF2-40B4-BE49-F238E27FC236}">
                  <a16:creationId xmlns:a16="http://schemas.microsoft.com/office/drawing/2014/main" id="{521E34D0-E3E4-83DD-65F0-F3D586F8F752}"/>
                </a:ext>
              </a:extLst>
            </p:cNvPr>
            <p:cNvSpPr/>
            <p:nvPr/>
          </p:nvSpPr>
          <p:spPr>
            <a:xfrm>
              <a:off x="4182525" y="5112725"/>
              <a:ext cx="142700" cy="236275"/>
            </a:xfrm>
            <a:custGeom>
              <a:avLst/>
              <a:gdLst/>
              <a:ahLst/>
              <a:cxnLst/>
              <a:rect l="l" t="t" r="r" b="b"/>
              <a:pathLst>
                <a:path w="5708" h="9451" extrusionOk="0">
                  <a:moveTo>
                    <a:pt x="364" y="1"/>
                  </a:moveTo>
                  <a:lnTo>
                    <a:pt x="182" y="2654"/>
                  </a:lnTo>
                  <a:lnTo>
                    <a:pt x="37" y="4871"/>
                  </a:lnTo>
                  <a:lnTo>
                    <a:pt x="1" y="5889"/>
                  </a:lnTo>
                  <a:lnTo>
                    <a:pt x="37" y="6725"/>
                  </a:lnTo>
                  <a:lnTo>
                    <a:pt x="1346" y="9450"/>
                  </a:lnTo>
                  <a:lnTo>
                    <a:pt x="5016" y="7342"/>
                  </a:lnTo>
                  <a:lnTo>
                    <a:pt x="5707" y="110"/>
                  </a:lnTo>
                  <a:lnTo>
                    <a:pt x="364" y="1"/>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74" name="Google Shape;2703;p11">
              <a:extLst>
                <a:ext uri="{FF2B5EF4-FFF2-40B4-BE49-F238E27FC236}">
                  <a16:creationId xmlns:a16="http://schemas.microsoft.com/office/drawing/2014/main" id="{86ADF400-77F4-C686-8878-273C84F9152F}"/>
                </a:ext>
              </a:extLst>
            </p:cNvPr>
            <p:cNvSpPr/>
            <p:nvPr/>
          </p:nvSpPr>
          <p:spPr>
            <a:xfrm>
              <a:off x="3929925" y="5259925"/>
              <a:ext cx="395300" cy="150850"/>
            </a:xfrm>
            <a:custGeom>
              <a:avLst/>
              <a:gdLst/>
              <a:ahLst/>
              <a:cxnLst/>
              <a:rect l="l" t="t" r="r" b="b"/>
              <a:pathLst>
                <a:path w="15812" h="6034" extrusionOk="0">
                  <a:moveTo>
                    <a:pt x="9596" y="1"/>
                  </a:moveTo>
                  <a:lnTo>
                    <a:pt x="9451" y="37"/>
                  </a:lnTo>
                  <a:lnTo>
                    <a:pt x="9378" y="110"/>
                  </a:lnTo>
                  <a:lnTo>
                    <a:pt x="9341" y="255"/>
                  </a:lnTo>
                  <a:lnTo>
                    <a:pt x="9305" y="655"/>
                  </a:lnTo>
                  <a:lnTo>
                    <a:pt x="9269" y="909"/>
                  </a:lnTo>
                  <a:lnTo>
                    <a:pt x="9196" y="1200"/>
                  </a:lnTo>
                  <a:lnTo>
                    <a:pt x="9123" y="1345"/>
                  </a:lnTo>
                  <a:lnTo>
                    <a:pt x="9051" y="1527"/>
                  </a:lnTo>
                  <a:lnTo>
                    <a:pt x="8905" y="1672"/>
                  </a:lnTo>
                  <a:lnTo>
                    <a:pt x="8724" y="1781"/>
                  </a:lnTo>
                  <a:lnTo>
                    <a:pt x="8542" y="1927"/>
                  </a:lnTo>
                  <a:lnTo>
                    <a:pt x="8324" y="2036"/>
                  </a:lnTo>
                  <a:lnTo>
                    <a:pt x="7779" y="2254"/>
                  </a:lnTo>
                  <a:lnTo>
                    <a:pt x="7197" y="2436"/>
                  </a:lnTo>
                  <a:lnTo>
                    <a:pt x="6543" y="2581"/>
                  </a:lnTo>
                  <a:lnTo>
                    <a:pt x="5852" y="2690"/>
                  </a:lnTo>
                  <a:lnTo>
                    <a:pt x="5125" y="2799"/>
                  </a:lnTo>
                  <a:lnTo>
                    <a:pt x="3635" y="2945"/>
                  </a:lnTo>
                  <a:lnTo>
                    <a:pt x="2327" y="3017"/>
                  </a:lnTo>
                  <a:lnTo>
                    <a:pt x="1236" y="3090"/>
                  </a:lnTo>
                  <a:lnTo>
                    <a:pt x="582" y="3126"/>
                  </a:lnTo>
                  <a:lnTo>
                    <a:pt x="473" y="3163"/>
                  </a:lnTo>
                  <a:lnTo>
                    <a:pt x="364" y="3272"/>
                  </a:lnTo>
                  <a:lnTo>
                    <a:pt x="255" y="3417"/>
                  </a:lnTo>
                  <a:lnTo>
                    <a:pt x="182" y="3599"/>
                  </a:lnTo>
                  <a:lnTo>
                    <a:pt x="73" y="3817"/>
                  </a:lnTo>
                  <a:lnTo>
                    <a:pt x="37" y="4035"/>
                  </a:lnTo>
                  <a:lnTo>
                    <a:pt x="1" y="4289"/>
                  </a:lnTo>
                  <a:lnTo>
                    <a:pt x="1" y="4544"/>
                  </a:lnTo>
                  <a:lnTo>
                    <a:pt x="37" y="4798"/>
                  </a:lnTo>
                  <a:lnTo>
                    <a:pt x="110" y="5053"/>
                  </a:lnTo>
                  <a:lnTo>
                    <a:pt x="219" y="5271"/>
                  </a:lnTo>
                  <a:lnTo>
                    <a:pt x="437" y="5489"/>
                  </a:lnTo>
                  <a:lnTo>
                    <a:pt x="655" y="5670"/>
                  </a:lnTo>
                  <a:lnTo>
                    <a:pt x="982" y="5780"/>
                  </a:lnTo>
                  <a:lnTo>
                    <a:pt x="1382" y="5889"/>
                  </a:lnTo>
                  <a:lnTo>
                    <a:pt x="1854" y="5925"/>
                  </a:lnTo>
                  <a:lnTo>
                    <a:pt x="7997" y="5998"/>
                  </a:lnTo>
                  <a:lnTo>
                    <a:pt x="14357" y="6034"/>
                  </a:lnTo>
                  <a:lnTo>
                    <a:pt x="14539" y="6034"/>
                  </a:lnTo>
                  <a:lnTo>
                    <a:pt x="14721" y="5998"/>
                  </a:lnTo>
                  <a:lnTo>
                    <a:pt x="14902" y="5925"/>
                  </a:lnTo>
                  <a:lnTo>
                    <a:pt x="15084" y="5816"/>
                  </a:lnTo>
                  <a:lnTo>
                    <a:pt x="15229" y="5707"/>
                  </a:lnTo>
                  <a:lnTo>
                    <a:pt x="15339" y="5561"/>
                  </a:lnTo>
                  <a:lnTo>
                    <a:pt x="15448" y="5380"/>
                  </a:lnTo>
                  <a:lnTo>
                    <a:pt x="15484" y="5198"/>
                  </a:lnTo>
                  <a:lnTo>
                    <a:pt x="15666" y="4507"/>
                  </a:lnTo>
                  <a:lnTo>
                    <a:pt x="15775" y="3781"/>
                  </a:lnTo>
                  <a:lnTo>
                    <a:pt x="15811" y="3017"/>
                  </a:lnTo>
                  <a:lnTo>
                    <a:pt x="15811" y="2290"/>
                  </a:lnTo>
                  <a:lnTo>
                    <a:pt x="15738" y="1636"/>
                  </a:lnTo>
                  <a:lnTo>
                    <a:pt x="15666" y="1382"/>
                  </a:lnTo>
                  <a:lnTo>
                    <a:pt x="15593" y="1127"/>
                  </a:lnTo>
                  <a:lnTo>
                    <a:pt x="15520" y="909"/>
                  </a:lnTo>
                  <a:lnTo>
                    <a:pt x="15411" y="764"/>
                  </a:lnTo>
                  <a:lnTo>
                    <a:pt x="15302" y="655"/>
                  </a:lnTo>
                  <a:lnTo>
                    <a:pt x="15193" y="618"/>
                  </a:lnTo>
                  <a:lnTo>
                    <a:pt x="14721" y="509"/>
                  </a:lnTo>
                  <a:lnTo>
                    <a:pt x="14212" y="473"/>
                  </a:lnTo>
                  <a:lnTo>
                    <a:pt x="12940" y="400"/>
                  </a:lnTo>
                  <a:lnTo>
                    <a:pt x="12213" y="364"/>
                  </a:lnTo>
                  <a:lnTo>
                    <a:pt x="11450" y="291"/>
                  </a:lnTo>
                  <a:lnTo>
                    <a:pt x="10614" y="182"/>
                  </a:lnTo>
                  <a:lnTo>
                    <a:pt x="9741" y="37"/>
                  </a:lnTo>
                  <a:lnTo>
                    <a:pt x="9596" y="1"/>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75" name="Google Shape;2704;p11">
              <a:extLst>
                <a:ext uri="{FF2B5EF4-FFF2-40B4-BE49-F238E27FC236}">
                  <a16:creationId xmlns:a16="http://schemas.microsoft.com/office/drawing/2014/main" id="{A4C9F836-8ABE-C3C4-D0F9-480DBD8C0A16}"/>
                </a:ext>
              </a:extLst>
            </p:cNvPr>
            <p:cNvSpPr/>
            <p:nvPr/>
          </p:nvSpPr>
          <p:spPr>
            <a:xfrm>
              <a:off x="4905800" y="5023675"/>
              <a:ext cx="175400" cy="255350"/>
            </a:xfrm>
            <a:custGeom>
              <a:avLst/>
              <a:gdLst/>
              <a:ahLst/>
              <a:cxnLst/>
              <a:rect l="l" t="t" r="r" b="b"/>
              <a:pathLst>
                <a:path w="7016" h="10214" extrusionOk="0">
                  <a:moveTo>
                    <a:pt x="5053" y="1"/>
                  </a:moveTo>
                  <a:lnTo>
                    <a:pt x="1" y="1636"/>
                  </a:lnTo>
                  <a:lnTo>
                    <a:pt x="764" y="4180"/>
                  </a:lnTo>
                  <a:lnTo>
                    <a:pt x="1455" y="6325"/>
                  </a:lnTo>
                  <a:lnTo>
                    <a:pt x="1818" y="7306"/>
                  </a:lnTo>
                  <a:lnTo>
                    <a:pt x="2109" y="8069"/>
                  </a:lnTo>
                  <a:lnTo>
                    <a:pt x="4326" y="10214"/>
                  </a:lnTo>
                  <a:lnTo>
                    <a:pt x="7016" y="7015"/>
                  </a:lnTo>
                  <a:lnTo>
                    <a:pt x="5053" y="1"/>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76" name="Google Shape;2705;p11">
              <a:extLst>
                <a:ext uri="{FF2B5EF4-FFF2-40B4-BE49-F238E27FC236}">
                  <a16:creationId xmlns:a16="http://schemas.microsoft.com/office/drawing/2014/main" id="{5E02DF62-41D9-966E-69EA-252C083F8C65}"/>
                </a:ext>
              </a:extLst>
            </p:cNvPr>
            <p:cNvSpPr/>
            <p:nvPr/>
          </p:nvSpPr>
          <p:spPr>
            <a:xfrm>
              <a:off x="4749525" y="5179050"/>
              <a:ext cx="375300" cy="237200"/>
            </a:xfrm>
            <a:custGeom>
              <a:avLst/>
              <a:gdLst/>
              <a:ahLst/>
              <a:cxnLst/>
              <a:rect l="l" t="t" r="r" b="b"/>
              <a:pathLst>
                <a:path w="15012" h="9488" extrusionOk="0">
                  <a:moveTo>
                    <a:pt x="13049" y="1"/>
                  </a:moveTo>
                  <a:lnTo>
                    <a:pt x="12576" y="73"/>
                  </a:lnTo>
                  <a:lnTo>
                    <a:pt x="12067" y="183"/>
                  </a:lnTo>
                  <a:lnTo>
                    <a:pt x="10831" y="546"/>
                  </a:lnTo>
                  <a:lnTo>
                    <a:pt x="10141" y="728"/>
                  </a:lnTo>
                  <a:lnTo>
                    <a:pt x="9414" y="946"/>
                  </a:lnTo>
                  <a:lnTo>
                    <a:pt x="8578" y="1091"/>
                  </a:lnTo>
                  <a:lnTo>
                    <a:pt x="7706" y="1200"/>
                  </a:lnTo>
                  <a:lnTo>
                    <a:pt x="7560" y="1237"/>
                  </a:lnTo>
                  <a:lnTo>
                    <a:pt x="7451" y="1309"/>
                  </a:lnTo>
                  <a:lnTo>
                    <a:pt x="7415" y="1418"/>
                  </a:lnTo>
                  <a:lnTo>
                    <a:pt x="7415" y="1564"/>
                  </a:lnTo>
                  <a:lnTo>
                    <a:pt x="7524" y="1963"/>
                  </a:lnTo>
                  <a:lnTo>
                    <a:pt x="7597" y="2218"/>
                  </a:lnTo>
                  <a:lnTo>
                    <a:pt x="7633" y="2509"/>
                  </a:lnTo>
                  <a:lnTo>
                    <a:pt x="7633" y="2654"/>
                  </a:lnTo>
                  <a:lnTo>
                    <a:pt x="7597" y="2836"/>
                  </a:lnTo>
                  <a:lnTo>
                    <a:pt x="7524" y="3017"/>
                  </a:lnTo>
                  <a:lnTo>
                    <a:pt x="7415" y="3199"/>
                  </a:lnTo>
                  <a:lnTo>
                    <a:pt x="7270" y="3381"/>
                  </a:lnTo>
                  <a:lnTo>
                    <a:pt x="7088" y="3563"/>
                  </a:lnTo>
                  <a:lnTo>
                    <a:pt x="6688" y="3926"/>
                  </a:lnTo>
                  <a:lnTo>
                    <a:pt x="6179" y="4290"/>
                  </a:lnTo>
                  <a:lnTo>
                    <a:pt x="5634" y="4653"/>
                  </a:lnTo>
                  <a:lnTo>
                    <a:pt x="5016" y="4980"/>
                  </a:lnTo>
                  <a:lnTo>
                    <a:pt x="4362" y="5307"/>
                  </a:lnTo>
                  <a:lnTo>
                    <a:pt x="3054" y="5925"/>
                  </a:lnTo>
                  <a:lnTo>
                    <a:pt x="1818" y="6434"/>
                  </a:lnTo>
                  <a:lnTo>
                    <a:pt x="836" y="6834"/>
                  </a:lnTo>
                  <a:lnTo>
                    <a:pt x="255" y="7125"/>
                  </a:lnTo>
                  <a:lnTo>
                    <a:pt x="146" y="7197"/>
                  </a:lnTo>
                  <a:lnTo>
                    <a:pt x="73" y="7306"/>
                  </a:lnTo>
                  <a:lnTo>
                    <a:pt x="37" y="7488"/>
                  </a:lnTo>
                  <a:lnTo>
                    <a:pt x="0" y="7670"/>
                  </a:lnTo>
                  <a:lnTo>
                    <a:pt x="0" y="7924"/>
                  </a:lnTo>
                  <a:lnTo>
                    <a:pt x="37" y="8142"/>
                  </a:lnTo>
                  <a:lnTo>
                    <a:pt x="110" y="8397"/>
                  </a:lnTo>
                  <a:lnTo>
                    <a:pt x="182" y="8651"/>
                  </a:lnTo>
                  <a:lnTo>
                    <a:pt x="328" y="8869"/>
                  </a:lnTo>
                  <a:lnTo>
                    <a:pt x="473" y="9087"/>
                  </a:lnTo>
                  <a:lnTo>
                    <a:pt x="691" y="9233"/>
                  </a:lnTo>
                  <a:lnTo>
                    <a:pt x="945" y="9378"/>
                  </a:lnTo>
                  <a:lnTo>
                    <a:pt x="1236" y="9451"/>
                  </a:lnTo>
                  <a:lnTo>
                    <a:pt x="1563" y="9487"/>
                  </a:lnTo>
                  <a:lnTo>
                    <a:pt x="1963" y="9451"/>
                  </a:lnTo>
                  <a:lnTo>
                    <a:pt x="2436" y="9342"/>
                  </a:lnTo>
                  <a:lnTo>
                    <a:pt x="8251" y="7379"/>
                  </a:lnTo>
                  <a:lnTo>
                    <a:pt x="14212" y="5380"/>
                  </a:lnTo>
                  <a:lnTo>
                    <a:pt x="14393" y="5307"/>
                  </a:lnTo>
                  <a:lnTo>
                    <a:pt x="14539" y="5198"/>
                  </a:lnTo>
                  <a:lnTo>
                    <a:pt x="14684" y="5089"/>
                  </a:lnTo>
                  <a:lnTo>
                    <a:pt x="14830" y="4944"/>
                  </a:lnTo>
                  <a:lnTo>
                    <a:pt x="14902" y="4762"/>
                  </a:lnTo>
                  <a:lnTo>
                    <a:pt x="14975" y="4580"/>
                  </a:lnTo>
                  <a:lnTo>
                    <a:pt x="15011" y="4399"/>
                  </a:lnTo>
                  <a:lnTo>
                    <a:pt x="15011" y="4217"/>
                  </a:lnTo>
                  <a:lnTo>
                    <a:pt x="14902" y="3526"/>
                  </a:lnTo>
                  <a:lnTo>
                    <a:pt x="14720" y="2763"/>
                  </a:lnTo>
                  <a:lnTo>
                    <a:pt x="14466" y="2036"/>
                  </a:lnTo>
                  <a:lnTo>
                    <a:pt x="14212" y="1382"/>
                  </a:lnTo>
                  <a:lnTo>
                    <a:pt x="13921" y="800"/>
                  </a:lnTo>
                  <a:lnTo>
                    <a:pt x="13776" y="546"/>
                  </a:lnTo>
                  <a:lnTo>
                    <a:pt x="13630" y="328"/>
                  </a:lnTo>
                  <a:lnTo>
                    <a:pt x="13448" y="183"/>
                  </a:lnTo>
                  <a:lnTo>
                    <a:pt x="13303" y="73"/>
                  </a:lnTo>
                  <a:lnTo>
                    <a:pt x="13158" y="1"/>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77" name="Google Shape;2706;p11">
              <a:extLst>
                <a:ext uri="{FF2B5EF4-FFF2-40B4-BE49-F238E27FC236}">
                  <a16:creationId xmlns:a16="http://schemas.microsoft.com/office/drawing/2014/main" id="{7534C289-B389-3A89-6703-86BAFC6D8704}"/>
                </a:ext>
              </a:extLst>
            </p:cNvPr>
            <p:cNvSpPr/>
            <p:nvPr/>
          </p:nvSpPr>
          <p:spPr>
            <a:xfrm>
              <a:off x="4155275" y="3498075"/>
              <a:ext cx="934100" cy="1781875"/>
            </a:xfrm>
            <a:custGeom>
              <a:avLst/>
              <a:gdLst/>
              <a:ahLst/>
              <a:cxnLst/>
              <a:rect l="l" t="t" r="r" b="b"/>
              <a:pathLst>
                <a:path w="37364" h="71275" extrusionOk="0">
                  <a:moveTo>
                    <a:pt x="18428" y="0"/>
                  </a:moveTo>
                  <a:lnTo>
                    <a:pt x="14030" y="2435"/>
                  </a:lnTo>
                  <a:lnTo>
                    <a:pt x="13412" y="4107"/>
                  </a:lnTo>
                  <a:lnTo>
                    <a:pt x="12758" y="6070"/>
                  </a:lnTo>
                  <a:lnTo>
                    <a:pt x="12104" y="8323"/>
                  </a:lnTo>
                  <a:lnTo>
                    <a:pt x="11413" y="10759"/>
                  </a:lnTo>
                  <a:lnTo>
                    <a:pt x="10722" y="13339"/>
                  </a:lnTo>
                  <a:lnTo>
                    <a:pt x="10032" y="16065"/>
                  </a:lnTo>
                  <a:lnTo>
                    <a:pt x="8651" y="21590"/>
                  </a:lnTo>
                  <a:lnTo>
                    <a:pt x="7415" y="26932"/>
                  </a:lnTo>
                  <a:lnTo>
                    <a:pt x="6361" y="31694"/>
                  </a:lnTo>
                  <a:lnTo>
                    <a:pt x="5561" y="35474"/>
                  </a:lnTo>
                  <a:lnTo>
                    <a:pt x="5307" y="36855"/>
                  </a:lnTo>
                  <a:lnTo>
                    <a:pt x="5125" y="37872"/>
                  </a:lnTo>
                  <a:lnTo>
                    <a:pt x="4035" y="44596"/>
                  </a:lnTo>
                  <a:lnTo>
                    <a:pt x="2254" y="55427"/>
                  </a:lnTo>
                  <a:lnTo>
                    <a:pt x="1382" y="60916"/>
                  </a:lnTo>
                  <a:lnTo>
                    <a:pt x="618" y="65713"/>
                  </a:lnTo>
                  <a:lnTo>
                    <a:pt x="146" y="69239"/>
                  </a:lnTo>
                  <a:lnTo>
                    <a:pt x="0" y="70329"/>
                  </a:lnTo>
                  <a:lnTo>
                    <a:pt x="0" y="70693"/>
                  </a:lnTo>
                  <a:lnTo>
                    <a:pt x="0" y="70874"/>
                  </a:lnTo>
                  <a:lnTo>
                    <a:pt x="945" y="71056"/>
                  </a:lnTo>
                  <a:lnTo>
                    <a:pt x="1854" y="71165"/>
                  </a:lnTo>
                  <a:lnTo>
                    <a:pt x="2690" y="71238"/>
                  </a:lnTo>
                  <a:lnTo>
                    <a:pt x="3490" y="71274"/>
                  </a:lnTo>
                  <a:lnTo>
                    <a:pt x="4216" y="71274"/>
                  </a:lnTo>
                  <a:lnTo>
                    <a:pt x="4907" y="71238"/>
                  </a:lnTo>
                  <a:lnTo>
                    <a:pt x="5525" y="71165"/>
                  </a:lnTo>
                  <a:lnTo>
                    <a:pt x="6070" y="71092"/>
                  </a:lnTo>
                  <a:lnTo>
                    <a:pt x="7015" y="70911"/>
                  </a:lnTo>
                  <a:lnTo>
                    <a:pt x="7706" y="70693"/>
                  </a:lnTo>
                  <a:lnTo>
                    <a:pt x="8105" y="70547"/>
                  </a:lnTo>
                  <a:lnTo>
                    <a:pt x="8251" y="70475"/>
                  </a:lnTo>
                  <a:lnTo>
                    <a:pt x="8542" y="68476"/>
                  </a:lnTo>
                  <a:lnTo>
                    <a:pt x="8978" y="65277"/>
                  </a:lnTo>
                  <a:lnTo>
                    <a:pt x="9487" y="61279"/>
                  </a:lnTo>
                  <a:lnTo>
                    <a:pt x="10141" y="56809"/>
                  </a:lnTo>
                  <a:lnTo>
                    <a:pt x="10504" y="54519"/>
                  </a:lnTo>
                  <a:lnTo>
                    <a:pt x="10868" y="52229"/>
                  </a:lnTo>
                  <a:lnTo>
                    <a:pt x="11268" y="50012"/>
                  </a:lnTo>
                  <a:lnTo>
                    <a:pt x="11667" y="47904"/>
                  </a:lnTo>
                  <a:lnTo>
                    <a:pt x="12104" y="45941"/>
                  </a:lnTo>
                  <a:lnTo>
                    <a:pt x="12576" y="44160"/>
                  </a:lnTo>
                  <a:lnTo>
                    <a:pt x="12794" y="43361"/>
                  </a:lnTo>
                  <a:lnTo>
                    <a:pt x="13048" y="42597"/>
                  </a:lnTo>
                  <a:lnTo>
                    <a:pt x="13267" y="41943"/>
                  </a:lnTo>
                  <a:lnTo>
                    <a:pt x="13521" y="41325"/>
                  </a:lnTo>
                  <a:lnTo>
                    <a:pt x="16247" y="35074"/>
                  </a:lnTo>
                  <a:lnTo>
                    <a:pt x="19663" y="27041"/>
                  </a:lnTo>
                  <a:lnTo>
                    <a:pt x="23807" y="17228"/>
                  </a:lnTo>
                  <a:lnTo>
                    <a:pt x="23371" y="20863"/>
                  </a:lnTo>
                  <a:lnTo>
                    <a:pt x="22862" y="24824"/>
                  </a:lnTo>
                  <a:lnTo>
                    <a:pt x="22389" y="28895"/>
                  </a:lnTo>
                  <a:lnTo>
                    <a:pt x="21953" y="32893"/>
                  </a:lnTo>
                  <a:lnTo>
                    <a:pt x="21771" y="34783"/>
                  </a:lnTo>
                  <a:lnTo>
                    <a:pt x="21590" y="36564"/>
                  </a:lnTo>
                  <a:lnTo>
                    <a:pt x="21517" y="38236"/>
                  </a:lnTo>
                  <a:lnTo>
                    <a:pt x="21444" y="39762"/>
                  </a:lnTo>
                  <a:lnTo>
                    <a:pt x="21444" y="41144"/>
                  </a:lnTo>
                  <a:lnTo>
                    <a:pt x="21517" y="42307"/>
                  </a:lnTo>
                  <a:lnTo>
                    <a:pt x="21590" y="42779"/>
                  </a:lnTo>
                  <a:lnTo>
                    <a:pt x="21662" y="43215"/>
                  </a:lnTo>
                  <a:lnTo>
                    <a:pt x="21735" y="43615"/>
                  </a:lnTo>
                  <a:lnTo>
                    <a:pt x="21880" y="43906"/>
                  </a:lnTo>
                  <a:lnTo>
                    <a:pt x="22389" y="45287"/>
                  </a:lnTo>
                  <a:lnTo>
                    <a:pt x="22935" y="46886"/>
                  </a:lnTo>
                  <a:lnTo>
                    <a:pt x="24134" y="50593"/>
                  </a:lnTo>
                  <a:lnTo>
                    <a:pt x="25370" y="54701"/>
                  </a:lnTo>
                  <a:lnTo>
                    <a:pt x="26569" y="58808"/>
                  </a:lnTo>
                  <a:lnTo>
                    <a:pt x="27659" y="62624"/>
                  </a:lnTo>
                  <a:lnTo>
                    <a:pt x="28532" y="65786"/>
                  </a:lnTo>
                  <a:lnTo>
                    <a:pt x="29331" y="68730"/>
                  </a:lnTo>
                  <a:lnTo>
                    <a:pt x="30640" y="68585"/>
                  </a:lnTo>
                  <a:lnTo>
                    <a:pt x="32057" y="68367"/>
                  </a:lnTo>
                  <a:lnTo>
                    <a:pt x="33475" y="68076"/>
                  </a:lnTo>
                  <a:lnTo>
                    <a:pt x="34783" y="67785"/>
                  </a:lnTo>
                  <a:lnTo>
                    <a:pt x="35910" y="67494"/>
                  </a:lnTo>
                  <a:lnTo>
                    <a:pt x="36782" y="67240"/>
                  </a:lnTo>
                  <a:lnTo>
                    <a:pt x="37073" y="67131"/>
                  </a:lnTo>
                  <a:lnTo>
                    <a:pt x="37255" y="67022"/>
                  </a:lnTo>
                  <a:lnTo>
                    <a:pt x="37364" y="66949"/>
                  </a:lnTo>
                  <a:lnTo>
                    <a:pt x="37327" y="66949"/>
                  </a:lnTo>
                  <a:lnTo>
                    <a:pt x="37291" y="66913"/>
                  </a:lnTo>
                  <a:lnTo>
                    <a:pt x="36964" y="65931"/>
                  </a:lnTo>
                  <a:lnTo>
                    <a:pt x="36564" y="64696"/>
                  </a:lnTo>
                  <a:lnTo>
                    <a:pt x="35656" y="61715"/>
                  </a:lnTo>
                  <a:lnTo>
                    <a:pt x="34674" y="58262"/>
                  </a:lnTo>
                  <a:lnTo>
                    <a:pt x="33693" y="54591"/>
                  </a:lnTo>
                  <a:lnTo>
                    <a:pt x="32748" y="50921"/>
                  </a:lnTo>
                  <a:lnTo>
                    <a:pt x="31912" y="47468"/>
                  </a:lnTo>
                  <a:lnTo>
                    <a:pt x="31548" y="45941"/>
                  </a:lnTo>
                  <a:lnTo>
                    <a:pt x="31294" y="44560"/>
                  </a:lnTo>
                  <a:lnTo>
                    <a:pt x="31076" y="43361"/>
                  </a:lnTo>
                  <a:lnTo>
                    <a:pt x="30931" y="42379"/>
                  </a:lnTo>
                  <a:lnTo>
                    <a:pt x="30894" y="41870"/>
                  </a:lnTo>
                  <a:lnTo>
                    <a:pt x="30894" y="41180"/>
                  </a:lnTo>
                  <a:lnTo>
                    <a:pt x="30931" y="40308"/>
                  </a:lnTo>
                  <a:lnTo>
                    <a:pt x="31003" y="39290"/>
                  </a:lnTo>
                  <a:lnTo>
                    <a:pt x="31258" y="36891"/>
                  </a:lnTo>
                  <a:lnTo>
                    <a:pt x="31585" y="34020"/>
                  </a:lnTo>
                  <a:lnTo>
                    <a:pt x="32021" y="30821"/>
                  </a:lnTo>
                  <a:lnTo>
                    <a:pt x="32493" y="27332"/>
                  </a:lnTo>
                  <a:lnTo>
                    <a:pt x="33584" y="20063"/>
                  </a:lnTo>
                  <a:lnTo>
                    <a:pt x="34711" y="12976"/>
                  </a:lnTo>
                  <a:lnTo>
                    <a:pt x="35692" y="6942"/>
                  </a:lnTo>
                  <a:lnTo>
                    <a:pt x="36673" y="1127"/>
                  </a:lnTo>
                  <a:lnTo>
                    <a:pt x="18428" y="0"/>
                  </a:lnTo>
                  <a:close/>
                </a:path>
              </a:pathLst>
            </a:custGeom>
            <a:solidFill>
              <a:srgbClr val="3C3C3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78" name="Google Shape;2707;p11">
              <a:extLst>
                <a:ext uri="{FF2B5EF4-FFF2-40B4-BE49-F238E27FC236}">
                  <a16:creationId xmlns:a16="http://schemas.microsoft.com/office/drawing/2014/main" id="{74AC7D55-1917-D018-2A26-3B1694A04C49}"/>
                </a:ext>
              </a:extLst>
            </p:cNvPr>
            <p:cNvSpPr/>
            <p:nvPr/>
          </p:nvSpPr>
          <p:spPr>
            <a:xfrm>
              <a:off x="4155275" y="3498075"/>
              <a:ext cx="934100" cy="1781875"/>
            </a:xfrm>
            <a:custGeom>
              <a:avLst/>
              <a:gdLst/>
              <a:ahLst/>
              <a:cxnLst/>
              <a:rect l="l" t="t" r="r" b="b"/>
              <a:pathLst>
                <a:path w="37364" h="71275" fill="none" extrusionOk="0">
                  <a:moveTo>
                    <a:pt x="14030" y="2435"/>
                  </a:moveTo>
                  <a:lnTo>
                    <a:pt x="14030" y="2435"/>
                  </a:lnTo>
                  <a:lnTo>
                    <a:pt x="13412" y="4107"/>
                  </a:lnTo>
                  <a:lnTo>
                    <a:pt x="12758" y="6070"/>
                  </a:lnTo>
                  <a:lnTo>
                    <a:pt x="12104" y="8323"/>
                  </a:lnTo>
                  <a:lnTo>
                    <a:pt x="11413" y="10759"/>
                  </a:lnTo>
                  <a:lnTo>
                    <a:pt x="10722" y="13339"/>
                  </a:lnTo>
                  <a:lnTo>
                    <a:pt x="10032" y="16065"/>
                  </a:lnTo>
                  <a:lnTo>
                    <a:pt x="8651" y="21590"/>
                  </a:lnTo>
                  <a:lnTo>
                    <a:pt x="7415" y="26932"/>
                  </a:lnTo>
                  <a:lnTo>
                    <a:pt x="6361" y="31694"/>
                  </a:lnTo>
                  <a:lnTo>
                    <a:pt x="5561" y="35474"/>
                  </a:lnTo>
                  <a:lnTo>
                    <a:pt x="5307" y="36855"/>
                  </a:lnTo>
                  <a:lnTo>
                    <a:pt x="5125" y="37872"/>
                  </a:lnTo>
                  <a:lnTo>
                    <a:pt x="5125" y="37872"/>
                  </a:lnTo>
                  <a:lnTo>
                    <a:pt x="4035" y="44596"/>
                  </a:lnTo>
                  <a:lnTo>
                    <a:pt x="2254" y="55427"/>
                  </a:lnTo>
                  <a:lnTo>
                    <a:pt x="1382" y="60916"/>
                  </a:lnTo>
                  <a:lnTo>
                    <a:pt x="618" y="65713"/>
                  </a:lnTo>
                  <a:lnTo>
                    <a:pt x="146" y="69239"/>
                  </a:lnTo>
                  <a:lnTo>
                    <a:pt x="0" y="70329"/>
                  </a:lnTo>
                  <a:lnTo>
                    <a:pt x="0" y="70693"/>
                  </a:lnTo>
                  <a:lnTo>
                    <a:pt x="0" y="70874"/>
                  </a:lnTo>
                  <a:lnTo>
                    <a:pt x="0" y="70874"/>
                  </a:lnTo>
                  <a:lnTo>
                    <a:pt x="945" y="71056"/>
                  </a:lnTo>
                  <a:lnTo>
                    <a:pt x="1854" y="71165"/>
                  </a:lnTo>
                  <a:lnTo>
                    <a:pt x="2690" y="71238"/>
                  </a:lnTo>
                  <a:lnTo>
                    <a:pt x="3490" y="71274"/>
                  </a:lnTo>
                  <a:lnTo>
                    <a:pt x="4216" y="71274"/>
                  </a:lnTo>
                  <a:lnTo>
                    <a:pt x="4907" y="71238"/>
                  </a:lnTo>
                  <a:lnTo>
                    <a:pt x="5525" y="71165"/>
                  </a:lnTo>
                  <a:lnTo>
                    <a:pt x="6070" y="71092"/>
                  </a:lnTo>
                  <a:lnTo>
                    <a:pt x="7015" y="70911"/>
                  </a:lnTo>
                  <a:lnTo>
                    <a:pt x="7706" y="70693"/>
                  </a:lnTo>
                  <a:lnTo>
                    <a:pt x="8105" y="70547"/>
                  </a:lnTo>
                  <a:lnTo>
                    <a:pt x="8251" y="70475"/>
                  </a:lnTo>
                  <a:lnTo>
                    <a:pt x="8251" y="70475"/>
                  </a:lnTo>
                  <a:lnTo>
                    <a:pt x="8542" y="68476"/>
                  </a:lnTo>
                  <a:lnTo>
                    <a:pt x="8978" y="65277"/>
                  </a:lnTo>
                  <a:lnTo>
                    <a:pt x="9487" y="61279"/>
                  </a:lnTo>
                  <a:lnTo>
                    <a:pt x="10141" y="56809"/>
                  </a:lnTo>
                  <a:lnTo>
                    <a:pt x="10504" y="54519"/>
                  </a:lnTo>
                  <a:lnTo>
                    <a:pt x="10868" y="52229"/>
                  </a:lnTo>
                  <a:lnTo>
                    <a:pt x="11268" y="50012"/>
                  </a:lnTo>
                  <a:lnTo>
                    <a:pt x="11667" y="47904"/>
                  </a:lnTo>
                  <a:lnTo>
                    <a:pt x="12104" y="45941"/>
                  </a:lnTo>
                  <a:lnTo>
                    <a:pt x="12576" y="44160"/>
                  </a:lnTo>
                  <a:lnTo>
                    <a:pt x="12794" y="43361"/>
                  </a:lnTo>
                  <a:lnTo>
                    <a:pt x="13048" y="42597"/>
                  </a:lnTo>
                  <a:lnTo>
                    <a:pt x="13267" y="41943"/>
                  </a:lnTo>
                  <a:lnTo>
                    <a:pt x="13521" y="41325"/>
                  </a:lnTo>
                  <a:lnTo>
                    <a:pt x="13521" y="41325"/>
                  </a:lnTo>
                  <a:lnTo>
                    <a:pt x="16247" y="35074"/>
                  </a:lnTo>
                  <a:lnTo>
                    <a:pt x="19663" y="27041"/>
                  </a:lnTo>
                  <a:lnTo>
                    <a:pt x="23807" y="17228"/>
                  </a:lnTo>
                  <a:lnTo>
                    <a:pt x="23807" y="17228"/>
                  </a:lnTo>
                  <a:lnTo>
                    <a:pt x="23371" y="20863"/>
                  </a:lnTo>
                  <a:lnTo>
                    <a:pt x="22862" y="24824"/>
                  </a:lnTo>
                  <a:lnTo>
                    <a:pt x="22389" y="28895"/>
                  </a:lnTo>
                  <a:lnTo>
                    <a:pt x="21953" y="32893"/>
                  </a:lnTo>
                  <a:lnTo>
                    <a:pt x="21771" y="34783"/>
                  </a:lnTo>
                  <a:lnTo>
                    <a:pt x="21590" y="36564"/>
                  </a:lnTo>
                  <a:lnTo>
                    <a:pt x="21517" y="38236"/>
                  </a:lnTo>
                  <a:lnTo>
                    <a:pt x="21444" y="39762"/>
                  </a:lnTo>
                  <a:lnTo>
                    <a:pt x="21444" y="41144"/>
                  </a:lnTo>
                  <a:lnTo>
                    <a:pt x="21517" y="42307"/>
                  </a:lnTo>
                  <a:lnTo>
                    <a:pt x="21590" y="42779"/>
                  </a:lnTo>
                  <a:lnTo>
                    <a:pt x="21662" y="43215"/>
                  </a:lnTo>
                  <a:lnTo>
                    <a:pt x="21735" y="43615"/>
                  </a:lnTo>
                  <a:lnTo>
                    <a:pt x="21880" y="43906"/>
                  </a:lnTo>
                  <a:lnTo>
                    <a:pt x="21880" y="43906"/>
                  </a:lnTo>
                  <a:lnTo>
                    <a:pt x="22389" y="45287"/>
                  </a:lnTo>
                  <a:lnTo>
                    <a:pt x="22935" y="46886"/>
                  </a:lnTo>
                  <a:lnTo>
                    <a:pt x="24134" y="50593"/>
                  </a:lnTo>
                  <a:lnTo>
                    <a:pt x="25370" y="54701"/>
                  </a:lnTo>
                  <a:lnTo>
                    <a:pt x="26569" y="58808"/>
                  </a:lnTo>
                  <a:lnTo>
                    <a:pt x="27659" y="62624"/>
                  </a:lnTo>
                  <a:lnTo>
                    <a:pt x="28532" y="65786"/>
                  </a:lnTo>
                  <a:lnTo>
                    <a:pt x="29331" y="68730"/>
                  </a:lnTo>
                  <a:lnTo>
                    <a:pt x="29331" y="68730"/>
                  </a:lnTo>
                  <a:lnTo>
                    <a:pt x="30640" y="68585"/>
                  </a:lnTo>
                  <a:lnTo>
                    <a:pt x="32057" y="68367"/>
                  </a:lnTo>
                  <a:lnTo>
                    <a:pt x="33475" y="68076"/>
                  </a:lnTo>
                  <a:lnTo>
                    <a:pt x="34783" y="67785"/>
                  </a:lnTo>
                  <a:lnTo>
                    <a:pt x="35910" y="67494"/>
                  </a:lnTo>
                  <a:lnTo>
                    <a:pt x="36782" y="67240"/>
                  </a:lnTo>
                  <a:lnTo>
                    <a:pt x="37073" y="67131"/>
                  </a:lnTo>
                  <a:lnTo>
                    <a:pt x="37255" y="67022"/>
                  </a:lnTo>
                  <a:lnTo>
                    <a:pt x="37364" y="66949"/>
                  </a:lnTo>
                  <a:lnTo>
                    <a:pt x="37327" y="66949"/>
                  </a:lnTo>
                  <a:lnTo>
                    <a:pt x="37291" y="66913"/>
                  </a:lnTo>
                  <a:lnTo>
                    <a:pt x="37291" y="66913"/>
                  </a:lnTo>
                  <a:lnTo>
                    <a:pt x="36964" y="65931"/>
                  </a:lnTo>
                  <a:lnTo>
                    <a:pt x="36564" y="64696"/>
                  </a:lnTo>
                  <a:lnTo>
                    <a:pt x="35656" y="61715"/>
                  </a:lnTo>
                  <a:lnTo>
                    <a:pt x="34674" y="58262"/>
                  </a:lnTo>
                  <a:lnTo>
                    <a:pt x="33693" y="54591"/>
                  </a:lnTo>
                  <a:lnTo>
                    <a:pt x="32748" y="50921"/>
                  </a:lnTo>
                  <a:lnTo>
                    <a:pt x="31912" y="47468"/>
                  </a:lnTo>
                  <a:lnTo>
                    <a:pt x="31548" y="45941"/>
                  </a:lnTo>
                  <a:lnTo>
                    <a:pt x="31294" y="44560"/>
                  </a:lnTo>
                  <a:lnTo>
                    <a:pt x="31076" y="43361"/>
                  </a:lnTo>
                  <a:lnTo>
                    <a:pt x="30931" y="42379"/>
                  </a:lnTo>
                  <a:lnTo>
                    <a:pt x="30931" y="42379"/>
                  </a:lnTo>
                  <a:lnTo>
                    <a:pt x="30894" y="41870"/>
                  </a:lnTo>
                  <a:lnTo>
                    <a:pt x="30894" y="41180"/>
                  </a:lnTo>
                  <a:lnTo>
                    <a:pt x="30931" y="40308"/>
                  </a:lnTo>
                  <a:lnTo>
                    <a:pt x="31003" y="39290"/>
                  </a:lnTo>
                  <a:lnTo>
                    <a:pt x="31258" y="36891"/>
                  </a:lnTo>
                  <a:lnTo>
                    <a:pt x="31585" y="34020"/>
                  </a:lnTo>
                  <a:lnTo>
                    <a:pt x="32021" y="30821"/>
                  </a:lnTo>
                  <a:lnTo>
                    <a:pt x="32493" y="27332"/>
                  </a:lnTo>
                  <a:lnTo>
                    <a:pt x="33584" y="20063"/>
                  </a:lnTo>
                  <a:lnTo>
                    <a:pt x="34711" y="12976"/>
                  </a:lnTo>
                  <a:lnTo>
                    <a:pt x="35692" y="6942"/>
                  </a:lnTo>
                  <a:lnTo>
                    <a:pt x="36673" y="1127"/>
                  </a:lnTo>
                  <a:lnTo>
                    <a:pt x="18428" y="0"/>
                  </a:lnTo>
                  <a:lnTo>
                    <a:pt x="14030" y="2435"/>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79" name="Google Shape;2708;p11">
              <a:extLst>
                <a:ext uri="{FF2B5EF4-FFF2-40B4-BE49-F238E27FC236}">
                  <a16:creationId xmlns:a16="http://schemas.microsoft.com/office/drawing/2014/main" id="{EA1CBF47-E15B-8541-D4BC-F53387A7F16A}"/>
                </a:ext>
              </a:extLst>
            </p:cNvPr>
            <p:cNvSpPr/>
            <p:nvPr/>
          </p:nvSpPr>
          <p:spPr>
            <a:xfrm>
              <a:off x="4725000" y="4057800"/>
              <a:ext cx="10000" cy="81800"/>
            </a:xfrm>
            <a:custGeom>
              <a:avLst/>
              <a:gdLst/>
              <a:ahLst/>
              <a:cxnLst/>
              <a:rect l="l" t="t" r="r" b="b"/>
              <a:pathLst>
                <a:path w="400" h="3272" extrusionOk="0">
                  <a:moveTo>
                    <a:pt x="400" y="0"/>
                  </a:moveTo>
                  <a:lnTo>
                    <a:pt x="182" y="1599"/>
                  </a:lnTo>
                  <a:lnTo>
                    <a:pt x="0" y="3271"/>
                  </a:lnTo>
                  <a:lnTo>
                    <a:pt x="400" y="0"/>
                  </a:lnTo>
                  <a:close/>
                </a:path>
              </a:pathLst>
            </a:custGeom>
            <a:solidFill>
              <a:srgbClr val="74748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80" name="Google Shape;2709;p11">
              <a:extLst>
                <a:ext uri="{FF2B5EF4-FFF2-40B4-BE49-F238E27FC236}">
                  <a16:creationId xmlns:a16="http://schemas.microsoft.com/office/drawing/2014/main" id="{D85196BD-223A-F4C7-018D-2CC35A5C7CE9}"/>
                </a:ext>
              </a:extLst>
            </p:cNvPr>
            <p:cNvSpPr/>
            <p:nvPr/>
          </p:nvSpPr>
          <p:spPr>
            <a:xfrm>
              <a:off x="4725000" y="4057800"/>
              <a:ext cx="10000" cy="81800"/>
            </a:xfrm>
            <a:custGeom>
              <a:avLst/>
              <a:gdLst/>
              <a:ahLst/>
              <a:cxnLst/>
              <a:rect l="l" t="t" r="r" b="b"/>
              <a:pathLst>
                <a:path w="400" h="3272" fill="none" extrusionOk="0">
                  <a:moveTo>
                    <a:pt x="400" y="0"/>
                  </a:moveTo>
                  <a:lnTo>
                    <a:pt x="400" y="0"/>
                  </a:lnTo>
                  <a:lnTo>
                    <a:pt x="182" y="1599"/>
                  </a:lnTo>
                  <a:lnTo>
                    <a:pt x="0" y="3271"/>
                  </a:lnTo>
                  <a:lnTo>
                    <a:pt x="0" y="3271"/>
                  </a:lnTo>
                  <a:lnTo>
                    <a:pt x="0" y="3271"/>
                  </a:lnTo>
                  <a:lnTo>
                    <a:pt x="400"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81" name="Google Shape;2710;p11">
              <a:extLst>
                <a:ext uri="{FF2B5EF4-FFF2-40B4-BE49-F238E27FC236}">
                  <a16:creationId xmlns:a16="http://schemas.microsoft.com/office/drawing/2014/main" id="{3108643F-47B7-6D8A-CDDB-A68F9AEB39DC}"/>
                </a:ext>
              </a:extLst>
            </p:cNvPr>
            <p:cNvSpPr/>
            <p:nvPr/>
          </p:nvSpPr>
          <p:spPr>
            <a:xfrm>
              <a:off x="4725000" y="3794275"/>
              <a:ext cx="85425" cy="345325"/>
            </a:xfrm>
            <a:custGeom>
              <a:avLst/>
              <a:gdLst/>
              <a:ahLst/>
              <a:cxnLst/>
              <a:rect l="l" t="t" r="r" b="b"/>
              <a:pathLst>
                <a:path w="3417" h="13813" extrusionOk="0">
                  <a:moveTo>
                    <a:pt x="3417" y="1"/>
                  </a:moveTo>
                  <a:lnTo>
                    <a:pt x="3271" y="401"/>
                  </a:lnTo>
                  <a:lnTo>
                    <a:pt x="2871" y="1564"/>
                  </a:lnTo>
                  <a:lnTo>
                    <a:pt x="2544" y="2363"/>
                  </a:lnTo>
                  <a:lnTo>
                    <a:pt x="2108" y="3272"/>
                  </a:lnTo>
                  <a:lnTo>
                    <a:pt x="1599" y="4290"/>
                  </a:lnTo>
                  <a:lnTo>
                    <a:pt x="1018" y="5380"/>
                  </a:lnTo>
                  <a:lnTo>
                    <a:pt x="909" y="6616"/>
                  </a:lnTo>
                  <a:lnTo>
                    <a:pt x="763" y="7888"/>
                  </a:lnTo>
                  <a:lnTo>
                    <a:pt x="400" y="10541"/>
                  </a:lnTo>
                  <a:lnTo>
                    <a:pt x="0" y="13812"/>
                  </a:lnTo>
                  <a:lnTo>
                    <a:pt x="3417" y="1"/>
                  </a:lnTo>
                  <a:close/>
                </a:path>
              </a:pathLst>
            </a:custGeom>
            <a:solidFill>
              <a:srgbClr val="2A2A3A"/>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82" name="Google Shape;2711;p11">
              <a:extLst>
                <a:ext uri="{FF2B5EF4-FFF2-40B4-BE49-F238E27FC236}">
                  <a16:creationId xmlns:a16="http://schemas.microsoft.com/office/drawing/2014/main" id="{A448CA9A-E8B6-F957-7723-AF4178D47F67}"/>
                </a:ext>
              </a:extLst>
            </p:cNvPr>
            <p:cNvSpPr/>
            <p:nvPr/>
          </p:nvSpPr>
          <p:spPr>
            <a:xfrm>
              <a:off x="4725000" y="3794275"/>
              <a:ext cx="85425" cy="345325"/>
            </a:xfrm>
            <a:custGeom>
              <a:avLst/>
              <a:gdLst/>
              <a:ahLst/>
              <a:cxnLst/>
              <a:rect l="l" t="t" r="r" b="b"/>
              <a:pathLst>
                <a:path w="3417" h="13813" fill="none" extrusionOk="0">
                  <a:moveTo>
                    <a:pt x="3417" y="1"/>
                  </a:moveTo>
                  <a:lnTo>
                    <a:pt x="3417" y="1"/>
                  </a:lnTo>
                  <a:lnTo>
                    <a:pt x="3271" y="401"/>
                  </a:lnTo>
                  <a:lnTo>
                    <a:pt x="2871" y="1564"/>
                  </a:lnTo>
                  <a:lnTo>
                    <a:pt x="2544" y="2363"/>
                  </a:lnTo>
                  <a:lnTo>
                    <a:pt x="2108" y="3272"/>
                  </a:lnTo>
                  <a:lnTo>
                    <a:pt x="1599" y="4290"/>
                  </a:lnTo>
                  <a:lnTo>
                    <a:pt x="1018" y="5380"/>
                  </a:lnTo>
                  <a:lnTo>
                    <a:pt x="1018" y="5380"/>
                  </a:lnTo>
                  <a:lnTo>
                    <a:pt x="909" y="6616"/>
                  </a:lnTo>
                  <a:lnTo>
                    <a:pt x="763" y="7888"/>
                  </a:lnTo>
                  <a:lnTo>
                    <a:pt x="400" y="10541"/>
                  </a:lnTo>
                  <a:lnTo>
                    <a:pt x="400" y="10541"/>
                  </a:lnTo>
                  <a:lnTo>
                    <a:pt x="0" y="13812"/>
                  </a:lnTo>
                  <a:lnTo>
                    <a:pt x="3417"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83" name="Google Shape;2712;p11">
              <a:extLst>
                <a:ext uri="{FF2B5EF4-FFF2-40B4-BE49-F238E27FC236}">
                  <a16:creationId xmlns:a16="http://schemas.microsoft.com/office/drawing/2014/main" id="{049C298A-7DEB-E729-0134-88BB8752B406}"/>
                </a:ext>
              </a:extLst>
            </p:cNvPr>
            <p:cNvSpPr/>
            <p:nvPr/>
          </p:nvSpPr>
          <p:spPr>
            <a:xfrm>
              <a:off x="4670475" y="2492200"/>
              <a:ext cx="240800" cy="368925"/>
            </a:xfrm>
            <a:custGeom>
              <a:avLst/>
              <a:gdLst/>
              <a:ahLst/>
              <a:cxnLst/>
              <a:rect l="l" t="t" r="r" b="b"/>
              <a:pathLst>
                <a:path w="9632" h="14757" extrusionOk="0">
                  <a:moveTo>
                    <a:pt x="4943" y="1"/>
                  </a:moveTo>
                  <a:lnTo>
                    <a:pt x="4544" y="37"/>
                  </a:lnTo>
                  <a:lnTo>
                    <a:pt x="4180" y="110"/>
                  </a:lnTo>
                  <a:lnTo>
                    <a:pt x="3889" y="182"/>
                  </a:lnTo>
                  <a:lnTo>
                    <a:pt x="3671" y="328"/>
                  </a:lnTo>
                  <a:lnTo>
                    <a:pt x="3526" y="437"/>
                  </a:lnTo>
                  <a:lnTo>
                    <a:pt x="2944" y="1345"/>
                  </a:lnTo>
                  <a:lnTo>
                    <a:pt x="2436" y="2072"/>
                  </a:lnTo>
                  <a:lnTo>
                    <a:pt x="1999" y="2617"/>
                  </a:lnTo>
                  <a:lnTo>
                    <a:pt x="1636" y="3054"/>
                  </a:lnTo>
                  <a:lnTo>
                    <a:pt x="1127" y="3562"/>
                  </a:lnTo>
                  <a:lnTo>
                    <a:pt x="982" y="3744"/>
                  </a:lnTo>
                  <a:lnTo>
                    <a:pt x="873" y="3890"/>
                  </a:lnTo>
                  <a:lnTo>
                    <a:pt x="1018" y="4035"/>
                  </a:lnTo>
                  <a:lnTo>
                    <a:pt x="1163" y="4108"/>
                  </a:lnTo>
                  <a:lnTo>
                    <a:pt x="1236" y="4108"/>
                  </a:lnTo>
                  <a:lnTo>
                    <a:pt x="1272" y="4144"/>
                  </a:lnTo>
                  <a:lnTo>
                    <a:pt x="1272" y="4253"/>
                  </a:lnTo>
                  <a:lnTo>
                    <a:pt x="1200" y="4398"/>
                  </a:lnTo>
                  <a:lnTo>
                    <a:pt x="836" y="5125"/>
                  </a:lnTo>
                  <a:lnTo>
                    <a:pt x="473" y="5889"/>
                  </a:lnTo>
                  <a:lnTo>
                    <a:pt x="182" y="6615"/>
                  </a:lnTo>
                  <a:lnTo>
                    <a:pt x="109" y="6943"/>
                  </a:lnTo>
                  <a:lnTo>
                    <a:pt x="37" y="7233"/>
                  </a:lnTo>
                  <a:lnTo>
                    <a:pt x="0" y="7524"/>
                  </a:lnTo>
                  <a:lnTo>
                    <a:pt x="37" y="7779"/>
                  </a:lnTo>
                  <a:lnTo>
                    <a:pt x="109" y="7960"/>
                  </a:lnTo>
                  <a:lnTo>
                    <a:pt x="255" y="8142"/>
                  </a:lnTo>
                  <a:lnTo>
                    <a:pt x="437" y="8287"/>
                  </a:lnTo>
                  <a:lnTo>
                    <a:pt x="691" y="8360"/>
                  </a:lnTo>
                  <a:lnTo>
                    <a:pt x="1018" y="8433"/>
                  </a:lnTo>
                  <a:lnTo>
                    <a:pt x="1418" y="8433"/>
                  </a:lnTo>
                  <a:lnTo>
                    <a:pt x="1890" y="8360"/>
                  </a:lnTo>
                  <a:lnTo>
                    <a:pt x="2436" y="8251"/>
                  </a:lnTo>
                  <a:lnTo>
                    <a:pt x="1418" y="10359"/>
                  </a:lnTo>
                  <a:lnTo>
                    <a:pt x="982" y="13667"/>
                  </a:lnTo>
                  <a:lnTo>
                    <a:pt x="5307" y="14757"/>
                  </a:lnTo>
                  <a:lnTo>
                    <a:pt x="5343" y="14466"/>
                  </a:lnTo>
                  <a:lnTo>
                    <a:pt x="5380" y="14139"/>
                  </a:lnTo>
                  <a:lnTo>
                    <a:pt x="5561" y="13412"/>
                  </a:lnTo>
                  <a:lnTo>
                    <a:pt x="5816" y="12649"/>
                  </a:lnTo>
                  <a:lnTo>
                    <a:pt x="6143" y="11813"/>
                  </a:lnTo>
                  <a:lnTo>
                    <a:pt x="6506" y="10904"/>
                  </a:lnTo>
                  <a:lnTo>
                    <a:pt x="6906" y="9959"/>
                  </a:lnTo>
                  <a:lnTo>
                    <a:pt x="7778" y="8069"/>
                  </a:lnTo>
                  <a:lnTo>
                    <a:pt x="8614" y="6216"/>
                  </a:lnTo>
                  <a:lnTo>
                    <a:pt x="8978" y="5307"/>
                  </a:lnTo>
                  <a:lnTo>
                    <a:pt x="9269" y="4507"/>
                  </a:lnTo>
                  <a:lnTo>
                    <a:pt x="9487" y="3708"/>
                  </a:lnTo>
                  <a:lnTo>
                    <a:pt x="9559" y="3381"/>
                  </a:lnTo>
                  <a:lnTo>
                    <a:pt x="9596" y="3017"/>
                  </a:lnTo>
                  <a:lnTo>
                    <a:pt x="9632" y="2726"/>
                  </a:lnTo>
                  <a:lnTo>
                    <a:pt x="9596" y="2436"/>
                  </a:lnTo>
                  <a:lnTo>
                    <a:pt x="9559" y="2181"/>
                  </a:lnTo>
                  <a:lnTo>
                    <a:pt x="9487" y="1963"/>
                  </a:lnTo>
                  <a:lnTo>
                    <a:pt x="9378" y="1745"/>
                  </a:lnTo>
                  <a:lnTo>
                    <a:pt x="9269" y="1563"/>
                  </a:lnTo>
                  <a:lnTo>
                    <a:pt x="8978" y="1200"/>
                  </a:lnTo>
                  <a:lnTo>
                    <a:pt x="8614" y="909"/>
                  </a:lnTo>
                  <a:lnTo>
                    <a:pt x="8215" y="655"/>
                  </a:lnTo>
                  <a:lnTo>
                    <a:pt x="7778" y="437"/>
                  </a:lnTo>
                  <a:lnTo>
                    <a:pt x="7306" y="291"/>
                  </a:lnTo>
                  <a:lnTo>
                    <a:pt x="6797" y="146"/>
                  </a:lnTo>
                  <a:lnTo>
                    <a:pt x="6325" y="73"/>
                  </a:lnTo>
                  <a:lnTo>
                    <a:pt x="5852" y="1"/>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84" name="Google Shape;2713;p11">
              <a:extLst>
                <a:ext uri="{FF2B5EF4-FFF2-40B4-BE49-F238E27FC236}">
                  <a16:creationId xmlns:a16="http://schemas.microsoft.com/office/drawing/2014/main" id="{79133955-C0F1-BA92-0926-8947B367F00C}"/>
                </a:ext>
              </a:extLst>
            </p:cNvPr>
            <p:cNvSpPr/>
            <p:nvPr/>
          </p:nvSpPr>
          <p:spPr>
            <a:xfrm>
              <a:off x="4670475" y="2492200"/>
              <a:ext cx="240800" cy="368925"/>
            </a:xfrm>
            <a:custGeom>
              <a:avLst/>
              <a:gdLst/>
              <a:ahLst/>
              <a:cxnLst/>
              <a:rect l="l" t="t" r="r" b="b"/>
              <a:pathLst>
                <a:path w="9632" h="14757" fill="none" extrusionOk="0">
                  <a:moveTo>
                    <a:pt x="3526" y="437"/>
                  </a:moveTo>
                  <a:lnTo>
                    <a:pt x="3526" y="437"/>
                  </a:lnTo>
                  <a:lnTo>
                    <a:pt x="2944" y="1345"/>
                  </a:lnTo>
                  <a:lnTo>
                    <a:pt x="2436" y="2072"/>
                  </a:lnTo>
                  <a:lnTo>
                    <a:pt x="1999" y="2617"/>
                  </a:lnTo>
                  <a:lnTo>
                    <a:pt x="1636" y="3054"/>
                  </a:lnTo>
                  <a:lnTo>
                    <a:pt x="1127" y="3562"/>
                  </a:lnTo>
                  <a:lnTo>
                    <a:pt x="982" y="3744"/>
                  </a:lnTo>
                  <a:lnTo>
                    <a:pt x="873" y="3890"/>
                  </a:lnTo>
                  <a:lnTo>
                    <a:pt x="873" y="3890"/>
                  </a:lnTo>
                  <a:lnTo>
                    <a:pt x="1018" y="4035"/>
                  </a:lnTo>
                  <a:lnTo>
                    <a:pt x="1163" y="4108"/>
                  </a:lnTo>
                  <a:lnTo>
                    <a:pt x="1236" y="4108"/>
                  </a:lnTo>
                  <a:lnTo>
                    <a:pt x="1272" y="4144"/>
                  </a:lnTo>
                  <a:lnTo>
                    <a:pt x="1272" y="4253"/>
                  </a:lnTo>
                  <a:lnTo>
                    <a:pt x="1200" y="4398"/>
                  </a:lnTo>
                  <a:lnTo>
                    <a:pt x="836" y="5125"/>
                  </a:lnTo>
                  <a:lnTo>
                    <a:pt x="836" y="5125"/>
                  </a:lnTo>
                  <a:lnTo>
                    <a:pt x="473" y="5889"/>
                  </a:lnTo>
                  <a:lnTo>
                    <a:pt x="182" y="6615"/>
                  </a:lnTo>
                  <a:lnTo>
                    <a:pt x="109" y="6943"/>
                  </a:lnTo>
                  <a:lnTo>
                    <a:pt x="37" y="7233"/>
                  </a:lnTo>
                  <a:lnTo>
                    <a:pt x="0" y="7524"/>
                  </a:lnTo>
                  <a:lnTo>
                    <a:pt x="37" y="7779"/>
                  </a:lnTo>
                  <a:lnTo>
                    <a:pt x="109" y="7960"/>
                  </a:lnTo>
                  <a:lnTo>
                    <a:pt x="255" y="8142"/>
                  </a:lnTo>
                  <a:lnTo>
                    <a:pt x="437" y="8287"/>
                  </a:lnTo>
                  <a:lnTo>
                    <a:pt x="691" y="8360"/>
                  </a:lnTo>
                  <a:lnTo>
                    <a:pt x="1018" y="8433"/>
                  </a:lnTo>
                  <a:lnTo>
                    <a:pt x="1418" y="8433"/>
                  </a:lnTo>
                  <a:lnTo>
                    <a:pt x="1890" y="8360"/>
                  </a:lnTo>
                  <a:lnTo>
                    <a:pt x="2436" y="8251"/>
                  </a:lnTo>
                  <a:lnTo>
                    <a:pt x="2436" y="8251"/>
                  </a:lnTo>
                  <a:lnTo>
                    <a:pt x="1418" y="10359"/>
                  </a:lnTo>
                  <a:lnTo>
                    <a:pt x="982" y="13667"/>
                  </a:lnTo>
                  <a:lnTo>
                    <a:pt x="5307" y="14757"/>
                  </a:lnTo>
                  <a:lnTo>
                    <a:pt x="5307" y="14757"/>
                  </a:lnTo>
                  <a:lnTo>
                    <a:pt x="5343" y="14466"/>
                  </a:lnTo>
                  <a:lnTo>
                    <a:pt x="5380" y="14139"/>
                  </a:lnTo>
                  <a:lnTo>
                    <a:pt x="5561" y="13412"/>
                  </a:lnTo>
                  <a:lnTo>
                    <a:pt x="5816" y="12649"/>
                  </a:lnTo>
                  <a:lnTo>
                    <a:pt x="6143" y="11813"/>
                  </a:lnTo>
                  <a:lnTo>
                    <a:pt x="6506" y="10904"/>
                  </a:lnTo>
                  <a:lnTo>
                    <a:pt x="6906" y="9959"/>
                  </a:lnTo>
                  <a:lnTo>
                    <a:pt x="7778" y="8069"/>
                  </a:lnTo>
                  <a:lnTo>
                    <a:pt x="8614" y="6216"/>
                  </a:lnTo>
                  <a:lnTo>
                    <a:pt x="8978" y="5307"/>
                  </a:lnTo>
                  <a:lnTo>
                    <a:pt x="9269" y="4507"/>
                  </a:lnTo>
                  <a:lnTo>
                    <a:pt x="9487" y="3708"/>
                  </a:lnTo>
                  <a:lnTo>
                    <a:pt x="9559" y="3381"/>
                  </a:lnTo>
                  <a:lnTo>
                    <a:pt x="9596" y="3017"/>
                  </a:lnTo>
                  <a:lnTo>
                    <a:pt x="9632" y="2726"/>
                  </a:lnTo>
                  <a:lnTo>
                    <a:pt x="9596" y="2436"/>
                  </a:lnTo>
                  <a:lnTo>
                    <a:pt x="9559" y="2181"/>
                  </a:lnTo>
                  <a:lnTo>
                    <a:pt x="9487" y="1963"/>
                  </a:lnTo>
                  <a:lnTo>
                    <a:pt x="9487" y="1963"/>
                  </a:lnTo>
                  <a:lnTo>
                    <a:pt x="9378" y="1745"/>
                  </a:lnTo>
                  <a:lnTo>
                    <a:pt x="9269" y="1563"/>
                  </a:lnTo>
                  <a:lnTo>
                    <a:pt x="8978" y="1200"/>
                  </a:lnTo>
                  <a:lnTo>
                    <a:pt x="8614" y="909"/>
                  </a:lnTo>
                  <a:lnTo>
                    <a:pt x="8215" y="655"/>
                  </a:lnTo>
                  <a:lnTo>
                    <a:pt x="7778" y="437"/>
                  </a:lnTo>
                  <a:lnTo>
                    <a:pt x="7306" y="291"/>
                  </a:lnTo>
                  <a:lnTo>
                    <a:pt x="6797" y="146"/>
                  </a:lnTo>
                  <a:lnTo>
                    <a:pt x="6325" y="73"/>
                  </a:lnTo>
                  <a:lnTo>
                    <a:pt x="5852" y="1"/>
                  </a:lnTo>
                  <a:lnTo>
                    <a:pt x="5380" y="1"/>
                  </a:lnTo>
                  <a:lnTo>
                    <a:pt x="4943" y="1"/>
                  </a:lnTo>
                  <a:lnTo>
                    <a:pt x="4544" y="37"/>
                  </a:lnTo>
                  <a:lnTo>
                    <a:pt x="4180" y="110"/>
                  </a:lnTo>
                  <a:lnTo>
                    <a:pt x="3889" y="182"/>
                  </a:lnTo>
                  <a:lnTo>
                    <a:pt x="3671" y="328"/>
                  </a:lnTo>
                  <a:lnTo>
                    <a:pt x="3526" y="437"/>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85" name="Google Shape;2714;p11">
              <a:extLst>
                <a:ext uri="{FF2B5EF4-FFF2-40B4-BE49-F238E27FC236}">
                  <a16:creationId xmlns:a16="http://schemas.microsoft.com/office/drawing/2014/main" id="{F0EA0D97-23B2-E969-20F6-DD94D8E59C6C}"/>
                </a:ext>
              </a:extLst>
            </p:cNvPr>
            <p:cNvSpPr/>
            <p:nvPr/>
          </p:nvSpPr>
          <p:spPr>
            <a:xfrm>
              <a:off x="4739525" y="2425875"/>
              <a:ext cx="210825" cy="314400"/>
            </a:xfrm>
            <a:custGeom>
              <a:avLst/>
              <a:gdLst/>
              <a:ahLst/>
              <a:cxnLst/>
              <a:rect l="l" t="t" r="r" b="b"/>
              <a:pathLst>
                <a:path w="8433" h="12576" extrusionOk="0">
                  <a:moveTo>
                    <a:pt x="2109" y="0"/>
                  </a:moveTo>
                  <a:lnTo>
                    <a:pt x="1782" y="73"/>
                  </a:lnTo>
                  <a:lnTo>
                    <a:pt x="1418" y="182"/>
                  </a:lnTo>
                  <a:lnTo>
                    <a:pt x="1164" y="327"/>
                  </a:lnTo>
                  <a:lnTo>
                    <a:pt x="946" y="436"/>
                  </a:lnTo>
                  <a:lnTo>
                    <a:pt x="764" y="618"/>
                  </a:lnTo>
                  <a:lnTo>
                    <a:pt x="655" y="800"/>
                  </a:lnTo>
                  <a:lnTo>
                    <a:pt x="619" y="982"/>
                  </a:lnTo>
                  <a:lnTo>
                    <a:pt x="582" y="1163"/>
                  </a:lnTo>
                  <a:lnTo>
                    <a:pt x="582" y="1490"/>
                  </a:lnTo>
                  <a:lnTo>
                    <a:pt x="582" y="1600"/>
                  </a:lnTo>
                  <a:lnTo>
                    <a:pt x="400" y="1745"/>
                  </a:lnTo>
                  <a:lnTo>
                    <a:pt x="255" y="1854"/>
                  </a:lnTo>
                  <a:lnTo>
                    <a:pt x="146" y="1999"/>
                  </a:lnTo>
                  <a:lnTo>
                    <a:pt x="73" y="2108"/>
                  </a:lnTo>
                  <a:lnTo>
                    <a:pt x="37" y="2254"/>
                  </a:lnTo>
                  <a:lnTo>
                    <a:pt x="1" y="2399"/>
                  </a:lnTo>
                  <a:lnTo>
                    <a:pt x="37" y="2690"/>
                  </a:lnTo>
                  <a:lnTo>
                    <a:pt x="146" y="2981"/>
                  </a:lnTo>
                  <a:lnTo>
                    <a:pt x="291" y="3271"/>
                  </a:lnTo>
                  <a:lnTo>
                    <a:pt x="619" y="3926"/>
                  </a:lnTo>
                  <a:lnTo>
                    <a:pt x="800" y="4253"/>
                  </a:lnTo>
                  <a:lnTo>
                    <a:pt x="1018" y="4471"/>
                  </a:lnTo>
                  <a:lnTo>
                    <a:pt x="1382" y="4834"/>
                  </a:lnTo>
                  <a:lnTo>
                    <a:pt x="1527" y="5016"/>
                  </a:lnTo>
                  <a:lnTo>
                    <a:pt x="1600" y="5198"/>
                  </a:lnTo>
                  <a:lnTo>
                    <a:pt x="1600" y="5307"/>
                  </a:lnTo>
                  <a:lnTo>
                    <a:pt x="1564" y="5416"/>
                  </a:lnTo>
                  <a:lnTo>
                    <a:pt x="1491" y="5707"/>
                  </a:lnTo>
                  <a:lnTo>
                    <a:pt x="1200" y="6215"/>
                  </a:lnTo>
                  <a:lnTo>
                    <a:pt x="1164" y="6397"/>
                  </a:lnTo>
                  <a:lnTo>
                    <a:pt x="1164" y="6543"/>
                  </a:lnTo>
                  <a:lnTo>
                    <a:pt x="1236" y="6652"/>
                  </a:lnTo>
                  <a:lnTo>
                    <a:pt x="1345" y="6797"/>
                  </a:lnTo>
                  <a:lnTo>
                    <a:pt x="1564" y="6942"/>
                  </a:lnTo>
                  <a:lnTo>
                    <a:pt x="1891" y="7088"/>
                  </a:lnTo>
                  <a:lnTo>
                    <a:pt x="2145" y="7015"/>
                  </a:lnTo>
                  <a:lnTo>
                    <a:pt x="2399" y="6979"/>
                  </a:lnTo>
                  <a:lnTo>
                    <a:pt x="2581" y="7015"/>
                  </a:lnTo>
                  <a:lnTo>
                    <a:pt x="2763" y="7051"/>
                  </a:lnTo>
                  <a:lnTo>
                    <a:pt x="2872" y="7160"/>
                  </a:lnTo>
                  <a:lnTo>
                    <a:pt x="2981" y="7306"/>
                  </a:lnTo>
                  <a:lnTo>
                    <a:pt x="3054" y="7451"/>
                  </a:lnTo>
                  <a:lnTo>
                    <a:pt x="3090" y="7633"/>
                  </a:lnTo>
                  <a:lnTo>
                    <a:pt x="3090" y="7815"/>
                  </a:lnTo>
                  <a:lnTo>
                    <a:pt x="3054" y="7996"/>
                  </a:lnTo>
                  <a:lnTo>
                    <a:pt x="2981" y="8178"/>
                  </a:lnTo>
                  <a:lnTo>
                    <a:pt x="2872" y="8360"/>
                  </a:lnTo>
                  <a:lnTo>
                    <a:pt x="2727" y="8505"/>
                  </a:lnTo>
                  <a:lnTo>
                    <a:pt x="2545" y="8651"/>
                  </a:lnTo>
                  <a:lnTo>
                    <a:pt x="2363" y="8760"/>
                  </a:lnTo>
                  <a:lnTo>
                    <a:pt x="2109" y="8869"/>
                  </a:lnTo>
                  <a:lnTo>
                    <a:pt x="2000" y="9232"/>
                  </a:lnTo>
                  <a:lnTo>
                    <a:pt x="1891" y="9668"/>
                  </a:lnTo>
                  <a:lnTo>
                    <a:pt x="1854" y="10213"/>
                  </a:lnTo>
                  <a:lnTo>
                    <a:pt x="1891" y="10722"/>
                  </a:lnTo>
                  <a:lnTo>
                    <a:pt x="2000" y="11267"/>
                  </a:lnTo>
                  <a:lnTo>
                    <a:pt x="2109" y="11522"/>
                  </a:lnTo>
                  <a:lnTo>
                    <a:pt x="2218" y="11740"/>
                  </a:lnTo>
                  <a:lnTo>
                    <a:pt x="2363" y="11958"/>
                  </a:lnTo>
                  <a:lnTo>
                    <a:pt x="2509" y="12140"/>
                  </a:lnTo>
                  <a:lnTo>
                    <a:pt x="2690" y="12321"/>
                  </a:lnTo>
                  <a:lnTo>
                    <a:pt x="2908" y="12431"/>
                  </a:lnTo>
                  <a:lnTo>
                    <a:pt x="3126" y="12540"/>
                  </a:lnTo>
                  <a:lnTo>
                    <a:pt x="3344" y="12576"/>
                  </a:lnTo>
                  <a:lnTo>
                    <a:pt x="3599" y="12576"/>
                  </a:lnTo>
                  <a:lnTo>
                    <a:pt x="3817" y="12540"/>
                  </a:lnTo>
                  <a:lnTo>
                    <a:pt x="4035" y="12467"/>
                  </a:lnTo>
                  <a:lnTo>
                    <a:pt x="4253" y="12358"/>
                  </a:lnTo>
                  <a:lnTo>
                    <a:pt x="4471" y="12212"/>
                  </a:lnTo>
                  <a:lnTo>
                    <a:pt x="4689" y="12067"/>
                  </a:lnTo>
                  <a:lnTo>
                    <a:pt x="4871" y="11849"/>
                  </a:lnTo>
                  <a:lnTo>
                    <a:pt x="5089" y="11631"/>
                  </a:lnTo>
                  <a:lnTo>
                    <a:pt x="5416" y="11122"/>
                  </a:lnTo>
                  <a:lnTo>
                    <a:pt x="5743" y="10541"/>
                  </a:lnTo>
                  <a:lnTo>
                    <a:pt x="5961" y="9923"/>
                  </a:lnTo>
                  <a:lnTo>
                    <a:pt x="6070" y="9632"/>
                  </a:lnTo>
                  <a:lnTo>
                    <a:pt x="6216" y="9414"/>
                  </a:lnTo>
                  <a:lnTo>
                    <a:pt x="6398" y="9196"/>
                  </a:lnTo>
                  <a:lnTo>
                    <a:pt x="6579" y="9050"/>
                  </a:lnTo>
                  <a:lnTo>
                    <a:pt x="6943" y="8760"/>
                  </a:lnTo>
                  <a:lnTo>
                    <a:pt x="7379" y="8469"/>
                  </a:lnTo>
                  <a:lnTo>
                    <a:pt x="7561" y="8323"/>
                  </a:lnTo>
                  <a:lnTo>
                    <a:pt x="7742" y="8142"/>
                  </a:lnTo>
                  <a:lnTo>
                    <a:pt x="7924" y="7887"/>
                  </a:lnTo>
                  <a:lnTo>
                    <a:pt x="8069" y="7633"/>
                  </a:lnTo>
                  <a:lnTo>
                    <a:pt x="8215" y="7269"/>
                  </a:lnTo>
                  <a:lnTo>
                    <a:pt x="8324" y="6870"/>
                  </a:lnTo>
                  <a:lnTo>
                    <a:pt x="8397" y="6361"/>
                  </a:lnTo>
                  <a:lnTo>
                    <a:pt x="8433" y="5779"/>
                  </a:lnTo>
                  <a:lnTo>
                    <a:pt x="8397" y="5488"/>
                  </a:lnTo>
                  <a:lnTo>
                    <a:pt x="8397" y="5234"/>
                  </a:lnTo>
                  <a:lnTo>
                    <a:pt x="8324" y="5016"/>
                  </a:lnTo>
                  <a:lnTo>
                    <a:pt x="8251" y="4871"/>
                  </a:lnTo>
                  <a:lnTo>
                    <a:pt x="8178" y="4725"/>
                  </a:lnTo>
                  <a:lnTo>
                    <a:pt x="8069" y="4653"/>
                  </a:lnTo>
                  <a:lnTo>
                    <a:pt x="7888" y="4507"/>
                  </a:lnTo>
                  <a:lnTo>
                    <a:pt x="7706" y="4362"/>
                  </a:lnTo>
                  <a:lnTo>
                    <a:pt x="7633" y="4253"/>
                  </a:lnTo>
                  <a:lnTo>
                    <a:pt x="7561" y="4107"/>
                  </a:lnTo>
                  <a:lnTo>
                    <a:pt x="7488" y="3962"/>
                  </a:lnTo>
                  <a:lnTo>
                    <a:pt x="7488" y="3744"/>
                  </a:lnTo>
                  <a:lnTo>
                    <a:pt x="7452" y="3489"/>
                  </a:lnTo>
                  <a:lnTo>
                    <a:pt x="7488" y="3199"/>
                  </a:lnTo>
                  <a:lnTo>
                    <a:pt x="7524" y="2872"/>
                  </a:lnTo>
                  <a:lnTo>
                    <a:pt x="7488" y="2617"/>
                  </a:lnTo>
                  <a:lnTo>
                    <a:pt x="7452" y="2363"/>
                  </a:lnTo>
                  <a:lnTo>
                    <a:pt x="7379" y="2145"/>
                  </a:lnTo>
                  <a:lnTo>
                    <a:pt x="7306" y="1963"/>
                  </a:lnTo>
                  <a:lnTo>
                    <a:pt x="7161" y="1781"/>
                  </a:lnTo>
                  <a:lnTo>
                    <a:pt x="7015" y="1672"/>
                  </a:lnTo>
                  <a:lnTo>
                    <a:pt x="6870" y="1527"/>
                  </a:lnTo>
                  <a:lnTo>
                    <a:pt x="6652" y="1454"/>
                  </a:lnTo>
                  <a:lnTo>
                    <a:pt x="6470" y="1381"/>
                  </a:lnTo>
                  <a:lnTo>
                    <a:pt x="6252" y="1345"/>
                  </a:lnTo>
                  <a:lnTo>
                    <a:pt x="5780" y="1345"/>
                  </a:lnTo>
                  <a:lnTo>
                    <a:pt x="5489" y="1381"/>
                  </a:lnTo>
                  <a:lnTo>
                    <a:pt x="5234" y="1454"/>
                  </a:lnTo>
                  <a:lnTo>
                    <a:pt x="4980" y="1527"/>
                  </a:lnTo>
                  <a:lnTo>
                    <a:pt x="4471" y="1672"/>
                  </a:lnTo>
                  <a:lnTo>
                    <a:pt x="4180" y="1745"/>
                  </a:lnTo>
                  <a:lnTo>
                    <a:pt x="4035" y="1745"/>
                  </a:lnTo>
                  <a:lnTo>
                    <a:pt x="3962" y="1709"/>
                  </a:lnTo>
                  <a:lnTo>
                    <a:pt x="3853" y="1672"/>
                  </a:lnTo>
                  <a:lnTo>
                    <a:pt x="3817" y="1600"/>
                  </a:lnTo>
                  <a:lnTo>
                    <a:pt x="3708" y="1418"/>
                  </a:lnTo>
                  <a:lnTo>
                    <a:pt x="3635" y="1163"/>
                  </a:lnTo>
                  <a:lnTo>
                    <a:pt x="3526" y="873"/>
                  </a:lnTo>
                  <a:lnTo>
                    <a:pt x="3344" y="545"/>
                  </a:lnTo>
                  <a:lnTo>
                    <a:pt x="3235" y="400"/>
                  </a:lnTo>
                  <a:lnTo>
                    <a:pt x="3126" y="255"/>
                  </a:lnTo>
                  <a:lnTo>
                    <a:pt x="2981" y="146"/>
                  </a:lnTo>
                  <a:lnTo>
                    <a:pt x="2799" y="73"/>
                  </a:lnTo>
                  <a:lnTo>
                    <a:pt x="2654" y="37"/>
                  </a:lnTo>
                  <a:lnTo>
                    <a:pt x="2472" y="0"/>
                  </a:lnTo>
                  <a:close/>
                </a:path>
              </a:pathLst>
            </a:custGeom>
            <a:solidFill>
              <a:srgbClr val="4C2419"/>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86" name="Google Shape;2715;p11">
              <a:extLst>
                <a:ext uri="{FF2B5EF4-FFF2-40B4-BE49-F238E27FC236}">
                  <a16:creationId xmlns:a16="http://schemas.microsoft.com/office/drawing/2014/main" id="{7B6BF168-04A7-ECE2-735C-185A71E4A9CB}"/>
                </a:ext>
              </a:extLst>
            </p:cNvPr>
            <p:cNvSpPr/>
            <p:nvPr/>
          </p:nvSpPr>
          <p:spPr>
            <a:xfrm>
              <a:off x="4706825" y="2691200"/>
              <a:ext cx="69975" cy="65450"/>
            </a:xfrm>
            <a:custGeom>
              <a:avLst/>
              <a:gdLst/>
              <a:ahLst/>
              <a:cxnLst/>
              <a:rect l="l" t="t" r="r" b="b"/>
              <a:pathLst>
                <a:path w="2799" h="2618" extrusionOk="0">
                  <a:moveTo>
                    <a:pt x="1963" y="0"/>
                  </a:moveTo>
                  <a:lnTo>
                    <a:pt x="1781" y="37"/>
                  </a:lnTo>
                  <a:lnTo>
                    <a:pt x="1563" y="73"/>
                  </a:lnTo>
                  <a:lnTo>
                    <a:pt x="1309" y="182"/>
                  </a:lnTo>
                  <a:lnTo>
                    <a:pt x="982" y="291"/>
                  </a:lnTo>
                  <a:lnTo>
                    <a:pt x="218" y="1963"/>
                  </a:lnTo>
                  <a:lnTo>
                    <a:pt x="146" y="2181"/>
                  </a:lnTo>
                  <a:lnTo>
                    <a:pt x="0" y="2617"/>
                  </a:lnTo>
                  <a:lnTo>
                    <a:pt x="1054" y="2581"/>
                  </a:lnTo>
                  <a:lnTo>
                    <a:pt x="1781" y="2581"/>
                  </a:lnTo>
                  <a:lnTo>
                    <a:pt x="2072" y="2472"/>
                  </a:lnTo>
                  <a:lnTo>
                    <a:pt x="2326" y="2326"/>
                  </a:lnTo>
                  <a:lnTo>
                    <a:pt x="2544" y="2145"/>
                  </a:lnTo>
                  <a:lnTo>
                    <a:pt x="2690" y="1927"/>
                  </a:lnTo>
                  <a:lnTo>
                    <a:pt x="2763" y="1818"/>
                  </a:lnTo>
                  <a:lnTo>
                    <a:pt x="2799" y="1672"/>
                  </a:lnTo>
                  <a:lnTo>
                    <a:pt x="2799" y="1490"/>
                  </a:lnTo>
                  <a:lnTo>
                    <a:pt x="2799" y="1309"/>
                  </a:lnTo>
                  <a:lnTo>
                    <a:pt x="2690" y="873"/>
                  </a:lnTo>
                  <a:lnTo>
                    <a:pt x="2472" y="327"/>
                  </a:lnTo>
                  <a:lnTo>
                    <a:pt x="2399" y="218"/>
                  </a:lnTo>
                  <a:lnTo>
                    <a:pt x="2326" y="109"/>
                  </a:lnTo>
                  <a:lnTo>
                    <a:pt x="2181" y="37"/>
                  </a:lnTo>
                  <a:lnTo>
                    <a:pt x="1963" y="0"/>
                  </a:lnTo>
                  <a:close/>
                </a:path>
              </a:pathLst>
            </a:custGeom>
            <a:solidFill>
              <a:srgbClr val="CE979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87" name="Google Shape;2716;p11">
              <a:extLst>
                <a:ext uri="{FF2B5EF4-FFF2-40B4-BE49-F238E27FC236}">
                  <a16:creationId xmlns:a16="http://schemas.microsoft.com/office/drawing/2014/main" id="{BA1510B7-B8B2-A030-47D9-57ABFA0A8764}"/>
                </a:ext>
              </a:extLst>
            </p:cNvPr>
            <p:cNvSpPr/>
            <p:nvPr/>
          </p:nvSpPr>
          <p:spPr>
            <a:xfrm>
              <a:off x="4706825" y="2691200"/>
              <a:ext cx="69975" cy="65450"/>
            </a:xfrm>
            <a:custGeom>
              <a:avLst/>
              <a:gdLst/>
              <a:ahLst/>
              <a:cxnLst/>
              <a:rect l="l" t="t" r="r" b="b"/>
              <a:pathLst>
                <a:path w="2799" h="2618" fill="none" extrusionOk="0">
                  <a:moveTo>
                    <a:pt x="1963" y="0"/>
                  </a:moveTo>
                  <a:lnTo>
                    <a:pt x="1963" y="0"/>
                  </a:lnTo>
                  <a:lnTo>
                    <a:pt x="1781" y="37"/>
                  </a:lnTo>
                  <a:lnTo>
                    <a:pt x="1563" y="73"/>
                  </a:lnTo>
                  <a:lnTo>
                    <a:pt x="1309" y="182"/>
                  </a:lnTo>
                  <a:lnTo>
                    <a:pt x="982" y="291"/>
                  </a:lnTo>
                  <a:lnTo>
                    <a:pt x="982" y="291"/>
                  </a:lnTo>
                  <a:lnTo>
                    <a:pt x="982" y="291"/>
                  </a:lnTo>
                  <a:lnTo>
                    <a:pt x="982" y="291"/>
                  </a:lnTo>
                  <a:lnTo>
                    <a:pt x="218" y="1963"/>
                  </a:lnTo>
                  <a:lnTo>
                    <a:pt x="218" y="1963"/>
                  </a:lnTo>
                  <a:lnTo>
                    <a:pt x="146" y="2181"/>
                  </a:lnTo>
                  <a:lnTo>
                    <a:pt x="0" y="2617"/>
                  </a:lnTo>
                  <a:lnTo>
                    <a:pt x="0" y="2617"/>
                  </a:lnTo>
                  <a:lnTo>
                    <a:pt x="1054" y="2581"/>
                  </a:lnTo>
                  <a:lnTo>
                    <a:pt x="1054" y="2581"/>
                  </a:lnTo>
                  <a:lnTo>
                    <a:pt x="1781" y="2581"/>
                  </a:lnTo>
                  <a:lnTo>
                    <a:pt x="1781" y="2581"/>
                  </a:lnTo>
                  <a:lnTo>
                    <a:pt x="2072" y="2472"/>
                  </a:lnTo>
                  <a:lnTo>
                    <a:pt x="2326" y="2326"/>
                  </a:lnTo>
                  <a:lnTo>
                    <a:pt x="2544" y="2145"/>
                  </a:lnTo>
                  <a:lnTo>
                    <a:pt x="2690" y="1927"/>
                  </a:lnTo>
                  <a:lnTo>
                    <a:pt x="2763" y="1818"/>
                  </a:lnTo>
                  <a:lnTo>
                    <a:pt x="2799" y="1672"/>
                  </a:lnTo>
                  <a:lnTo>
                    <a:pt x="2799" y="1490"/>
                  </a:lnTo>
                  <a:lnTo>
                    <a:pt x="2799" y="1309"/>
                  </a:lnTo>
                  <a:lnTo>
                    <a:pt x="2690" y="873"/>
                  </a:lnTo>
                  <a:lnTo>
                    <a:pt x="2472" y="327"/>
                  </a:lnTo>
                  <a:lnTo>
                    <a:pt x="2472" y="327"/>
                  </a:lnTo>
                  <a:lnTo>
                    <a:pt x="2399" y="218"/>
                  </a:lnTo>
                  <a:lnTo>
                    <a:pt x="2326" y="109"/>
                  </a:lnTo>
                  <a:lnTo>
                    <a:pt x="2181" y="37"/>
                  </a:lnTo>
                  <a:lnTo>
                    <a:pt x="1963"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88" name="Google Shape;2717;p11">
              <a:extLst>
                <a:ext uri="{FF2B5EF4-FFF2-40B4-BE49-F238E27FC236}">
                  <a16:creationId xmlns:a16="http://schemas.microsoft.com/office/drawing/2014/main" id="{FA3E8F19-CB6F-58F7-0B6F-CF46EE9419EE}"/>
                </a:ext>
              </a:extLst>
            </p:cNvPr>
            <p:cNvSpPr/>
            <p:nvPr/>
          </p:nvSpPr>
          <p:spPr>
            <a:xfrm>
              <a:off x="3957200" y="2437675"/>
              <a:ext cx="1132175" cy="1208525"/>
            </a:xfrm>
            <a:custGeom>
              <a:avLst/>
              <a:gdLst/>
              <a:ahLst/>
              <a:cxnLst/>
              <a:rect l="l" t="t" r="r" b="b"/>
              <a:pathLst>
                <a:path w="45287" h="48341" extrusionOk="0">
                  <a:moveTo>
                    <a:pt x="3925" y="1"/>
                  </a:moveTo>
                  <a:lnTo>
                    <a:pt x="3235" y="73"/>
                  </a:lnTo>
                  <a:lnTo>
                    <a:pt x="2980" y="110"/>
                  </a:lnTo>
                  <a:lnTo>
                    <a:pt x="2835" y="183"/>
                  </a:lnTo>
                  <a:lnTo>
                    <a:pt x="2435" y="1600"/>
                  </a:lnTo>
                  <a:lnTo>
                    <a:pt x="2108" y="2799"/>
                  </a:lnTo>
                  <a:lnTo>
                    <a:pt x="1708" y="4290"/>
                  </a:lnTo>
                  <a:lnTo>
                    <a:pt x="1308" y="5998"/>
                  </a:lnTo>
                  <a:lnTo>
                    <a:pt x="909" y="7851"/>
                  </a:lnTo>
                  <a:lnTo>
                    <a:pt x="545" y="9814"/>
                  </a:lnTo>
                  <a:lnTo>
                    <a:pt x="400" y="10832"/>
                  </a:lnTo>
                  <a:lnTo>
                    <a:pt x="254" y="11849"/>
                  </a:lnTo>
                  <a:lnTo>
                    <a:pt x="145" y="12867"/>
                  </a:lnTo>
                  <a:lnTo>
                    <a:pt x="73" y="13885"/>
                  </a:lnTo>
                  <a:lnTo>
                    <a:pt x="36" y="14866"/>
                  </a:lnTo>
                  <a:lnTo>
                    <a:pt x="0" y="15848"/>
                  </a:lnTo>
                  <a:lnTo>
                    <a:pt x="36" y="16793"/>
                  </a:lnTo>
                  <a:lnTo>
                    <a:pt x="109" y="17701"/>
                  </a:lnTo>
                  <a:lnTo>
                    <a:pt x="218" y="18573"/>
                  </a:lnTo>
                  <a:lnTo>
                    <a:pt x="363" y="19409"/>
                  </a:lnTo>
                  <a:lnTo>
                    <a:pt x="582" y="20173"/>
                  </a:lnTo>
                  <a:lnTo>
                    <a:pt x="872" y="20900"/>
                  </a:lnTo>
                  <a:lnTo>
                    <a:pt x="1018" y="21227"/>
                  </a:lnTo>
                  <a:lnTo>
                    <a:pt x="1199" y="21554"/>
                  </a:lnTo>
                  <a:lnTo>
                    <a:pt x="1381" y="21845"/>
                  </a:lnTo>
                  <a:lnTo>
                    <a:pt x="1599" y="22135"/>
                  </a:lnTo>
                  <a:lnTo>
                    <a:pt x="1817" y="22390"/>
                  </a:lnTo>
                  <a:lnTo>
                    <a:pt x="2072" y="22608"/>
                  </a:lnTo>
                  <a:lnTo>
                    <a:pt x="2326" y="22826"/>
                  </a:lnTo>
                  <a:lnTo>
                    <a:pt x="2617" y="23008"/>
                  </a:lnTo>
                  <a:lnTo>
                    <a:pt x="2908" y="23189"/>
                  </a:lnTo>
                  <a:lnTo>
                    <a:pt x="3235" y="23335"/>
                  </a:lnTo>
                  <a:lnTo>
                    <a:pt x="3562" y="23444"/>
                  </a:lnTo>
                  <a:lnTo>
                    <a:pt x="3925" y="23516"/>
                  </a:lnTo>
                  <a:lnTo>
                    <a:pt x="5016" y="23735"/>
                  </a:lnTo>
                  <a:lnTo>
                    <a:pt x="6251" y="23880"/>
                  </a:lnTo>
                  <a:lnTo>
                    <a:pt x="7633" y="23989"/>
                  </a:lnTo>
                  <a:lnTo>
                    <a:pt x="9086" y="24062"/>
                  </a:lnTo>
                  <a:lnTo>
                    <a:pt x="12139" y="24171"/>
                  </a:lnTo>
                  <a:lnTo>
                    <a:pt x="15229" y="24280"/>
                  </a:lnTo>
                  <a:lnTo>
                    <a:pt x="16683" y="24352"/>
                  </a:lnTo>
                  <a:lnTo>
                    <a:pt x="18064" y="24425"/>
                  </a:lnTo>
                  <a:lnTo>
                    <a:pt x="19336" y="24534"/>
                  </a:lnTo>
                  <a:lnTo>
                    <a:pt x="20463" y="24680"/>
                  </a:lnTo>
                  <a:lnTo>
                    <a:pt x="21408" y="24898"/>
                  </a:lnTo>
                  <a:lnTo>
                    <a:pt x="21807" y="25007"/>
                  </a:lnTo>
                  <a:lnTo>
                    <a:pt x="22135" y="25116"/>
                  </a:lnTo>
                  <a:lnTo>
                    <a:pt x="22425" y="25261"/>
                  </a:lnTo>
                  <a:lnTo>
                    <a:pt x="22643" y="25406"/>
                  </a:lnTo>
                  <a:lnTo>
                    <a:pt x="22789" y="25588"/>
                  </a:lnTo>
                  <a:lnTo>
                    <a:pt x="22861" y="25770"/>
                  </a:lnTo>
                  <a:lnTo>
                    <a:pt x="22898" y="26715"/>
                  </a:lnTo>
                  <a:lnTo>
                    <a:pt x="22934" y="27660"/>
                  </a:lnTo>
                  <a:lnTo>
                    <a:pt x="23080" y="29441"/>
                  </a:lnTo>
                  <a:lnTo>
                    <a:pt x="23225" y="31258"/>
                  </a:lnTo>
                  <a:lnTo>
                    <a:pt x="23298" y="32203"/>
                  </a:lnTo>
                  <a:lnTo>
                    <a:pt x="23334" y="33184"/>
                  </a:lnTo>
                  <a:lnTo>
                    <a:pt x="23334" y="34275"/>
                  </a:lnTo>
                  <a:lnTo>
                    <a:pt x="23298" y="35402"/>
                  </a:lnTo>
                  <a:lnTo>
                    <a:pt x="23225" y="36637"/>
                  </a:lnTo>
                  <a:lnTo>
                    <a:pt x="23116" y="38018"/>
                  </a:lnTo>
                  <a:lnTo>
                    <a:pt x="22934" y="39472"/>
                  </a:lnTo>
                  <a:lnTo>
                    <a:pt x="22680" y="41108"/>
                  </a:lnTo>
                  <a:lnTo>
                    <a:pt x="22353" y="42889"/>
                  </a:lnTo>
                  <a:lnTo>
                    <a:pt x="21953" y="44851"/>
                  </a:lnTo>
                  <a:lnTo>
                    <a:pt x="22571" y="45324"/>
                  </a:lnTo>
                  <a:lnTo>
                    <a:pt x="23225" y="45760"/>
                  </a:lnTo>
                  <a:lnTo>
                    <a:pt x="23952" y="46196"/>
                  </a:lnTo>
                  <a:lnTo>
                    <a:pt x="24715" y="46560"/>
                  </a:lnTo>
                  <a:lnTo>
                    <a:pt x="25515" y="46887"/>
                  </a:lnTo>
                  <a:lnTo>
                    <a:pt x="26351" y="47178"/>
                  </a:lnTo>
                  <a:lnTo>
                    <a:pt x="27223" y="47432"/>
                  </a:lnTo>
                  <a:lnTo>
                    <a:pt x="28132" y="47650"/>
                  </a:lnTo>
                  <a:lnTo>
                    <a:pt x="29077" y="47832"/>
                  </a:lnTo>
                  <a:lnTo>
                    <a:pt x="30022" y="48013"/>
                  </a:lnTo>
                  <a:lnTo>
                    <a:pt x="30967" y="48123"/>
                  </a:lnTo>
                  <a:lnTo>
                    <a:pt x="31912" y="48232"/>
                  </a:lnTo>
                  <a:lnTo>
                    <a:pt x="32893" y="48268"/>
                  </a:lnTo>
                  <a:lnTo>
                    <a:pt x="33874" y="48304"/>
                  </a:lnTo>
                  <a:lnTo>
                    <a:pt x="34819" y="48341"/>
                  </a:lnTo>
                  <a:lnTo>
                    <a:pt x="35764" y="48304"/>
                  </a:lnTo>
                  <a:lnTo>
                    <a:pt x="36673" y="48268"/>
                  </a:lnTo>
                  <a:lnTo>
                    <a:pt x="37581" y="48195"/>
                  </a:lnTo>
                  <a:lnTo>
                    <a:pt x="38454" y="48086"/>
                  </a:lnTo>
                  <a:lnTo>
                    <a:pt x="39326" y="47977"/>
                  </a:lnTo>
                  <a:lnTo>
                    <a:pt x="40126" y="47868"/>
                  </a:lnTo>
                  <a:lnTo>
                    <a:pt x="40889" y="47686"/>
                  </a:lnTo>
                  <a:lnTo>
                    <a:pt x="41616" y="47505"/>
                  </a:lnTo>
                  <a:lnTo>
                    <a:pt x="42306" y="47323"/>
                  </a:lnTo>
                  <a:lnTo>
                    <a:pt x="42924" y="47105"/>
                  </a:lnTo>
                  <a:lnTo>
                    <a:pt x="43469" y="46887"/>
                  </a:lnTo>
                  <a:lnTo>
                    <a:pt x="43942" y="46632"/>
                  </a:lnTo>
                  <a:lnTo>
                    <a:pt x="44378" y="46378"/>
                  </a:lnTo>
                  <a:lnTo>
                    <a:pt x="44705" y="46123"/>
                  </a:lnTo>
                  <a:lnTo>
                    <a:pt x="44996" y="45833"/>
                  </a:lnTo>
                  <a:lnTo>
                    <a:pt x="45141" y="45542"/>
                  </a:lnTo>
                  <a:lnTo>
                    <a:pt x="45214" y="45360"/>
                  </a:lnTo>
                  <a:lnTo>
                    <a:pt x="45250" y="45215"/>
                  </a:lnTo>
                  <a:lnTo>
                    <a:pt x="45287" y="44415"/>
                  </a:lnTo>
                  <a:lnTo>
                    <a:pt x="45287" y="43289"/>
                  </a:lnTo>
                  <a:lnTo>
                    <a:pt x="45250" y="41871"/>
                  </a:lnTo>
                  <a:lnTo>
                    <a:pt x="45141" y="40235"/>
                  </a:lnTo>
                  <a:lnTo>
                    <a:pt x="44996" y="38418"/>
                  </a:lnTo>
                  <a:lnTo>
                    <a:pt x="44851" y="36456"/>
                  </a:lnTo>
                  <a:lnTo>
                    <a:pt x="44414" y="32348"/>
                  </a:lnTo>
                  <a:lnTo>
                    <a:pt x="43978" y="28278"/>
                  </a:lnTo>
                  <a:lnTo>
                    <a:pt x="43469" y="24643"/>
                  </a:lnTo>
                  <a:lnTo>
                    <a:pt x="43251" y="23117"/>
                  </a:lnTo>
                  <a:lnTo>
                    <a:pt x="43033" y="21808"/>
                  </a:lnTo>
                  <a:lnTo>
                    <a:pt x="42815" y="20827"/>
                  </a:lnTo>
                  <a:lnTo>
                    <a:pt x="42634" y="20209"/>
                  </a:lnTo>
                  <a:lnTo>
                    <a:pt x="42379" y="19627"/>
                  </a:lnTo>
                  <a:lnTo>
                    <a:pt x="42088" y="19046"/>
                  </a:lnTo>
                  <a:lnTo>
                    <a:pt x="41689" y="18464"/>
                  </a:lnTo>
                  <a:lnTo>
                    <a:pt x="41289" y="17883"/>
                  </a:lnTo>
                  <a:lnTo>
                    <a:pt x="40816" y="17338"/>
                  </a:lnTo>
                  <a:lnTo>
                    <a:pt x="40344" y="16793"/>
                  </a:lnTo>
                  <a:lnTo>
                    <a:pt x="39835" y="16284"/>
                  </a:lnTo>
                  <a:lnTo>
                    <a:pt x="39326" y="15775"/>
                  </a:lnTo>
                  <a:lnTo>
                    <a:pt x="38272" y="14866"/>
                  </a:lnTo>
                  <a:lnTo>
                    <a:pt x="37327" y="14139"/>
                  </a:lnTo>
                  <a:lnTo>
                    <a:pt x="36564" y="13594"/>
                  </a:lnTo>
                  <a:lnTo>
                    <a:pt x="36237" y="13412"/>
                  </a:lnTo>
                  <a:lnTo>
                    <a:pt x="35982" y="13303"/>
                  </a:lnTo>
                  <a:lnTo>
                    <a:pt x="35692" y="13231"/>
                  </a:lnTo>
                  <a:lnTo>
                    <a:pt x="35328" y="13122"/>
                  </a:lnTo>
                  <a:lnTo>
                    <a:pt x="34347" y="12940"/>
                  </a:lnTo>
                  <a:lnTo>
                    <a:pt x="33075" y="12794"/>
                  </a:lnTo>
                  <a:lnTo>
                    <a:pt x="32384" y="12758"/>
                  </a:lnTo>
                  <a:lnTo>
                    <a:pt x="31621" y="12722"/>
                  </a:lnTo>
                  <a:lnTo>
                    <a:pt x="30131" y="12722"/>
                  </a:lnTo>
                  <a:lnTo>
                    <a:pt x="29367" y="12794"/>
                  </a:lnTo>
                  <a:lnTo>
                    <a:pt x="28640" y="12867"/>
                  </a:lnTo>
                  <a:lnTo>
                    <a:pt x="27914" y="13013"/>
                  </a:lnTo>
                  <a:lnTo>
                    <a:pt x="27259" y="13158"/>
                  </a:lnTo>
                  <a:lnTo>
                    <a:pt x="26605" y="13376"/>
                  </a:lnTo>
                  <a:lnTo>
                    <a:pt x="26060" y="13630"/>
                  </a:lnTo>
                  <a:lnTo>
                    <a:pt x="25042" y="14139"/>
                  </a:lnTo>
                  <a:lnTo>
                    <a:pt x="24134" y="14575"/>
                  </a:lnTo>
                  <a:lnTo>
                    <a:pt x="23189" y="14903"/>
                  </a:lnTo>
                  <a:lnTo>
                    <a:pt x="22316" y="15193"/>
                  </a:lnTo>
                  <a:lnTo>
                    <a:pt x="20426" y="15775"/>
                  </a:lnTo>
                  <a:lnTo>
                    <a:pt x="19372" y="16138"/>
                  </a:lnTo>
                  <a:lnTo>
                    <a:pt x="18246" y="16574"/>
                  </a:lnTo>
                  <a:lnTo>
                    <a:pt x="17628" y="16829"/>
                  </a:lnTo>
                  <a:lnTo>
                    <a:pt x="17010" y="17047"/>
                  </a:lnTo>
                  <a:lnTo>
                    <a:pt x="16392" y="17229"/>
                  </a:lnTo>
                  <a:lnTo>
                    <a:pt x="15738" y="17410"/>
                  </a:lnTo>
                  <a:lnTo>
                    <a:pt x="15083" y="17556"/>
                  </a:lnTo>
                  <a:lnTo>
                    <a:pt x="14429" y="17665"/>
                  </a:lnTo>
                  <a:lnTo>
                    <a:pt x="13739" y="17774"/>
                  </a:lnTo>
                  <a:lnTo>
                    <a:pt x="13048" y="17847"/>
                  </a:lnTo>
                  <a:lnTo>
                    <a:pt x="12358" y="17883"/>
                  </a:lnTo>
                  <a:lnTo>
                    <a:pt x="10976" y="17883"/>
                  </a:lnTo>
                  <a:lnTo>
                    <a:pt x="10322" y="17847"/>
                  </a:lnTo>
                  <a:lnTo>
                    <a:pt x="9632" y="17774"/>
                  </a:lnTo>
                  <a:lnTo>
                    <a:pt x="8977" y="17665"/>
                  </a:lnTo>
                  <a:lnTo>
                    <a:pt x="8287" y="17519"/>
                  </a:lnTo>
                  <a:lnTo>
                    <a:pt x="7669" y="17374"/>
                  </a:lnTo>
                  <a:lnTo>
                    <a:pt x="7524" y="17301"/>
                  </a:lnTo>
                  <a:lnTo>
                    <a:pt x="7378" y="17229"/>
                  </a:lnTo>
                  <a:lnTo>
                    <a:pt x="7160" y="17047"/>
                  </a:lnTo>
                  <a:lnTo>
                    <a:pt x="6978" y="16756"/>
                  </a:lnTo>
                  <a:lnTo>
                    <a:pt x="6833" y="16393"/>
                  </a:lnTo>
                  <a:lnTo>
                    <a:pt x="6724" y="15957"/>
                  </a:lnTo>
                  <a:lnTo>
                    <a:pt x="6651" y="15484"/>
                  </a:lnTo>
                  <a:lnTo>
                    <a:pt x="6615" y="14939"/>
                  </a:lnTo>
                  <a:lnTo>
                    <a:pt x="6579" y="14357"/>
                  </a:lnTo>
                  <a:lnTo>
                    <a:pt x="6579" y="13739"/>
                  </a:lnTo>
                  <a:lnTo>
                    <a:pt x="6615" y="13085"/>
                  </a:lnTo>
                  <a:lnTo>
                    <a:pt x="6724" y="11668"/>
                  </a:lnTo>
                  <a:lnTo>
                    <a:pt x="6906" y="10178"/>
                  </a:lnTo>
                  <a:lnTo>
                    <a:pt x="7160" y="8651"/>
                  </a:lnTo>
                  <a:lnTo>
                    <a:pt x="7415" y="7125"/>
                  </a:lnTo>
                  <a:lnTo>
                    <a:pt x="7705" y="5634"/>
                  </a:lnTo>
                  <a:lnTo>
                    <a:pt x="8287" y="3054"/>
                  </a:lnTo>
                  <a:lnTo>
                    <a:pt x="8723" y="1237"/>
                  </a:lnTo>
                  <a:lnTo>
                    <a:pt x="8905" y="546"/>
                  </a:lnTo>
                  <a:lnTo>
                    <a:pt x="8723" y="473"/>
                  </a:lnTo>
                  <a:lnTo>
                    <a:pt x="8432" y="364"/>
                  </a:lnTo>
                  <a:lnTo>
                    <a:pt x="7705" y="219"/>
                  </a:lnTo>
                  <a:lnTo>
                    <a:pt x="6797" y="110"/>
                  </a:lnTo>
                  <a:lnTo>
                    <a:pt x="5815" y="37"/>
                  </a:lnTo>
                  <a:lnTo>
                    <a:pt x="4798" y="1"/>
                  </a:lnTo>
                  <a:close/>
                </a:path>
              </a:pathLst>
            </a:custGeom>
            <a:solidFill>
              <a:srgbClr val="F28E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89" name="Google Shape;2718;p11">
              <a:extLst>
                <a:ext uri="{FF2B5EF4-FFF2-40B4-BE49-F238E27FC236}">
                  <a16:creationId xmlns:a16="http://schemas.microsoft.com/office/drawing/2014/main" id="{CC5133A5-CE72-B677-29DC-900E084C5F95}"/>
                </a:ext>
              </a:extLst>
            </p:cNvPr>
            <p:cNvSpPr/>
            <p:nvPr/>
          </p:nvSpPr>
          <p:spPr>
            <a:xfrm>
              <a:off x="3957200" y="2437675"/>
              <a:ext cx="1132175" cy="1208525"/>
            </a:xfrm>
            <a:custGeom>
              <a:avLst/>
              <a:gdLst/>
              <a:ahLst/>
              <a:cxnLst/>
              <a:rect l="l" t="t" r="r" b="b"/>
              <a:pathLst>
                <a:path w="45287" h="48341" fill="none" extrusionOk="0">
                  <a:moveTo>
                    <a:pt x="35982" y="13303"/>
                  </a:moveTo>
                  <a:lnTo>
                    <a:pt x="35982" y="13303"/>
                  </a:lnTo>
                  <a:lnTo>
                    <a:pt x="35692" y="13231"/>
                  </a:lnTo>
                  <a:lnTo>
                    <a:pt x="35328" y="13122"/>
                  </a:lnTo>
                  <a:lnTo>
                    <a:pt x="34347" y="12940"/>
                  </a:lnTo>
                  <a:lnTo>
                    <a:pt x="33075" y="12794"/>
                  </a:lnTo>
                  <a:lnTo>
                    <a:pt x="32384" y="12758"/>
                  </a:lnTo>
                  <a:lnTo>
                    <a:pt x="31621" y="12722"/>
                  </a:lnTo>
                  <a:lnTo>
                    <a:pt x="30894" y="12722"/>
                  </a:lnTo>
                  <a:lnTo>
                    <a:pt x="30131" y="12722"/>
                  </a:lnTo>
                  <a:lnTo>
                    <a:pt x="29367" y="12794"/>
                  </a:lnTo>
                  <a:lnTo>
                    <a:pt x="28640" y="12867"/>
                  </a:lnTo>
                  <a:lnTo>
                    <a:pt x="27914" y="13013"/>
                  </a:lnTo>
                  <a:lnTo>
                    <a:pt x="27259" y="13158"/>
                  </a:lnTo>
                  <a:lnTo>
                    <a:pt x="26605" y="13376"/>
                  </a:lnTo>
                  <a:lnTo>
                    <a:pt x="26060" y="13630"/>
                  </a:lnTo>
                  <a:lnTo>
                    <a:pt x="26060" y="13630"/>
                  </a:lnTo>
                  <a:lnTo>
                    <a:pt x="25042" y="14139"/>
                  </a:lnTo>
                  <a:lnTo>
                    <a:pt x="24134" y="14575"/>
                  </a:lnTo>
                  <a:lnTo>
                    <a:pt x="23189" y="14903"/>
                  </a:lnTo>
                  <a:lnTo>
                    <a:pt x="22316" y="15193"/>
                  </a:lnTo>
                  <a:lnTo>
                    <a:pt x="20426" y="15775"/>
                  </a:lnTo>
                  <a:lnTo>
                    <a:pt x="19372" y="16138"/>
                  </a:lnTo>
                  <a:lnTo>
                    <a:pt x="18246" y="16574"/>
                  </a:lnTo>
                  <a:lnTo>
                    <a:pt x="18246" y="16574"/>
                  </a:lnTo>
                  <a:lnTo>
                    <a:pt x="17628" y="16829"/>
                  </a:lnTo>
                  <a:lnTo>
                    <a:pt x="17010" y="17047"/>
                  </a:lnTo>
                  <a:lnTo>
                    <a:pt x="16392" y="17229"/>
                  </a:lnTo>
                  <a:lnTo>
                    <a:pt x="15738" y="17410"/>
                  </a:lnTo>
                  <a:lnTo>
                    <a:pt x="15083" y="17556"/>
                  </a:lnTo>
                  <a:lnTo>
                    <a:pt x="14429" y="17665"/>
                  </a:lnTo>
                  <a:lnTo>
                    <a:pt x="13739" y="17774"/>
                  </a:lnTo>
                  <a:lnTo>
                    <a:pt x="13048" y="17847"/>
                  </a:lnTo>
                  <a:lnTo>
                    <a:pt x="12358" y="17883"/>
                  </a:lnTo>
                  <a:lnTo>
                    <a:pt x="11667" y="17883"/>
                  </a:lnTo>
                  <a:lnTo>
                    <a:pt x="10976" y="17883"/>
                  </a:lnTo>
                  <a:lnTo>
                    <a:pt x="10322" y="17847"/>
                  </a:lnTo>
                  <a:lnTo>
                    <a:pt x="9632" y="17774"/>
                  </a:lnTo>
                  <a:lnTo>
                    <a:pt x="8977" y="17665"/>
                  </a:lnTo>
                  <a:lnTo>
                    <a:pt x="8287" y="17519"/>
                  </a:lnTo>
                  <a:lnTo>
                    <a:pt x="7669" y="17374"/>
                  </a:lnTo>
                  <a:lnTo>
                    <a:pt x="7669" y="17374"/>
                  </a:lnTo>
                  <a:lnTo>
                    <a:pt x="7524" y="17301"/>
                  </a:lnTo>
                  <a:lnTo>
                    <a:pt x="7378" y="17229"/>
                  </a:lnTo>
                  <a:lnTo>
                    <a:pt x="7160" y="17047"/>
                  </a:lnTo>
                  <a:lnTo>
                    <a:pt x="6978" y="16756"/>
                  </a:lnTo>
                  <a:lnTo>
                    <a:pt x="6833" y="16393"/>
                  </a:lnTo>
                  <a:lnTo>
                    <a:pt x="6724" y="15957"/>
                  </a:lnTo>
                  <a:lnTo>
                    <a:pt x="6651" y="15484"/>
                  </a:lnTo>
                  <a:lnTo>
                    <a:pt x="6615" y="14939"/>
                  </a:lnTo>
                  <a:lnTo>
                    <a:pt x="6579" y="14357"/>
                  </a:lnTo>
                  <a:lnTo>
                    <a:pt x="6579" y="13739"/>
                  </a:lnTo>
                  <a:lnTo>
                    <a:pt x="6615" y="13085"/>
                  </a:lnTo>
                  <a:lnTo>
                    <a:pt x="6724" y="11668"/>
                  </a:lnTo>
                  <a:lnTo>
                    <a:pt x="6906" y="10178"/>
                  </a:lnTo>
                  <a:lnTo>
                    <a:pt x="7160" y="8651"/>
                  </a:lnTo>
                  <a:lnTo>
                    <a:pt x="7415" y="7125"/>
                  </a:lnTo>
                  <a:lnTo>
                    <a:pt x="7705" y="5634"/>
                  </a:lnTo>
                  <a:lnTo>
                    <a:pt x="8287" y="3054"/>
                  </a:lnTo>
                  <a:lnTo>
                    <a:pt x="8723" y="1237"/>
                  </a:lnTo>
                  <a:lnTo>
                    <a:pt x="8905" y="546"/>
                  </a:lnTo>
                  <a:lnTo>
                    <a:pt x="8905" y="546"/>
                  </a:lnTo>
                  <a:lnTo>
                    <a:pt x="8723" y="473"/>
                  </a:lnTo>
                  <a:lnTo>
                    <a:pt x="8432" y="364"/>
                  </a:lnTo>
                  <a:lnTo>
                    <a:pt x="7705" y="219"/>
                  </a:lnTo>
                  <a:lnTo>
                    <a:pt x="6797" y="110"/>
                  </a:lnTo>
                  <a:lnTo>
                    <a:pt x="5815" y="37"/>
                  </a:lnTo>
                  <a:lnTo>
                    <a:pt x="4798" y="1"/>
                  </a:lnTo>
                  <a:lnTo>
                    <a:pt x="3925" y="1"/>
                  </a:lnTo>
                  <a:lnTo>
                    <a:pt x="3235" y="73"/>
                  </a:lnTo>
                  <a:lnTo>
                    <a:pt x="2980" y="110"/>
                  </a:lnTo>
                  <a:lnTo>
                    <a:pt x="2835" y="183"/>
                  </a:lnTo>
                  <a:lnTo>
                    <a:pt x="2835" y="183"/>
                  </a:lnTo>
                  <a:lnTo>
                    <a:pt x="2435" y="1600"/>
                  </a:lnTo>
                  <a:lnTo>
                    <a:pt x="2108" y="2799"/>
                  </a:lnTo>
                  <a:lnTo>
                    <a:pt x="1708" y="4290"/>
                  </a:lnTo>
                  <a:lnTo>
                    <a:pt x="1308" y="5998"/>
                  </a:lnTo>
                  <a:lnTo>
                    <a:pt x="909" y="7851"/>
                  </a:lnTo>
                  <a:lnTo>
                    <a:pt x="545" y="9814"/>
                  </a:lnTo>
                  <a:lnTo>
                    <a:pt x="400" y="10832"/>
                  </a:lnTo>
                  <a:lnTo>
                    <a:pt x="254" y="11849"/>
                  </a:lnTo>
                  <a:lnTo>
                    <a:pt x="145" y="12867"/>
                  </a:lnTo>
                  <a:lnTo>
                    <a:pt x="73" y="13885"/>
                  </a:lnTo>
                  <a:lnTo>
                    <a:pt x="36" y="14866"/>
                  </a:lnTo>
                  <a:lnTo>
                    <a:pt x="0" y="15848"/>
                  </a:lnTo>
                  <a:lnTo>
                    <a:pt x="36" y="16793"/>
                  </a:lnTo>
                  <a:lnTo>
                    <a:pt x="109" y="17701"/>
                  </a:lnTo>
                  <a:lnTo>
                    <a:pt x="218" y="18573"/>
                  </a:lnTo>
                  <a:lnTo>
                    <a:pt x="363" y="19409"/>
                  </a:lnTo>
                  <a:lnTo>
                    <a:pt x="582" y="20173"/>
                  </a:lnTo>
                  <a:lnTo>
                    <a:pt x="872" y="20900"/>
                  </a:lnTo>
                  <a:lnTo>
                    <a:pt x="1018" y="21227"/>
                  </a:lnTo>
                  <a:lnTo>
                    <a:pt x="1199" y="21554"/>
                  </a:lnTo>
                  <a:lnTo>
                    <a:pt x="1381" y="21845"/>
                  </a:lnTo>
                  <a:lnTo>
                    <a:pt x="1599" y="22135"/>
                  </a:lnTo>
                  <a:lnTo>
                    <a:pt x="1817" y="22390"/>
                  </a:lnTo>
                  <a:lnTo>
                    <a:pt x="2072" y="22608"/>
                  </a:lnTo>
                  <a:lnTo>
                    <a:pt x="2326" y="22826"/>
                  </a:lnTo>
                  <a:lnTo>
                    <a:pt x="2617" y="23008"/>
                  </a:lnTo>
                  <a:lnTo>
                    <a:pt x="2908" y="23189"/>
                  </a:lnTo>
                  <a:lnTo>
                    <a:pt x="3235" y="23335"/>
                  </a:lnTo>
                  <a:lnTo>
                    <a:pt x="3562" y="23444"/>
                  </a:lnTo>
                  <a:lnTo>
                    <a:pt x="3925" y="23516"/>
                  </a:lnTo>
                  <a:lnTo>
                    <a:pt x="3925" y="23516"/>
                  </a:lnTo>
                  <a:lnTo>
                    <a:pt x="5016" y="23735"/>
                  </a:lnTo>
                  <a:lnTo>
                    <a:pt x="6251" y="23880"/>
                  </a:lnTo>
                  <a:lnTo>
                    <a:pt x="7633" y="23989"/>
                  </a:lnTo>
                  <a:lnTo>
                    <a:pt x="9086" y="24062"/>
                  </a:lnTo>
                  <a:lnTo>
                    <a:pt x="12139" y="24171"/>
                  </a:lnTo>
                  <a:lnTo>
                    <a:pt x="15229" y="24280"/>
                  </a:lnTo>
                  <a:lnTo>
                    <a:pt x="16683" y="24352"/>
                  </a:lnTo>
                  <a:lnTo>
                    <a:pt x="18064" y="24425"/>
                  </a:lnTo>
                  <a:lnTo>
                    <a:pt x="19336" y="24534"/>
                  </a:lnTo>
                  <a:lnTo>
                    <a:pt x="20463" y="24680"/>
                  </a:lnTo>
                  <a:lnTo>
                    <a:pt x="21408" y="24898"/>
                  </a:lnTo>
                  <a:lnTo>
                    <a:pt x="21807" y="25007"/>
                  </a:lnTo>
                  <a:lnTo>
                    <a:pt x="22135" y="25116"/>
                  </a:lnTo>
                  <a:lnTo>
                    <a:pt x="22425" y="25261"/>
                  </a:lnTo>
                  <a:lnTo>
                    <a:pt x="22643" y="25406"/>
                  </a:lnTo>
                  <a:lnTo>
                    <a:pt x="22789" y="25588"/>
                  </a:lnTo>
                  <a:lnTo>
                    <a:pt x="22861" y="25770"/>
                  </a:lnTo>
                  <a:lnTo>
                    <a:pt x="22861" y="25770"/>
                  </a:lnTo>
                  <a:lnTo>
                    <a:pt x="22898" y="26715"/>
                  </a:lnTo>
                  <a:lnTo>
                    <a:pt x="22934" y="27660"/>
                  </a:lnTo>
                  <a:lnTo>
                    <a:pt x="23080" y="29441"/>
                  </a:lnTo>
                  <a:lnTo>
                    <a:pt x="23225" y="31258"/>
                  </a:lnTo>
                  <a:lnTo>
                    <a:pt x="23298" y="32203"/>
                  </a:lnTo>
                  <a:lnTo>
                    <a:pt x="23334" y="33184"/>
                  </a:lnTo>
                  <a:lnTo>
                    <a:pt x="23334" y="34275"/>
                  </a:lnTo>
                  <a:lnTo>
                    <a:pt x="23298" y="35402"/>
                  </a:lnTo>
                  <a:lnTo>
                    <a:pt x="23225" y="36637"/>
                  </a:lnTo>
                  <a:lnTo>
                    <a:pt x="23116" y="38018"/>
                  </a:lnTo>
                  <a:lnTo>
                    <a:pt x="22934" y="39472"/>
                  </a:lnTo>
                  <a:lnTo>
                    <a:pt x="22680" y="41108"/>
                  </a:lnTo>
                  <a:lnTo>
                    <a:pt x="22353" y="42889"/>
                  </a:lnTo>
                  <a:lnTo>
                    <a:pt x="21953" y="44851"/>
                  </a:lnTo>
                  <a:lnTo>
                    <a:pt x="21953" y="44851"/>
                  </a:lnTo>
                  <a:lnTo>
                    <a:pt x="22571" y="45324"/>
                  </a:lnTo>
                  <a:lnTo>
                    <a:pt x="23225" y="45760"/>
                  </a:lnTo>
                  <a:lnTo>
                    <a:pt x="23952" y="46196"/>
                  </a:lnTo>
                  <a:lnTo>
                    <a:pt x="24715" y="46560"/>
                  </a:lnTo>
                  <a:lnTo>
                    <a:pt x="25515" y="46887"/>
                  </a:lnTo>
                  <a:lnTo>
                    <a:pt x="26351" y="47178"/>
                  </a:lnTo>
                  <a:lnTo>
                    <a:pt x="27223" y="47432"/>
                  </a:lnTo>
                  <a:lnTo>
                    <a:pt x="28132" y="47650"/>
                  </a:lnTo>
                  <a:lnTo>
                    <a:pt x="29077" y="47832"/>
                  </a:lnTo>
                  <a:lnTo>
                    <a:pt x="30022" y="48013"/>
                  </a:lnTo>
                  <a:lnTo>
                    <a:pt x="30967" y="48123"/>
                  </a:lnTo>
                  <a:lnTo>
                    <a:pt x="31912" y="48232"/>
                  </a:lnTo>
                  <a:lnTo>
                    <a:pt x="32893" y="48268"/>
                  </a:lnTo>
                  <a:lnTo>
                    <a:pt x="33874" y="48304"/>
                  </a:lnTo>
                  <a:lnTo>
                    <a:pt x="34819" y="48341"/>
                  </a:lnTo>
                  <a:lnTo>
                    <a:pt x="35764" y="48304"/>
                  </a:lnTo>
                  <a:lnTo>
                    <a:pt x="36673" y="48268"/>
                  </a:lnTo>
                  <a:lnTo>
                    <a:pt x="37581" y="48195"/>
                  </a:lnTo>
                  <a:lnTo>
                    <a:pt x="38454" y="48086"/>
                  </a:lnTo>
                  <a:lnTo>
                    <a:pt x="39326" y="47977"/>
                  </a:lnTo>
                  <a:lnTo>
                    <a:pt x="40126" y="47868"/>
                  </a:lnTo>
                  <a:lnTo>
                    <a:pt x="40889" y="47686"/>
                  </a:lnTo>
                  <a:lnTo>
                    <a:pt x="41616" y="47505"/>
                  </a:lnTo>
                  <a:lnTo>
                    <a:pt x="42306" y="47323"/>
                  </a:lnTo>
                  <a:lnTo>
                    <a:pt x="42924" y="47105"/>
                  </a:lnTo>
                  <a:lnTo>
                    <a:pt x="43469" y="46887"/>
                  </a:lnTo>
                  <a:lnTo>
                    <a:pt x="43942" y="46632"/>
                  </a:lnTo>
                  <a:lnTo>
                    <a:pt x="44378" y="46378"/>
                  </a:lnTo>
                  <a:lnTo>
                    <a:pt x="44705" y="46123"/>
                  </a:lnTo>
                  <a:lnTo>
                    <a:pt x="44996" y="45833"/>
                  </a:lnTo>
                  <a:lnTo>
                    <a:pt x="45141" y="45542"/>
                  </a:lnTo>
                  <a:lnTo>
                    <a:pt x="45214" y="45360"/>
                  </a:lnTo>
                  <a:lnTo>
                    <a:pt x="45250" y="45215"/>
                  </a:lnTo>
                  <a:lnTo>
                    <a:pt x="45250" y="45215"/>
                  </a:lnTo>
                  <a:lnTo>
                    <a:pt x="45287" y="44415"/>
                  </a:lnTo>
                  <a:lnTo>
                    <a:pt x="45287" y="43289"/>
                  </a:lnTo>
                  <a:lnTo>
                    <a:pt x="45250" y="41871"/>
                  </a:lnTo>
                  <a:lnTo>
                    <a:pt x="45141" y="40235"/>
                  </a:lnTo>
                  <a:lnTo>
                    <a:pt x="44996" y="38418"/>
                  </a:lnTo>
                  <a:lnTo>
                    <a:pt x="44851" y="36456"/>
                  </a:lnTo>
                  <a:lnTo>
                    <a:pt x="44414" y="32348"/>
                  </a:lnTo>
                  <a:lnTo>
                    <a:pt x="43978" y="28278"/>
                  </a:lnTo>
                  <a:lnTo>
                    <a:pt x="43469" y="24643"/>
                  </a:lnTo>
                  <a:lnTo>
                    <a:pt x="43251" y="23117"/>
                  </a:lnTo>
                  <a:lnTo>
                    <a:pt x="43033" y="21808"/>
                  </a:lnTo>
                  <a:lnTo>
                    <a:pt x="42815" y="20827"/>
                  </a:lnTo>
                  <a:lnTo>
                    <a:pt x="42634" y="20209"/>
                  </a:lnTo>
                  <a:lnTo>
                    <a:pt x="42634" y="20209"/>
                  </a:lnTo>
                  <a:lnTo>
                    <a:pt x="42379" y="19627"/>
                  </a:lnTo>
                  <a:lnTo>
                    <a:pt x="42088" y="19046"/>
                  </a:lnTo>
                  <a:lnTo>
                    <a:pt x="41689" y="18464"/>
                  </a:lnTo>
                  <a:lnTo>
                    <a:pt x="41289" y="17883"/>
                  </a:lnTo>
                  <a:lnTo>
                    <a:pt x="40816" y="17338"/>
                  </a:lnTo>
                  <a:lnTo>
                    <a:pt x="40344" y="16793"/>
                  </a:lnTo>
                  <a:lnTo>
                    <a:pt x="39835" y="16284"/>
                  </a:lnTo>
                  <a:lnTo>
                    <a:pt x="39326" y="15775"/>
                  </a:lnTo>
                  <a:lnTo>
                    <a:pt x="38272" y="14866"/>
                  </a:lnTo>
                  <a:lnTo>
                    <a:pt x="37327" y="14139"/>
                  </a:lnTo>
                  <a:lnTo>
                    <a:pt x="36564" y="13594"/>
                  </a:lnTo>
                  <a:lnTo>
                    <a:pt x="36237" y="13412"/>
                  </a:lnTo>
                  <a:lnTo>
                    <a:pt x="35982" y="13303"/>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90" name="Google Shape;2719;p11">
              <a:extLst>
                <a:ext uri="{FF2B5EF4-FFF2-40B4-BE49-F238E27FC236}">
                  <a16:creationId xmlns:a16="http://schemas.microsoft.com/office/drawing/2014/main" id="{941DDF11-D0A7-7DCE-2DEF-675CDFA12F25}"/>
                </a:ext>
              </a:extLst>
            </p:cNvPr>
            <p:cNvSpPr/>
            <p:nvPr/>
          </p:nvSpPr>
          <p:spPr>
            <a:xfrm>
              <a:off x="4516900" y="3071000"/>
              <a:ext cx="91800" cy="433450"/>
            </a:xfrm>
            <a:custGeom>
              <a:avLst/>
              <a:gdLst/>
              <a:ahLst/>
              <a:cxnLst/>
              <a:rect l="l" t="t" r="r" b="b"/>
              <a:pathLst>
                <a:path w="3672" h="17338" extrusionOk="0">
                  <a:moveTo>
                    <a:pt x="219" y="1"/>
                  </a:moveTo>
                  <a:lnTo>
                    <a:pt x="328" y="73"/>
                  </a:lnTo>
                  <a:lnTo>
                    <a:pt x="401" y="219"/>
                  </a:lnTo>
                  <a:lnTo>
                    <a:pt x="473" y="437"/>
                  </a:lnTo>
                  <a:lnTo>
                    <a:pt x="510" y="1309"/>
                  </a:lnTo>
                  <a:lnTo>
                    <a:pt x="546" y="2145"/>
                  </a:lnTo>
                  <a:lnTo>
                    <a:pt x="692" y="3853"/>
                  </a:lnTo>
                  <a:lnTo>
                    <a:pt x="837" y="5598"/>
                  </a:lnTo>
                  <a:lnTo>
                    <a:pt x="946" y="7452"/>
                  </a:lnTo>
                  <a:lnTo>
                    <a:pt x="982" y="8469"/>
                  </a:lnTo>
                  <a:lnTo>
                    <a:pt x="982" y="9523"/>
                  </a:lnTo>
                  <a:lnTo>
                    <a:pt x="946" y="10614"/>
                  </a:lnTo>
                  <a:lnTo>
                    <a:pt x="873" y="11813"/>
                  </a:lnTo>
                  <a:lnTo>
                    <a:pt x="764" y="13049"/>
                  </a:lnTo>
                  <a:lnTo>
                    <a:pt x="583" y="14394"/>
                  </a:lnTo>
                  <a:lnTo>
                    <a:pt x="328" y="15811"/>
                  </a:lnTo>
                  <a:lnTo>
                    <a:pt x="1" y="17338"/>
                  </a:lnTo>
                  <a:lnTo>
                    <a:pt x="110" y="17301"/>
                  </a:lnTo>
                  <a:lnTo>
                    <a:pt x="219" y="17120"/>
                  </a:lnTo>
                  <a:lnTo>
                    <a:pt x="510" y="16647"/>
                  </a:lnTo>
                  <a:lnTo>
                    <a:pt x="801" y="16029"/>
                  </a:lnTo>
                  <a:lnTo>
                    <a:pt x="1055" y="15520"/>
                  </a:lnTo>
                  <a:lnTo>
                    <a:pt x="1309" y="15048"/>
                  </a:lnTo>
                  <a:lnTo>
                    <a:pt x="1600" y="14357"/>
                  </a:lnTo>
                  <a:lnTo>
                    <a:pt x="1855" y="13558"/>
                  </a:lnTo>
                  <a:lnTo>
                    <a:pt x="2109" y="12649"/>
                  </a:lnTo>
                  <a:lnTo>
                    <a:pt x="2363" y="11631"/>
                  </a:lnTo>
                  <a:lnTo>
                    <a:pt x="2582" y="10577"/>
                  </a:lnTo>
                  <a:lnTo>
                    <a:pt x="3018" y="8360"/>
                  </a:lnTo>
                  <a:lnTo>
                    <a:pt x="3345" y="6216"/>
                  </a:lnTo>
                  <a:lnTo>
                    <a:pt x="3599" y="4326"/>
                  </a:lnTo>
                  <a:lnTo>
                    <a:pt x="3636" y="3526"/>
                  </a:lnTo>
                  <a:lnTo>
                    <a:pt x="3672" y="2908"/>
                  </a:lnTo>
                  <a:lnTo>
                    <a:pt x="3672" y="2436"/>
                  </a:lnTo>
                  <a:lnTo>
                    <a:pt x="3636" y="2291"/>
                  </a:lnTo>
                  <a:lnTo>
                    <a:pt x="3599" y="2181"/>
                  </a:lnTo>
                  <a:lnTo>
                    <a:pt x="3417" y="1854"/>
                  </a:lnTo>
                  <a:lnTo>
                    <a:pt x="3236" y="1600"/>
                  </a:lnTo>
                  <a:lnTo>
                    <a:pt x="2981" y="1346"/>
                  </a:lnTo>
                  <a:lnTo>
                    <a:pt x="2654" y="1091"/>
                  </a:lnTo>
                  <a:lnTo>
                    <a:pt x="2254" y="873"/>
                  </a:lnTo>
                  <a:lnTo>
                    <a:pt x="1709" y="619"/>
                  </a:lnTo>
                  <a:lnTo>
                    <a:pt x="1055" y="328"/>
                  </a:lnTo>
                  <a:lnTo>
                    <a:pt x="219" y="1"/>
                  </a:lnTo>
                  <a:close/>
                </a:path>
              </a:pathLst>
            </a:custGeom>
            <a:solidFill>
              <a:srgbClr val="B76F1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91" name="Google Shape;2720;p11">
              <a:extLst>
                <a:ext uri="{FF2B5EF4-FFF2-40B4-BE49-F238E27FC236}">
                  <a16:creationId xmlns:a16="http://schemas.microsoft.com/office/drawing/2014/main" id="{5154FA26-95F1-C8B5-0F37-18A4D248E4DF}"/>
                </a:ext>
              </a:extLst>
            </p:cNvPr>
            <p:cNvSpPr/>
            <p:nvPr/>
          </p:nvSpPr>
          <p:spPr>
            <a:xfrm>
              <a:off x="4516900" y="3071000"/>
              <a:ext cx="91800" cy="433450"/>
            </a:xfrm>
            <a:custGeom>
              <a:avLst/>
              <a:gdLst/>
              <a:ahLst/>
              <a:cxnLst/>
              <a:rect l="l" t="t" r="r" b="b"/>
              <a:pathLst>
                <a:path w="3672" h="17338" fill="none" extrusionOk="0">
                  <a:moveTo>
                    <a:pt x="219" y="1"/>
                  </a:moveTo>
                  <a:lnTo>
                    <a:pt x="219" y="1"/>
                  </a:lnTo>
                  <a:lnTo>
                    <a:pt x="328" y="73"/>
                  </a:lnTo>
                  <a:lnTo>
                    <a:pt x="401" y="219"/>
                  </a:lnTo>
                  <a:lnTo>
                    <a:pt x="473" y="437"/>
                  </a:lnTo>
                  <a:lnTo>
                    <a:pt x="473" y="437"/>
                  </a:lnTo>
                  <a:lnTo>
                    <a:pt x="510" y="1309"/>
                  </a:lnTo>
                  <a:lnTo>
                    <a:pt x="546" y="2145"/>
                  </a:lnTo>
                  <a:lnTo>
                    <a:pt x="692" y="3853"/>
                  </a:lnTo>
                  <a:lnTo>
                    <a:pt x="837" y="5598"/>
                  </a:lnTo>
                  <a:lnTo>
                    <a:pt x="946" y="7452"/>
                  </a:lnTo>
                  <a:lnTo>
                    <a:pt x="982" y="8469"/>
                  </a:lnTo>
                  <a:lnTo>
                    <a:pt x="982" y="9523"/>
                  </a:lnTo>
                  <a:lnTo>
                    <a:pt x="946" y="10614"/>
                  </a:lnTo>
                  <a:lnTo>
                    <a:pt x="873" y="11813"/>
                  </a:lnTo>
                  <a:lnTo>
                    <a:pt x="764" y="13049"/>
                  </a:lnTo>
                  <a:lnTo>
                    <a:pt x="583" y="14394"/>
                  </a:lnTo>
                  <a:lnTo>
                    <a:pt x="328" y="15811"/>
                  </a:lnTo>
                  <a:lnTo>
                    <a:pt x="1" y="17338"/>
                  </a:lnTo>
                  <a:lnTo>
                    <a:pt x="1" y="17338"/>
                  </a:lnTo>
                  <a:lnTo>
                    <a:pt x="110" y="17301"/>
                  </a:lnTo>
                  <a:lnTo>
                    <a:pt x="219" y="17120"/>
                  </a:lnTo>
                  <a:lnTo>
                    <a:pt x="510" y="16647"/>
                  </a:lnTo>
                  <a:lnTo>
                    <a:pt x="801" y="16029"/>
                  </a:lnTo>
                  <a:lnTo>
                    <a:pt x="1055" y="15520"/>
                  </a:lnTo>
                  <a:lnTo>
                    <a:pt x="1055" y="15520"/>
                  </a:lnTo>
                  <a:lnTo>
                    <a:pt x="1309" y="15048"/>
                  </a:lnTo>
                  <a:lnTo>
                    <a:pt x="1600" y="14357"/>
                  </a:lnTo>
                  <a:lnTo>
                    <a:pt x="1855" y="13558"/>
                  </a:lnTo>
                  <a:lnTo>
                    <a:pt x="2109" y="12649"/>
                  </a:lnTo>
                  <a:lnTo>
                    <a:pt x="2363" y="11631"/>
                  </a:lnTo>
                  <a:lnTo>
                    <a:pt x="2582" y="10577"/>
                  </a:lnTo>
                  <a:lnTo>
                    <a:pt x="3018" y="8360"/>
                  </a:lnTo>
                  <a:lnTo>
                    <a:pt x="3345" y="6216"/>
                  </a:lnTo>
                  <a:lnTo>
                    <a:pt x="3599" y="4326"/>
                  </a:lnTo>
                  <a:lnTo>
                    <a:pt x="3636" y="3526"/>
                  </a:lnTo>
                  <a:lnTo>
                    <a:pt x="3672" y="2908"/>
                  </a:lnTo>
                  <a:lnTo>
                    <a:pt x="3672" y="2436"/>
                  </a:lnTo>
                  <a:lnTo>
                    <a:pt x="3636" y="2291"/>
                  </a:lnTo>
                  <a:lnTo>
                    <a:pt x="3599" y="2181"/>
                  </a:lnTo>
                  <a:lnTo>
                    <a:pt x="3599" y="2181"/>
                  </a:lnTo>
                  <a:lnTo>
                    <a:pt x="3417" y="1854"/>
                  </a:lnTo>
                  <a:lnTo>
                    <a:pt x="3236" y="1600"/>
                  </a:lnTo>
                  <a:lnTo>
                    <a:pt x="2981" y="1346"/>
                  </a:lnTo>
                  <a:lnTo>
                    <a:pt x="2654" y="1091"/>
                  </a:lnTo>
                  <a:lnTo>
                    <a:pt x="2254" y="873"/>
                  </a:lnTo>
                  <a:lnTo>
                    <a:pt x="1709" y="619"/>
                  </a:lnTo>
                  <a:lnTo>
                    <a:pt x="1055" y="328"/>
                  </a:lnTo>
                  <a:lnTo>
                    <a:pt x="219"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92" name="Google Shape;2721;p11">
              <a:extLst>
                <a:ext uri="{FF2B5EF4-FFF2-40B4-BE49-F238E27FC236}">
                  <a16:creationId xmlns:a16="http://schemas.microsoft.com/office/drawing/2014/main" id="{F1E28613-A6A4-6166-9A42-58FF1EEDB597}"/>
                </a:ext>
              </a:extLst>
            </p:cNvPr>
            <p:cNvSpPr/>
            <p:nvPr/>
          </p:nvSpPr>
          <p:spPr>
            <a:xfrm>
              <a:off x="7023850" y="3625275"/>
              <a:ext cx="182675" cy="196300"/>
            </a:xfrm>
            <a:custGeom>
              <a:avLst/>
              <a:gdLst/>
              <a:ahLst/>
              <a:cxnLst/>
              <a:rect l="l" t="t" r="r" b="b"/>
              <a:pathLst>
                <a:path w="7307" h="7852" extrusionOk="0">
                  <a:moveTo>
                    <a:pt x="3744" y="1"/>
                  </a:moveTo>
                  <a:lnTo>
                    <a:pt x="1" y="182"/>
                  </a:lnTo>
                  <a:lnTo>
                    <a:pt x="546" y="1782"/>
                  </a:lnTo>
                  <a:lnTo>
                    <a:pt x="1018" y="3126"/>
                  </a:lnTo>
                  <a:lnTo>
                    <a:pt x="1455" y="4253"/>
                  </a:lnTo>
                  <a:lnTo>
                    <a:pt x="1564" y="4580"/>
                  </a:lnTo>
                  <a:lnTo>
                    <a:pt x="1600" y="4907"/>
                  </a:lnTo>
                  <a:lnTo>
                    <a:pt x="1564" y="5234"/>
                  </a:lnTo>
                  <a:lnTo>
                    <a:pt x="1527" y="5525"/>
                  </a:lnTo>
                  <a:lnTo>
                    <a:pt x="1455" y="5780"/>
                  </a:lnTo>
                  <a:lnTo>
                    <a:pt x="1418" y="5998"/>
                  </a:lnTo>
                  <a:lnTo>
                    <a:pt x="1455" y="6216"/>
                  </a:lnTo>
                  <a:lnTo>
                    <a:pt x="1491" y="6325"/>
                  </a:lnTo>
                  <a:lnTo>
                    <a:pt x="1527" y="6397"/>
                  </a:lnTo>
                  <a:lnTo>
                    <a:pt x="1636" y="6507"/>
                  </a:lnTo>
                  <a:lnTo>
                    <a:pt x="1745" y="6543"/>
                  </a:lnTo>
                  <a:lnTo>
                    <a:pt x="1854" y="6543"/>
                  </a:lnTo>
                  <a:lnTo>
                    <a:pt x="1963" y="6507"/>
                  </a:lnTo>
                  <a:lnTo>
                    <a:pt x="2218" y="6361"/>
                  </a:lnTo>
                  <a:lnTo>
                    <a:pt x="2509" y="6252"/>
                  </a:lnTo>
                  <a:lnTo>
                    <a:pt x="2690" y="6179"/>
                  </a:lnTo>
                  <a:lnTo>
                    <a:pt x="2872" y="6143"/>
                  </a:lnTo>
                  <a:lnTo>
                    <a:pt x="3090" y="6143"/>
                  </a:lnTo>
                  <a:lnTo>
                    <a:pt x="3345" y="6216"/>
                  </a:lnTo>
                  <a:lnTo>
                    <a:pt x="3599" y="6325"/>
                  </a:lnTo>
                  <a:lnTo>
                    <a:pt x="3890" y="6470"/>
                  </a:lnTo>
                  <a:lnTo>
                    <a:pt x="4217" y="6688"/>
                  </a:lnTo>
                  <a:lnTo>
                    <a:pt x="4580" y="7015"/>
                  </a:lnTo>
                  <a:lnTo>
                    <a:pt x="5017" y="7379"/>
                  </a:lnTo>
                  <a:lnTo>
                    <a:pt x="5416" y="7670"/>
                  </a:lnTo>
                  <a:lnTo>
                    <a:pt x="5634" y="7742"/>
                  </a:lnTo>
                  <a:lnTo>
                    <a:pt x="5852" y="7815"/>
                  </a:lnTo>
                  <a:lnTo>
                    <a:pt x="6034" y="7851"/>
                  </a:lnTo>
                  <a:lnTo>
                    <a:pt x="6216" y="7851"/>
                  </a:lnTo>
                  <a:lnTo>
                    <a:pt x="6398" y="7815"/>
                  </a:lnTo>
                  <a:lnTo>
                    <a:pt x="6543" y="7742"/>
                  </a:lnTo>
                  <a:lnTo>
                    <a:pt x="6725" y="7633"/>
                  </a:lnTo>
                  <a:lnTo>
                    <a:pt x="6870" y="7524"/>
                  </a:lnTo>
                  <a:lnTo>
                    <a:pt x="6979" y="7342"/>
                  </a:lnTo>
                  <a:lnTo>
                    <a:pt x="7088" y="7124"/>
                  </a:lnTo>
                  <a:lnTo>
                    <a:pt x="7197" y="6834"/>
                  </a:lnTo>
                  <a:lnTo>
                    <a:pt x="7270" y="6543"/>
                  </a:lnTo>
                  <a:lnTo>
                    <a:pt x="7306" y="6252"/>
                  </a:lnTo>
                  <a:lnTo>
                    <a:pt x="7306" y="5961"/>
                  </a:lnTo>
                  <a:lnTo>
                    <a:pt x="7234" y="5671"/>
                  </a:lnTo>
                  <a:lnTo>
                    <a:pt x="7088" y="5416"/>
                  </a:lnTo>
                  <a:lnTo>
                    <a:pt x="6943" y="5162"/>
                  </a:lnTo>
                  <a:lnTo>
                    <a:pt x="6761" y="4907"/>
                  </a:lnTo>
                  <a:lnTo>
                    <a:pt x="6579" y="4689"/>
                  </a:lnTo>
                  <a:lnTo>
                    <a:pt x="6361" y="4471"/>
                  </a:lnTo>
                  <a:lnTo>
                    <a:pt x="5889" y="4071"/>
                  </a:lnTo>
                  <a:lnTo>
                    <a:pt x="5416" y="3708"/>
                  </a:lnTo>
                  <a:lnTo>
                    <a:pt x="4726" y="3235"/>
                  </a:lnTo>
                  <a:lnTo>
                    <a:pt x="4435" y="2945"/>
                  </a:lnTo>
                  <a:lnTo>
                    <a:pt x="4253" y="2654"/>
                  </a:lnTo>
                  <a:lnTo>
                    <a:pt x="4072" y="2363"/>
                  </a:lnTo>
                  <a:lnTo>
                    <a:pt x="3962" y="2000"/>
                  </a:lnTo>
                  <a:lnTo>
                    <a:pt x="3890" y="1600"/>
                  </a:lnTo>
                  <a:lnTo>
                    <a:pt x="3817" y="1127"/>
                  </a:lnTo>
                  <a:lnTo>
                    <a:pt x="3744" y="1"/>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93" name="Google Shape;2722;p11">
              <a:extLst>
                <a:ext uri="{FF2B5EF4-FFF2-40B4-BE49-F238E27FC236}">
                  <a16:creationId xmlns:a16="http://schemas.microsoft.com/office/drawing/2014/main" id="{9630E128-FC2E-79EA-DC0D-EB063AAC0C33}"/>
                </a:ext>
              </a:extLst>
            </p:cNvPr>
            <p:cNvSpPr/>
            <p:nvPr/>
          </p:nvSpPr>
          <p:spPr>
            <a:xfrm>
              <a:off x="6159750" y="3821550"/>
              <a:ext cx="295325" cy="1510175"/>
            </a:xfrm>
            <a:custGeom>
              <a:avLst/>
              <a:gdLst/>
              <a:ahLst/>
              <a:cxnLst/>
              <a:rect l="l" t="t" r="r" b="b"/>
              <a:pathLst>
                <a:path w="11813" h="60407" extrusionOk="0">
                  <a:moveTo>
                    <a:pt x="4580" y="0"/>
                  </a:moveTo>
                  <a:lnTo>
                    <a:pt x="4252" y="37"/>
                  </a:lnTo>
                  <a:lnTo>
                    <a:pt x="3925" y="109"/>
                  </a:lnTo>
                  <a:lnTo>
                    <a:pt x="3635" y="182"/>
                  </a:lnTo>
                  <a:lnTo>
                    <a:pt x="3380" y="291"/>
                  </a:lnTo>
                  <a:lnTo>
                    <a:pt x="3126" y="400"/>
                  </a:lnTo>
                  <a:lnTo>
                    <a:pt x="2944" y="582"/>
                  </a:lnTo>
                  <a:lnTo>
                    <a:pt x="2762" y="764"/>
                  </a:lnTo>
                  <a:lnTo>
                    <a:pt x="2617" y="982"/>
                  </a:lnTo>
                  <a:lnTo>
                    <a:pt x="1563" y="10868"/>
                  </a:lnTo>
                  <a:lnTo>
                    <a:pt x="691" y="18718"/>
                  </a:lnTo>
                  <a:lnTo>
                    <a:pt x="73" y="24461"/>
                  </a:lnTo>
                  <a:lnTo>
                    <a:pt x="0" y="25006"/>
                  </a:lnTo>
                  <a:lnTo>
                    <a:pt x="0" y="25660"/>
                  </a:lnTo>
                  <a:lnTo>
                    <a:pt x="36" y="26424"/>
                  </a:lnTo>
                  <a:lnTo>
                    <a:pt x="73" y="27223"/>
                  </a:lnTo>
                  <a:lnTo>
                    <a:pt x="254" y="29077"/>
                  </a:lnTo>
                  <a:lnTo>
                    <a:pt x="545" y="31185"/>
                  </a:lnTo>
                  <a:lnTo>
                    <a:pt x="872" y="33475"/>
                  </a:lnTo>
                  <a:lnTo>
                    <a:pt x="1272" y="35874"/>
                  </a:lnTo>
                  <a:lnTo>
                    <a:pt x="1708" y="38345"/>
                  </a:lnTo>
                  <a:lnTo>
                    <a:pt x="2181" y="40853"/>
                  </a:lnTo>
                  <a:lnTo>
                    <a:pt x="3126" y="45651"/>
                  </a:lnTo>
                  <a:lnTo>
                    <a:pt x="3962" y="49794"/>
                  </a:lnTo>
                  <a:lnTo>
                    <a:pt x="4580" y="52847"/>
                  </a:lnTo>
                  <a:lnTo>
                    <a:pt x="4761" y="53828"/>
                  </a:lnTo>
                  <a:lnTo>
                    <a:pt x="4834" y="54337"/>
                  </a:lnTo>
                  <a:lnTo>
                    <a:pt x="4798" y="54882"/>
                  </a:lnTo>
                  <a:lnTo>
                    <a:pt x="4725" y="55428"/>
                  </a:lnTo>
                  <a:lnTo>
                    <a:pt x="4580" y="55936"/>
                  </a:lnTo>
                  <a:lnTo>
                    <a:pt x="4362" y="56445"/>
                  </a:lnTo>
                  <a:lnTo>
                    <a:pt x="4034" y="56990"/>
                  </a:lnTo>
                  <a:lnTo>
                    <a:pt x="3671" y="57536"/>
                  </a:lnTo>
                  <a:lnTo>
                    <a:pt x="3162" y="58153"/>
                  </a:lnTo>
                  <a:lnTo>
                    <a:pt x="2581" y="58771"/>
                  </a:lnTo>
                  <a:lnTo>
                    <a:pt x="2508" y="58844"/>
                  </a:lnTo>
                  <a:lnTo>
                    <a:pt x="2399" y="58953"/>
                  </a:lnTo>
                  <a:lnTo>
                    <a:pt x="2290" y="59098"/>
                  </a:lnTo>
                  <a:lnTo>
                    <a:pt x="2217" y="59244"/>
                  </a:lnTo>
                  <a:lnTo>
                    <a:pt x="2217" y="59389"/>
                  </a:lnTo>
                  <a:lnTo>
                    <a:pt x="2181" y="59535"/>
                  </a:lnTo>
                  <a:lnTo>
                    <a:pt x="2217" y="59680"/>
                  </a:lnTo>
                  <a:lnTo>
                    <a:pt x="2253" y="59825"/>
                  </a:lnTo>
                  <a:lnTo>
                    <a:pt x="2326" y="59971"/>
                  </a:lnTo>
                  <a:lnTo>
                    <a:pt x="2399" y="60080"/>
                  </a:lnTo>
                  <a:lnTo>
                    <a:pt x="2508" y="60189"/>
                  </a:lnTo>
                  <a:lnTo>
                    <a:pt x="2617" y="60298"/>
                  </a:lnTo>
                  <a:lnTo>
                    <a:pt x="2762" y="60334"/>
                  </a:lnTo>
                  <a:lnTo>
                    <a:pt x="2908" y="60407"/>
                  </a:lnTo>
                  <a:lnTo>
                    <a:pt x="3235" y="60407"/>
                  </a:lnTo>
                  <a:lnTo>
                    <a:pt x="3380" y="60371"/>
                  </a:lnTo>
                  <a:lnTo>
                    <a:pt x="7306" y="58953"/>
                  </a:lnTo>
                  <a:lnTo>
                    <a:pt x="7451" y="58880"/>
                  </a:lnTo>
                  <a:lnTo>
                    <a:pt x="7560" y="58808"/>
                  </a:lnTo>
                  <a:lnTo>
                    <a:pt x="9559" y="57245"/>
                  </a:lnTo>
                  <a:lnTo>
                    <a:pt x="9595" y="57208"/>
                  </a:lnTo>
                  <a:lnTo>
                    <a:pt x="9632" y="57245"/>
                  </a:lnTo>
                  <a:lnTo>
                    <a:pt x="9777" y="57354"/>
                  </a:lnTo>
                  <a:lnTo>
                    <a:pt x="9959" y="57572"/>
                  </a:lnTo>
                  <a:lnTo>
                    <a:pt x="9995" y="57608"/>
                  </a:lnTo>
                  <a:lnTo>
                    <a:pt x="10031" y="57608"/>
                  </a:lnTo>
                  <a:lnTo>
                    <a:pt x="10031" y="57463"/>
                  </a:lnTo>
                  <a:lnTo>
                    <a:pt x="9995" y="57099"/>
                  </a:lnTo>
                  <a:lnTo>
                    <a:pt x="9886" y="56409"/>
                  </a:lnTo>
                  <a:lnTo>
                    <a:pt x="9414" y="53865"/>
                  </a:lnTo>
                  <a:lnTo>
                    <a:pt x="9050" y="51575"/>
                  </a:lnTo>
                  <a:lnTo>
                    <a:pt x="8759" y="49540"/>
                  </a:lnTo>
                  <a:lnTo>
                    <a:pt x="8578" y="47686"/>
                  </a:lnTo>
                  <a:lnTo>
                    <a:pt x="8432" y="45941"/>
                  </a:lnTo>
                  <a:lnTo>
                    <a:pt x="8360" y="44378"/>
                  </a:lnTo>
                  <a:lnTo>
                    <a:pt x="8323" y="42852"/>
                  </a:lnTo>
                  <a:lnTo>
                    <a:pt x="8287" y="41362"/>
                  </a:lnTo>
                  <a:lnTo>
                    <a:pt x="8287" y="38309"/>
                  </a:lnTo>
                  <a:lnTo>
                    <a:pt x="8287" y="36673"/>
                  </a:lnTo>
                  <a:lnTo>
                    <a:pt x="8287" y="34892"/>
                  </a:lnTo>
                  <a:lnTo>
                    <a:pt x="8214" y="32966"/>
                  </a:lnTo>
                  <a:lnTo>
                    <a:pt x="8105" y="30821"/>
                  </a:lnTo>
                  <a:lnTo>
                    <a:pt x="7960" y="28423"/>
                  </a:lnTo>
                  <a:lnTo>
                    <a:pt x="7705" y="25733"/>
                  </a:lnTo>
                  <a:lnTo>
                    <a:pt x="7705" y="25479"/>
                  </a:lnTo>
                  <a:lnTo>
                    <a:pt x="7742" y="25115"/>
                  </a:lnTo>
                  <a:lnTo>
                    <a:pt x="7814" y="24170"/>
                  </a:lnTo>
                  <a:lnTo>
                    <a:pt x="7996" y="22934"/>
                  </a:lnTo>
                  <a:lnTo>
                    <a:pt x="8251" y="21444"/>
                  </a:lnTo>
                  <a:lnTo>
                    <a:pt x="8905" y="17991"/>
                  </a:lnTo>
                  <a:lnTo>
                    <a:pt x="9668" y="14248"/>
                  </a:lnTo>
                  <a:lnTo>
                    <a:pt x="10468" y="10577"/>
                  </a:lnTo>
                  <a:lnTo>
                    <a:pt x="11122" y="7451"/>
                  </a:lnTo>
                  <a:lnTo>
                    <a:pt x="11812" y="4434"/>
                  </a:lnTo>
                  <a:lnTo>
                    <a:pt x="11812" y="4144"/>
                  </a:lnTo>
                  <a:lnTo>
                    <a:pt x="11740" y="3853"/>
                  </a:lnTo>
                  <a:lnTo>
                    <a:pt x="11667" y="3562"/>
                  </a:lnTo>
                  <a:lnTo>
                    <a:pt x="11522" y="3271"/>
                  </a:lnTo>
                  <a:lnTo>
                    <a:pt x="11340" y="2981"/>
                  </a:lnTo>
                  <a:lnTo>
                    <a:pt x="11158" y="2726"/>
                  </a:lnTo>
                  <a:lnTo>
                    <a:pt x="10904" y="2435"/>
                  </a:lnTo>
                  <a:lnTo>
                    <a:pt x="10649" y="2181"/>
                  </a:lnTo>
                  <a:lnTo>
                    <a:pt x="10322" y="1963"/>
                  </a:lnTo>
                  <a:lnTo>
                    <a:pt x="10031" y="1709"/>
                  </a:lnTo>
                  <a:lnTo>
                    <a:pt x="9305" y="1272"/>
                  </a:lnTo>
                  <a:lnTo>
                    <a:pt x="8541" y="873"/>
                  </a:lnTo>
                  <a:lnTo>
                    <a:pt x="7742" y="582"/>
                  </a:lnTo>
                  <a:lnTo>
                    <a:pt x="6942" y="291"/>
                  </a:lnTo>
                  <a:lnTo>
                    <a:pt x="6106" y="109"/>
                  </a:lnTo>
                  <a:lnTo>
                    <a:pt x="5343" y="37"/>
                  </a:lnTo>
                  <a:lnTo>
                    <a:pt x="4943" y="0"/>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94" name="Google Shape;2723;p11">
              <a:extLst>
                <a:ext uri="{FF2B5EF4-FFF2-40B4-BE49-F238E27FC236}">
                  <a16:creationId xmlns:a16="http://schemas.microsoft.com/office/drawing/2014/main" id="{86A815AC-DFFB-7DE1-546E-9A5395D80256}"/>
                </a:ext>
              </a:extLst>
            </p:cNvPr>
            <p:cNvSpPr/>
            <p:nvPr/>
          </p:nvSpPr>
          <p:spPr>
            <a:xfrm>
              <a:off x="6089775" y="5202675"/>
              <a:ext cx="348025" cy="226275"/>
            </a:xfrm>
            <a:custGeom>
              <a:avLst/>
              <a:gdLst/>
              <a:ahLst/>
              <a:cxnLst/>
              <a:rect l="l" t="t" r="r" b="b"/>
              <a:pathLst>
                <a:path w="13921" h="9051" extrusionOk="0">
                  <a:moveTo>
                    <a:pt x="12576" y="1"/>
                  </a:moveTo>
                  <a:lnTo>
                    <a:pt x="12431" y="37"/>
                  </a:lnTo>
                  <a:lnTo>
                    <a:pt x="12322" y="146"/>
                  </a:lnTo>
                  <a:lnTo>
                    <a:pt x="11885" y="764"/>
                  </a:lnTo>
                  <a:lnTo>
                    <a:pt x="11304" y="1455"/>
                  </a:lnTo>
                  <a:lnTo>
                    <a:pt x="10577" y="2145"/>
                  </a:lnTo>
                  <a:lnTo>
                    <a:pt x="9814" y="2872"/>
                  </a:lnTo>
                  <a:lnTo>
                    <a:pt x="8978" y="3526"/>
                  </a:lnTo>
                  <a:lnTo>
                    <a:pt x="8578" y="3817"/>
                  </a:lnTo>
                  <a:lnTo>
                    <a:pt x="8142" y="4071"/>
                  </a:lnTo>
                  <a:lnTo>
                    <a:pt x="7742" y="4290"/>
                  </a:lnTo>
                  <a:lnTo>
                    <a:pt x="7342" y="4471"/>
                  </a:lnTo>
                  <a:lnTo>
                    <a:pt x="6979" y="4580"/>
                  </a:lnTo>
                  <a:lnTo>
                    <a:pt x="6615" y="4653"/>
                  </a:lnTo>
                  <a:lnTo>
                    <a:pt x="6143" y="4653"/>
                  </a:lnTo>
                  <a:lnTo>
                    <a:pt x="5816" y="4617"/>
                  </a:lnTo>
                  <a:lnTo>
                    <a:pt x="5561" y="4544"/>
                  </a:lnTo>
                  <a:lnTo>
                    <a:pt x="5380" y="4435"/>
                  </a:lnTo>
                  <a:lnTo>
                    <a:pt x="5307" y="4290"/>
                  </a:lnTo>
                  <a:lnTo>
                    <a:pt x="5234" y="4144"/>
                  </a:lnTo>
                  <a:lnTo>
                    <a:pt x="5234" y="4035"/>
                  </a:lnTo>
                  <a:lnTo>
                    <a:pt x="5234" y="3890"/>
                  </a:lnTo>
                  <a:lnTo>
                    <a:pt x="5198" y="3817"/>
                  </a:lnTo>
                  <a:lnTo>
                    <a:pt x="5161" y="3781"/>
                  </a:lnTo>
                  <a:lnTo>
                    <a:pt x="5089" y="3744"/>
                  </a:lnTo>
                  <a:lnTo>
                    <a:pt x="4907" y="3817"/>
                  </a:lnTo>
                  <a:lnTo>
                    <a:pt x="4144" y="4144"/>
                  </a:lnTo>
                  <a:lnTo>
                    <a:pt x="3053" y="4617"/>
                  </a:lnTo>
                  <a:lnTo>
                    <a:pt x="1927" y="5162"/>
                  </a:lnTo>
                  <a:lnTo>
                    <a:pt x="1454" y="5416"/>
                  </a:lnTo>
                  <a:lnTo>
                    <a:pt x="1091" y="5671"/>
                  </a:lnTo>
                  <a:lnTo>
                    <a:pt x="727" y="5998"/>
                  </a:lnTo>
                  <a:lnTo>
                    <a:pt x="437" y="6325"/>
                  </a:lnTo>
                  <a:lnTo>
                    <a:pt x="218" y="6688"/>
                  </a:lnTo>
                  <a:lnTo>
                    <a:pt x="73" y="7052"/>
                  </a:lnTo>
                  <a:lnTo>
                    <a:pt x="0" y="7379"/>
                  </a:lnTo>
                  <a:lnTo>
                    <a:pt x="0" y="7706"/>
                  </a:lnTo>
                  <a:lnTo>
                    <a:pt x="0" y="7851"/>
                  </a:lnTo>
                  <a:lnTo>
                    <a:pt x="73" y="7960"/>
                  </a:lnTo>
                  <a:lnTo>
                    <a:pt x="109" y="8106"/>
                  </a:lnTo>
                  <a:lnTo>
                    <a:pt x="218" y="8179"/>
                  </a:lnTo>
                  <a:lnTo>
                    <a:pt x="328" y="8251"/>
                  </a:lnTo>
                  <a:lnTo>
                    <a:pt x="473" y="8324"/>
                  </a:lnTo>
                  <a:lnTo>
                    <a:pt x="909" y="8433"/>
                  </a:lnTo>
                  <a:lnTo>
                    <a:pt x="1454" y="8506"/>
                  </a:lnTo>
                  <a:lnTo>
                    <a:pt x="2072" y="8542"/>
                  </a:lnTo>
                  <a:lnTo>
                    <a:pt x="2690" y="8578"/>
                  </a:lnTo>
                  <a:lnTo>
                    <a:pt x="3344" y="8542"/>
                  </a:lnTo>
                  <a:lnTo>
                    <a:pt x="3926" y="8506"/>
                  </a:lnTo>
                  <a:lnTo>
                    <a:pt x="4398" y="8469"/>
                  </a:lnTo>
                  <a:lnTo>
                    <a:pt x="4507" y="8469"/>
                  </a:lnTo>
                  <a:lnTo>
                    <a:pt x="4871" y="8360"/>
                  </a:lnTo>
                  <a:lnTo>
                    <a:pt x="5307" y="8179"/>
                  </a:lnTo>
                  <a:lnTo>
                    <a:pt x="6397" y="7633"/>
                  </a:lnTo>
                  <a:lnTo>
                    <a:pt x="7815" y="6870"/>
                  </a:lnTo>
                  <a:lnTo>
                    <a:pt x="9232" y="6071"/>
                  </a:lnTo>
                  <a:lnTo>
                    <a:pt x="10468" y="5416"/>
                  </a:lnTo>
                  <a:lnTo>
                    <a:pt x="10940" y="5162"/>
                  </a:lnTo>
                  <a:lnTo>
                    <a:pt x="11304" y="4980"/>
                  </a:lnTo>
                  <a:lnTo>
                    <a:pt x="11413" y="5162"/>
                  </a:lnTo>
                  <a:lnTo>
                    <a:pt x="11486" y="5380"/>
                  </a:lnTo>
                  <a:lnTo>
                    <a:pt x="11558" y="5634"/>
                  </a:lnTo>
                  <a:lnTo>
                    <a:pt x="11595" y="5925"/>
                  </a:lnTo>
                  <a:lnTo>
                    <a:pt x="11631" y="6543"/>
                  </a:lnTo>
                  <a:lnTo>
                    <a:pt x="11631" y="7234"/>
                  </a:lnTo>
                  <a:lnTo>
                    <a:pt x="11558" y="7888"/>
                  </a:lnTo>
                  <a:lnTo>
                    <a:pt x="11522" y="8433"/>
                  </a:lnTo>
                  <a:lnTo>
                    <a:pt x="11449" y="8978"/>
                  </a:lnTo>
                  <a:lnTo>
                    <a:pt x="12213" y="9051"/>
                  </a:lnTo>
                  <a:lnTo>
                    <a:pt x="12213" y="8651"/>
                  </a:lnTo>
                  <a:lnTo>
                    <a:pt x="12285" y="8179"/>
                  </a:lnTo>
                  <a:lnTo>
                    <a:pt x="12394" y="7597"/>
                  </a:lnTo>
                  <a:lnTo>
                    <a:pt x="12540" y="6906"/>
                  </a:lnTo>
                  <a:lnTo>
                    <a:pt x="12758" y="6143"/>
                  </a:lnTo>
                  <a:lnTo>
                    <a:pt x="13085" y="5380"/>
                  </a:lnTo>
                  <a:lnTo>
                    <a:pt x="13267" y="5016"/>
                  </a:lnTo>
                  <a:lnTo>
                    <a:pt x="13448" y="4617"/>
                  </a:lnTo>
                  <a:lnTo>
                    <a:pt x="13630" y="4253"/>
                  </a:lnTo>
                  <a:lnTo>
                    <a:pt x="13775" y="3890"/>
                  </a:lnTo>
                  <a:lnTo>
                    <a:pt x="13848" y="3526"/>
                  </a:lnTo>
                  <a:lnTo>
                    <a:pt x="13884" y="3163"/>
                  </a:lnTo>
                  <a:lnTo>
                    <a:pt x="13921" y="2799"/>
                  </a:lnTo>
                  <a:lnTo>
                    <a:pt x="13884" y="2472"/>
                  </a:lnTo>
                  <a:lnTo>
                    <a:pt x="13848" y="2182"/>
                  </a:lnTo>
                  <a:lnTo>
                    <a:pt x="13739" y="1854"/>
                  </a:lnTo>
                  <a:lnTo>
                    <a:pt x="13557" y="1309"/>
                  </a:lnTo>
                  <a:lnTo>
                    <a:pt x="13303" y="837"/>
                  </a:lnTo>
                  <a:lnTo>
                    <a:pt x="13049" y="437"/>
                  </a:lnTo>
                  <a:lnTo>
                    <a:pt x="12794" y="110"/>
                  </a:lnTo>
                  <a:lnTo>
                    <a:pt x="12685" y="37"/>
                  </a:lnTo>
                  <a:lnTo>
                    <a:pt x="12576" y="1"/>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95" name="Google Shape;2724;p11">
              <a:extLst>
                <a:ext uri="{FF2B5EF4-FFF2-40B4-BE49-F238E27FC236}">
                  <a16:creationId xmlns:a16="http://schemas.microsoft.com/office/drawing/2014/main" id="{96C61223-A7B5-0484-E6DD-A77C12E73E64}"/>
                </a:ext>
              </a:extLst>
            </p:cNvPr>
            <p:cNvSpPr/>
            <p:nvPr/>
          </p:nvSpPr>
          <p:spPr>
            <a:xfrm>
              <a:off x="6440500" y="3827000"/>
              <a:ext cx="449800" cy="1493825"/>
            </a:xfrm>
            <a:custGeom>
              <a:avLst/>
              <a:gdLst/>
              <a:ahLst/>
              <a:cxnLst/>
              <a:rect l="l" t="t" r="r" b="b"/>
              <a:pathLst>
                <a:path w="17992" h="59753" extrusionOk="0">
                  <a:moveTo>
                    <a:pt x="3272" y="0"/>
                  </a:moveTo>
                  <a:lnTo>
                    <a:pt x="2472" y="37"/>
                  </a:lnTo>
                  <a:lnTo>
                    <a:pt x="2109" y="109"/>
                  </a:lnTo>
                  <a:lnTo>
                    <a:pt x="1745" y="182"/>
                  </a:lnTo>
                  <a:lnTo>
                    <a:pt x="1418" y="255"/>
                  </a:lnTo>
                  <a:lnTo>
                    <a:pt x="1128" y="364"/>
                  </a:lnTo>
                  <a:lnTo>
                    <a:pt x="837" y="509"/>
                  </a:lnTo>
                  <a:lnTo>
                    <a:pt x="582" y="655"/>
                  </a:lnTo>
                  <a:lnTo>
                    <a:pt x="401" y="836"/>
                  </a:lnTo>
                  <a:lnTo>
                    <a:pt x="219" y="1054"/>
                  </a:lnTo>
                  <a:lnTo>
                    <a:pt x="74" y="1272"/>
                  </a:lnTo>
                  <a:lnTo>
                    <a:pt x="1" y="1491"/>
                  </a:lnTo>
                  <a:lnTo>
                    <a:pt x="982" y="11595"/>
                  </a:lnTo>
                  <a:lnTo>
                    <a:pt x="1745" y="19554"/>
                  </a:lnTo>
                  <a:lnTo>
                    <a:pt x="2036" y="22935"/>
                  </a:lnTo>
                  <a:lnTo>
                    <a:pt x="2254" y="25370"/>
                  </a:lnTo>
                  <a:lnTo>
                    <a:pt x="2291" y="25915"/>
                  </a:lnTo>
                  <a:lnTo>
                    <a:pt x="2400" y="26569"/>
                  </a:lnTo>
                  <a:lnTo>
                    <a:pt x="2581" y="27260"/>
                  </a:lnTo>
                  <a:lnTo>
                    <a:pt x="2763" y="28059"/>
                  </a:lnTo>
                  <a:lnTo>
                    <a:pt x="3272" y="29840"/>
                  </a:lnTo>
                  <a:lnTo>
                    <a:pt x="3926" y="31839"/>
                  </a:lnTo>
                  <a:lnTo>
                    <a:pt x="4689" y="33984"/>
                  </a:lnTo>
                  <a:lnTo>
                    <a:pt x="5525" y="36237"/>
                  </a:lnTo>
                  <a:lnTo>
                    <a:pt x="6398" y="38563"/>
                  </a:lnTo>
                  <a:lnTo>
                    <a:pt x="7306" y="40889"/>
                  </a:lnTo>
                  <a:lnTo>
                    <a:pt x="9087" y="45360"/>
                  </a:lnTo>
                  <a:lnTo>
                    <a:pt x="10686" y="49212"/>
                  </a:lnTo>
                  <a:lnTo>
                    <a:pt x="11813" y="52047"/>
                  </a:lnTo>
                  <a:lnTo>
                    <a:pt x="12177" y="52956"/>
                  </a:lnTo>
                  <a:lnTo>
                    <a:pt x="12322" y="53465"/>
                  </a:lnTo>
                  <a:lnTo>
                    <a:pt x="12395" y="54010"/>
                  </a:lnTo>
                  <a:lnTo>
                    <a:pt x="12431" y="54519"/>
                  </a:lnTo>
                  <a:lnTo>
                    <a:pt x="12395" y="55064"/>
                  </a:lnTo>
                  <a:lnTo>
                    <a:pt x="12249" y="55609"/>
                  </a:lnTo>
                  <a:lnTo>
                    <a:pt x="12068" y="56191"/>
                  </a:lnTo>
                  <a:lnTo>
                    <a:pt x="11777" y="56845"/>
                  </a:lnTo>
                  <a:lnTo>
                    <a:pt x="11413" y="57499"/>
                  </a:lnTo>
                  <a:lnTo>
                    <a:pt x="10941" y="58263"/>
                  </a:lnTo>
                  <a:lnTo>
                    <a:pt x="10905" y="58299"/>
                  </a:lnTo>
                  <a:lnTo>
                    <a:pt x="10796" y="58481"/>
                  </a:lnTo>
                  <a:lnTo>
                    <a:pt x="10759" y="58626"/>
                  </a:lnTo>
                  <a:lnTo>
                    <a:pt x="10723" y="58771"/>
                  </a:lnTo>
                  <a:lnTo>
                    <a:pt x="10723" y="58917"/>
                  </a:lnTo>
                  <a:lnTo>
                    <a:pt x="10723" y="59062"/>
                  </a:lnTo>
                  <a:lnTo>
                    <a:pt x="10796" y="59208"/>
                  </a:lnTo>
                  <a:lnTo>
                    <a:pt x="10832" y="59353"/>
                  </a:lnTo>
                  <a:lnTo>
                    <a:pt x="10941" y="59462"/>
                  </a:lnTo>
                  <a:lnTo>
                    <a:pt x="11050" y="59571"/>
                  </a:lnTo>
                  <a:lnTo>
                    <a:pt x="11159" y="59644"/>
                  </a:lnTo>
                  <a:lnTo>
                    <a:pt x="11304" y="59716"/>
                  </a:lnTo>
                  <a:lnTo>
                    <a:pt x="11450" y="59753"/>
                  </a:lnTo>
                  <a:lnTo>
                    <a:pt x="11741" y="59753"/>
                  </a:lnTo>
                  <a:lnTo>
                    <a:pt x="11886" y="59716"/>
                  </a:lnTo>
                  <a:lnTo>
                    <a:pt x="12068" y="59644"/>
                  </a:lnTo>
                  <a:lnTo>
                    <a:pt x="15630" y="57499"/>
                  </a:lnTo>
                  <a:lnTo>
                    <a:pt x="15775" y="57427"/>
                  </a:lnTo>
                  <a:lnTo>
                    <a:pt x="15848" y="57318"/>
                  </a:lnTo>
                  <a:lnTo>
                    <a:pt x="17519" y="55391"/>
                  </a:lnTo>
                  <a:lnTo>
                    <a:pt x="17592" y="55319"/>
                  </a:lnTo>
                  <a:lnTo>
                    <a:pt x="17738" y="55210"/>
                  </a:lnTo>
                  <a:lnTo>
                    <a:pt x="17847" y="55137"/>
                  </a:lnTo>
                  <a:lnTo>
                    <a:pt x="17956" y="54955"/>
                  </a:lnTo>
                  <a:lnTo>
                    <a:pt x="17992" y="54737"/>
                  </a:lnTo>
                  <a:lnTo>
                    <a:pt x="17992" y="54446"/>
                  </a:lnTo>
                  <a:lnTo>
                    <a:pt x="17847" y="54010"/>
                  </a:lnTo>
                  <a:lnTo>
                    <a:pt x="17592" y="53465"/>
                  </a:lnTo>
                  <a:lnTo>
                    <a:pt x="17192" y="52702"/>
                  </a:lnTo>
                  <a:lnTo>
                    <a:pt x="16829" y="51902"/>
                  </a:lnTo>
                  <a:lnTo>
                    <a:pt x="16502" y="51139"/>
                  </a:lnTo>
                  <a:lnTo>
                    <a:pt x="16175" y="50339"/>
                  </a:lnTo>
                  <a:lnTo>
                    <a:pt x="15593" y="48776"/>
                  </a:lnTo>
                  <a:lnTo>
                    <a:pt x="15121" y="47213"/>
                  </a:lnTo>
                  <a:lnTo>
                    <a:pt x="14685" y="45614"/>
                  </a:lnTo>
                  <a:lnTo>
                    <a:pt x="14285" y="43979"/>
                  </a:lnTo>
                  <a:lnTo>
                    <a:pt x="13921" y="42343"/>
                  </a:lnTo>
                  <a:lnTo>
                    <a:pt x="13558" y="40635"/>
                  </a:lnTo>
                  <a:lnTo>
                    <a:pt x="12867" y="37146"/>
                  </a:lnTo>
                  <a:lnTo>
                    <a:pt x="12504" y="35328"/>
                  </a:lnTo>
                  <a:lnTo>
                    <a:pt x="12068" y="33438"/>
                  </a:lnTo>
                  <a:lnTo>
                    <a:pt x="11595" y="31512"/>
                  </a:lnTo>
                  <a:lnTo>
                    <a:pt x="11086" y="29477"/>
                  </a:lnTo>
                  <a:lnTo>
                    <a:pt x="10468" y="27405"/>
                  </a:lnTo>
                  <a:lnTo>
                    <a:pt x="9742" y="25261"/>
                  </a:lnTo>
                  <a:lnTo>
                    <a:pt x="9669" y="25006"/>
                  </a:lnTo>
                  <a:lnTo>
                    <a:pt x="9632" y="24643"/>
                  </a:lnTo>
                  <a:lnTo>
                    <a:pt x="9523" y="23661"/>
                  </a:lnTo>
                  <a:lnTo>
                    <a:pt x="9451" y="22389"/>
                  </a:lnTo>
                  <a:lnTo>
                    <a:pt x="9414" y="20863"/>
                  </a:lnTo>
                  <a:lnTo>
                    <a:pt x="9378" y="17301"/>
                  </a:lnTo>
                  <a:lnTo>
                    <a:pt x="9414" y="13376"/>
                  </a:lnTo>
                  <a:lnTo>
                    <a:pt x="9487" y="9559"/>
                  </a:lnTo>
                  <a:lnTo>
                    <a:pt x="9560" y="6288"/>
                  </a:lnTo>
                  <a:lnTo>
                    <a:pt x="9669" y="3126"/>
                  </a:lnTo>
                  <a:lnTo>
                    <a:pt x="9596" y="2835"/>
                  </a:lnTo>
                  <a:lnTo>
                    <a:pt x="9523" y="2581"/>
                  </a:lnTo>
                  <a:lnTo>
                    <a:pt x="9342" y="2290"/>
                  </a:lnTo>
                  <a:lnTo>
                    <a:pt x="9160" y="2036"/>
                  </a:lnTo>
                  <a:lnTo>
                    <a:pt x="8942" y="1818"/>
                  </a:lnTo>
                  <a:lnTo>
                    <a:pt x="8687" y="1563"/>
                  </a:lnTo>
                  <a:lnTo>
                    <a:pt x="8397" y="1345"/>
                  </a:lnTo>
                  <a:lnTo>
                    <a:pt x="8106" y="1163"/>
                  </a:lnTo>
                  <a:lnTo>
                    <a:pt x="7742" y="982"/>
                  </a:lnTo>
                  <a:lnTo>
                    <a:pt x="7379" y="800"/>
                  </a:lnTo>
                  <a:lnTo>
                    <a:pt x="6616" y="509"/>
                  </a:lnTo>
                  <a:lnTo>
                    <a:pt x="5816" y="291"/>
                  </a:lnTo>
                  <a:lnTo>
                    <a:pt x="4944" y="109"/>
                  </a:lnTo>
                  <a:lnTo>
                    <a:pt x="4108" y="0"/>
                  </a:lnTo>
                  <a:close/>
                </a:path>
              </a:pathLst>
            </a:custGeom>
            <a:solidFill>
              <a:srgbClr val="EFAEA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96" name="Google Shape;2725;p11">
              <a:extLst>
                <a:ext uri="{FF2B5EF4-FFF2-40B4-BE49-F238E27FC236}">
                  <a16:creationId xmlns:a16="http://schemas.microsoft.com/office/drawing/2014/main" id="{42ADDF00-4662-0A48-968B-DB915FFFFF44}"/>
                </a:ext>
              </a:extLst>
            </p:cNvPr>
            <p:cNvSpPr/>
            <p:nvPr/>
          </p:nvSpPr>
          <p:spPr>
            <a:xfrm>
              <a:off x="6600425" y="5165425"/>
              <a:ext cx="322600" cy="259900"/>
            </a:xfrm>
            <a:custGeom>
              <a:avLst/>
              <a:gdLst/>
              <a:ahLst/>
              <a:cxnLst/>
              <a:rect l="l" t="t" r="r" b="b"/>
              <a:pathLst>
                <a:path w="12904" h="10396" extrusionOk="0">
                  <a:moveTo>
                    <a:pt x="11413" y="1"/>
                  </a:moveTo>
                  <a:lnTo>
                    <a:pt x="11268" y="73"/>
                  </a:lnTo>
                  <a:lnTo>
                    <a:pt x="11122" y="219"/>
                  </a:lnTo>
                  <a:lnTo>
                    <a:pt x="11013" y="364"/>
                  </a:lnTo>
                  <a:lnTo>
                    <a:pt x="10868" y="655"/>
                  </a:lnTo>
                  <a:lnTo>
                    <a:pt x="10686" y="1018"/>
                  </a:lnTo>
                  <a:lnTo>
                    <a:pt x="10214" y="1782"/>
                  </a:lnTo>
                  <a:lnTo>
                    <a:pt x="9596" y="2581"/>
                  </a:lnTo>
                  <a:lnTo>
                    <a:pt x="8905" y="3344"/>
                  </a:lnTo>
                  <a:lnTo>
                    <a:pt x="8178" y="4108"/>
                  </a:lnTo>
                  <a:lnTo>
                    <a:pt x="7815" y="4435"/>
                  </a:lnTo>
                  <a:lnTo>
                    <a:pt x="7415" y="4762"/>
                  </a:lnTo>
                  <a:lnTo>
                    <a:pt x="7052" y="5016"/>
                  </a:lnTo>
                  <a:lnTo>
                    <a:pt x="6688" y="5234"/>
                  </a:lnTo>
                  <a:lnTo>
                    <a:pt x="6325" y="5416"/>
                  </a:lnTo>
                  <a:lnTo>
                    <a:pt x="5998" y="5561"/>
                  </a:lnTo>
                  <a:lnTo>
                    <a:pt x="5525" y="5671"/>
                  </a:lnTo>
                  <a:lnTo>
                    <a:pt x="5198" y="5707"/>
                  </a:lnTo>
                  <a:lnTo>
                    <a:pt x="4944" y="5671"/>
                  </a:lnTo>
                  <a:lnTo>
                    <a:pt x="4762" y="5598"/>
                  </a:lnTo>
                  <a:lnTo>
                    <a:pt x="4617" y="5489"/>
                  </a:lnTo>
                  <a:lnTo>
                    <a:pt x="4544" y="5343"/>
                  </a:lnTo>
                  <a:lnTo>
                    <a:pt x="4508" y="5198"/>
                  </a:lnTo>
                  <a:lnTo>
                    <a:pt x="4471" y="5089"/>
                  </a:lnTo>
                  <a:lnTo>
                    <a:pt x="4435" y="5016"/>
                  </a:lnTo>
                  <a:lnTo>
                    <a:pt x="4399" y="4980"/>
                  </a:lnTo>
                  <a:lnTo>
                    <a:pt x="4326" y="4980"/>
                  </a:lnTo>
                  <a:lnTo>
                    <a:pt x="4144" y="5089"/>
                  </a:lnTo>
                  <a:lnTo>
                    <a:pt x="3454" y="5525"/>
                  </a:lnTo>
                  <a:lnTo>
                    <a:pt x="2472" y="6216"/>
                  </a:lnTo>
                  <a:lnTo>
                    <a:pt x="1491" y="6943"/>
                  </a:lnTo>
                  <a:lnTo>
                    <a:pt x="1091" y="7306"/>
                  </a:lnTo>
                  <a:lnTo>
                    <a:pt x="764" y="7633"/>
                  </a:lnTo>
                  <a:lnTo>
                    <a:pt x="473" y="7997"/>
                  </a:lnTo>
                  <a:lnTo>
                    <a:pt x="255" y="8396"/>
                  </a:lnTo>
                  <a:lnTo>
                    <a:pt x="110" y="8796"/>
                  </a:lnTo>
                  <a:lnTo>
                    <a:pt x="1" y="9160"/>
                  </a:lnTo>
                  <a:lnTo>
                    <a:pt x="1" y="9523"/>
                  </a:lnTo>
                  <a:lnTo>
                    <a:pt x="73" y="9850"/>
                  </a:lnTo>
                  <a:lnTo>
                    <a:pt x="110" y="9959"/>
                  </a:lnTo>
                  <a:lnTo>
                    <a:pt x="182" y="10068"/>
                  </a:lnTo>
                  <a:lnTo>
                    <a:pt x="291" y="10177"/>
                  </a:lnTo>
                  <a:lnTo>
                    <a:pt x="364" y="10250"/>
                  </a:lnTo>
                  <a:lnTo>
                    <a:pt x="510" y="10323"/>
                  </a:lnTo>
                  <a:lnTo>
                    <a:pt x="691" y="10359"/>
                  </a:lnTo>
                  <a:lnTo>
                    <a:pt x="1127" y="10395"/>
                  </a:lnTo>
                  <a:lnTo>
                    <a:pt x="1673" y="10359"/>
                  </a:lnTo>
                  <a:lnTo>
                    <a:pt x="2254" y="10286"/>
                  </a:lnTo>
                  <a:lnTo>
                    <a:pt x="2908" y="10141"/>
                  </a:lnTo>
                  <a:lnTo>
                    <a:pt x="3526" y="10032"/>
                  </a:lnTo>
                  <a:lnTo>
                    <a:pt x="4071" y="9887"/>
                  </a:lnTo>
                  <a:lnTo>
                    <a:pt x="4544" y="9741"/>
                  </a:lnTo>
                  <a:lnTo>
                    <a:pt x="4653" y="9705"/>
                  </a:lnTo>
                  <a:lnTo>
                    <a:pt x="4980" y="9523"/>
                  </a:lnTo>
                  <a:lnTo>
                    <a:pt x="5380" y="9269"/>
                  </a:lnTo>
                  <a:lnTo>
                    <a:pt x="6325" y="8542"/>
                  </a:lnTo>
                  <a:lnTo>
                    <a:pt x="7597" y="7524"/>
                  </a:lnTo>
                  <a:lnTo>
                    <a:pt x="8833" y="6470"/>
                  </a:lnTo>
                  <a:lnTo>
                    <a:pt x="9923" y="5561"/>
                  </a:lnTo>
                  <a:lnTo>
                    <a:pt x="10323" y="5234"/>
                  </a:lnTo>
                  <a:lnTo>
                    <a:pt x="10650" y="5016"/>
                  </a:lnTo>
                  <a:lnTo>
                    <a:pt x="10795" y="5125"/>
                  </a:lnTo>
                  <a:lnTo>
                    <a:pt x="10904" y="5343"/>
                  </a:lnTo>
                  <a:lnTo>
                    <a:pt x="11013" y="5561"/>
                  </a:lnTo>
                  <a:lnTo>
                    <a:pt x="11122" y="5852"/>
                  </a:lnTo>
                  <a:lnTo>
                    <a:pt x="11268" y="6470"/>
                  </a:lnTo>
                  <a:lnTo>
                    <a:pt x="11377" y="7161"/>
                  </a:lnTo>
                  <a:lnTo>
                    <a:pt x="11486" y="7815"/>
                  </a:lnTo>
                  <a:lnTo>
                    <a:pt x="11522" y="8360"/>
                  </a:lnTo>
                  <a:lnTo>
                    <a:pt x="11559" y="8869"/>
                  </a:lnTo>
                  <a:lnTo>
                    <a:pt x="12322" y="8833"/>
                  </a:lnTo>
                  <a:lnTo>
                    <a:pt x="12249" y="8396"/>
                  </a:lnTo>
                  <a:lnTo>
                    <a:pt x="12213" y="7960"/>
                  </a:lnTo>
                  <a:lnTo>
                    <a:pt x="12213" y="7342"/>
                  </a:lnTo>
                  <a:lnTo>
                    <a:pt x="12249" y="6652"/>
                  </a:lnTo>
                  <a:lnTo>
                    <a:pt x="12322" y="5852"/>
                  </a:lnTo>
                  <a:lnTo>
                    <a:pt x="12467" y="5053"/>
                  </a:lnTo>
                  <a:lnTo>
                    <a:pt x="12576" y="4653"/>
                  </a:lnTo>
                  <a:lnTo>
                    <a:pt x="12722" y="4253"/>
                  </a:lnTo>
                  <a:lnTo>
                    <a:pt x="12831" y="3817"/>
                  </a:lnTo>
                  <a:lnTo>
                    <a:pt x="12903" y="3453"/>
                  </a:lnTo>
                  <a:lnTo>
                    <a:pt x="12903" y="3054"/>
                  </a:lnTo>
                  <a:lnTo>
                    <a:pt x="12903" y="2727"/>
                  </a:lnTo>
                  <a:lnTo>
                    <a:pt x="12903" y="2399"/>
                  </a:lnTo>
                  <a:lnTo>
                    <a:pt x="12831" y="2072"/>
                  </a:lnTo>
                  <a:lnTo>
                    <a:pt x="12758" y="1782"/>
                  </a:lnTo>
                  <a:lnTo>
                    <a:pt x="12649" y="1527"/>
                  </a:lnTo>
                  <a:lnTo>
                    <a:pt x="12395" y="1018"/>
                  </a:lnTo>
                  <a:lnTo>
                    <a:pt x="12140" y="618"/>
                  </a:lnTo>
                  <a:lnTo>
                    <a:pt x="11849" y="291"/>
                  </a:lnTo>
                  <a:lnTo>
                    <a:pt x="11559" y="37"/>
                  </a:lnTo>
                  <a:lnTo>
                    <a:pt x="11486" y="1"/>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97" name="Google Shape;2726;p11">
              <a:extLst>
                <a:ext uri="{FF2B5EF4-FFF2-40B4-BE49-F238E27FC236}">
                  <a16:creationId xmlns:a16="http://schemas.microsoft.com/office/drawing/2014/main" id="{092CD332-C61F-18C2-7C75-F9B4C7BA5836}"/>
                </a:ext>
              </a:extLst>
            </p:cNvPr>
            <p:cNvSpPr/>
            <p:nvPr/>
          </p:nvSpPr>
          <p:spPr>
            <a:xfrm>
              <a:off x="6147025" y="3401750"/>
              <a:ext cx="617900" cy="915025"/>
            </a:xfrm>
            <a:custGeom>
              <a:avLst/>
              <a:gdLst/>
              <a:ahLst/>
              <a:cxnLst/>
              <a:rect l="l" t="t" r="r" b="b"/>
              <a:pathLst>
                <a:path w="24716" h="36601" extrusionOk="0">
                  <a:moveTo>
                    <a:pt x="19772" y="1"/>
                  </a:moveTo>
                  <a:lnTo>
                    <a:pt x="19772" y="37"/>
                  </a:lnTo>
                  <a:lnTo>
                    <a:pt x="19845" y="146"/>
                  </a:lnTo>
                  <a:lnTo>
                    <a:pt x="19990" y="328"/>
                  </a:lnTo>
                  <a:lnTo>
                    <a:pt x="20426" y="800"/>
                  </a:lnTo>
                  <a:lnTo>
                    <a:pt x="20390" y="837"/>
                  </a:lnTo>
                  <a:lnTo>
                    <a:pt x="20426" y="873"/>
                  </a:lnTo>
                  <a:lnTo>
                    <a:pt x="20608" y="909"/>
                  </a:lnTo>
                  <a:lnTo>
                    <a:pt x="20681" y="946"/>
                  </a:lnTo>
                  <a:lnTo>
                    <a:pt x="20754" y="982"/>
                  </a:lnTo>
                  <a:lnTo>
                    <a:pt x="20754" y="1018"/>
                  </a:lnTo>
                  <a:lnTo>
                    <a:pt x="20681" y="1091"/>
                  </a:lnTo>
                  <a:lnTo>
                    <a:pt x="19954" y="1527"/>
                  </a:lnTo>
                  <a:lnTo>
                    <a:pt x="18573" y="2290"/>
                  </a:lnTo>
                  <a:lnTo>
                    <a:pt x="17592" y="2763"/>
                  </a:lnTo>
                  <a:lnTo>
                    <a:pt x="16574" y="3272"/>
                  </a:lnTo>
                  <a:lnTo>
                    <a:pt x="15483" y="3744"/>
                  </a:lnTo>
                  <a:lnTo>
                    <a:pt x="14320" y="4180"/>
                  </a:lnTo>
                  <a:lnTo>
                    <a:pt x="13121" y="4580"/>
                  </a:lnTo>
                  <a:lnTo>
                    <a:pt x="11922" y="4907"/>
                  </a:lnTo>
                  <a:lnTo>
                    <a:pt x="11304" y="5016"/>
                  </a:lnTo>
                  <a:lnTo>
                    <a:pt x="10686" y="5125"/>
                  </a:lnTo>
                  <a:lnTo>
                    <a:pt x="10068" y="5234"/>
                  </a:lnTo>
                  <a:lnTo>
                    <a:pt x="9486" y="5271"/>
                  </a:lnTo>
                  <a:lnTo>
                    <a:pt x="9377" y="5271"/>
                  </a:lnTo>
                  <a:lnTo>
                    <a:pt x="8687" y="5307"/>
                  </a:lnTo>
                  <a:lnTo>
                    <a:pt x="7851" y="5307"/>
                  </a:lnTo>
                  <a:lnTo>
                    <a:pt x="7669" y="5343"/>
                  </a:lnTo>
                  <a:lnTo>
                    <a:pt x="7342" y="5525"/>
                  </a:lnTo>
                  <a:lnTo>
                    <a:pt x="7160" y="5598"/>
                  </a:lnTo>
                  <a:lnTo>
                    <a:pt x="6942" y="5671"/>
                  </a:lnTo>
                  <a:lnTo>
                    <a:pt x="6760" y="5707"/>
                  </a:lnTo>
                  <a:lnTo>
                    <a:pt x="6542" y="5707"/>
                  </a:lnTo>
                  <a:lnTo>
                    <a:pt x="6179" y="6288"/>
                  </a:lnTo>
                  <a:lnTo>
                    <a:pt x="5779" y="6979"/>
                  </a:lnTo>
                  <a:lnTo>
                    <a:pt x="5416" y="7742"/>
                  </a:lnTo>
                  <a:lnTo>
                    <a:pt x="5052" y="8542"/>
                  </a:lnTo>
                  <a:lnTo>
                    <a:pt x="4725" y="9450"/>
                  </a:lnTo>
                  <a:lnTo>
                    <a:pt x="4362" y="10395"/>
                  </a:lnTo>
                  <a:lnTo>
                    <a:pt x="4035" y="11377"/>
                  </a:lnTo>
                  <a:lnTo>
                    <a:pt x="3707" y="12394"/>
                  </a:lnTo>
                  <a:lnTo>
                    <a:pt x="3090" y="14575"/>
                  </a:lnTo>
                  <a:lnTo>
                    <a:pt x="2508" y="16865"/>
                  </a:lnTo>
                  <a:lnTo>
                    <a:pt x="1999" y="19191"/>
                  </a:lnTo>
                  <a:lnTo>
                    <a:pt x="1527" y="21554"/>
                  </a:lnTo>
                  <a:lnTo>
                    <a:pt x="1127" y="23880"/>
                  </a:lnTo>
                  <a:lnTo>
                    <a:pt x="763" y="26097"/>
                  </a:lnTo>
                  <a:lnTo>
                    <a:pt x="473" y="28205"/>
                  </a:lnTo>
                  <a:lnTo>
                    <a:pt x="255" y="30095"/>
                  </a:lnTo>
                  <a:lnTo>
                    <a:pt x="109" y="31803"/>
                  </a:lnTo>
                  <a:lnTo>
                    <a:pt x="37" y="33221"/>
                  </a:lnTo>
                  <a:lnTo>
                    <a:pt x="0" y="34311"/>
                  </a:lnTo>
                  <a:lnTo>
                    <a:pt x="37" y="34711"/>
                  </a:lnTo>
                  <a:lnTo>
                    <a:pt x="73" y="35002"/>
                  </a:lnTo>
                  <a:lnTo>
                    <a:pt x="146" y="35183"/>
                  </a:lnTo>
                  <a:lnTo>
                    <a:pt x="218" y="35329"/>
                  </a:lnTo>
                  <a:lnTo>
                    <a:pt x="327" y="35474"/>
                  </a:lnTo>
                  <a:lnTo>
                    <a:pt x="473" y="35619"/>
                  </a:lnTo>
                  <a:lnTo>
                    <a:pt x="800" y="35837"/>
                  </a:lnTo>
                  <a:lnTo>
                    <a:pt x="1200" y="36056"/>
                  </a:lnTo>
                  <a:lnTo>
                    <a:pt x="1708" y="36201"/>
                  </a:lnTo>
                  <a:lnTo>
                    <a:pt x="2290" y="36346"/>
                  </a:lnTo>
                  <a:lnTo>
                    <a:pt x="2908" y="36419"/>
                  </a:lnTo>
                  <a:lnTo>
                    <a:pt x="3635" y="36492"/>
                  </a:lnTo>
                  <a:lnTo>
                    <a:pt x="4362" y="36564"/>
                  </a:lnTo>
                  <a:lnTo>
                    <a:pt x="5161" y="36564"/>
                  </a:lnTo>
                  <a:lnTo>
                    <a:pt x="6870" y="36601"/>
                  </a:lnTo>
                  <a:lnTo>
                    <a:pt x="8650" y="36528"/>
                  </a:lnTo>
                  <a:lnTo>
                    <a:pt x="10468" y="36455"/>
                  </a:lnTo>
                  <a:lnTo>
                    <a:pt x="12212" y="36419"/>
                  </a:lnTo>
                  <a:lnTo>
                    <a:pt x="13921" y="36346"/>
                  </a:lnTo>
                  <a:lnTo>
                    <a:pt x="15447" y="36346"/>
                  </a:lnTo>
                  <a:lnTo>
                    <a:pt x="16174" y="36383"/>
                  </a:lnTo>
                  <a:lnTo>
                    <a:pt x="16828" y="36419"/>
                  </a:lnTo>
                  <a:lnTo>
                    <a:pt x="17991" y="36528"/>
                  </a:lnTo>
                  <a:lnTo>
                    <a:pt x="19227" y="36564"/>
                  </a:lnTo>
                  <a:lnTo>
                    <a:pt x="20390" y="36564"/>
                  </a:lnTo>
                  <a:lnTo>
                    <a:pt x="20935" y="36528"/>
                  </a:lnTo>
                  <a:lnTo>
                    <a:pt x="21444" y="36492"/>
                  </a:lnTo>
                  <a:lnTo>
                    <a:pt x="21917" y="36419"/>
                  </a:lnTo>
                  <a:lnTo>
                    <a:pt x="22316" y="36310"/>
                  </a:lnTo>
                  <a:lnTo>
                    <a:pt x="22680" y="36201"/>
                  </a:lnTo>
                  <a:lnTo>
                    <a:pt x="22934" y="36056"/>
                  </a:lnTo>
                  <a:lnTo>
                    <a:pt x="23152" y="35874"/>
                  </a:lnTo>
                  <a:lnTo>
                    <a:pt x="23225" y="35765"/>
                  </a:lnTo>
                  <a:lnTo>
                    <a:pt x="23261" y="35692"/>
                  </a:lnTo>
                  <a:lnTo>
                    <a:pt x="23298" y="35547"/>
                  </a:lnTo>
                  <a:lnTo>
                    <a:pt x="23298" y="35438"/>
                  </a:lnTo>
                  <a:lnTo>
                    <a:pt x="23261" y="35292"/>
                  </a:lnTo>
                  <a:lnTo>
                    <a:pt x="23225" y="35147"/>
                  </a:lnTo>
                  <a:lnTo>
                    <a:pt x="23043" y="34783"/>
                  </a:lnTo>
                  <a:lnTo>
                    <a:pt x="22898" y="34420"/>
                  </a:lnTo>
                  <a:lnTo>
                    <a:pt x="22825" y="34057"/>
                  </a:lnTo>
                  <a:lnTo>
                    <a:pt x="22753" y="33729"/>
                  </a:lnTo>
                  <a:lnTo>
                    <a:pt x="22716" y="33439"/>
                  </a:lnTo>
                  <a:lnTo>
                    <a:pt x="22716" y="33148"/>
                  </a:lnTo>
                  <a:lnTo>
                    <a:pt x="22716" y="32857"/>
                  </a:lnTo>
                  <a:lnTo>
                    <a:pt x="22753" y="32566"/>
                  </a:lnTo>
                  <a:lnTo>
                    <a:pt x="22898" y="32058"/>
                  </a:lnTo>
                  <a:lnTo>
                    <a:pt x="23080" y="31549"/>
                  </a:lnTo>
                  <a:lnTo>
                    <a:pt x="23480" y="30567"/>
                  </a:lnTo>
                  <a:lnTo>
                    <a:pt x="23698" y="30058"/>
                  </a:lnTo>
                  <a:lnTo>
                    <a:pt x="23843" y="29513"/>
                  </a:lnTo>
                  <a:lnTo>
                    <a:pt x="23952" y="28932"/>
                  </a:lnTo>
                  <a:lnTo>
                    <a:pt x="23988" y="28605"/>
                  </a:lnTo>
                  <a:lnTo>
                    <a:pt x="23988" y="28278"/>
                  </a:lnTo>
                  <a:lnTo>
                    <a:pt x="23952" y="27914"/>
                  </a:lnTo>
                  <a:lnTo>
                    <a:pt x="23916" y="27514"/>
                  </a:lnTo>
                  <a:lnTo>
                    <a:pt x="23807" y="27114"/>
                  </a:lnTo>
                  <a:lnTo>
                    <a:pt x="23698" y="26678"/>
                  </a:lnTo>
                  <a:lnTo>
                    <a:pt x="23552" y="26242"/>
                  </a:lnTo>
                  <a:lnTo>
                    <a:pt x="23370" y="25733"/>
                  </a:lnTo>
                  <a:lnTo>
                    <a:pt x="23116" y="25225"/>
                  </a:lnTo>
                  <a:lnTo>
                    <a:pt x="22862" y="24679"/>
                  </a:lnTo>
                  <a:lnTo>
                    <a:pt x="22716" y="24352"/>
                  </a:lnTo>
                  <a:lnTo>
                    <a:pt x="22571" y="24025"/>
                  </a:lnTo>
                  <a:lnTo>
                    <a:pt x="22498" y="23698"/>
                  </a:lnTo>
                  <a:lnTo>
                    <a:pt x="22425" y="23335"/>
                  </a:lnTo>
                  <a:lnTo>
                    <a:pt x="22353" y="23007"/>
                  </a:lnTo>
                  <a:lnTo>
                    <a:pt x="22353" y="22644"/>
                  </a:lnTo>
                  <a:lnTo>
                    <a:pt x="22353" y="21917"/>
                  </a:lnTo>
                  <a:lnTo>
                    <a:pt x="22462" y="21154"/>
                  </a:lnTo>
                  <a:lnTo>
                    <a:pt x="22607" y="20391"/>
                  </a:lnTo>
                  <a:lnTo>
                    <a:pt x="22825" y="19555"/>
                  </a:lnTo>
                  <a:lnTo>
                    <a:pt x="23080" y="18682"/>
                  </a:lnTo>
                  <a:lnTo>
                    <a:pt x="23625" y="16829"/>
                  </a:lnTo>
                  <a:lnTo>
                    <a:pt x="23879" y="15811"/>
                  </a:lnTo>
                  <a:lnTo>
                    <a:pt x="24134" y="14757"/>
                  </a:lnTo>
                  <a:lnTo>
                    <a:pt x="24352" y="13667"/>
                  </a:lnTo>
                  <a:lnTo>
                    <a:pt x="24534" y="12504"/>
                  </a:lnTo>
                  <a:lnTo>
                    <a:pt x="24643" y="11268"/>
                  </a:lnTo>
                  <a:lnTo>
                    <a:pt x="24715" y="9959"/>
                  </a:lnTo>
                  <a:lnTo>
                    <a:pt x="24715" y="9305"/>
                  </a:lnTo>
                  <a:lnTo>
                    <a:pt x="24679" y="8578"/>
                  </a:lnTo>
                  <a:lnTo>
                    <a:pt x="24606" y="7851"/>
                  </a:lnTo>
                  <a:lnTo>
                    <a:pt x="24497" y="7124"/>
                  </a:lnTo>
                  <a:lnTo>
                    <a:pt x="24352" y="6361"/>
                  </a:lnTo>
                  <a:lnTo>
                    <a:pt x="24170" y="5598"/>
                  </a:lnTo>
                  <a:lnTo>
                    <a:pt x="23952" y="4798"/>
                  </a:lnTo>
                  <a:lnTo>
                    <a:pt x="23698" y="3962"/>
                  </a:lnTo>
                  <a:lnTo>
                    <a:pt x="23516" y="3490"/>
                  </a:lnTo>
                  <a:lnTo>
                    <a:pt x="23261" y="3090"/>
                  </a:lnTo>
                  <a:lnTo>
                    <a:pt x="22971" y="2690"/>
                  </a:lnTo>
                  <a:lnTo>
                    <a:pt x="22680" y="2327"/>
                  </a:lnTo>
                  <a:lnTo>
                    <a:pt x="22316" y="2000"/>
                  </a:lnTo>
                  <a:lnTo>
                    <a:pt x="21989" y="1672"/>
                  </a:lnTo>
                  <a:lnTo>
                    <a:pt x="21262" y="1091"/>
                  </a:lnTo>
                  <a:lnTo>
                    <a:pt x="21081" y="946"/>
                  </a:lnTo>
                  <a:lnTo>
                    <a:pt x="20826" y="728"/>
                  </a:lnTo>
                  <a:lnTo>
                    <a:pt x="20717" y="582"/>
                  </a:lnTo>
                  <a:lnTo>
                    <a:pt x="20681" y="618"/>
                  </a:lnTo>
                  <a:lnTo>
                    <a:pt x="20245" y="291"/>
                  </a:lnTo>
                  <a:lnTo>
                    <a:pt x="19954" y="73"/>
                  </a:lnTo>
                  <a:lnTo>
                    <a:pt x="19809" y="1"/>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98" name="Google Shape;2727;p11">
              <a:extLst>
                <a:ext uri="{FF2B5EF4-FFF2-40B4-BE49-F238E27FC236}">
                  <a16:creationId xmlns:a16="http://schemas.microsoft.com/office/drawing/2014/main" id="{F8C6B055-01F7-89A5-C8DC-123AB12702F3}"/>
                </a:ext>
              </a:extLst>
            </p:cNvPr>
            <p:cNvSpPr/>
            <p:nvPr/>
          </p:nvSpPr>
          <p:spPr>
            <a:xfrm>
              <a:off x="6147025" y="3401750"/>
              <a:ext cx="617900" cy="915025"/>
            </a:xfrm>
            <a:custGeom>
              <a:avLst/>
              <a:gdLst/>
              <a:ahLst/>
              <a:cxnLst/>
              <a:rect l="l" t="t" r="r" b="b"/>
              <a:pathLst>
                <a:path w="24716" h="36601" fill="none" extrusionOk="0">
                  <a:moveTo>
                    <a:pt x="73" y="35002"/>
                  </a:moveTo>
                  <a:lnTo>
                    <a:pt x="73" y="35002"/>
                  </a:lnTo>
                  <a:lnTo>
                    <a:pt x="146" y="35183"/>
                  </a:lnTo>
                  <a:lnTo>
                    <a:pt x="218" y="35329"/>
                  </a:lnTo>
                  <a:lnTo>
                    <a:pt x="327" y="35474"/>
                  </a:lnTo>
                  <a:lnTo>
                    <a:pt x="473" y="35619"/>
                  </a:lnTo>
                  <a:lnTo>
                    <a:pt x="800" y="35837"/>
                  </a:lnTo>
                  <a:lnTo>
                    <a:pt x="1200" y="36056"/>
                  </a:lnTo>
                  <a:lnTo>
                    <a:pt x="1708" y="36201"/>
                  </a:lnTo>
                  <a:lnTo>
                    <a:pt x="2290" y="36346"/>
                  </a:lnTo>
                  <a:lnTo>
                    <a:pt x="2908" y="36419"/>
                  </a:lnTo>
                  <a:lnTo>
                    <a:pt x="3635" y="36492"/>
                  </a:lnTo>
                  <a:lnTo>
                    <a:pt x="4362" y="36564"/>
                  </a:lnTo>
                  <a:lnTo>
                    <a:pt x="5161" y="36564"/>
                  </a:lnTo>
                  <a:lnTo>
                    <a:pt x="6870" y="36601"/>
                  </a:lnTo>
                  <a:lnTo>
                    <a:pt x="8650" y="36528"/>
                  </a:lnTo>
                  <a:lnTo>
                    <a:pt x="10468" y="36455"/>
                  </a:lnTo>
                  <a:lnTo>
                    <a:pt x="10468" y="36455"/>
                  </a:lnTo>
                  <a:lnTo>
                    <a:pt x="12212" y="36419"/>
                  </a:lnTo>
                  <a:lnTo>
                    <a:pt x="13921" y="36346"/>
                  </a:lnTo>
                  <a:lnTo>
                    <a:pt x="15447" y="36346"/>
                  </a:lnTo>
                  <a:lnTo>
                    <a:pt x="16174" y="36383"/>
                  </a:lnTo>
                  <a:lnTo>
                    <a:pt x="16828" y="36419"/>
                  </a:lnTo>
                  <a:lnTo>
                    <a:pt x="16828" y="36419"/>
                  </a:lnTo>
                  <a:lnTo>
                    <a:pt x="17991" y="36528"/>
                  </a:lnTo>
                  <a:lnTo>
                    <a:pt x="19227" y="36564"/>
                  </a:lnTo>
                  <a:lnTo>
                    <a:pt x="20390" y="36564"/>
                  </a:lnTo>
                  <a:lnTo>
                    <a:pt x="20935" y="36528"/>
                  </a:lnTo>
                  <a:lnTo>
                    <a:pt x="21444" y="36492"/>
                  </a:lnTo>
                  <a:lnTo>
                    <a:pt x="21917" y="36419"/>
                  </a:lnTo>
                  <a:lnTo>
                    <a:pt x="22316" y="36310"/>
                  </a:lnTo>
                  <a:lnTo>
                    <a:pt x="22680" y="36201"/>
                  </a:lnTo>
                  <a:lnTo>
                    <a:pt x="22934" y="36056"/>
                  </a:lnTo>
                  <a:lnTo>
                    <a:pt x="23152" y="35874"/>
                  </a:lnTo>
                  <a:lnTo>
                    <a:pt x="23225" y="35765"/>
                  </a:lnTo>
                  <a:lnTo>
                    <a:pt x="23261" y="35692"/>
                  </a:lnTo>
                  <a:lnTo>
                    <a:pt x="23298" y="35547"/>
                  </a:lnTo>
                  <a:lnTo>
                    <a:pt x="23298" y="35438"/>
                  </a:lnTo>
                  <a:lnTo>
                    <a:pt x="23261" y="35292"/>
                  </a:lnTo>
                  <a:lnTo>
                    <a:pt x="23225" y="35147"/>
                  </a:lnTo>
                  <a:lnTo>
                    <a:pt x="23225" y="35147"/>
                  </a:lnTo>
                  <a:lnTo>
                    <a:pt x="23043" y="34783"/>
                  </a:lnTo>
                  <a:lnTo>
                    <a:pt x="22898" y="34420"/>
                  </a:lnTo>
                  <a:lnTo>
                    <a:pt x="22825" y="34057"/>
                  </a:lnTo>
                  <a:lnTo>
                    <a:pt x="22753" y="33729"/>
                  </a:lnTo>
                  <a:lnTo>
                    <a:pt x="22716" y="33439"/>
                  </a:lnTo>
                  <a:lnTo>
                    <a:pt x="22716" y="33148"/>
                  </a:lnTo>
                  <a:lnTo>
                    <a:pt x="22716" y="32857"/>
                  </a:lnTo>
                  <a:lnTo>
                    <a:pt x="22753" y="32566"/>
                  </a:lnTo>
                  <a:lnTo>
                    <a:pt x="22898" y="32058"/>
                  </a:lnTo>
                  <a:lnTo>
                    <a:pt x="23080" y="31549"/>
                  </a:lnTo>
                  <a:lnTo>
                    <a:pt x="23480" y="30567"/>
                  </a:lnTo>
                  <a:lnTo>
                    <a:pt x="23698" y="30058"/>
                  </a:lnTo>
                  <a:lnTo>
                    <a:pt x="23843" y="29513"/>
                  </a:lnTo>
                  <a:lnTo>
                    <a:pt x="23952" y="28932"/>
                  </a:lnTo>
                  <a:lnTo>
                    <a:pt x="23988" y="28605"/>
                  </a:lnTo>
                  <a:lnTo>
                    <a:pt x="23988" y="28278"/>
                  </a:lnTo>
                  <a:lnTo>
                    <a:pt x="23952" y="27914"/>
                  </a:lnTo>
                  <a:lnTo>
                    <a:pt x="23916" y="27514"/>
                  </a:lnTo>
                  <a:lnTo>
                    <a:pt x="23807" y="27114"/>
                  </a:lnTo>
                  <a:lnTo>
                    <a:pt x="23698" y="26678"/>
                  </a:lnTo>
                  <a:lnTo>
                    <a:pt x="23552" y="26242"/>
                  </a:lnTo>
                  <a:lnTo>
                    <a:pt x="23370" y="25733"/>
                  </a:lnTo>
                  <a:lnTo>
                    <a:pt x="23116" y="25225"/>
                  </a:lnTo>
                  <a:lnTo>
                    <a:pt x="22862" y="24679"/>
                  </a:lnTo>
                  <a:lnTo>
                    <a:pt x="22862" y="24679"/>
                  </a:lnTo>
                  <a:lnTo>
                    <a:pt x="22716" y="24352"/>
                  </a:lnTo>
                  <a:lnTo>
                    <a:pt x="22571" y="24025"/>
                  </a:lnTo>
                  <a:lnTo>
                    <a:pt x="22498" y="23698"/>
                  </a:lnTo>
                  <a:lnTo>
                    <a:pt x="22425" y="23335"/>
                  </a:lnTo>
                  <a:lnTo>
                    <a:pt x="22353" y="23007"/>
                  </a:lnTo>
                  <a:lnTo>
                    <a:pt x="22353" y="22644"/>
                  </a:lnTo>
                  <a:lnTo>
                    <a:pt x="22353" y="21917"/>
                  </a:lnTo>
                  <a:lnTo>
                    <a:pt x="22462" y="21154"/>
                  </a:lnTo>
                  <a:lnTo>
                    <a:pt x="22607" y="20391"/>
                  </a:lnTo>
                  <a:lnTo>
                    <a:pt x="22825" y="19555"/>
                  </a:lnTo>
                  <a:lnTo>
                    <a:pt x="23080" y="18682"/>
                  </a:lnTo>
                  <a:lnTo>
                    <a:pt x="23625" y="16829"/>
                  </a:lnTo>
                  <a:lnTo>
                    <a:pt x="23879" y="15811"/>
                  </a:lnTo>
                  <a:lnTo>
                    <a:pt x="24134" y="14757"/>
                  </a:lnTo>
                  <a:lnTo>
                    <a:pt x="24352" y="13667"/>
                  </a:lnTo>
                  <a:lnTo>
                    <a:pt x="24534" y="12504"/>
                  </a:lnTo>
                  <a:lnTo>
                    <a:pt x="24643" y="11268"/>
                  </a:lnTo>
                  <a:lnTo>
                    <a:pt x="24715" y="9959"/>
                  </a:lnTo>
                  <a:lnTo>
                    <a:pt x="24715" y="9959"/>
                  </a:lnTo>
                  <a:lnTo>
                    <a:pt x="24715" y="9305"/>
                  </a:lnTo>
                  <a:lnTo>
                    <a:pt x="24679" y="8578"/>
                  </a:lnTo>
                  <a:lnTo>
                    <a:pt x="24606" y="7851"/>
                  </a:lnTo>
                  <a:lnTo>
                    <a:pt x="24497" y="7124"/>
                  </a:lnTo>
                  <a:lnTo>
                    <a:pt x="24352" y="6361"/>
                  </a:lnTo>
                  <a:lnTo>
                    <a:pt x="24170" y="5598"/>
                  </a:lnTo>
                  <a:lnTo>
                    <a:pt x="23952" y="4798"/>
                  </a:lnTo>
                  <a:lnTo>
                    <a:pt x="23698" y="3962"/>
                  </a:lnTo>
                  <a:lnTo>
                    <a:pt x="23698" y="3962"/>
                  </a:lnTo>
                  <a:lnTo>
                    <a:pt x="23516" y="3490"/>
                  </a:lnTo>
                  <a:lnTo>
                    <a:pt x="23261" y="3090"/>
                  </a:lnTo>
                  <a:lnTo>
                    <a:pt x="22971" y="2690"/>
                  </a:lnTo>
                  <a:lnTo>
                    <a:pt x="22680" y="2327"/>
                  </a:lnTo>
                  <a:lnTo>
                    <a:pt x="22316" y="2000"/>
                  </a:lnTo>
                  <a:lnTo>
                    <a:pt x="21989" y="1672"/>
                  </a:lnTo>
                  <a:lnTo>
                    <a:pt x="21262" y="1091"/>
                  </a:lnTo>
                  <a:lnTo>
                    <a:pt x="21262" y="1091"/>
                  </a:lnTo>
                  <a:lnTo>
                    <a:pt x="21081" y="946"/>
                  </a:lnTo>
                  <a:lnTo>
                    <a:pt x="21081" y="946"/>
                  </a:lnTo>
                  <a:lnTo>
                    <a:pt x="20826" y="728"/>
                  </a:lnTo>
                  <a:lnTo>
                    <a:pt x="20826" y="728"/>
                  </a:lnTo>
                  <a:lnTo>
                    <a:pt x="20826" y="728"/>
                  </a:lnTo>
                  <a:lnTo>
                    <a:pt x="20717" y="582"/>
                  </a:lnTo>
                  <a:lnTo>
                    <a:pt x="20717" y="582"/>
                  </a:lnTo>
                  <a:lnTo>
                    <a:pt x="20681" y="618"/>
                  </a:lnTo>
                  <a:lnTo>
                    <a:pt x="20681" y="618"/>
                  </a:lnTo>
                  <a:lnTo>
                    <a:pt x="20245" y="291"/>
                  </a:lnTo>
                  <a:lnTo>
                    <a:pt x="19954" y="73"/>
                  </a:lnTo>
                  <a:lnTo>
                    <a:pt x="19809" y="1"/>
                  </a:lnTo>
                  <a:lnTo>
                    <a:pt x="19772" y="1"/>
                  </a:lnTo>
                  <a:lnTo>
                    <a:pt x="19772" y="37"/>
                  </a:lnTo>
                  <a:lnTo>
                    <a:pt x="19845" y="146"/>
                  </a:lnTo>
                  <a:lnTo>
                    <a:pt x="19990" y="328"/>
                  </a:lnTo>
                  <a:lnTo>
                    <a:pt x="20426" y="800"/>
                  </a:lnTo>
                  <a:lnTo>
                    <a:pt x="20426" y="800"/>
                  </a:lnTo>
                  <a:lnTo>
                    <a:pt x="20390" y="837"/>
                  </a:lnTo>
                  <a:lnTo>
                    <a:pt x="20426" y="873"/>
                  </a:lnTo>
                  <a:lnTo>
                    <a:pt x="20608" y="909"/>
                  </a:lnTo>
                  <a:lnTo>
                    <a:pt x="20681" y="946"/>
                  </a:lnTo>
                  <a:lnTo>
                    <a:pt x="20754" y="982"/>
                  </a:lnTo>
                  <a:lnTo>
                    <a:pt x="20754" y="1018"/>
                  </a:lnTo>
                  <a:lnTo>
                    <a:pt x="20681" y="1091"/>
                  </a:lnTo>
                  <a:lnTo>
                    <a:pt x="20681" y="1091"/>
                  </a:lnTo>
                  <a:lnTo>
                    <a:pt x="20681" y="1091"/>
                  </a:lnTo>
                  <a:lnTo>
                    <a:pt x="19954" y="1527"/>
                  </a:lnTo>
                  <a:lnTo>
                    <a:pt x="19954" y="1527"/>
                  </a:lnTo>
                  <a:lnTo>
                    <a:pt x="18573" y="2290"/>
                  </a:lnTo>
                  <a:lnTo>
                    <a:pt x="18573" y="2290"/>
                  </a:lnTo>
                  <a:lnTo>
                    <a:pt x="17592" y="2763"/>
                  </a:lnTo>
                  <a:lnTo>
                    <a:pt x="16574" y="3272"/>
                  </a:lnTo>
                  <a:lnTo>
                    <a:pt x="15483" y="3744"/>
                  </a:lnTo>
                  <a:lnTo>
                    <a:pt x="14320" y="4180"/>
                  </a:lnTo>
                  <a:lnTo>
                    <a:pt x="13121" y="4580"/>
                  </a:lnTo>
                  <a:lnTo>
                    <a:pt x="11922" y="4907"/>
                  </a:lnTo>
                  <a:lnTo>
                    <a:pt x="11304" y="5016"/>
                  </a:lnTo>
                  <a:lnTo>
                    <a:pt x="10686" y="5125"/>
                  </a:lnTo>
                  <a:lnTo>
                    <a:pt x="10068" y="5234"/>
                  </a:lnTo>
                  <a:lnTo>
                    <a:pt x="9486" y="5271"/>
                  </a:lnTo>
                  <a:lnTo>
                    <a:pt x="9486" y="5271"/>
                  </a:lnTo>
                  <a:lnTo>
                    <a:pt x="9377" y="5271"/>
                  </a:lnTo>
                  <a:lnTo>
                    <a:pt x="9377" y="5271"/>
                  </a:lnTo>
                  <a:lnTo>
                    <a:pt x="8687" y="5307"/>
                  </a:lnTo>
                  <a:lnTo>
                    <a:pt x="8033" y="5307"/>
                  </a:lnTo>
                  <a:lnTo>
                    <a:pt x="8033" y="5307"/>
                  </a:lnTo>
                  <a:lnTo>
                    <a:pt x="7851" y="5307"/>
                  </a:lnTo>
                  <a:lnTo>
                    <a:pt x="7669" y="5343"/>
                  </a:lnTo>
                  <a:lnTo>
                    <a:pt x="7342" y="5525"/>
                  </a:lnTo>
                  <a:lnTo>
                    <a:pt x="7342" y="5525"/>
                  </a:lnTo>
                  <a:lnTo>
                    <a:pt x="7160" y="5598"/>
                  </a:lnTo>
                  <a:lnTo>
                    <a:pt x="6942" y="5671"/>
                  </a:lnTo>
                  <a:lnTo>
                    <a:pt x="6760" y="5707"/>
                  </a:lnTo>
                  <a:lnTo>
                    <a:pt x="6542" y="5707"/>
                  </a:lnTo>
                  <a:lnTo>
                    <a:pt x="6542" y="5707"/>
                  </a:lnTo>
                  <a:lnTo>
                    <a:pt x="6179" y="6288"/>
                  </a:lnTo>
                  <a:lnTo>
                    <a:pt x="5779" y="6979"/>
                  </a:lnTo>
                  <a:lnTo>
                    <a:pt x="5416" y="7742"/>
                  </a:lnTo>
                  <a:lnTo>
                    <a:pt x="5052" y="8542"/>
                  </a:lnTo>
                  <a:lnTo>
                    <a:pt x="4725" y="9450"/>
                  </a:lnTo>
                  <a:lnTo>
                    <a:pt x="4362" y="10395"/>
                  </a:lnTo>
                  <a:lnTo>
                    <a:pt x="4035" y="11377"/>
                  </a:lnTo>
                  <a:lnTo>
                    <a:pt x="3707" y="12394"/>
                  </a:lnTo>
                  <a:lnTo>
                    <a:pt x="3090" y="14575"/>
                  </a:lnTo>
                  <a:lnTo>
                    <a:pt x="2508" y="16865"/>
                  </a:lnTo>
                  <a:lnTo>
                    <a:pt x="1999" y="19191"/>
                  </a:lnTo>
                  <a:lnTo>
                    <a:pt x="1527" y="21554"/>
                  </a:lnTo>
                  <a:lnTo>
                    <a:pt x="1127" y="23880"/>
                  </a:lnTo>
                  <a:lnTo>
                    <a:pt x="763" y="26097"/>
                  </a:lnTo>
                  <a:lnTo>
                    <a:pt x="473" y="28205"/>
                  </a:lnTo>
                  <a:lnTo>
                    <a:pt x="255" y="30095"/>
                  </a:lnTo>
                  <a:lnTo>
                    <a:pt x="109" y="31803"/>
                  </a:lnTo>
                  <a:lnTo>
                    <a:pt x="37" y="33221"/>
                  </a:lnTo>
                  <a:lnTo>
                    <a:pt x="0" y="34311"/>
                  </a:lnTo>
                  <a:lnTo>
                    <a:pt x="37" y="34711"/>
                  </a:lnTo>
                  <a:lnTo>
                    <a:pt x="73" y="35002"/>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499" name="Google Shape;2728;p11">
              <a:extLst>
                <a:ext uri="{FF2B5EF4-FFF2-40B4-BE49-F238E27FC236}">
                  <a16:creationId xmlns:a16="http://schemas.microsoft.com/office/drawing/2014/main" id="{0814BBFA-0927-9CD1-63B9-F162DF9A15C3}"/>
                </a:ext>
              </a:extLst>
            </p:cNvPr>
            <p:cNvSpPr/>
            <p:nvPr/>
          </p:nvSpPr>
          <p:spPr>
            <a:xfrm>
              <a:off x="6392350" y="3519875"/>
              <a:ext cx="375300" cy="176300"/>
            </a:xfrm>
            <a:custGeom>
              <a:avLst/>
              <a:gdLst/>
              <a:ahLst/>
              <a:cxnLst/>
              <a:rect l="l" t="t" r="r" b="b"/>
              <a:pathLst>
                <a:path w="15012" h="7052" extrusionOk="0">
                  <a:moveTo>
                    <a:pt x="909" y="1"/>
                  </a:moveTo>
                  <a:lnTo>
                    <a:pt x="582" y="219"/>
                  </a:lnTo>
                  <a:lnTo>
                    <a:pt x="400" y="328"/>
                  </a:lnTo>
                  <a:lnTo>
                    <a:pt x="1" y="509"/>
                  </a:lnTo>
                  <a:lnTo>
                    <a:pt x="727" y="437"/>
                  </a:lnTo>
                  <a:lnTo>
                    <a:pt x="1418" y="328"/>
                  </a:lnTo>
                  <a:lnTo>
                    <a:pt x="1164" y="182"/>
                  </a:lnTo>
                  <a:lnTo>
                    <a:pt x="909" y="1"/>
                  </a:lnTo>
                  <a:close/>
                  <a:moveTo>
                    <a:pt x="14684" y="1200"/>
                  </a:moveTo>
                  <a:lnTo>
                    <a:pt x="14502" y="1418"/>
                  </a:lnTo>
                  <a:lnTo>
                    <a:pt x="14684" y="2436"/>
                  </a:lnTo>
                  <a:lnTo>
                    <a:pt x="14830" y="3381"/>
                  </a:lnTo>
                  <a:lnTo>
                    <a:pt x="14902" y="4326"/>
                  </a:lnTo>
                  <a:lnTo>
                    <a:pt x="14902" y="5234"/>
                  </a:lnTo>
                  <a:lnTo>
                    <a:pt x="14866" y="6143"/>
                  </a:lnTo>
                  <a:lnTo>
                    <a:pt x="14793" y="7052"/>
                  </a:lnTo>
                  <a:lnTo>
                    <a:pt x="14902" y="6397"/>
                  </a:lnTo>
                  <a:lnTo>
                    <a:pt x="14939" y="5779"/>
                  </a:lnTo>
                  <a:lnTo>
                    <a:pt x="14975" y="5089"/>
                  </a:lnTo>
                  <a:lnTo>
                    <a:pt x="15011" y="4435"/>
                  </a:lnTo>
                  <a:lnTo>
                    <a:pt x="14975" y="3708"/>
                  </a:lnTo>
                  <a:lnTo>
                    <a:pt x="14939" y="3017"/>
                  </a:lnTo>
                  <a:lnTo>
                    <a:pt x="14866" y="2254"/>
                  </a:lnTo>
                  <a:lnTo>
                    <a:pt x="14757" y="1491"/>
                  </a:lnTo>
                  <a:lnTo>
                    <a:pt x="14684" y="1200"/>
                  </a:lnTo>
                  <a:close/>
                </a:path>
              </a:pathLst>
            </a:custGeom>
            <a:solidFill>
              <a:srgbClr val="22223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00" name="Google Shape;2729;p11">
              <a:extLst>
                <a:ext uri="{FF2B5EF4-FFF2-40B4-BE49-F238E27FC236}">
                  <a16:creationId xmlns:a16="http://schemas.microsoft.com/office/drawing/2014/main" id="{FF0BB08F-03A4-D3CA-D121-41B9F8ECD742}"/>
                </a:ext>
              </a:extLst>
            </p:cNvPr>
            <p:cNvSpPr/>
            <p:nvPr/>
          </p:nvSpPr>
          <p:spPr>
            <a:xfrm>
              <a:off x="6754900" y="3549850"/>
              <a:ext cx="12750" cy="146325"/>
            </a:xfrm>
            <a:custGeom>
              <a:avLst/>
              <a:gdLst/>
              <a:ahLst/>
              <a:cxnLst/>
              <a:rect l="l" t="t" r="r" b="b"/>
              <a:pathLst>
                <a:path w="510" h="5853" fill="none" extrusionOk="0">
                  <a:moveTo>
                    <a:pt x="182" y="1"/>
                  </a:moveTo>
                  <a:lnTo>
                    <a:pt x="182" y="1"/>
                  </a:lnTo>
                  <a:lnTo>
                    <a:pt x="0" y="219"/>
                  </a:lnTo>
                  <a:lnTo>
                    <a:pt x="0" y="219"/>
                  </a:lnTo>
                  <a:lnTo>
                    <a:pt x="182" y="1237"/>
                  </a:lnTo>
                  <a:lnTo>
                    <a:pt x="328" y="2182"/>
                  </a:lnTo>
                  <a:lnTo>
                    <a:pt x="400" y="3127"/>
                  </a:lnTo>
                  <a:lnTo>
                    <a:pt x="400" y="4035"/>
                  </a:lnTo>
                  <a:lnTo>
                    <a:pt x="400" y="4035"/>
                  </a:lnTo>
                  <a:lnTo>
                    <a:pt x="364" y="4944"/>
                  </a:lnTo>
                  <a:lnTo>
                    <a:pt x="291" y="5853"/>
                  </a:lnTo>
                  <a:lnTo>
                    <a:pt x="291" y="5853"/>
                  </a:lnTo>
                  <a:lnTo>
                    <a:pt x="400" y="5198"/>
                  </a:lnTo>
                  <a:lnTo>
                    <a:pt x="437" y="4580"/>
                  </a:lnTo>
                  <a:lnTo>
                    <a:pt x="473" y="3890"/>
                  </a:lnTo>
                  <a:lnTo>
                    <a:pt x="509" y="3236"/>
                  </a:lnTo>
                  <a:lnTo>
                    <a:pt x="473" y="2509"/>
                  </a:lnTo>
                  <a:lnTo>
                    <a:pt x="437" y="1818"/>
                  </a:lnTo>
                  <a:lnTo>
                    <a:pt x="364" y="1055"/>
                  </a:lnTo>
                  <a:lnTo>
                    <a:pt x="255" y="292"/>
                  </a:lnTo>
                  <a:lnTo>
                    <a:pt x="255" y="292"/>
                  </a:lnTo>
                  <a:lnTo>
                    <a:pt x="182"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01" name="Google Shape;2730;p11">
              <a:extLst>
                <a:ext uri="{FF2B5EF4-FFF2-40B4-BE49-F238E27FC236}">
                  <a16:creationId xmlns:a16="http://schemas.microsoft.com/office/drawing/2014/main" id="{29A938B9-D028-7654-906E-3B5CA1C5058C}"/>
                </a:ext>
              </a:extLst>
            </p:cNvPr>
            <p:cNvSpPr/>
            <p:nvPr/>
          </p:nvSpPr>
          <p:spPr>
            <a:xfrm>
              <a:off x="6392350" y="3519875"/>
              <a:ext cx="35450" cy="12750"/>
            </a:xfrm>
            <a:custGeom>
              <a:avLst/>
              <a:gdLst/>
              <a:ahLst/>
              <a:cxnLst/>
              <a:rect l="l" t="t" r="r" b="b"/>
              <a:pathLst>
                <a:path w="1418" h="510" fill="none" extrusionOk="0">
                  <a:moveTo>
                    <a:pt x="909" y="1"/>
                  </a:moveTo>
                  <a:lnTo>
                    <a:pt x="582" y="219"/>
                  </a:lnTo>
                  <a:lnTo>
                    <a:pt x="400" y="328"/>
                  </a:lnTo>
                  <a:lnTo>
                    <a:pt x="1" y="509"/>
                  </a:lnTo>
                  <a:lnTo>
                    <a:pt x="1" y="509"/>
                  </a:lnTo>
                  <a:lnTo>
                    <a:pt x="727" y="437"/>
                  </a:lnTo>
                  <a:lnTo>
                    <a:pt x="1418" y="328"/>
                  </a:lnTo>
                  <a:lnTo>
                    <a:pt x="1418" y="328"/>
                  </a:lnTo>
                  <a:lnTo>
                    <a:pt x="1164" y="182"/>
                  </a:lnTo>
                  <a:lnTo>
                    <a:pt x="909"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02" name="Google Shape;2731;p11">
              <a:extLst>
                <a:ext uri="{FF2B5EF4-FFF2-40B4-BE49-F238E27FC236}">
                  <a16:creationId xmlns:a16="http://schemas.microsoft.com/office/drawing/2014/main" id="{2DD60CFC-D78C-F639-2975-F0E86BCD5944}"/>
                </a:ext>
              </a:extLst>
            </p:cNvPr>
            <p:cNvSpPr/>
            <p:nvPr/>
          </p:nvSpPr>
          <p:spPr>
            <a:xfrm>
              <a:off x="6328750" y="3528050"/>
              <a:ext cx="436175" cy="186300"/>
            </a:xfrm>
            <a:custGeom>
              <a:avLst/>
              <a:gdLst/>
              <a:ahLst/>
              <a:cxnLst/>
              <a:rect l="l" t="t" r="r" b="b"/>
              <a:pathLst>
                <a:path w="17447" h="7452" extrusionOk="0">
                  <a:moveTo>
                    <a:pt x="3962" y="1"/>
                  </a:moveTo>
                  <a:lnTo>
                    <a:pt x="3271" y="110"/>
                  </a:lnTo>
                  <a:lnTo>
                    <a:pt x="2545" y="182"/>
                  </a:lnTo>
                  <a:lnTo>
                    <a:pt x="0" y="1527"/>
                  </a:lnTo>
                  <a:lnTo>
                    <a:pt x="291" y="1782"/>
                  </a:lnTo>
                  <a:lnTo>
                    <a:pt x="1091" y="2436"/>
                  </a:lnTo>
                  <a:lnTo>
                    <a:pt x="1709" y="2872"/>
                  </a:lnTo>
                  <a:lnTo>
                    <a:pt x="2435" y="3381"/>
                  </a:lnTo>
                  <a:lnTo>
                    <a:pt x="3235" y="3926"/>
                  </a:lnTo>
                  <a:lnTo>
                    <a:pt x="4180" y="4471"/>
                  </a:lnTo>
                  <a:lnTo>
                    <a:pt x="5198" y="5053"/>
                  </a:lnTo>
                  <a:lnTo>
                    <a:pt x="6324" y="5562"/>
                  </a:lnTo>
                  <a:lnTo>
                    <a:pt x="7524" y="6070"/>
                  </a:lnTo>
                  <a:lnTo>
                    <a:pt x="8796" y="6543"/>
                  </a:lnTo>
                  <a:lnTo>
                    <a:pt x="9487" y="6725"/>
                  </a:lnTo>
                  <a:lnTo>
                    <a:pt x="10141" y="6906"/>
                  </a:lnTo>
                  <a:lnTo>
                    <a:pt x="10868" y="7088"/>
                  </a:lnTo>
                  <a:lnTo>
                    <a:pt x="11595" y="7197"/>
                  </a:lnTo>
                  <a:lnTo>
                    <a:pt x="12322" y="7306"/>
                  </a:lnTo>
                  <a:lnTo>
                    <a:pt x="13085" y="7379"/>
                  </a:lnTo>
                  <a:lnTo>
                    <a:pt x="13848" y="7452"/>
                  </a:lnTo>
                  <a:lnTo>
                    <a:pt x="15266" y="7452"/>
                  </a:lnTo>
                  <a:lnTo>
                    <a:pt x="15920" y="7415"/>
                  </a:lnTo>
                  <a:lnTo>
                    <a:pt x="16574" y="7342"/>
                  </a:lnTo>
                  <a:lnTo>
                    <a:pt x="17265" y="7270"/>
                  </a:lnTo>
                  <a:lnTo>
                    <a:pt x="17337" y="6725"/>
                  </a:lnTo>
                  <a:lnTo>
                    <a:pt x="17410" y="5816"/>
                  </a:lnTo>
                  <a:lnTo>
                    <a:pt x="17446" y="4907"/>
                  </a:lnTo>
                  <a:lnTo>
                    <a:pt x="17446" y="3999"/>
                  </a:lnTo>
                  <a:lnTo>
                    <a:pt x="17374" y="3054"/>
                  </a:lnTo>
                  <a:lnTo>
                    <a:pt x="17228" y="2109"/>
                  </a:lnTo>
                  <a:lnTo>
                    <a:pt x="17046" y="1091"/>
                  </a:lnTo>
                  <a:lnTo>
                    <a:pt x="16719" y="1345"/>
                  </a:lnTo>
                  <a:lnTo>
                    <a:pt x="16356" y="1600"/>
                  </a:lnTo>
                  <a:lnTo>
                    <a:pt x="15920" y="1818"/>
                  </a:lnTo>
                  <a:lnTo>
                    <a:pt x="15447" y="2072"/>
                  </a:lnTo>
                  <a:lnTo>
                    <a:pt x="14357" y="2545"/>
                  </a:lnTo>
                  <a:lnTo>
                    <a:pt x="13157" y="2981"/>
                  </a:lnTo>
                  <a:lnTo>
                    <a:pt x="11958" y="3344"/>
                  </a:lnTo>
                  <a:lnTo>
                    <a:pt x="10795" y="3635"/>
                  </a:lnTo>
                  <a:lnTo>
                    <a:pt x="9777" y="3817"/>
                  </a:lnTo>
                  <a:lnTo>
                    <a:pt x="9305" y="3890"/>
                  </a:lnTo>
                  <a:lnTo>
                    <a:pt x="8687" y="3890"/>
                  </a:lnTo>
                  <a:lnTo>
                    <a:pt x="8469" y="3853"/>
                  </a:lnTo>
                  <a:lnTo>
                    <a:pt x="8287" y="3781"/>
                  </a:lnTo>
                  <a:lnTo>
                    <a:pt x="8178" y="3708"/>
                  </a:lnTo>
                  <a:lnTo>
                    <a:pt x="8105" y="3563"/>
                  </a:lnTo>
                  <a:lnTo>
                    <a:pt x="8069" y="3308"/>
                  </a:lnTo>
                  <a:lnTo>
                    <a:pt x="8033" y="2981"/>
                  </a:lnTo>
                  <a:lnTo>
                    <a:pt x="8033" y="2581"/>
                  </a:lnTo>
                  <a:lnTo>
                    <a:pt x="8069" y="1527"/>
                  </a:lnTo>
                  <a:lnTo>
                    <a:pt x="8142" y="291"/>
                  </a:lnTo>
                  <a:lnTo>
                    <a:pt x="7269" y="437"/>
                  </a:lnTo>
                  <a:lnTo>
                    <a:pt x="6397" y="473"/>
                  </a:lnTo>
                  <a:lnTo>
                    <a:pt x="5743" y="437"/>
                  </a:lnTo>
                  <a:lnTo>
                    <a:pt x="5125" y="364"/>
                  </a:lnTo>
                  <a:lnTo>
                    <a:pt x="4544" y="219"/>
                  </a:lnTo>
                  <a:lnTo>
                    <a:pt x="3962" y="1"/>
                  </a:lnTo>
                  <a:close/>
                </a:path>
              </a:pathLst>
            </a:custGeom>
            <a:solidFill>
              <a:srgbClr val="06061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03" name="Google Shape;2732;p11">
              <a:extLst>
                <a:ext uri="{FF2B5EF4-FFF2-40B4-BE49-F238E27FC236}">
                  <a16:creationId xmlns:a16="http://schemas.microsoft.com/office/drawing/2014/main" id="{C7102EFC-9177-3C84-9DE6-568A8DF2ABF1}"/>
                </a:ext>
              </a:extLst>
            </p:cNvPr>
            <p:cNvSpPr/>
            <p:nvPr/>
          </p:nvSpPr>
          <p:spPr>
            <a:xfrm>
              <a:off x="6328750" y="3528050"/>
              <a:ext cx="436175" cy="186300"/>
            </a:xfrm>
            <a:custGeom>
              <a:avLst/>
              <a:gdLst/>
              <a:ahLst/>
              <a:cxnLst/>
              <a:rect l="l" t="t" r="r" b="b"/>
              <a:pathLst>
                <a:path w="17447" h="7452" fill="none" extrusionOk="0">
                  <a:moveTo>
                    <a:pt x="3962" y="1"/>
                  </a:moveTo>
                  <a:lnTo>
                    <a:pt x="3962" y="1"/>
                  </a:lnTo>
                  <a:lnTo>
                    <a:pt x="3271" y="110"/>
                  </a:lnTo>
                  <a:lnTo>
                    <a:pt x="2545" y="182"/>
                  </a:lnTo>
                  <a:lnTo>
                    <a:pt x="0" y="1527"/>
                  </a:lnTo>
                  <a:lnTo>
                    <a:pt x="0" y="1527"/>
                  </a:lnTo>
                  <a:lnTo>
                    <a:pt x="291" y="1782"/>
                  </a:lnTo>
                  <a:lnTo>
                    <a:pt x="1091" y="2436"/>
                  </a:lnTo>
                  <a:lnTo>
                    <a:pt x="1709" y="2872"/>
                  </a:lnTo>
                  <a:lnTo>
                    <a:pt x="2435" y="3381"/>
                  </a:lnTo>
                  <a:lnTo>
                    <a:pt x="3235" y="3926"/>
                  </a:lnTo>
                  <a:lnTo>
                    <a:pt x="4180" y="4471"/>
                  </a:lnTo>
                  <a:lnTo>
                    <a:pt x="5198" y="5053"/>
                  </a:lnTo>
                  <a:lnTo>
                    <a:pt x="6324" y="5562"/>
                  </a:lnTo>
                  <a:lnTo>
                    <a:pt x="7524" y="6070"/>
                  </a:lnTo>
                  <a:lnTo>
                    <a:pt x="8796" y="6543"/>
                  </a:lnTo>
                  <a:lnTo>
                    <a:pt x="9487" y="6725"/>
                  </a:lnTo>
                  <a:lnTo>
                    <a:pt x="10141" y="6906"/>
                  </a:lnTo>
                  <a:lnTo>
                    <a:pt x="10868" y="7088"/>
                  </a:lnTo>
                  <a:lnTo>
                    <a:pt x="11595" y="7197"/>
                  </a:lnTo>
                  <a:lnTo>
                    <a:pt x="12322" y="7306"/>
                  </a:lnTo>
                  <a:lnTo>
                    <a:pt x="13085" y="7379"/>
                  </a:lnTo>
                  <a:lnTo>
                    <a:pt x="13848" y="7452"/>
                  </a:lnTo>
                  <a:lnTo>
                    <a:pt x="14611" y="7452"/>
                  </a:lnTo>
                  <a:lnTo>
                    <a:pt x="14611" y="7452"/>
                  </a:lnTo>
                  <a:lnTo>
                    <a:pt x="15266" y="7452"/>
                  </a:lnTo>
                  <a:lnTo>
                    <a:pt x="15920" y="7415"/>
                  </a:lnTo>
                  <a:lnTo>
                    <a:pt x="16574" y="7342"/>
                  </a:lnTo>
                  <a:lnTo>
                    <a:pt x="17265" y="7270"/>
                  </a:lnTo>
                  <a:lnTo>
                    <a:pt x="17265" y="7270"/>
                  </a:lnTo>
                  <a:lnTo>
                    <a:pt x="17337" y="6725"/>
                  </a:lnTo>
                  <a:lnTo>
                    <a:pt x="17337" y="6725"/>
                  </a:lnTo>
                  <a:lnTo>
                    <a:pt x="17410" y="5816"/>
                  </a:lnTo>
                  <a:lnTo>
                    <a:pt x="17446" y="4907"/>
                  </a:lnTo>
                  <a:lnTo>
                    <a:pt x="17446" y="4907"/>
                  </a:lnTo>
                  <a:lnTo>
                    <a:pt x="17446" y="3999"/>
                  </a:lnTo>
                  <a:lnTo>
                    <a:pt x="17374" y="3054"/>
                  </a:lnTo>
                  <a:lnTo>
                    <a:pt x="17228" y="2109"/>
                  </a:lnTo>
                  <a:lnTo>
                    <a:pt x="17046" y="1091"/>
                  </a:lnTo>
                  <a:lnTo>
                    <a:pt x="17046" y="1091"/>
                  </a:lnTo>
                  <a:lnTo>
                    <a:pt x="16719" y="1345"/>
                  </a:lnTo>
                  <a:lnTo>
                    <a:pt x="16356" y="1600"/>
                  </a:lnTo>
                  <a:lnTo>
                    <a:pt x="15920" y="1818"/>
                  </a:lnTo>
                  <a:lnTo>
                    <a:pt x="15447" y="2072"/>
                  </a:lnTo>
                  <a:lnTo>
                    <a:pt x="14357" y="2545"/>
                  </a:lnTo>
                  <a:lnTo>
                    <a:pt x="13157" y="2981"/>
                  </a:lnTo>
                  <a:lnTo>
                    <a:pt x="11958" y="3344"/>
                  </a:lnTo>
                  <a:lnTo>
                    <a:pt x="10795" y="3635"/>
                  </a:lnTo>
                  <a:lnTo>
                    <a:pt x="9777" y="3817"/>
                  </a:lnTo>
                  <a:lnTo>
                    <a:pt x="9305" y="3890"/>
                  </a:lnTo>
                  <a:lnTo>
                    <a:pt x="8941" y="3890"/>
                  </a:lnTo>
                  <a:lnTo>
                    <a:pt x="8941" y="3890"/>
                  </a:lnTo>
                  <a:lnTo>
                    <a:pt x="8687" y="3890"/>
                  </a:lnTo>
                  <a:lnTo>
                    <a:pt x="8469" y="3853"/>
                  </a:lnTo>
                  <a:lnTo>
                    <a:pt x="8287" y="3781"/>
                  </a:lnTo>
                  <a:lnTo>
                    <a:pt x="8178" y="3708"/>
                  </a:lnTo>
                  <a:lnTo>
                    <a:pt x="8178" y="3708"/>
                  </a:lnTo>
                  <a:lnTo>
                    <a:pt x="8105" y="3563"/>
                  </a:lnTo>
                  <a:lnTo>
                    <a:pt x="8069" y="3308"/>
                  </a:lnTo>
                  <a:lnTo>
                    <a:pt x="8033" y="2981"/>
                  </a:lnTo>
                  <a:lnTo>
                    <a:pt x="8033" y="2581"/>
                  </a:lnTo>
                  <a:lnTo>
                    <a:pt x="8069" y="1527"/>
                  </a:lnTo>
                  <a:lnTo>
                    <a:pt x="8142" y="291"/>
                  </a:lnTo>
                  <a:lnTo>
                    <a:pt x="8142" y="291"/>
                  </a:lnTo>
                  <a:lnTo>
                    <a:pt x="7269" y="437"/>
                  </a:lnTo>
                  <a:lnTo>
                    <a:pt x="6397" y="473"/>
                  </a:lnTo>
                  <a:lnTo>
                    <a:pt x="6397" y="473"/>
                  </a:lnTo>
                  <a:lnTo>
                    <a:pt x="5743" y="437"/>
                  </a:lnTo>
                  <a:lnTo>
                    <a:pt x="5125" y="364"/>
                  </a:lnTo>
                  <a:lnTo>
                    <a:pt x="4544" y="219"/>
                  </a:lnTo>
                  <a:lnTo>
                    <a:pt x="3962"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04" name="Google Shape;2733;p11">
              <a:extLst>
                <a:ext uri="{FF2B5EF4-FFF2-40B4-BE49-F238E27FC236}">
                  <a16:creationId xmlns:a16="http://schemas.microsoft.com/office/drawing/2014/main" id="{7C758BED-E4E5-5C84-D08B-E6E1C81DDAFB}"/>
                </a:ext>
              </a:extLst>
            </p:cNvPr>
            <p:cNvSpPr/>
            <p:nvPr/>
          </p:nvSpPr>
          <p:spPr>
            <a:xfrm>
              <a:off x="5591825" y="2540350"/>
              <a:ext cx="226300" cy="284450"/>
            </a:xfrm>
            <a:custGeom>
              <a:avLst/>
              <a:gdLst/>
              <a:ahLst/>
              <a:cxnLst/>
              <a:rect l="l" t="t" r="r" b="b"/>
              <a:pathLst>
                <a:path w="9052" h="11378" extrusionOk="0">
                  <a:moveTo>
                    <a:pt x="1527" y="1"/>
                  </a:moveTo>
                  <a:lnTo>
                    <a:pt x="1200" y="37"/>
                  </a:lnTo>
                  <a:lnTo>
                    <a:pt x="910" y="146"/>
                  </a:lnTo>
                  <a:lnTo>
                    <a:pt x="582" y="292"/>
                  </a:lnTo>
                  <a:lnTo>
                    <a:pt x="292" y="546"/>
                  </a:lnTo>
                  <a:lnTo>
                    <a:pt x="183" y="655"/>
                  </a:lnTo>
                  <a:lnTo>
                    <a:pt x="110" y="800"/>
                  </a:lnTo>
                  <a:lnTo>
                    <a:pt x="37" y="1055"/>
                  </a:lnTo>
                  <a:lnTo>
                    <a:pt x="1" y="1382"/>
                  </a:lnTo>
                  <a:lnTo>
                    <a:pt x="1" y="1709"/>
                  </a:lnTo>
                  <a:lnTo>
                    <a:pt x="74" y="2073"/>
                  </a:lnTo>
                  <a:lnTo>
                    <a:pt x="183" y="2472"/>
                  </a:lnTo>
                  <a:lnTo>
                    <a:pt x="328" y="2836"/>
                  </a:lnTo>
                  <a:lnTo>
                    <a:pt x="473" y="3236"/>
                  </a:lnTo>
                  <a:lnTo>
                    <a:pt x="873" y="3999"/>
                  </a:lnTo>
                  <a:lnTo>
                    <a:pt x="1237" y="4689"/>
                  </a:lnTo>
                  <a:lnTo>
                    <a:pt x="1600" y="5235"/>
                  </a:lnTo>
                  <a:lnTo>
                    <a:pt x="1855" y="5562"/>
                  </a:lnTo>
                  <a:lnTo>
                    <a:pt x="2254" y="6034"/>
                  </a:lnTo>
                  <a:lnTo>
                    <a:pt x="2800" y="6543"/>
                  </a:lnTo>
                  <a:lnTo>
                    <a:pt x="3454" y="7161"/>
                  </a:lnTo>
                  <a:lnTo>
                    <a:pt x="4108" y="7815"/>
                  </a:lnTo>
                  <a:lnTo>
                    <a:pt x="4726" y="8506"/>
                  </a:lnTo>
                  <a:lnTo>
                    <a:pt x="5017" y="8906"/>
                  </a:lnTo>
                  <a:lnTo>
                    <a:pt x="5271" y="9269"/>
                  </a:lnTo>
                  <a:lnTo>
                    <a:pt x="5489" y="9669"/>
                  </a:lnTo>
                  <a:lnTo>
                    <a:pt x="5671" y="10032"/>
                  </a:lnTo>
                  <a:lnTo>
                    <a:pt x="5780" y="10432"/>
                  </a:lnTo>
                  <a:lnTo>
                    <a:pt x="5816" y="10832"/>
                  </a:lnTo>
                  <a:lnTo>
                    <a:pt x="5853" y="11014"/>
                  </a:lnTo>
                  <a:lnTo>
                    <a:pt x="5889" y="11159"/>
                  </a:lnTo>
                  <a:lnTo>
                    <a:pt x="5925" y="11268"/>
                  </a:lnTo>
                  <a:lnTo>
                    <a:pt x="5998" y="11341"/>
                  </a:lnTo>
                  <a:lnTo>
                    <a:pt x="6071" y="11377"/>
                  </a:lnTo>
                  <a:lnTo>
                    <a:pt x="6180" y="11377"/>
                  </a:lnTo>
                  <a:lnTo>
                    <a:pt x="6289" y="11341"/>
                  </a:lnTo>
                  <a:lnTo>
                    <a:pt x="6398" y="11304"/>
                  </a:lnTo>
                  <a:lnTo>
                    <a:pt x="6652" y="11123"/>
                  </a:lnTo>
                  <a:lnTo>
                    <a:pt x="6907" y="10868"/>
                  </a:lnTo>
                  <a:lnTo>
                    <a:pt x="7197" y="10577"/>
                  </a:lnTo>
                  <a:lnTo>
                    <a:pt x="7488" y="10250"/>
                  </a:lnTo>
                  <a:lnTo>
                    <a:pt x="8070" y="9487"/>
                  </a:lnTo>
                  <a:lnTo>
                    <a:pt x="8579" y="8797"/>
                  </a:lnTo>
                  <a:lnTo>
                    <a:pt x="9051" y="8033"/>
                  </a:lnTo>
                  <a:lnTo>
                    <a:pt x="7197" y="5598"/>
                  </a:lnTo>
                  <a:lnTo>
                    <a:pt x="6870" y="5126"/>
                  </a:lnTo>
                  <a:lnTo>
                    <a:pt x="6652" y="4726"/>
                  </a:lnTo>
                  <a:lnTo>
                    <a:pt x="6507" y="4399"/>
                  </a:lnTo>
                  <a:lnTo>
                    <a:pt x="6470" y="4072"/>
                  </a:lnTo>
                  <a:lnTo>
                    <a:pt x="6434" y="3817"/>
                  </a:lnTo>
                  <a:lnTo>
                    <a:pt x="6470" y="3599"/>
                  </a:lnTo>
                  <a:lnTo>
                    <a:pt x="6543" y="3417"/>
                  </a:lnTo>
                  <a:lnTo>
                    <a:pt x="6616" y="3236"/>
                  </a:lnTo>
                  <a:lnTo>
                    <a:pt x="6798" y="2981"/>
                  </a:lnTo>
                  <a:lnTo>
                    <a:pt x="6870" y="2872"/>
                  </a:lnTo>
                  <a:lnTo>
                    <a:pt x="6943" y="2727"/>
                  </a:lnTo>
                  <a:lnTo>
                    <a:pt x="6943" y="2618"/>
                  </a:lnTo>
                  <a:lnTo>
                    <a:pt x="6907" y="2509"/>
                  </a:lnTo>
                  <a:lnTo>
                    <a:pt x="6834" y="2400"/>
                  </a:lnTo>
                  <a:lnTo>
                    <a:pt x="6689" y="2254"/>
                  </a:lnTo>
                  <a:lnTo>
                    <a:pt x="6543" y="2182"/>
                  </a:lnTo>
                  <a:lnTo>
                    <a:pt x="6361" y="2145"/>
                  </a:lnTo>
                  <a:lnTo>
                    <a:pt x="6216" y="2145"/>
                  </a:lnTo>
                  <a:lnTo>
                    <a:pt x="6071" y="2182"/>
                  </a:lnTo>
                  <a:lnTo>
                    <a:pt x="5744" y="2363"/>
                  </a:lnTo>
                  <a:lnTo>
                    <a:pt x="5416" y="2545"/>
                  </a:lnTo>
                  <a:lnTo>
                    <a:pt x="5089" y="2727"/>
                  </a:lnTo>
                  <a:lnTo>
                    <a:pt x="4944" y="2763"/>
                  </a:lnTo>
                  <a:lnTo>
                    <a:pt x="4799" y="2799"/>
                  </a:lnTo>
                  <a:lnTo>
                    <a:pt x="4653" y="2763"/>
                  </a:lnTo>
                  <a:lnTo>
                    <a:pt x="4544" y="2727"/>
                  </a:lnTo>
                  <a:lnTo>
                    <a:pt x="4399" y="2581"/>
                  </a:lnTo>
                  <a:lnTo>
                    <a:pt x="4290" y="2400"/>
                  </a:lnTo>
                  <a:lnTo>
                    <a:pt x="4072" y="1964"/>
                  </a:lnTo>
                  <a:lnTo>
                    <a:pt x="3708" y="1455"/>
                  </a:lnTo>
                  <a:lnTo>
                    <a:pt x="3236" y="946"/>
                  </a:lnTo>
                  <a:lnTo>
                    <a:pt x="2981" y="728"/>
                  </a:lnTo>
                  <a:lnTo>
                    <a:pt x="2727" y="510"/>
                  </a:lnTo>
                  <a:lnTo>
                    <a:pt x="2436" y="328"/>
                  </a:lnTo>
                  <a:lnTo>
                    <a:pt x="2145" y="146"/>
                  </a:lnTo>
                  <a:lnTo>
                    <a:pt x="1855" y="74"/>
                  </a:lnTo>
                  <a:lnTo>
                    <a:pt x="1527" y="1"/>
                  </a:lnTo>
                  <a:close/>
                </a:path>
              </a:pathLst>
            </a:custGeom>
            <a:solidFill>
              <a:srgbClr val="F5B1B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05" name="Google Shape;2734;p11">
              <a:extLst>
                <a:ext uri="{FF2B5EF4-FFF2-40B4-BE49-F238E27FC236}">
                  <a16:creationId xmlns:a16="http://schemas.microsoft.com/office/drawing/2014/main" id="{A00CAA88-A85D-D534-30E0-6436A7093C48}"/>
                </a:ext>
              </a:extLst>
            </p:cNvPr>
            <p:cNvSpPr/>
            <p:nvPr/>
          </p:nvSpPr>
          <p:spPr>
            <a:xfrm>
              <a:off x="6322375" y="2781150"/>
              <a:ext cx="342600" cy="758750"/>
            </a:xfrm>
            <a:custGeom>
              <a:avLst/>
              <a:gdLst/>
              <a:ahLst/>
              <a:cxnLst/>
              <a:rect l="l" t="t" r="r" b="b"/>
              <a:pathLst>
                <a:path w="13704" h="30350" extrusionOk="0">
                  <a:moveTo>
                    <a:pt x="7197" y="0"/>
                  </a:moveTo>
                  <a:lnTo>
                    <a:pt x="4508" y="1054"/>
                  </a:lnTo>
                  <a:lnTo>
                    <a:pt x="1" y="15993"/>
                  </a:lnTo>
                  <a:lnTo>
                    <a:pt x="146" y="17483"/>
                  </a:lnTo>
                  <a:lnTo>
                    <a:pt x="328" y="19082"/>
                  </a:lnTo>
                  <a:lnTo>
                    <a:pt x="619" y="20972"/>
                  </a:lnTo>
                  <a:lnTo>
                    <a:pt x="982" y="23044"/>
                  </a:lnTo>
                  <a:lnTo>
                    <a:pt x="1200" y="24098"/>
                  </a:lnTo>
                  <a:lnTo>
                    <a:pt x="1455" y="25115"/>
                  </a:lnTo>
                  <a:lnTo>
                    <a:pt x="1746" y="26060"/>
                  </a:lnTo>
                  <a:lnTo>
                    <a:pt x="2036" y="26969"/>
                  </a:lnTo>
                  <a:lnTo>
                    <a:pt x="2327" y="27769"/>
                  </a:lnTo>
                  <a:lnTo>
                    <a:pt x="2690" y="28423"/>
                  </a:lnTo>
                  <a:lnTo>
                    <a:pt x="2945" y="28823"/>
                  </a:lnTo>
                  <a:lnTo>
                    <a:pt x="3236" y="29150"/>
                  </a:lnTo>
                  <a:lnTo>
                    <a:pt x="3526" y="29440"/>
                  </a:lnTo>
                  <a:lnTo>
                    <a:pt x="3890" y="29659"/>
                  </a:lnTo>
                  <a:lnTo>
                    <a:pt x="4253" y="29877"/>
                  </a:lnTo>
                  <a:lnTo>
                    <a:pt x="4653" y="30022"/>
                  </a:lnTo>
                  <a:lnTo>
                    <a:pt x="5053" y="30167"/>
                  </a:lnTo>
                  <a:lnTo>
                    <a:pt x="5489" y="30240"/>
                  </a:lnTo>
                  <a:lnTo>
                    <a:pt x="5925" y="30313"/>
                  </a:lnTo>
                  <a:lnTo>
                    <a:pt x="6398" y="30349"/>
                  </a:lnTo>
                  <a:lnTo>
                    <a:pt x="6870" y="30349"/>
                  </a:lnTo>
                  <a:lnTo>
                    <a:pt x="7343" y="30313"/>
                  </a:lnTo>
                  <a:lnTo>
                    <a:pt x="7815" y="30276"/>
                  </a:lnTo>
                  <a:lnTo>
                    <a:pt x="8288" y="30204"/>
                  </a:lnTo>
                  <a:lnTo>
                    <a:pt x="9233" y="30022"/>
                  </a:lnTo>
                  <a:lnTo>
                    <a:pt x="10141" y="29731"/>
                  </a:lnTo>
                  <a:lnTo>
                    <a:pt x="11014" y="29440"/>
                  </a:lnTo>
                  <a:lnTo>
                    <a:pt x="11777" y="29113"/>
                  </a:lnTo>
                  <a:lnTo>
                    <a:pt x="12467" y="28786"/>
                  </a:lnTo>
                  <a:lnTo>
                    <a:pt x="13013" y="28459"/>
                  </a:lnTo>
                  <a:lnTo>
                    <a:pt x="13412" y="28132"/>
                  </a:lnTo>
                  <a:lnTo>
                    <a:pt x="13558" y="27987"/>
                  </a:lnTo>
                  <a:lnTo>
                    <a:pt x="13667" y="27841"/>
                  </a:lnTo>
                  <a:lnTo>
                    <a:pt x="13703" y="27732"/>
                  </a:lnTo>
                  <a:lnTo>
                    <a:pt x="13703" y="27660"/>
                  </a:lnTo>
                  <a:lnTo>
                    <a:pt x="13412" y="26787"/>
                  </a:lnTo>
                  <a:lnTo>
                    <a:pt x="13194" y="25879"/>
                  </a:lnTo>
                  <a:lnTo>
                    <a:pt x="12940" y="24897"/>
                  </a:lnTo>
                  <a:lnTo>
                    <a:pt x="12722" y="23916"/>
                  </a:lnTo>
                  <a:lnTo>
                    <a:pt x="12322" y="21808"/>
                  </a:lnTo>
                  <a:lnTo>
                    <a:pt x="11959" y="19591"/>
                  </a:lnTo>
                  <a:lnTo>
                    <a:pt x="11668" y="17337"/>
                  </a:lnTo>
                  <a:lnTo>
                    <a:pt x="11377" y="15048"/>
                  </a:lnTo>
                  <a:lnTo>
                    <a:pt x="11159" y="12758"/>
                  </a:lnTo>
                  <a:lnTo>
                    <a:pt x="10977" y="10577"/>
                  </a:lnTo>
                  <a:lnTo>
                    <a:pt x="10832" y="8469"/>
                  </a:lnTo>
                  <a:lnTo>
                    <a:pt x="10723" y="6506"/>
                  </a:lnTo>
                  <a:lnTo>
                    <a:pt x="10541" y="3199"/>
                  </a:lnTo>
                  <a:lnTo>
                    <a:pt x="10468" y="982"/>
                  </a:lnTo>
                  <a:lnTo>
                    <a:pt x="10468" y="146"/>
                  </a:lnTo>
                  <a:lnTo>
                    <a:pt x="7197" y="0"/>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06" name="Google Shape;2735;p11">
              <a:extLst>
                <a:ext uri="{FF2B5EF4-FFF2-40B4-BE49-F238E27FC236}">
                  <a16:creationId xmlns:a16="http://schemas.microsoft.com/office/drawing/2014/main" id="{6E75A3AA-3183-F338-FC1D-DED474CC2BAC}"/>
                </a:ext>
              </a:extLst>
            </p:cNvPr>
            <p:cNvSpPr/>
            <p:nvPr/>
          </p:nvSpPr>
          <p:spPr>
            <a:xfrm>
              <a:off x="6322375" y="2781150"/>
              <a:ext cx="342600" cy="758750"/>
            </a:xfrm>
            <a:custGeom>
              <a:avLst/>
              <a:gdLst/>
              <a:ahLst/>
              <a:cxnLst/>
              <a:rect l="l" t="t" r="r" b="b"/>
              <a:pathLst>
                <a:path w="13704" h="30350" fill="none" extrusionOk="0">
                  <a:moveTo>
                    <a:pt x="7197" y="0"/>
                  </a:moveTo>
                  <a:lnTo>
                    <a:pt x="4508" y="1054"/>
                  </a:lnTo>
                  <a:lnTo>
                    <a:pt x="1" y="15993"/>
                  </a:lnTo>
                  <a:lnTo>
                    <a:pt x="1" y="15993"/>
                  </a:lnTo>
                  <a:lnTo>
                    <a:pt x="146" y="17483"/>
                  </a:lnTo>
                  <a:lnTo>
                    <a:pt x="328" y="19082"/>
                  </a:lnTo>
                  <a:lnTo>
                    <a:pt x="619" y="20972"/>
                  </a:lnTo>
                  <a:lnTo>
                    <a:pt x="982" y="23044"/>
                  </a:lnTo>
                  <a:lnTo>
                    <a:pt x="1200" y="24098"/>
                  </a:lnTo>
                  <a:lnTo>
                    <a:pt x="1455" y="25115"/>
                  </a:lnTo>
                  <a:lnTo>
                    <a:pt x="1746" y="26060"/>
                  </a:lnTo>
                  <a:lnTo>
                    <a:pt x="2036" y="26969"/>
                  </a:lnTo>
                  <a:lnTo>
                    <a:pt x="2327" y="27769"/>
                  </a:lnTo>
                  <a:lnTo>
                    <a:pt x="2690" y="28423"/>
                  </a:lnTo>
                  <a:lnTo>
                    <a:pt x="2690" y="28423"/>
                  </a:lnTo>
                  <a:lnTo>
                    <a:pt x="2945" y="28823"/>
                  </a:lnTo>
                  <a:lnTo>
                    <a:pt x="3236" y="29150"/>
                  </a:lnTo>
                  <a:lnTo>
                    <a:pt x="3526" y="29440"/>
                  </a:lnTo>
                  <a:lnTo>
                    <a:pt x="3890" y="29659"/>
                  </a:lnTo>
                  <a:lnTo>
                    <a:pt x="4253" y="29877"/>
                  </a:lnTo>
                  <a:lnTo>
                    <a:pt x="4653" y="30022"/>
                  </a:lnTo>
                  <a:lnTo>
                    <a:pt x="5053" y="30167"/>
                  </a:lnTo>
                  <a:lnTo>
                    <a:pt x="5489" y="30240"/>
                  </a:lnTo>
                  <a:lnTo>
                    <a:pt x="5925" y="30313"/>
                  </a:lnTo>
                  <a:lnTo>
                    <a:pt x="6398" y="30349"/>
                  </a:lnTo>
                  <a:lnTo>
                    <a:pt x="6870" y="30349"/>
                  </a:lnTo>
                  <a:lnTo>
                    <a:pt x="7343" y="30313"/>
                  </a:lnTo>
                  <a:lnTo>
                    <a:pt x="7815" y="30276"/>
                  </a:lnTo>
                  <a:lnTo>
                    <a:pt x="8288" y="30204"/>
                  </a:lnTo>
                  <a:lnTo>
                    <a:pt x="9233" y="30022"/>
                  </a:lnTo>
                  <a:lnTo>
                    <a:pt x="10141" y="29731"/>
                  </a:lnTo>
                  <a:lnTo>
                    <a:pt x="11014" y="29440"/>
                  </a:lnTo>
                  <a:lnTo>
                    <a:pt x="11777" y="29113"/>
                  </a:lnTo>
                  <a:lnTo>
                    <a:pt x="12467" y="28786"/>
                  </a:lnTo>
                  <a:lnTo>
                    <a:pt x="13013" y="28459"/>
                  </a:lnTo>
                  <a:lnTo>
                    <a:pt x="13412" y="28132"/>
                  </a:lnTo>
                  <a:lnTo>
                    <a:pt x="13558" y="27987"/>
                  </a:lnTo>
                  <a:lnTo>
                    <a:pt x="13667" y="27841"/>
                  </a:lnTo>
                  <a:lnTo>
                    <a:pt x="13703" y="27732"/>
                  </a:lnTo>
                  <a:lnTo>
                    <a:pt x="13703" y="27660"/>
                  </a:lnTo>
                  <a:lnTo>
                    <a:pt x="13703" y="27660"/>
                  </a:lnTo>
                  <a:lnTo>
                    <a:pt x="13412" y="26787"/>
                  </a:lnTo>
                  <a:lnTo>
                    <a:pt x="13194" y="25879"/>
                  </a:lnTo>
                  <a:lnTo>
                    <a:pt x="12940" y="24897"/>
                  </a:lnTo>
                  <a:lnTo>
                    <a:pt x="12722" y="23916"/>
                  </a:lnTo>
                  <a:lnTo>
                    <a:pt x="12322" y="21808"/>
                  </a:lnTo>
                  <a:lnTo>
                    <a:pt x="11959" y="19591"/>
                  </a:lnTo>
                  <a:lnTo>
                    <a:pt x="11668" y="17337"/>
                  </a:lnTo>
                  <a:lnTo>
                    <a:pt x="11377" y="15048"/>
                  </a:lnTo>
                  <a:lnTo>
                    <a:pt x="11159" y="12758"/>
                  </a:lnTo>
                  <a:lnTo>
                    <a:pt x="10977" y="10577"/>
                  </a:lnTo>
                  <a:lnTo>
                    <a:pt x="10832" y="8469"/>
                  </a:lnTo>
                  <a:lnTo>
                    <a:pt x="10723" y="6506"/>
                  </a:lnTo>
                  <a:lnTo>
                    <a:pt x="10541" y="3199"/>
                  </a:lnTo>
                  <a:lnTo>
                    <a:pt x="10468" y="982"/>
                  </a:lnTo>
                  <a:lnTo>
                    <a:pt x="10468" y="146"/>
                  </a:lnTo>
                  <a:lnTo>
                    <a:pt x="7197"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07" name="Google Shape;2736;p11">
              <a:extLst>
                <a:ext uri="{FF2B5EF4-FFF2-40B4-BE49-F238E27FC236}">
                  <a16:creationId xmlns:a16="http://schemas.microsoft.com/office/drawing/2014/main" id="{44A1BECA-8815-9668-038C-7389460855DA}"/>
                </a:ext>
              </a:extLst>
            </p:cNvPr>
            <p:cNvSpPr/>
            <p:nvPr/>
          </p:nvSpPr>
          <p:spPr>
            <a:xfrm>
              <a:off x="6486850" y="2781150"/>
              <a:ext cx="644250" cy="888675"/>
            </a:xfrm>
            <a:custGeom>
              <a:avLst/>
              <a:gdLst/>
              <a:ahLst/>
              <a:cxnLst/>
              <a:rect l="l" t="t" r="r" b="b"/>
              <a:pathLst>
                <a:path w="25770" h="35547" extrusionOk="0">
                  <a:moveTo>
                    <a:pt x="3671" y="0"/>
                  </a:moveTo>
                  <a:lnTo>
                    <a:pt x="3381" y="1200"/>
                  </a:lnTo>
                  <a:lnTo>
                    <a:pt x="3054" y="2545"/>
                  </a:lnTo>
                  <a:lnTo>
                    <a:pt x="2617" y="4144"/>
                  </a:lnTo>
                  <a:lnTo>
                    <a:pt x="2109" y="5888"/>
                  </a:lnTo>
                  <a:lnTo>
                    <a:pt x="1563" y="7633"/>
                  </a:lnTo>
                  <a:lnTo>
                    <a:pt x="982" y="9232"/>
                  </a:lnTo>
                  <a:lnTo>
                    <a:pt x="691" y="9959"/>
                  </a:lnTo>
                  <a:lnTo>
                    <a:pt x="400" y="10577"/>
                  </a:lnTo>
                  <a:lnTo>
                    <a:pt x="291" y="10868"/>
                  </a:lnTo>
                  <a:lnTo>
                    <a:pt x="182" y="11159"/>
                  </a:lnTo>
                  <a:lnTo>
                    <a:pt x="110" y="11449"/>
                  </a:lnTo>
                  <a:lnTo>
                    <a:pt x="37" y="11740"/>
                  </a:lnTo>
                  <a:lnTo>
                    <a:pt x="0" y="12322"/>
                  </a:lnTo>
                  <a:lnTo>
                    <a:pt x="0" y="12903"/>
                  </a:lnTo>
                  <a:lnTo>
                    <a:pt x="110" y="13485"/>
                  </a:lnTo>
                  <a:lnTo>
                    <a:pt x="255" y="14103"/>
                  </a:lnTo>
                  <a:lnTo>
                    <a:pt x="437" y="14684"/>
                  </a:lnTo>
                  <a:lnTo>
                    <a:pt x="655" y="15266"/>
                  </a:lnTo>
                  <a:lnTo>
                    <a:pt x="1164" y="16356"/>
                  </a:lnTo>
                  <a:lnTo>
                    <a:pt x="1672" y="17446"/>
                  </a:lnTo>
                  <a:lnTo>
                    <a:pt x="2145" y="18428"/>
                  </a:lnTo>
                  <a:lnTo>
                    <a:pt x="2327" y="18864"/>
                  </a:lnTo>
                  <a:lnTo>
                    <a:pt x="2472" y="19300"/>
                  </a:lnTo>
                  <a:lnTo>
                    <a:pt x="2545" y="19591"/>
                  </a:lnTo>
                  <a:lnTo>
                    <a:pt x="2581" y="19882"/>
                  </a:lnTo>
                  <a:lnTo>
                    <a:pt x="2654" y="20608"/>
                  </a:lnTo>
                  <a:lnTo>
                    <a:pt x="2654" y="21481"/>
                  </a:lnTo>
                  <a:lnTo>
                    <a:pt x="2581" y="22498"/>
                  </a:lnTo>
                  <a:lnTo>
                    <a:pt x="2508" y="23552"/>
                  </a:lnTo>
                  <a:lnTo>
                    <a:pt x="2399" y="24716"/>
                  </a:lnTo>
                  <a:lnTo>
                    <a:pt x="2181" y="27078"/>
                  </a:lnTo>
                  <a:lnTo>
                    <a:pt x="1927" y="29331"/>
                  </a:lnTo>
                  <a:lnTo>
                    <a:pt x="1745" y="31330"/>
                  </a:lnTo>
                  <a:lnTo>
                    <a:pt x="1709" y="32166"/>
                  </a:lnTo>
                  <a:lnTo>
                    <a:pt x="1709" y="32821"/>
                  </a:lnTo>
                  <a:lnTo>
                    <a:pt x="1745" y="33293"/>
                  </a:lnTo>
                  <a:lnTo>
                    <a:pt x="1818" y="33475"/>
                  </a:lnTo>
                  <a:lnTo>
                    <a:pt x="1854" y="33584"/>
                  </a:lnTo>
                  <a:lnTo>
                    <a:pt x="1963" y="33657"/>
                  </a:lnTo>
                  <a:lnTo>
                    <a:pt x="2109" y="33693"/>
                  </a:lnTo>
                  <a:lnTo>
                    <a:pt x="2254" y="33729"/>
                  </a:lnTo>
                  <a:lnTo>
                    <a:pt x="2472" y="33766"/>
                  </a:lnTo>
                  <a:lnTo>
                    <a:pt x="2981" y="33766"/>
                  </a:lnTo>
                  <a:lnTo>
                    <a:pt x="3599" y="33693"/>
                  </a:lnTo>
                  <a:lnTo>
                    <a:pt x="4289" y="33548"/>
                  </a:lnTo>
                  <a:lnTo>
                    <a:pt x="5053" y="33366"/>
                  </a:lnTo>
                  <a:lnTo>
                    <a:pt x="5852" y="33148"/>
                  </a:lnTo>
                  <a:lnTo>
                    <a:pt x="6688" y="32893"/>
                  </a:lnTo>
                  <a:lnTo>
                    <a:pt x="7488" y="32639"/>
                  </a:lnTo>
                  <a:lnTo>
                    <a:pt x="8287" y="32312"/>
                  </a:lnTo>
                  <a:lnTo>
                    <a:pt x="9014" y="31985"/>
                  </a:lnTo>
                  <a:lnTo>
                    <a:pt x="9668" y="31658"/>
                  </a:lnTo>
                  <a:lnTo>
                    <a:pt x="10250" y="31330"/>
                  </a:lnTo>
                  <a:lnTo>
                    <a:pt x="10686" y="31003"/>
                  </a:lnTo>
                  <a:lnTo>
                    <a:pt x="10868" y="30822"/>
                  </a:lnTo>
                  <a:lnTo>
                    <a:pt x="10977" y="30676"/>
                  </a:lnTo>
                  <a:lnTo>
                    <a:pt x="11086" y="30495"/>
                  </a:lnTo>
                  <a:lnTo>
                    <a:pt x="11122" y="30349"/>
                  </a:lnTo>
                  <a:lnTo>
                    <a:pt x="11159" y="30058"/>
                  </a:lnTo>
                  <a:lnTo>
                    <a:pt x="11159" y="29731"/>
                  </a:lnTo>
                  <a:lnTo>
                    <a:pt x="11122" y="29368"/>
                  </a:lnTo>
                  <a:lnTo>
                    <a:pt x="11086" y="29004"/>
                  </a:lnTo>
                  <a:lnTo>
                    <a:pt x="10868" y="28205"/>
                  </a:lnTo>
                  <a:lnTo>
                    <a:pt x="10577" y="27332"/>
                  </a:lnTo>
                  <a:lnTo>
                    <a:pt x="10214" y="26424"/>
                  </a:lnTo>
                  <a:lnTo>
                    <a:pt x="9777" y="25406"/>
                  </a:lnTo>
                  <a:lnTo>
                    <a:pt x="8796" y="23225"/>
                  </a:lnTo>
                  <a:lnTo>
                    <a:pt x="8651" y="22789"/>
                  </a:lnTo>
                  <a:lnTo>
                    <a:pt x="8505" y="22317"/>
                  </a:lnTo>
                  <a:lnTo>
                    <a:pt x="8433" y="21808"/>
                  </a:lnTo>
                  <a:lnTo>
                    <a:pt x="8360" y="21299"/>
                  </a:lnTo>
                  <a:lnTo>
                    <a:pt x="8324" y="20608"/>
                  </a:lnTo>
                  <a:lnTo>
                    <a:pt x="8324" y="19954"/>
                  </a:lnTo>
                  <a:lnTo>
                    <a:pt x="8324" y="19227"/>
                  </a:lnTo>
                  <a:lnTo>
                    <a:pt x="8396" y="18537"/>
                  </a:lnTo>
                  <a:lnTo>
                    <a:pt x="8469" y="17810"/>
                  </a:lnTo>
                  <a:lnTo>
                    <a:pt x="8614" y="17119"/>
                  </a:lnTo>
                  <a:lnTo>
                    <a:pt x="8723" y="16392"/>
                  </a:lnTo>
                  <a:lnTo>
                    <a:pt x="8905" y="15738"/>
                  </a:lnTo>
                  <a:lnTo>
                    <a:pt x="9087" y="15084"/>
                  </a:lnTo>
                  <a:lnTo>
                    <a:pt x="9269" y="14466"/>
                  </a:lnTo>
                  <a:lnTo>
                    <a:pt x="9450" y="13921"/>
                  </a:lnTo>
                  <a:lnTo>
                    <a:pt x="9668" y="13412"/>
                  </a:lnTo>
                  <a:lnTo>
                    <a:pt x="9887" y="12940"/>
                  </a:lnTo>
                  <a:lnTo>
                    <a:pt x="10105" y="12576"/>
                  </a:lnTo>
                  <a:lnTo>
                    <a:pt x="10323" y="12249"/>
                  </a:lnTo>
                  <a:lnTo>
                    <a:pt x="10577" y="12031"/>
                  </a:lnTo>
                  <a:lnTo>
                    <a:pt x="10650" y="11995"/>
                  </a:lnTo>
                  <a:lnTo>
                    <a:pt x="10759" y="12031"/>
                  </a:lnTo>
                  <a:lnTo>
                    <a:pt x="10904" y="12067"/>
                  </a:lnTo>
                  <a:lnTo>
                    <a:pt x="11050" y="12140"/>
                  </a:lnTo>
                  <a:lnTo>
                    <a:pt x="11449" y="12431"/>
                  </a:lnTo>
                  <a:lnTo>
                    <a:pt x="11886" y="12830"/>
                  </a:lnTo>
                  <a:lnTo>
                    <a:pt x="12431" y="13339"/>
                  </a:lnTo>
                  <a:lnTo>
                    <a:pt x="12976" y="13957"/>
                  </a:lnTo>
                  <a:lnTo>
                    <a:pt x="14139" y="15302"/>
                  </a:lnTo>
                  <a:lnTo>
                    <a:pt x="15266" y="16683"/>
                  </a:lnTo>
                  <a:lnTo>
                    <a:pt x="16283" y="18028"/>
                  </a:lnTo>
                  <a:lnTo>
                    <a:pt x="17047" y="19046"/>
                  </a:lnTo>
                  <a:lnTo>
                    <a:pt x="17265" y="19445"/>
                  </a:lnTo>
                  <a:lnTo>
                    <a:pt x="17410" y="19663"/>
                  </a:lnTo>
                  <a:lnTo>
                    <a:pt x="17701" y="20681"/>
                  </a:lnTo>
                  <a:lnTo>
                    <a:pt x="18210" y="22535"/>
                  </a:lnTo>
                  <a:lnTo>
                    <a:pt x="19591" y="27696"/>
                  </a:lnTo>
                  <a:lnTo>
                    <a:pt x="21553" y="35110"/>
                  </a:lnTo>
                  <a:lnTo>
                    <a:pt x="21626" y="35183"/>
                  </a:lnTo>
                  <a:lnTo>
                    <a:pt x="21772" y="35256"/>
                  </a:lnTo>
                  <a:lnTo>
                    <a:pt x="22026" y="35328"/>
                  </a:lnTo>
                  <a:lnTo>
                    <a:pt x="22317" y="35401"/>
                  </a:lnTo>
                  <a:lnTo>
                    <a:pt x="23044" y="35510"/>
                  </a:lnTo>
                  <a:lnTo>
                    <a:pt x="23843" y="35547"/>
                  </a:lnTo>
                  <a:lnTo>
                    <a:pt x="24607" y="35547"/>
                  </a:lnTo>
                  <a:lnTo>
                    <a:pt x="24970" y="35474"/>
                  </a:lnTo>
                  <a:lnTo>
                    <a:pt x="25261" y="35401"/>
                  </a:lnTo>
                  <a:lnTo>
                    <a:pt x="25479" y="35328"/>
                  </a:lnTo>
                  <a:lnTo>
                    <a:pt x="25661" y="35219"/>
                  </a:lnTo>
                  <a:lnTo>
                    <a:pt x="25733" y="35147"/>
                  </a:lnTo>
                  <a:lnTo>
                    <a:pt x="25733" y="35074"/>
                  </a:lnTo>
                  <a:lnTo>
                    <a:pt x="25770" y="34965"/>
                  </a:lnTo>
                  <a:lnTo>
                    <a:pt x="25733" y="34892"/>
                  </a:lnTo>
                  <a:lnTo>
                    <a:pt x="25261" y="32566"/>
                  </a:lnTo>
                  <a:lnTo>
                    <a:pt x="24134" y="27187"/>
                  </a:lnTo>
                  <a:lnTo>
                    <a:pt x="23480" y="24134"/>
                  </a:lnTo>
                  <a:lnTo>
                    <a:pt x="22789" y="21263"/>
                  </a:lnTo>
                  <a:lnTo>
                    <a:pt x="22462" y="19954"/>
                  </a:lnTo>
                  <a:lnTo>
                    <a:pt x="22135" y="18828"/>
                  </a:lnTo>
                  <a:lnTo>
                    <a:pt x="21844" y="17919"/>
                  </a:lnTo>
                  <a:lnTo>
                    <a:pt x="21590" y="17192"/>
                  </a:lnTo>
                  <a:lnTo>
                    <a:pt x="21372" y="16683"/>
                  </a:lnTo>
                  <a:lnTo>
                    <a:pt x="21045" y="16102"/>
                  </a:lnTo>
                  <a:lnTo>
                    <a:pt x="20681" y="15411"/>
                  </a:lnTo>
                  <a:lnTo>
                    <a:pt x="20245" y="14684"/>
                  </a:lnTo>
                  <a:lnTo>
                    <a:pt x="19773" y="13921"/>
                  </a:lnTo>
                  <a:lnTo>
                    <a:pt x="19191" y="13085"/>
                  </a:lnTo>
                  <a:lnTo>
                    <a:pt x="18609" y="12249"/>
                  </a:lnTo>
                  <a:lnTo>
                    <a:pt x="17955" y="11340"/>
                  </a:lnTo>
                  <a:lnTo>
                    <a:pt x="17265" y="10468"/>
                  </a:lnTo>
                  <a:lnTo>
                    <a:pt x="16538" y="9523"/>
                  </a:lnTo>
                  <a:lnTo>
                    <a:pt x="15775" y="8614"/>
                  </a:lnTo>
                  <a:lnTo>
                    <a:pt x="14975" y="7706"/>
                  </a:lnTo>
                  <a:lnTo>
                    <a:pt x="14139" y="6797"/>
                  </a:lnTo>
                  <a:lnTo>
                    <a:pt x="13267" y="5888"/>
                  </a:lnTo>
                  <a:lnTo>
                    <a:pt x="12394" y="5053"/>
                  </a:lnTo>
                  <a:lnTo>
                    <a:pt x="11486" y="4217"/>
                  </a:lnTo>
                  <a:lnTo>
                    <a:pt x="10868" y="3708"/>
                  </a:lnTo>
                  <a:lnTo>
                    <a:pt x="10214" y="3163"/>
                  </a:lnTo>
                  <a:lnTo>
                    <a:pt x="9596" y="2690"/>
                  </a:lnTo>
                  <a:lnTo>
                    <a:pt x="8942" y="2254"/>
                  </a:lnTo>
                  <a:lnTo>
                    <a:pt x="8324" y="1818"/>
                  </a:lnTo>
                  <a:lnTo>
                    <a:pt x="7669" y="1418"/>
                  </a:lnTo>
                  <a:lnTo>
                    <a:pt x="7015" y="1054"/>
                  </a:lnTo>
                  <a:lnTo>
                    <a:pt x="6361" y="727"/>
                  </a:lnTo>
                  <a:lnTo>
                    <a:pt x="6070" y="618"/>
                  </a:lnTo>
                  <a:lnTo>
                    <a:pt x="5743" y="509"/>
                  </a:lnTo>
                  <a:lnTo>
                    <a:pt x="5016" y="291"/>
                  </a:lnTo>
                  <a:lnTo>
                    <a:pt x="3671" y="0"/>
                  </a:lnTo>
                  <a:close/>
                </a:path>
              </a:pathLst>
            </a:custGeom>
            <a:solidFill>
              <a:srgbClr val="E73C3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08" name="Google Shape;2737;p11">
              <a:extLst>
                <a:ext uri="{FF2B5EF4-FFF2-40B4-BE49-F238E27FC236}">
                  <a16:creationId xmlns:a16="http://schemas.microsoft.com/office/drawing/2014/main" id="{3DF25136-E629-4424-C103-5E93355EEE81}"/>
                </a:ext>
              </a:extLst>
            </p:cNvPr>
            <p:cNvSpPr/>
            <p:nvPr/>
          </p:nvSpPr>
          <p:spPr>
            <a:xfrm>
              <a:off x="6486850" y="2781150"/>
              <a:ext cx="644250" cy="888675"/>
            </a:xfrm>
            <a:custGeom>
              <a:avLst/>
              <a:gdLst/>
              <a:ahLst/>
              <a:cxnLst/>
              <a:rect l="l" t="t" r="r" b="b"/>
              <a:pathLst>
                <a:path w="25770" h="35547" fill="none" extrusionOk="0">
                  <a:moveTo>
                    <a:pt x="21553" y="35110"/>
                  </a:moveTo>
                  <a:lnTo>
                    <a:pt x="21553" y="35110"/>
                  </a:lnTo>
                  <a:lnTo>
                    <a:pt x="19591" y="27696"/>
                  </a:lnTo>
                  <a:lnTo>
                    <a:pt x="18210" y="22535"/>
                  </a:lnTo>
                  <a:lnTo>
                    <a:pt x="17701" y="20681"/>
                  </a:lnTo>
                  <a:lnTo>
                    <a:pt x="17410" y="19663"/>
                  </a:lnTo>
                  <a:lnTo>
                    <a:pt x="17410" y="19663"/>
                  </a:lnTo>
                  <a:lnTo>
                    <a:pt x="17265" y="19445"/>
                  </a:lnTo>
                  <a:lnTo>
                    <a:pt x="17047" y="19046"/>
                  </a:lnTo>
                  <a:lnTo>
                    <a:pt x="16283" y="18028"/>
                  </a:lnTo>
                  <a:lnTo>
                    <a:pt x="15266" y="16683"/>
                  </a:lnTo>
                  <a:lnTo>
                    <a:pt x="14139" y="15302"/>
                  </a:lnTo>
                  <a:lnTo>
                    <a:pt x="12976" y="13957"/>
                  </a:lnTo>
                  <a:lnTo>
                    <a:pt x="12431" y="13339"/>
                  </a:lnTo>
                  <a:lnTo>
                    <a:pt x="11886" y="12830"/>
                  </a:lnTo>
                  <a:lnTo>
                    <a:pt x="11449" y="12431"/>
                  </a:lnTo>
                  <a:lnTo>
                    <a:pt x="11050" y="12140"/>
                  </a:lnTo>
                  <a:lnTo>
                    <a:pt x="10904" y="12067"/>
                  </a:lnTo>
                  <a:lnTo>
                    <a:pt x="10759" y="12031"/>
                  </a:lnTo>
                  <a:lnTo>
                    <a:pt x="10650" y="11995"/>
                  </a:lnTo>
                  <a:lnTo>
                    <a:pt x="10577" y="12031"/>
                  </a:lnTo>
                  <a:lnTo>
                    <a:pt x="10577" y="12031"/>
                  </a:lnTo>
                  <a:lnTo>
                    <a:pt x="10323" y="12249"/>
                  </a:lnTo>
                  <a:lnTo>
                    <a:pt x="10105" y="12576"/>
                  </a:lnTo>
                  <a:lnTo>
                    <a:pt x="9887" y="12940"/>
                  </a:lnTo>
                  <a:lnTo>
                    <a:pt x="9668" y="13412"/>
                  </a:lnTo>
                  <a:lnTo>
                    <a:pt x="9450" y="13921"/>
                  </a:lnTo>
                  <a:lnTo>
                    <a:pt x="9269" y="14466"/>
                  </a:lnTo>
                  <a:lnTo>
                    <a:pt x="9087" y="15084"/>
                  </a:lnTo>
                  <a:lnTo>
                    <a:pt x="8905" y="15738"/>
                  </a:lnTo>
                  <a:lnTo>
                    <a:pt x="8723" y="16392"/>
                  </a:lnTo>
                  <a:lnTo>
                    <a:pt x="8614" y="17119"/>
                  </a:lnTo>
                  <a:lnTo>
                    <a:pt x="8469" y="17810"/>
                  </a:lnTo>
                  <a:lnTo>
                    <a:pt x="8396" y="18537"/>
                  </a:lnTo>
                  <a:lnTo>
                    <a:pt x="8324" y="19227"/>
                  </a:lnTo>
                  <a:lnTo>
                    <a:pt x="8324" y="19954"/>
                  </a:lnTo>
                  <a:lnTo>
                    <a:pt x="8324" y="20608"/>
                  </a:lnTo>
                  <a:lnTo>
                    <a:pt x="8360" y="21299"/>
                  </a:lnTo>
                  <a:lnTo>
                    <a:pt x="8360" y="21299"/>
                  </a:lnTo>
                  <a:lnTo>
                    <a:pt x="8433" y="21808"/>
                  </a:lnTo>
                  <a:lnTo>
                    <a:pt x="8505" y="22317"/>
                  </a:lnTo>
                  <a:lnTo>
                    <a:pt x="8651" y="22789"/>
                  </a:lnTo>
                  <a:lnTo>
                    <a:pt x="8796" y="23225"/>
                  </a:lnTo>
                  <a:lnTo>
                    <a:pt x="8796" y="23225"/>
                  </a:lnTo>
                  <a:lnTo>
                    <a:pt x="9777" y="25406"/>
                  </a:lnTo>
                  <a:lnTo>
                    <a:pt x="10214" y="26424"/>
                  </a:lnTo>
                  <a:lnTo>
                    <a:pt x="10577" y="27332"/>
                  </a:lnTo>
                  <a:lnTo>
                    <a:pt x="10868" y="28205"/>
                  </a:lnTo>
                  <a:lnTo>
                    <a:pt x="11086" y="29004"/>
                  </a:lnTo>
                  <a:lnTo>
                    <a:pt x="11122" y="29368"/>
                  </a:lnTo>
                  <a:lnTo>
                    <a:pt x="11159" y="29731"/>
                  </a:lnTo>
                  <a:lnTo>
                    <a:pt x="11159" y="30058"/>
                  </a:lnTo>
                  <a:lnTo>
                    <a:pt x="11122" y="30349"/>
                  </a:lnTo>
                  <a:lnTo>
                    <a:pt x="11122" y="30349"/>
                  </a:lnTo>
                  <a:lnTo>
                    <a:pt x="11086" y="30495"/>
                  </a:lnTo>
                  <a:lnTo>
                    <a:pt x="10977" y="30676"/>
                  </a:lnTo>
                  <a:lnTo>
                    <a:pt x="10868" y="30822"/>
                  </a:lnTo>
                  <a:lnTo>
                    <a:pt x="10686" y="31003"/>
                  </a:lnTo>
                  <a:lnTo>
                    <a:pt x="10250" y="31330"/>
                  </a:lnTo>
                  <a:lnTo>
                    <a:pt x="9668" y="31658"/>
                  </a:lnTo>
                  <a:lnTo>
                    <a:pt x="9014" y="31985"/>
                  </a:lnTo>
                  <a:lnTo>
                    <a:pt x="8287" y="32312"/>
                  </a:lnTo>
                  <a:lnTo>
                    <a:pt x="7488" y="32639"/>
                  </a:lnTo>
                  <a:lnTo>
                    <a:pt x="6688" y="32893"/>
                  </a:lnTo>
                  <a:lnTo>
                    <a:pt x="5852" y="33148"/>
                  </a:lnTo>
                  <a:lnTo>
                    <a:pt x="5053" y="33366"/>
                  </a:lnTo>
                  <a:lnTo>
                    <a:pt x="4289" y="33548"/>
                  </a:lnTo>
                  <a:lnTo>
                    <a:pt x="3599" y="33693"/>
                  </a:lnTo>
                  <a:lnTo>
                    <a:pt x="2981" y="33766"/>
                  </a:lnTo>
                  <a:lnTo>
                    <a:pt x="2472" y="33766"/>
                  </a:lnTo>
                  <a:lnTo>
                    <a:pt x="2254" y="33729"/>
                  </a:lnTo>
                  <a:lnTo>
                    <a:pt x="2109" y="33693"/>
                  </a:lnTo>
                  <a:lnTo>
                    <a:pt x="1963" y="33657"/>
                  </a:lnTo>
                  <a:lnTo>
                    <a:pt x="1854" y="33584"/>
                  </a:lnTo>
                  <a:lnTo>
                    <a:pt x="1854" y="33584"/>
                  </a:lnTo>
                  <a:lnTo>
                    <a:pt x="1818" y="33475"/>
                  </a:lnTo>
                  <a:lnTo>
                    <a:pt x="1745" y="33293"/>
                  </a:lnTo>
                  <a:lnTo>
                    <a:pt x="1709" y="32821"/>
                  </a:lnTo>
                  <a:lnTo>
                    <a:pt x="1709" y="32166"/>
                  </a:lnTo>
                  <a:lnTo>
                    <a:pt x="1745" y="31330"/>
                  </a:lnTo>
                  <a:lnTo>
                    <a:pt x="1927" y="29331"/>
                  </a:lnTo>
                  <a:lnTo>
                    <a:pt x="2181" y="27078"/>
                  </a:lnTo>
                  <a:lnTo>
                    <a:pt x="2399" y="24716"/>
                  </a:lnTo>
                  <a:lnTo>
                    <a:pt x="2508" y="23552"/>
                  </a:lnTo>
                  <a:lnTo>
                    <a:pt x="2581" y="22498"/>
                  </a:lnTo>
                  <a:lnTo>
                    <a:pt x="2654" y="21481"/>
                  </a:lnTo>
                  <a:lnTo>
                    <a:pt x="2654" y="20608"/>
                  </a:lnTo>
                  <a:lnTo>
                    <a:pt x="2581" y="19882"/>
                  </a:lnTo>
                  <a:lnTo>
                    <a:pt x="2545" y="19591"/>
                  </a:lnTo>
                  <a:lnTo>
                    <a:pt x="2472" y="19300"/>
                  </a:lnTo>
                  <a:lnTo>
                    <a:pt x="2472" y="19300"/>
                  </a:lnTo>
                  <a:lnTo>
                    <a:pt x="2327" y="18864"/>
                  </a:lnTo>
                  <a:lnTo>
                    <a:pt x="2145" y="18428"/>
                  </a:lnTo>
                  <a:lnTo>
                    <a:pt x="1672" y="17446"/>
                  </a:lnTo>
                  <a:lnTo>
                    <a:pt x="1164" y="16356"/>
                  </a:lnTo>
                  <a:lnTo>
                    <a:pt x="655" y="15266"/>
                  </a:lnTo>
                  <a:lnTo>
                    <a:pt x="437" y="14684"/>
                  </a:lnTo>
                  <a:lnTo>
                    <a:pt x="255" y="14103"/>
                  </a:lnTo>
                  <a:lnTo>
                    <a:pt x="110" y="13485"/>
                  </a:lnTo>
                  <a:lnTo>
                    <a:pt x="0" y="12903"/>
                  </a:lnTo>
                  <a:lnTo>
                    <a:pt x="0" y="12322"/>
                  </a:lnTo>
                  <a:lnTo>
                    <a:pt x="37" y="11740"/>
                  </a:lnTo>
                  <a:lnTo>
                    <a:pt x="110" y="11449"/>
                  </a:lnTo>
                  <a:lnTo>
                    <a:pt x="182" y="11159"/>
                  </a:lnTo>
                  <a:lnTo>
                    <a:pt x="291" y="10868"/>
                  </a:lnTo>
                  <a:lnTo>
                    <a:pt x="400" y="10577"/>
                  </a:lnTo>
                  <a:lnTo>
                    <a:pt x="400" y="10577"/>
                  </a:lnTo>
                  <a:lnTo>
                    <a:pt x="691" y="9959"/>
                  </a:lnTo>
                  <a:lnTo>
                    <a:pt x="982" y="9232"/>
                  </a:lnTo>
                  <a:lnTo>
                    <a:pt x="1563" y="7633"/>
                  </a:lnTo>
                  <a:lnTo>
                    <a:pt x="2109" y="5888"/>
                  </a:lnTo>
                  <a:lnTo>
                    <a:pt x="2617" y="4144"/>
                  </a:lnTo>
                  <a:lnTo>
                    <a:pt x="3054" y="2545"/>
                  </a:lnTo>
                  <a:lnTo>
                    <a:pt x="3381" y="1200"/>
                  </a:lnTo>
                  <a:lnTo>
                    <a:pt x="3671" y="0"/>
                  </a:lnTo>
                  <a:lnTo>
                    <a:pt x="3671" y="0"/>
                  </a:lnTo>
                  <a:lnTo>
                    <a:pt x="5016" y="291"/>
                  </a:lnTo>
                  <a:lnTo>
                    <a:pt x="5743" y="509"/>
                  </a:lnTo>
                  <a:lnTo>
                    <a:pt x="6070" y="618"/>
                  </a:lnTo>
                  <a:lnTo>
                    <a:pt x="6361" y="727"/>
                  </a:lnTo>
                  <a:lnTo>
                    <a:pt x="6361" y="727"/>
                  </a:lnTo>
                  <a:lnTo>
                    <a:pt x="7015" y="1054"/>
                  </a:lnTo>
                  <a:lnTo>
                    <a:pt x="7669" y="1418"/>
                  </a:lnTo>
                  <a:lnTo>
                    <a:pt x="8324" y="1818"/>
                  </a:lnTo>
                  <a:lnTo>
                    <a:pt x="8942" y="2254"/>
                  </a:lnTo>
                  <a:lnTo>
                    <a:pt x="9596" y="2690"/>
                  </a:lnTo>
                  <a:lnTo>
                    <a:pt x="10214" y="3163"/>
                  </a:lnTo>
                  <a:lnTo>
                    <a:pt x="10868" y="3708"/>
                  </a:lnTo>
                  <a:lnTo>
                    <a:pt x="11486" y="4217"/>
                  </a:lnTo>
                  <a:lnTo>
                    <a:pt x="11486" y="4217"/>
                  </a:lnTo>
                  <a:lnTo>
                    <a:pt x="12394" y="5053"/>
                  </a:lnTo>
                  <a:lnTo>
                    <a:pt x="13267" y="5888"/>
                  </a:lnTo>
                  <a:lnTo>
                    <a:pt x="14139" y="6797"/>
                  </a:lnTo>
                  <a:lnTo>
                    <a:pt x="14975" y="7706"/>
                  </a:lnTo>
                  <a:lnTo>
                    <a:pt x="15775" y="8614"/>
                  </a:lnTo>
                  <a:lnTo>
                    <a:pt x="16538" y="9523"/>
                  </a:lnTo>
                  <a:lnTo>
                    <a:pt x="17265" y="10468"/>
                  </a:lnTo>
                  <a:lnTo>
                    <a:pt x="17955" y="11340"/>
                  </a:lnTo>
                  <a:lnTo>
                    <a:pt x="18609" y="12249"/>
                  </a:lnTo>
                  <a:lnTo>
                    <a:pt x="19191" y="13085"/>
                  </a:lnTo>
                  <a:lnTo>
                    <a:pt x="19773" y="13921"/>
                  </a:lnTo>
                  <a:lnTo>
                    <a:pt x="20245" y="14684"/>
                  </a:lnTo>
                  <a:lnTo>
                    <a:pt x="20681" y="15411"/>
                  </a:lnTo>
                  <a:lnTo>
                    <a:pt x="21045" y="16102"/>
                  </a:lnTo>
                  <a:lnTo>
                    <a:pt x="21372" y="16683"/>
                  </a:lnTo>
                  <a:lnTo>
                    <a:pt x="21590" y="17192"/>
                  </a:lnTo>
                  <a:lnTo>
                    <a:pt x="21590" y="17192"/>
                  </a:lnTo>
                  <a:lnTo>
                    <a:pt x="21844" y="17919"/>
                  </a:lnTo>
                  <a:lnTo>
                    <a:pt x="22135" y="18828"/>
                  </a:lnTo>
                  <a:lnTo>
                    <a:pt x="22462" y="19954"/>
                  </a:lnTo>
                  <a:lnTo>
                    <a:pt x="22789" y="21263"/>
                  </a:lnTo>
                  <a:lnTo>
                    <a:pt x="23480" y="24134"/>
                  </a:lnTo>
                  <a:lnTo>
                    <a:pt x="24134" y="27187"/>
                  </a:lnTo>
                  <a:lnTo>
                    <a:pt x="25261" y="32566"/>
                  </a:lnTo>
                  <a:lnTo>
                    <a:pt x="25733" y="34892"/>
                  </a:lnTo>
                  <a:lnTo>
                    <a:pt x="25733" y="34892"/>
                  </a:lnTo>
                  <a:lnTo>
                    <a:pt x="25770" y="34965"/>
                  </a:lnTo>
                  <a:lnTo>
                    <a:pt x="25733" y="35074"/>
                  </a:lnTo>
                  <a:lnTo>
                    <a:pt x="25733" y="35147"/>
                  </a:lnTo>
                  <a:lnTo>
                    <a:pt x="25661" y="35219"/>
                  </a:lnTo>
                  <a:lnTo>
                    <a:pt x="25479" y="35328"/>
                  </a:lnTo>
                  <a:lnTo>
                    <a:pt x="25261" y="35401"/>
                  </a:lnTo>
                  <a:lnTo>
                    <a:pt x="24970" y="35474"/>
                  </a:lnTo>
                  <a:lnTo>
                    <a:pt x="24607" y="35547"/>
                  </a:lnTo>
                  <a:lnTo>
                    <a:pt x="23843" y="35547"/>
                  </a:lnTo>
                  <a:lnTo>
                    <a:pt x="23044" y="35510"/>
                  </a:lnTo>
                  <a:lnTo>
                    <a:pt x="22317" y="35401"/>
                  </a:lnTo>
                  <a:lnTo>
                    <a:pt x="22026" y="35328"/>
                  </a:lnTo>
                  <a:lnTo>
                    <a:pt x="21772" y="35256"/>
                  </a:lnTo>
                  <a:lnTo>
                    <a:pt x="21626" y="35183"/>
                  </a:lnTo>
                  <a:lnTo>
                    <a:pt x="21553" y="3511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09" name="Google Shape;2738;p11">
              <a:extLst>
                <a:ext uri="{FF2B5EF4-FFF2-40B4-BE49-F238E27FC236}">
                  <a16:creationId xmlns:a16="http://schemas.microsoft.com/office/drawing/2014/main" id="{54F521CB-2664-1CAC-85BF-209047A84EB0}"/>
                </a:ext>
              </a:extLst>
            </p:cNvPr>
            <p:cNvSpPr/>
            <p:nvPr/>
          </p:nvSpPr>
          <p:spPr>
            <a:xfrm>
              <a:off x="5709050" y="2687550"/>
              <a:ext cx="751475" cy="905050"/>
            </a:xfrm>
            <a:custGeom>
              <a:avLst/>
              <a:gdLst/>
              <a:ahLst/>
              <a:cxnLst/>
              <a:rect l="l" t="t" r="r" b="b"/>
              <a:pathLst>
                <a:path w="30059" h="36202" extrusionOk="0">
                  <a:moveTo>
                    <a:pt x="3344" y="1"/>
                  </a:moveTo>
                  <a:lnTo>
                    <a:pt x="3090" y="37"/>
                  </a:lnTo>
                  <a:lnTo>
                    <a:pt x="2799" y="146"/>
                  </a:lnTo>
                  <a:lnTo>
                    <a:pt x="2508" y="328"/>
                  </a:lnTo>
                  <a:lnTo>
                    <a:pt x="2254" y="582"/>
                  </a:lnTo>
                  <a:lnTo>
                    <a:pt x="1963" y="837"/>
                  </a:lnTo>
                  <a:lnTo>
                    <a:pt x="1672" y="1164"/>
                  </a:lnTo>
                  <a:lnTo>
                    <a:pt x="1164" y="1854"/>
                  </a:lnTo>
                  <a:lnTo>
                    <a:pt x="691" y="2509"/>
                  </a:lnTo>
                  <a:lnTo>
                    <a:pt x="328" y="3127"/>
                  </a:lnTo>
                  <a:lnTo>
                    <a:pt x="1" y="3708"/>
                  </a:lnTo>
                  <a:lnTo>
                    <a:pt x="1" y="3817"/>
                  </a:lnTo>
                  <a:lnTo>
                    <a:pt x="73" y="3999"/>
                  </a:lnTo>
                  <a:lnTo>
                    <a:pt x="328" y="4544"/>
                  </a:lnTo>
                  <a:lnTo>
                    <a:pt x="764" y="5235"/>
                  </a:lnTo>
                  <a:lnTo>
                    <a:pt x="1345" y="6107"/>
                  </a:lnTo>
                  <a:lnTo>
                    <a:pt x="2000" y="7125"/>
                  </a:lnTo>
                  <a:lnTo>
                    <a:pt x="2799" y="8215"/>
                  </a:lnTo>
                  <a:lnTo>
                    <a:pt x="3671" y="9342"/>
                  </a:lnTo>
                  <a:lnTo>
                    <a:pt x="4653" y="10541"/>
                  </a:lnTo>
                  <a:lnTo>
                    <a:pt x="5634" y="11704"/>
                  </a:lnTo>
                  <a:lnTo>
                    <a:pt x="6688" y="12867"/>
                  </a:lnTo>
                  <a:lnTo>
                    <a:pt x="7706" y="13958"/>
                  </a:lnTo>
                  <a:lnTo>
                    <a:pt x="8760" y="14939"/>
                  </a:lnTo>
                  <a:lnTo>
                    <a:pt x="9305" y="15375"/>
                  </a:lnTo>
                  <a:lnTo>
                    <a:pt x="9814" y="15775"/>
                  </a:lnTo>
                  <a:lnTo>
                    <a:pt x="10286" y="16138"/>
                  </a:lnTo>
                  <a:lnTo>
                    <a:pt x="10795" y="16465"/>
                  </a:lnTo>
                  <a:lnTo>
                    <a:pt x="11268" y="16756"/>
                  </a:lnTo>
                  <a:lnTo>
                    <a:pt x="11740" y="16974"/>
                  </a:lnTo>
                  <a:lnTo>
                    <a:pt x="12176" y="17156"/>
                  </a:lnTo>
                  <a:lnTo>
                    <a:pt x="12576" y="17265"/>
                  </a:lnTo>
                  <a:lnTo>
                    <a:pt x="13085" y="17265"/>
                  </a:lnTo>
                  <a:lnTo>
                    <a:pt x="13630" y="17229"/>
                  </a:lnTo>
                  <a:lnTo>
                    <a:pt x="14248" y="17047"/>
                  </a:lnTo>
                  <a:lnTo>
                    <a:pt x="14902" y="16829"/>
                  </a:lnTo>
                  <a:lnTo>
                    <a:pt x="15593" y="16574"/>
                  </a:lnTo>
                  <a:lnTo>
                    <a:pt x="16320" y="16247"/>
                  </a:lnTo>
                  <a:lnTo>
                    <a:pt x="17737" y="15520"/>
                  </a:lnTo>
                  <a:lnTo>
                    <a:pt x="19155" y="14830"/>
                  </a:lnTo>
                  <a:lnTo>
                    <a:pt x="19845" y="14503"/>
                  </a:lnTo>
                  <a:lnTo>
                    <a:pt x="20463" y="14248"/>
                  </a:lnTo>
                  <a:lnTo>
                    <a:pt x="21045" y="14030"/>
                  </a:lnTo>
                  <a:lnTo>
                    <a:pt x="21554" y="13921"/>
                  </a:lnTo>
                  <a:lnTo>
                    <a:pt x="21808" y="13885"/>
                  </a:lnTo>
                  <a:lnTo>
                    <a:pt x="22026" y="13849"/>
                  </a:lnTo>
                  <a:lnTo>
                    <a:pt x="22208" y="13885"/>
                  </a:lnTo>
                  <a:lnTo>
                    <a:pt x="22390" y="13921"/>
                  </a:lnTo>
                  <a:lnTo>
                    <a:pt x="22426" y="13958"/>
                  </a:lnTo>
                  <a:lnTo>
                    <a:pt x="22426" y="14067"/>
                  </a:lnTo>
                  <a:lnTo>
                    <a:pt x="22280" y="14394"/>
                  </a:lnTo>
                  <a:lnTo>
                    <a:pt x="22099" y="14939"/>
                  </a:lnTo>
                  <a:lnTo>
                    <a:pt x="21844" y="15593"/>
                  </a:lnTo>
                  <a:lnTo>
                    <a:pt x="21735" y="15957"/>
                  </a:lnTo>
                  <a:lnTo>
                    <a:pt x="21663" y="16356"/>
                  </a:lnTo>
                  <a:lnTo>
                    <a:pt x="21590" y="16793"/>
                  </a:lnTo>
                  <a:lnTo>
                    <a:pt x="21517" y="17229"/>
                  </a:lnTo>
                  <a:lnTo>
                    <a:pt x="21517" y="17701"/>
                  </a:lnTo>
                  <a:lnTo>
                    <a:pt x="21590" y="18174"/>
                  </a:lnTo>
                  <a:lnTo>
                    <a:pt x="21663" y="18646"/>
                  </a:lnTo>
                  <a:lnTo>
                    <a:pt x="21808" y="19155"/>
                  </a:lnTo>
                  <a:lnTo>
                    <a:pt x="22171" y="20136"/>
                  </a:lnTo>
                  <a:lnTo>
                    <a:pt x="22535" y="21190"/>
                  </a:lnTo>
                  <a:lnTo>
                    <a:pt x="22862" y="22317"/>
                  </a:lnTo>
                  <a:lnTo>
                    <a:pt x="23189" y="23444"/>
                  </a:lnTo>
                  <a:lnTo>
                    <a:pt x="23480" y="24571"/>
                  </a:lnTo>
                  <a:lnTo>
                    <a:pt x="23698" y="25734"/>
                  </a:lnTo>
                  <a:lnTo>
                    <a:pt x="23916" y="26897"/>
                  </a:lnTo>
                  <a:lnTo>
                    <a:pt x="24061" y="28023"/>
                  </a:lnTo>
                  <a:lnTo>
                    <a:pt x="24170" y="29114"/>
                  </a:lnTo>
                  <a:lnTo>
                    <a:pt x="24207" y="30204"/>
                  </a:lnTo>
                  <a:lnTo>
                    <a:pt x="24170" y="31222"/>
                  </a:lnTo>
                  <a:lnTo>
                    <a:pt x="24134" y="31694"/>
                  </a:lnTo>
                  <a:lnTo>
                    <a:pt x="24061" y="32167"/>
                  </a:lnTo>
                  <a:lnTo>
                    <a:pt x="23989" y="32603"/>
                  </a:lnTo>
                  <a:lnTo>
                    <a:pt x="23843" y="33039"/>
                  </a:lnTo>
                  <a:lnTo>
                    <a:pt x="23734" y="33439"/>
                  </a:lnTo>
                  <a:lnTo>
                    <a:pt x="23553" y="33839"/>
                  </a:lnTo>
                  <a:lnTo>
                    <a:pt x="23371" y="34202"/>
                  </a:lnTo>
                  <a:lnTo>
                    <a:pt x="23189" y="34529"/>
                  </a:lnTo>
                  <a:lnTo>
                    <a:pt x="22935" y="34820"/>
                  </a:lnTo>
                  <a:lnTo>
                    <a:pt x="22680" y="35111"/>
                  </a:lnTo>
                  <a:lnTo>
                    <a:pt x="22571" y="35220"/>
                  </a:lnTo>
                  <a:lnTo>
                    <a:pt x="22499" y="35365"/>
                  </a:lnTo>
                  <a:lnTo>
                    <a:pt x="22499" y="35474"/>
                  </a:lnTo>
                  <a:lnTo>
                    <a:pt x="22499" y="35547"/>
                  </a:lnTo>
                  <a:lnTo>
                    <a:pt x="22571" y="35656"/>
                  </a:lnTo>
                  <a:lnTo>
                    <a:pt x="22680" y="35729"/>
                  </a:lnTo>
                  <a:lnTo>
                    <a:pt x="22935" y="35910"/>
                  </a:lnTo>
                  <a:lnTo>
                    <a:pt x="23334" y="36019"/>
                  </a:lnTo>
                  <a:lnTo>
                    <a:pt x="23843" y="36128"/>
                  </a:lnTo>
                  <a:lnTo>
                    <a:pt x="24389" y="36201"/>
                  </a:lnTo>
                  <a:lnTo>
                    <a:pt x="25624" y="36201"/>
                  </a:lnTo>
                  <a:lnTo>
                    <a:pt x="26279" y="36165"/>
                  </a:lnTo>
                  <a:lnTo>
                    <a:pt x="26896" y="36092"/>
                  </a:lnTo>
                  <a:lnTo>
                    <a:pt x="27478" y="35983"/>
                  </a:lnTo>
                  <a:lnTo>
                    <a:pt x="28023" y="35801"/>
                  </a:lnTo>
                  <a:lnTo>
                    <a:pt x="28496" y="35620"/>
                  </a:lnTo>
                  <a:lnTo>
                    <a:pt x="28677" y="35511"/>
                  </a:lnTo>
                  <a:lnTo>
                    <a:pt x="28859" y="35365"/>
                  </a:lnTo>
                  <a:lnTo>
                    <a:pt x="29004" y="35220"/>
                  </a:lnTo>
                  <a:lnTo>
                    <a:pt x="29113" y="35074"/>
                  </a:lnTo>
                  <a:lnTo>
                    <a:pt x="29404" y="34529"/>
                  </a:lnTo>
                  <a:lnTo>
                    <a:pt x="29659" y="33984"/>
                  </a:lnTo>
                  <a:lnTo>
                    <a:pt x="29840" y="33403"/>
                  </a:lnTo>
                  <a:lnTo>
                    <a:pt x="29949" y="32821"/>
                  </a:lnTo>
                  <a:lnTo>
                    <a:pt x="30022" y="32203"/>
                  </a:lnTo>
                  <a:lnTo>
                    <a:pt x="30058" y="31585"/>
                  </a:lnTo>
                  <a:lnTo>
                    <a:pt x="30022" y="31004"/>
                  </a:lnTo>
                  <a:lnTo>
                    <a:pt x="29986" y="30386"/>
                  </a:lnTo>
                  <a:lnTo>
                    <a:pt x="29877" y="29768"/>
                  </a:lnTo>
                  <a:lnTo>
                    <a:pt x="29731" y="29114"/>
                  </a:lnTo>
                  <a:lnTo>
                    <a:pt x="29586" y="28496"/>
                  </a:lnTo>
                  <a:lnTo>
                    <a:pt x="29404" y="27878"/>
                  </a:lnTo>
                  <a:lnTo>
                    <a:pt x="28968" y="26642"/>
                  </a:lnTo>
                  <a:lnTo>
                    <a:pt x="28496" y="25407"/>
                  </a:lnTo>
                  <a:lnTo>
                    <a:pt x="27478" y="23044"/>
                  </a:lnTo>
                  <a:lnTo>
                    <a:pt x="27042" y="21917"/>
                  </a:lnTo>
                  <a:lnTo>
                    <a:pt x="26606" y="20863"/>
                  </a:lnTo>
                  <a:lnTo>
                    <a:pt x="26315" y="19882"/>
                  </a:lnTo>
                  <a:lnTo>
                    <a:pt x="26206" y="19409"/>
                  </a:lnTo>
                  <a:lnTo>
                    <a:pt x="26097" y="18973"/>
                  </a:lnTo>
                  <a:lnTo>
                    <a:pt x="26060" y="18537"/>
                  </a:lnTo>
                  <a:lnTo>
                    <a:pt x="26060" y="18137"/>
                  </a:lnTo>
                  <a:lnTo>
                    <a:pt x="26097" y="17774"/>
                  </a:lnTo>
                  <a:lnTo>
                    <a:pt x="26206" y="17447"/>
                  </a:lnTo>
                  <a:lnTo>
                    <a:pt x="27042" y="15157"/>
                  </a:lnTo>
                  <a:lnTo>
                    <a:pt x="27369" y="14248"/>
                  </a:lnTo>
                  <a:lnTo>
                    <a:pt x="27660" y="13376"/>
                  </a:lnTo>
                  <a:lnTo>
                    <a:pt x="27878" y="12540"/>
                  </a:lnTo>
                  <a:lnTo>
                    <a:pt x="28096" y="11668"/>
                  </a:lnTo>
                  <a:lnTo>
                    <a:pt x="28278" y="10686"/>
                  </a:lnTo>
                  <a:lnTo>
                    <a:pt x="28459" y="9560"/>
                  </a:lnTo>
                  <a:lnTo>
                    <a:pt x="28605" y="8469"/>
                  </a:lnTo>
                  <a:lnTo>
                    <a:pt x="28786" y="7452"/>
                  </a:lnTo>
                  <a:lnTo>
                    <a:pt x="29113" y="5816"/>
                  </a:lnTo>
                  <a:lnTo>
                    <a:pt x="29368" y="4762"/>
                  </a:lnTo>
                  <a:lnTo>
                    <a:pt x="29477" y="4399"/>
                  </a:lnTo>
                  <a:lnTo>
                    <a:pt x="28786" y="4544"/>
                  </a:lnTo>
                  <a:lnTo>
                    <a:pt x="27987" y="4726"/>
                  </a:lnTo>
                  <a:lnTo>
                    <a:pt x="27042" y="5017"/>
                  </a:lnTo>
                  <a:lnTo>
                    <a:pt x="25915" y="5344"/>
                  </a:lnTo>
                  <a:lnTo>
                    <a:pt x="24752" y="5743"/>
                  </a:lnTo>
                  <a:lnTo>
                    <a:pt x="23553" y="6252"/>
                  </a:lnTo>
                  <a:lnTo>
                    <a:pt x="23007" y="6507"/>
                  </a:lnTo>
                  <a:lnTo>
                    <a:pt x="22426" y="6798"/>
                  </a:lnTo>
                  <a:lnTo>
                    <a:pt x="21881" y="7125"/>
                  </a:lnTo>
                  <a:lnTo>
                    <a:pt x="21299" y="7452"/>
                  </a:lnTo>
                  <a:lnTo>
                    <a:pt x="20209" y="8179"/>
                  </a:lnTo>
                  <a:lnTo>
                    <a:pt x="19155" y="8906"/>
                  </a:lnTo>
                  <a:lnTo>
                    <a:pt x="18101" y="9596"/>
                  </a:lnTo>
                  <a:lnTo>
                    <a:pt x="17556" y="9923"/>
                  </a:lnTo>
                  <a:lnTo>
                    <a:pt x="17010" y="10214"/>
                  </a:lnTo>
                  <a:lnTo>
                    <a:pt x="16465" y="10468"/>
                  </a:lnTo>
                  <a:lnTo>
                    <a:pt x="15884" y="10686"/>
                  </a:lnTo>
                  <a:lnTo>
                    <a:pt x="15338" y="10868"/>
                  </a:lnTo>
                  <a:lnTo>
                    <a:pt x="14757" y="11014"/>
                  </a:lnTo>
                  <a:lnTo>
                    <a:pt x="14139" y="11123"/>
                  </a:lnTo>
                  <a:lnTo>
                    <a:pt x="13521" y="11159"/>
                  </a:lnTo>
                  <a:lnTo>
                    <a:pt x="13303" y="11123"/>
                  </a:lnTo>
                  <a:lnTo>
                    <a:pt x="13085" y="11014"/>
                  </a:lnTo>
                  <a:lnTo>
                    <a:pt x="12794" y="10868"/>
                  </a:lnTo>
                  <a:lnTo>
                    <a:pt x="12503" y="10686"/>
                  </a:lnTo>
                  <a:lnTo>
                    <a:pt x="11849" y="10105"/>
                  </a:lnTo>
                  <a:lnTo>
                    <a:pt x="11086" y="9414"/>
                  </a:lnTo>
                  <a:lnTo>
                    <a:pt x="10250" y="8578"/>
                  </a:lnTo>
                  <a:lnTo>
                    <a:pt x="9414" y="7633"/>
                  </a:lnTo>
                  <a:lnTo>
                    <a:pt x="8542" y="6616"/>
                  </a:lnTo>
                  <a:lnTo>
                    <a:pt x="7669" y="5562"/>
                  </a:lnTo>
                  <a:lnTo>
                    <a:pt x="6034" y="3526"/>
                  </a:lnTo>
                  <a:lnTo>
                    <a:pt x="4653" y="1745"/>
                  </a:lnTo>
                  <a:lnTo>
                    <a:pt x="3344" y="1"/>
                  </a:lnTo>
                  <a:close/>
                </a:path>
              </a:pathLst>
            </a:custGeom>
            <a:solidFill>
              <a:srgbClr val="E73C3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10" name="Google Shape;2739;p11">
              <a:extLst>
                <a:ext uri="{FF2B5EF4-FFF2-40B4-BE49-F238E27FC236}">
                  <a16:creationId xmlns:a16="http://schemas.microsoft.com/office/drawing/2014/main" id="{E8AF3CD8-0111-B5D2-C6BD-AC157E652B9C}"/>
                </a:ext>
              </a:extLst>
            </p:cNvPr>
            <p:cNvSpPr/>
            <p:nvPr/>
          </p:nvSpPr>
          <p:spPr>
            <a:xfrm>
              <a:off x="6426875" y="2587600"/>
              <a:ext cx="156325" cy="365300"/>
            </a:xfrm>
            <a:custGeom>
              <a:avLst/>
              <a:gdLst/>
              <a:ahLst/>
              <a:cxnLst/>
              <a:rect l="l" t="t" r="r" b="b"/>
              <a:pathLst>
                <a:path w="6253" h="14612" extrusionOk="0">
                  <a:moveTo>
                    <a:pt x="2581" y="1"/>
                  </a:moveTo>
                  <a:lnTo>
                    <a:pt x="2472" y="74"/>
                  </a:lnTo>
                  <a:lnTo>
                    <a:pt x="2363" y="146"/>
                  </a:lnTo>
                  <a:lnTo>
                    <a:pt x="2181" y="401"/>
                  </a:lnTo>
                  <a:lnTo>
                    <a:pt x="2000" y="691"/>
                  </a:lnTo>
                  <a:lnTo>
                    <a:pt x="1818" y="1091"/>
                  </a:lnTo>
                  <a:lnTo>
                    <a:pt x="1491" y="1927"/>
                  </a:lnTo>
                  <a:lnTo>
                    <a:pt x="1273" y="2763"/>
                  </a:lnTo>
                  <a:lnTo>
                    <a:pt x="1055" y="3635"/>
                  </a:lnTo>
                  <a:lnTo>
                    <a:pt x="1200" y="4072"/>
                  </a:lnTo>
                  <a:lnTo>
                    <a:pt x="1309" y="4471"/>
                  </a:lnTo>
                  <a:lnTo>
                    <a:pt x="1418" y="5126"/>
                  </a:lnTo>
                  <a:lnTo>
                    <a:pt x="1491" y="5707"/>
                  </a:lnTo>
                  <a:lnTo>
                    <a:pt x="1491" y="6252"/>
                  </a:lnTo>
                  <a:lnTo>
                    <a:pt x="1418" y="6725"/>
                  </a:lnTo>
                  <a:lnTo>
                    <a:pt x="1345" y="7088"/>
                  </a:lnTo>
                  <a:lnTo>
                    <a:pt x="1273" y="7452"/>
                  </a:lnTo>
                  <a:lnTo>
                    <a:pt x="1164" y="7742"/>
                  </a:lnTo>
                  <a:lnTo>
                    <a:pt x="1018" y="8033"/>
                  </a:lnTo>
                  <a:lnTo>
                    <a:pt x="764" y="8542"/>
                  </a:lnTo>
                  <a:lnTo>
                    <a:pt x="510" y="8906"/>
                  </a:lnTo>
                  <a:lnTo>
                    <a:pt x="437" y="9087"/>
                  </a:lnTo>
                  <a:lnTo>
                    <a:pt x="328" y="9378"/>
                  </a:lnTo>
                  <a:lnTo>
                    <a:pt x="182" y="10105"/>
                  </a:lnTo>
                  <a:lnTo>
                    <a:pt x="37" y="11014"/>
                  </a:lnTo>
                  <a:lnTo>
                    <a:pt x="1" y="12031"/>
                  </a:lnTo>
                  <a:lnTo>
                    <a:pt x="1" y="12976"/>
                  </a:lnTo>
                  <a:lnTo>
                    <a:pt x="37" y="13412"/>
                  </a:lnTo>
                  <a:lnTo>
                    <a:pt x="73" y="13812"/>
                  </a:lnTo>
                  <a:lnTo>
                    <a:pt x="146" y="14139"/>
                  </a:lnTo>
                  <a:lnTo>
                    <a:pt x="255" y="14357"/>
                  </a:lnTo>
                  <a:lnTo>
                    <a:pt x="400" y="14539"/>
                  </a:lnTo>
                  <a:lnTo>
                    <a:pt x="473" y="14575"/>
                  </a:lnTo>
                  <a:lnTo>
                    <a:pt x="546" y="14612"/>
                  </a:lnTo>
                  <a:lnTo>
                    <a:pt x="655" y="14575"/>
                  </a:lnTo>
                  <a:lnTo>
                    <a:pt x="764" y="14503"/>
                  </a:lnTo>
                  <a:lnTo>
                    <a:pt x="1127" y="14248"/>
                  </a:lnTo>
                  <a:lnTo>
                    <a:pt x="1527" y="13812"/>
                  </a:lnTo>
                  <a:lnTo>
                    <a:pt x="1963" y="13340"/>
                  </a:lnTo>
                  <a:lnTo>
                    <a:pt x="2945" y="12322"/>
                  </a:lnTo>
                  <a:lnTo>
                    <a:pt x="3417" y="11922"/>
                  </a:lnTo>
                  <a:lnTo>
                    <a:pt x="3853" y="11595"/>
                  </a:lnTo>
                  <a:lnTo>
                    <a:pt x="4035" y="11450"/>
                  </a:lnTo>
                  <a:lnTo>
                    <a:pt x="4253" y="11268"/>
                  </a:lnTo>
                  <a:lnTo>
                    <a:pt x="4689" y="10796"/>
                  </a:lnTo>
                  <a:lnTo>
                    <a:pt x="5089" y="10250"/>
                  </a:lnTo>
                  <a:lnTo>
                    <a:pt x="5453" y="9632"/>
                  </a:lnTo>
                  <a:lnTo>
                    <a:pt x="6034" y="8615"/>
                  </a:lnTo>
                  <a:lnTo>
                    <a:pt x="6252" y="8179"/>
                  </a:lnTo>
                  <a:lnTo>
                    <a:pt x="5780" y="7016"/>
                  </a:lnTo>
                  <a:lnTo>
                    <a:pt x="4617" y="4217"/>
                  </a:lnTo>
                  <a:lnTo>
                    <a:pt x="4289" y="3381"/>
                  </a:lnTo>
                  <a:lnTo>
                    <a:pt x="3853" y="2182"/>
                  </a:lnTo>
                  <a:lnTo>
                    <a:pt x="3417" y="982"/>
                  </a:lnTo>
                  <a:lnTo>
                    <a:pt x="3199" y="473"/>
                  </a:lnTo>
                  <a:lnTo>
                    <a:pt x="3090" y="292"/>
                  </a:lnTo>
                  <a:lnTo>
                    <a:pt x="2981" y="146"/>
                  </a:lnTo>
                  <a:lnTo>
                    <a:pt x="2872" y="74"/>
                  </a:lnTo>
                  <a:lnTo>
                    <a:pt x="2763" y="1"/>
                  </a:lnTo>
                  <a:close/>
                </a:path>
              </a:pathLst>
            </a:custGeom>
            <a:solidFill>
              <a:srgbClr val="F5B1B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11" name="Google Shape;2740;p11">
              <a:extLst>
                <a:ext uri="{FF2B5EF4-FFF2-40B4-BE49-F238E27FC236}">
                  <a16:creationId xmlns:a16="http://schemas.microsoft.com/office/drawing/2014/main" id="{7193E435-4386-C782-A350-E1737D3154DE}"/>
                </a:ext>
              </a:extLst>
            </p:cNvPr>
            <p:cNvSpPr/>
            <p:nvPr/>
          </p:nvSpPr>
          <p:spPr>
            <a:xfrm>
              <a:off x="6426875" y="2587600"/>
              <a:ext cx="156325" cy="365300"/>
            </a:xfrm>
            <a:custGeom>
              <a:avLst/>
              <a:gdLst/>
              <a:ahLst/>
              <a:cxnLst/>
              <a:rect l="l" t="t" r="r" b="b"/>
              <a:pathLst>
                <a:path w="6253" h="14612" fill="none" extrusionOk="0">
                  <a:moveTo>
                    <a:pt x="546" y="14612"/>
                  </a:moveTo>
                  <a:lnTo>
                    <a:pt x="546" y="14612"/>
                  </a:lnTo>
                  <a:lnTo>
                    <a:pt x="655" y="14575"/>
                  </a:lnTo>
                  <a:lnTo>
                    <a:pt x="764" y="14503"/>
                  </a:lnTo>
                  <a:lnTo>
                    <a:pt x="1127" y="14248"/>
                  </a:lnTo>
                  <a:lnTo>
                    <a:pt x="1527" y="13812"/>
                  </a:lnTo>
                  <a:lnTo>
                    <a:pt x="1963" y="13340"/>
                  </a:lnTo>
                  <a:lnTo>
                    <a:pt x="2945" y="12322"/>
                  </a:lnTo>
                  <a:lnTo>
                    <a:pt x="3417" y="11922"/>
                  </a:lnTo>
                  <a:lnTo>
                    <a:pt x="3853" y="11595"/>
                  </a:lnTo>
                  <a:lnTo>
                    <a:pt x="3853" y="11595"/>
                  </a:lnTo>
                  <a:lnTo>
                    <a:pt x="4035" y="11450"/>
                  </a:lnTo>
                  <a:lnTo>
                    <a:pt x="4253" y="11268"/>
                  </a:lnTo>
                  <a:lnTo>
                    <a:pt x="4689" y="10796"/>
                  </a:lnTo>
                  <a:lnTo>
                    <a:pt x="5089" y="10250"/>
                  </a:lnTo>
                  <a:lnTo>
                    <a:pt x="5453" y="9632"/>
                  </a:lnTo>
                  <a:lnTo>
                    <a:pt x="6034" y="8615"/>
                  </a:lnTo>
                  <a:lnTo>
                    <a:pt x="6252" y="8179"/>
                  </a:lnTo>
                  <a:lnTo>
                    <a:pt x="6252" y="8179"/>
                  </a:lnTo>
                  <a:lnTo>
                    <a:pt x="5780" y="7016"/>
                  </a:lnTo>
                  <a:lnTo>
                    <a:pt x="4617" y="4217"/>
                  </a:lnTo>
                  <a:lnTo>
                    <a:pt x="4617" y="4217"/>
                  </a:lnTo>
                  <a:lnTo>
                    <a:pt x="4289" y="3381"/>
                  </a:lnTo>
                  <a:lnTo>
                    <a:pt x="4289" y="3381"/>
                  </a:lnTo>
                  <a:lnTo>
                    <a:pt x="3853" y="2182"/>
                  </a:lnTo>
                  <a:lnTo>
                    <a:pt x="3417" y="982"/>
                  </a:lnTo>
                  <a:lnTo>
                    <a:pt x="3417" y="982"/>
                  </a:lnTo>
                  <a:lnTo>
                    <a:pt x="3199" y="473"/>
                  </a:lnTo>
                  <a:lnTo>
                    <a:pt x="3090" y="292"/>
                  </a:lnTo>
                  <a:lnTo>
                    <a:pt x="2981" y="146"/>
                  </a:lnTo>
                  <a:lnTo>
                    <a:pt x="2872" y="74"/>
                  </a:lnTo>
                  <a:lnTo>
                    <a:pt x="2763" y="1"/>
                  </a:lnTo>
                  <a:lnTo>
                    <a:pt x="2654" y="1"/>
                  </a:lnTo>
                  <a:lnTo>
                    <a:pt x="2581" y="1"/>
                  </a:lnTo>
                  <a:lnTo>
                    <a:pt x="2472" y="74"/>
                  </a:lnTo>
                  <a:lnTo>
                    <a:pt x="2363" y="146"/>
                  </a:lnTo>
                  <a:lnTo>
                    <a:pt x="2181" y="401"/>
                  </a:lnTo>
                  <a:lnTo>
                    <a:pt x="2000" y="691"/>
                  </a:lnTo>
                  <a:lnTo>
                    <a:pt x="1818" y="1091"/>
                  </a:lnTo>
                  <a:lnTo>
                    <a:pt x="1491" y="1927"/>
                  </a:lnTo>
                  <a:lnTo>
                    <a:pt x="1273" y="2763"/>
                  </a:lnTo>
                  <a:lnTo>
                    <a:pt x="1055" y="3635"/>
                  </a:lnTo>
                  <a:lnTo>
                    <a:pt x="1055" y="3635"/>
                  </a:lnTo>
                  <a:lnTo>
                    <a:pt x="1200" y="4072"/>
                  </a:lnTo>
                  <a:lnTo>
                    <a:pt x="1309" y="4471"/>
                  </a:lnTo>
                  <a:lnTo>
                    <a:pt x="1309" y="4471"/>
                  </a:lnTo>
                  <a:lnTo>
                    <a:pt x="1418" y="5126"/>
                  </a:lnTo>
                  <a:lnTo>
                    <a:pt x="1491" y="5707"/>
                  </a:lnTo>
                  <a:lnTo>
                    <a:pt x="1491" y="6252"/>
                  </a:lnTo>
                  <a:lnTo>
                    <a:pt x="1418" y="6725"/>
                  </a:lnTo>
                  <a:lnTo>
                    <a:pt x="1418" y="6725"/>
                  </a:lnTo>
                  <a:lnTo>
                    <a:pt x="1345" y="7088"/>
                  </a:lnTo>
                  <a:lnTo>
                    <a:pt x="1273" y="7452"/>
                  </a:lnTo>
                  <a:lnTo>
                    <a:pt x="1164" y="7742"/>
                  </a:lnTo>
                  <a:lnTo>
                    <a:pt x="1018" y="8033"/>
                  </a:lnTo>
                  <a:lnTo>
                    <a:pt x="764" y="8542"/>
                  </a:lnTo>
                  <a:lnTo>
                    <a:pt x="510" y="8906"/>
                  </a:lnTo>
                  <a:lnTo>
                    <a:pt x="510" y="8906"/>
                  </a:lnTo>
                  <a:lnTo>
                    <a:pt x="437" y="9087"/>
                  </a:lnTo>
                  <a:lnTo>
                    <a:pt x="328" y="9378"/>
                  </a:lnTo>
                  <a:lnTo>
                    <a:pt x="182" y="10105"/>
                  </a:lnTo>
                  <a:lnTo>
                    <a:pt x="37" y="11014"/>
                  </a:lnTo>
                  <a:lnTo>
                    <a:pt x="1" y="12031"/>
                  </a:lnTo>
                  <a:lnTo>
                    <a:pt x="1" y="12976"/>
                  </a:lnTo>
                  <a:lnTo>
                    <a:pt x="37" y="13412"/>
                  </a:lnTo>
                  <a:lnTo>
                    <a:pt x="73" y="13812"/>
                  </a:lnTo>
                  <a:lnTo>
                    <a:pt x="146" y="14139"/>
                  </a:lnTo>
                  <a:lnTo>
                    <a:pt x="255" y="14357"/>
                  </a:lnTo>
                  <a:lnTo>
                    <a:pt x="400" y="14539"/>
                  </a:lnTo>
                  <a:lnTo>
                    <a:pt x="473" y="14575"/>
                  </a:lnTo>
                  <a:lnTo>
                    <a:pt x="546" y="14612"/>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12" name="Google Shape;2741;p11">
              <a:extLst>
                <a:ext uri="{FF2B5EF4-FFF2-40B4-BE49-F238E27FC236}">
                  <a16:creationId xmlns:a16="http://schemas.microsoft.com/office/drawing/2014/main" id="{6C60C631-D90B-0436-BC82-568A5B759B31}"/>
                </a:ext>
              </a:extLst>
            </p:cNvPr>
            <p:cNvSpPr/>
            <p:nvPr/>
          </p:nvSpPr>
          <p:spPr>
            <a:xfrm>
              <a:off x="6534100" y="2672100"/>
              <a:ext cx="11825" cy="20925"/>
            </a:xfrm>
            <a:custGeom>
              <a:avLst/>
              <a:gdLst/>
              <a:ahLst/>
              <a:cxnLst/>
              <a:rect l="l" t="t" r="r" b="b"/>
              <a:pathLst>
                <a:path w="473" h="837" extrusionOk="0">
                  <a:moveTo>
                    <a:pt x="0" y="1"/>
                  </a:moveTo>
                  <a:lnTo>
                    <a:pt x="328" y="837"/>
                  </a:lnTo>
                  <a:lnTo>
                    <a:pt x="437" y="655"/>
                  </a:lnTo>
                  <a:lnTo>
                    <a:pt x="473" y="546"/>
                  </a:lnTo>
                  <a:lnTo>
                    <a:pt x="437" y="328"/>
                  </a:lnTo>
                  <a:lnTo>
                    <a:pt x="328" y="183"/>
                  </a:lnTo>
                  <a:lnTo>
                    <a:pt x="182" y="74"/>
                  </a:lnTo>
                  <a:lnTo>
                    <a:pt x="0" y="1"/>
                  </a:lnTo>
                  <a:close/>
                </a:path>
              </a:pathLst>
            </a:custGeom>
            <a:solidFill>
              <a:srgbClr val="D0D0D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13" name="Google Shape;2742;p11">
              <a:extLst>
                <a:ext uri="{FF2B5EF4-FFF2-40B4-BE49-F238E27FC236}">
                  <a16:creationId xmlns:a16="http://schemas.microsoft.com/office/drawing/2014/main" id="{7C09983D-EADE-1F38-50BA-97E8C538D0DF}"/>
                </a:ext>
              </a:extLst>
            </p:cNvPr>
            <p:cNvSpPr/>
            <p:nvPr/>
          </p:nvSpPr>
          <p:spPr>
            <a:xfrm>
              <a:off x="6534100" y="2672100"/>
              <a:ext cx="11825" cy="20925"/>
            </a:xfrm>
            <a:custGeom>
              <a:avLst/>
              <a:gdLst/>
              <a:ahLst/>
              <a:cxnLst/>
              <a:rect l="l" t="t" r="r" b="b"/>
              <a:pathLst>
                <a:path w="473" h="837" fill="none" extrusionOk="0">
                  <a:moveTo>
                    <a:pt x="0" y="1"/>
                  </a:moveTo>
                  <a:lnTo>
                    <a:pt x="0" y="1"/>
                  </a:lnTo>
                  <a:lnTo>
                    <a:pt x="0" y="1"/>
                  </a:lnTo>
                  <a:lnTo>
                    <a:pt x="328" y="837"/>
                  </a:lnTo>
                  <a:lnTo>
                    <a:pt x="328" y="837"/>
                  </a:lnTo>
                  <a:lnTo>
                    <a:pt x="328" y="837"/>
                  </a:lnTo>
                  <a:lnTo>
                    <a:pt x="437" y="655"/>
                  </a:lnTo>
                  <a:lnTo>
                    <a:pt x="473" y="546"/>
                  </a:lnTo>
                  <a:lnTo>
                    <a:pt x="473" y="546"/>
                  </a:lnTo>
                  <a:lnTo>
                    <a:pt x="437" y="328"/>
                  </a:lnTo>
                  <a:lnTo>
                    <a:pt x="328" y="183"/>
                  </a:lnTo>
                  <a:lnTo>
                    <a:pt x="182" y="74"/>
                  </a:lnTo>
                  <a:lnTo>
                    <a:pt x="0" y="1"/>
                  </a:lnTo>
                  <a:lnTo>
                    <a:pt x="0"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14" name="Google Shape;2743;p11">
              <a:extLst>
                <a:ext uri="{FF2B5EF4-FFF2-40B4-BE49-F238E27FC236}">
                  <a16:creationId xmlns:a16="http://schemas.microsoft.com/office/drawing/2014/main" id="{E0C0F4C5-E4CB-51DE-3C39-C345538D69D4}"/>
                </a:ext>
              </a:extLst>
            </p:cNvPr>
            <p:cNvSpPr/>
            <p:nvPr/>
          </p:nvSpPr>
          <p:spPr>
            <a:xfrm>
              <a:off x="6459600" y="2671200"/>
              <a:ext cx="82700" cy="84525"/>
            </a:xfrm>
            <a:custGeom>
              <a:avLst/>
              <a:gdLst/>
              <a:ahLst/>
              <a:cxnLst/>
              <a:rect l="l" t="t" r="r" b="b"/>
              <a:pathLst>
                <a:path w="3308" h="3381" extrusionOk="0">
                  <a:moveTo>
                    <a:pt x="2762" y="1"/>
                  </a:moveTo>
                  <a:lnTo>
                    <a:pt x="2544" y="37"/>
                  </a:lnTo>
                  <a:lnTo>
                    <a:pt x="2326" y="73"/>
                  </a:lnTo>
                  <a:lnTo>
                    <a:pt x="1854" y="219"/>
                  </a:lnTo>
                  <a:lnTo>
                    <a:pt x="1454" y="437"/>
                  </a:lnTo>
                  <a:lnTo>
                    <a:pt x="1200" y="619"/>
                  </a:lnTo>
                  <a:lnTo>
                    <a:pt x="981" y="764"/>
                  </a:lnTo>
                  <a:lnTo>
                    <a:pt x="763" y="909"/>
                  </a:lnTo>
                  <a:lnTo>
                    <a:pt x="545" y="982"/>
                  </a:lnTo>
                  <a:lnTo>
                    <a:pt x="364" y="982"/>
                  </a:lnTo>
                  <a:lnTo>
                    <a:pt x="182" y="1055"/>
                  </a:lnTo>
                  <a:lnTo>
                    <a:pt x="0" y="1127"/>
                  </a:lnTo>
                  <a:lnTo>
                    <a:pt x="73" y="1527"/>
                  </a:lnTo>
                  <a:lnTo>
                    <a:pt x="145" y="1891"/>
                  </a:lnTo>
                  <a:lnTo>
                    <a:pt x="182" y="2581"/>
                  </a:lnTo>
                  <a:lnTo>
                    <a:pt x="145" y="3017"/>
                  </a:lnTo>
                  <a:lnTo>
                    <a:pt x="109" y="3381"/>
                  </a:lnTo>
                  <a:lnTo>
                    <a:pt x="727" y="3126"/>
                  </a:lnTo>
                  <a:lnTo>
                    <a:pt x="1272" y="2799"/>
                  </a:lnTo>
                  <a:lnTo>
                    <a:pt x="1781" y="2472"/>
                  </a:lnTo>
                  <a:lnTo>
                    <a:pt x="2217" y="2109"/>
                  </a:lnTo>
                  <a:lnTo>
                    <a:pt x="2581" y="1745"/>
                  </a:lnTo>
                  <a:lnTo>
                    <a:pt x="2908" y="1418"/>
                  </a:lnTo>
                  <a:lnTo>
                    <a:pt x="3162" y="1127"/>
                  </a:lnTo>
                  <a:lnTo>
                    <a:pt x="3308" y="873"/>
                  </a:lnTo>
                  <a:lnTo>
                    <a:pt x="2980" y="37"/>
                  </a:lnTo>
                  <a:lnTo>
                    <a:pt x="2762" y="1"/>
                  </a:lnTo>
                  <a:close/>
                </a:path>
              </a:pathLst>
            </a:custGeom>
            <a:solidFill>
              <a:srgbClr val="C8929A"/>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15" name="Google Shape;2744;p11">
              <a:extLst>
                <a:ext uri="{FF2B5EF4-FFF2-40B4-BE49-F238E27FC236}">
                  <a16:creationId xmlns:a16="http://schemas.microsoft.com/office/drawing/2014/main" id="{1959D222-F89C-2CFA-6870-35E493781984}"/>
                </a:ext>
              </a:extLst>
            </p:cNvPr>
            <p:cNvSpPr/>
            <p:nvPr/>
          </p:nvSpPr>
          <p:spPr>
            <a:xfrm>
              <a:off x="6459600" y="2671200"/>
              <a:ext cx="82700" cy="84525"/>
            </a:xfrm>
            <a:custGeom>
              <a:avLst/>
              <a:gdLst/>
              <a:ahLst/>
              <a:cxnLst/>
              <a:rect l="l" t="t" r="r" b="b"/>
              <a:pathLst>
                <a:path w="3308" h="3381" fill="none" extrusionOk="0">
                  <a:moveTo>
                    <a:pt x="2762" y="1"/>
                  </a:moveTo>
                  <a:lnTo>
                    <a:pt x="2762" y="1"/>
                  </a:lnTo>
                  <a:lnTo>
                    <a:pt x="2544" y="37"/>
                  </a:lnTo>
                  <a:lnTo>
                    <a:pt x="2326" y="73"/>
                  </a:lnTo>
                  <a:lnTo>
                    <a:pt x="1854" y="219"/>
                  </a:lnTo>
                  <a:lnTo>
                    <a:pt x="1454" y="437"/>
                  </a:lnTo>
                  <a:lnTo>
                    <a:pt x="1200" y="619"/>
                  </a:lnTo>
                  <a:lnTo>
                    <a:pt x="1200" y="619"/>
                  </a:lnTo>
                  <a:lnTo>
                    <a:pt x="981" y="764"/>
                  </a:lnTo>
                  <a:lnTo>
                    <a:pt x="763" y="909"/>
                  </a:lnTo>
                  <a:lnTo>
                    <a:pt x="545" y="982"/>
                  </a:lnTo>
                  <a:lnTo>
                    <a:pt x="364" y="982"/>
                  </a:lnTo>
                  <a:lnTo>
                    <a:pt x="364" y="982"/>
                  </a:lnTo>
                  <a:lnTo>
                    <a:pt x="182" y="1055"/>
                  </a:lnTo>
                  <a:lnTo>
                    <a:pt x="0" y="1127"/>
                  </a:lnTo>
                  <a:lnTo>
                    <a:pt x="0" y="1127"/>
                  </a:lnTo>
                  <a:lnTo>
                    <a:pt x="73" y="1527"/>
                  </a:lnTo>
                  <a:lnTo>
                    <a:pt x="145" y="1891"/>
                  </a:lnTo>
                  <a:lnTo>
                    <a:pt x="182" y="2581"/>
                  </a:lnTo>
                  <a:lnTo>
                    <a:pt x="182" y="2581"/>
                  </a:lnTo>
                  <a:lnTo>
                    <a:pt x="145" y="3017"/>
                  </a:lnTo>
                  <a:lnTo>
                    <a:pt x="109" y="3381"/>
                  </a:lnTo>
                  <a:lnTo>
                    <a:pt x="109" y="3381"/>
                  </a:lnTo>
                  <a:lnTo>
                    <a:pt x="727" y="3126"/>
                  </a:lnTo>
                  <a:lnTo>
                    <a:pt x="1272" y="2799"/>
                  </a:lnTo>
                  <a:lnTo>
                    <a:pt x="1781" y="2472"/>
                  </a:lnTo>
                  <a:lnTo>
                    <a:pt x="2217" y="2109"/>
                  </a:lnTo>
                  <a:lnTo>
                    <a:pt x="2581" y="1745"/>
                  </a:lnTo>
                  <a:lnTo>
                    <a:pt x="2908" y="1418"/>
                  </a:lnTo>
                  <a:lnTo>
                    <a:pt x="3162" y="1127"/>
                  </a:lnTo>
                  <a:lnTo>
                    <a:pt x="3308" y="873"/>
                  </a:lnTo>
                  <a:lnTo>
                    <a:pt x="3308" y="873"/>
                  </a:lnTo>
                  <a:lnTo>
                    <a:pt x="2980" y="37"/>
                  </a:lnTo>
                  <a:lnTo>
                    <a:pt x="2980" y="37"/>
                  </a:lnTo>
                  <a:lnTo>
                    <a:pt x="2980" y="37"/>
                  </a:lnTo>
                  <a:lnTo>
                    <a:pt x="2762"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16" name="Google Shape;2745;p11">
              <a:extLst>
                <a:ext uri="{FF2B5EF4-FFF2-40B4-BE49-F238E27FC236}">
                  <a16:creationId xmlns:a16="http://schemas.microsoft.com/office/drawing/2014/main" id="{9CED2AD0-4887-7BE6-A002-9B70D0B42CA7}"/>
                </a:ext>
              </a:extLst>
            </p:cNvPr>
            <p:cNvSpPr/>
            <p:nvPr/>
          </p:nvSpPr>
          <p:spPr>
            <a:xfrm>
              <a:off x="6694025" y="3082825"/>
              <a:ext cx="57275" cy="230825"/>
            </a:xfrm>
            <a:custGeom>
              <a:avLst/>
              <a:gdLst/>
              <a:ahLst/>
              <a:cxnLst/>
              <a:rect l="l" t="t" r="r" b="b"/>
              <a:pathLst>
                <a:path w="2291" h="9233" extrusionOk="0">
                  <a:moveTo>
                    <a:pt x="2290" y="0"/>
                  </a:moveTo>
                  <a:lnTo>
                    <a:pt x="2181" y="37"/>
                  </a:lnTo>
                  <a:lnTo>
                    <a:pt x="1963" y="291"/>
                  </a:lnTo>
                  <a:lnTo>
                    <a:pt x="1745" y="618"/>
                  </a:lnTo>
                  <a:lnTo>
                    <a:pt x="1527" y="1018"/>
                  </a:lnTo>
                  <a:lnTo>
                    <a:pt x="1309" y="1490"/>
                  </a:lnTo>
                  <a:lnTo>
                    <a:pt x="1127" y="1999"/>
                  </a:lnTo>
                  <a:lnTo>
                    <a:pt x="909" y="2544"/>
                  </a:lnTo>
                  <a:lnTo>
                    <a:pt x="727" y="3162"/>
                  </a:lnTo>
                  <a:lnTo>
                    <a:pt x="582" y="3780"/>
                  </a:lnTo>
                  <a:lnTo>
                    <a:pt x="436" y="4434"/>
                  </a:lnTo>
                  <a:lnTo>
                    <a:pt x="291" y="5125"/>
                  </a:lnTo>
                  <a:lnTo>
                    <a:pt x="182" y="5816"/>
                  </a:lnTo>
                  <a:lnTo>
                    <a:pt x="109" y="6506"/>
                  </a:lnTo>
                  <a:lnTo>
                    <a:pt x="37" y="7197"/>
                  </a:lnTo>
                  <a:lnTo>
                    <a:pt x="0" y="7887"/>
                  </a:lnTo>
                  <a:lnTo>
                    <a:pt x="37" y="8541"/>
                  </a:lnTo>
                  <a:lnTo>
                    <a:pt x="37" y="7887"/>
                  </a:lnTo>
                  <a:lnTo>
                    <a:pt x="73" y="7197"/>
                  </a:lnTo>
                  <a:lnTo>
                    <a:pt x="146" y="6470"/>
                  </a:lnTo>
                  <a:lnTo>
                    <a:pt x="218" y="5743"/>
                  </a:lnTo>
                  <a:lnTo>
                    <a:pt x="327" y="5052"/>
                  </a:lnTo>
                  <a:lnTo>
                    <a:pt x="473" y="4362"/>
                  </a:lnTo>
                  <a:lnTo>
                    <a:pt x="618" y="3671"/>
                  </a:lnTo>
                  <a:lnTo>
                    <a:pt x="800" y="3017"/>
                  </a:lnTo>
                  <a:lnTo>
                    <a:pt x="982" y="2435"/>
                  </a:lnTo>
                  <a:lnTo>
                    <a:pt x="1200" y="1854"/>
                  </a:lnTo>
                  <a:lnTo>
                    <a:pt x="1418" y="1345"/>
                  </a:lnTo>
                  <a:lnTo>
                    <a:pt x="1636" y="909"/>
                  </a:lnTo>
                  <a:lnTo>
                    <a:pt x="1854" y="509"/>
                  </a:lnTo>
                  <a:lnTo>
                    <a:pt x="2072" y="218"/>
                  </a:lnTo>
                  <a:lnTo>
                    <a:pt x="2290" y="0"/>
                  </a:lnTo>
                  <a:close/>
                  <a:moveTo>
                    <a:pt x="37" y="8541"/>
                  </a:moveTo>
                  <a:lnTo>
                    <a:pt x="37" y="8578"/>
                  </a:lnTo>
                  <a:lnTo>
                    <a:pt x="73" y="9232"/>
                  </a:lnTo>
                  <a:lnTo>
                    <a:pt x="73" y="9196"/>
                  </a:lnTo>
                  <a:lnTo>
                    <a:pt x="37" y="8541"/>
                  </a:lnTo>
                  <a:close/>
                </a:path>
              </a:pathLst>
            </a:custGeom>
            <a:solidFill>
              <a:srgbClr val="D5D5D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17" name="Google Shape;2746;p11">
              <a:extLst>
                <a:ext uri="{FF2B5EF4-FFF2-40B4-BE49-F238E27FC236}">
                  <a16:creationId xmlns:a16="http://schemas.microsoft.com/office/drawing/2014/main" id="{2B4ED255-DD99-3D97-0590-942749CC7DDD}"/>
                </a:ext>
              </a:extLst>
            </p:cNvPr>
            <p:cNvSpPr/>
            <p:nvPr/>
          </p:nvSpPr>
          <p:spPr>
            <a:xfrm>
              <a:off x="6694025" y="3082825"/>
              <a:ext cx="57275" cy="230825"/>
            </a:xfrm>
            <a:custGeom>
              <a:avLst/>
              <a:gdLst/>
              <a:ahLst/>
              <a:cxnLst/>
              <a:rect l="l" t="t" r="r" b="b"/>
              <a:pathLst>
                <a:path w="2291" h="9233" fill="none" extrusionOk="0">
                  <a:moveTo>
                    <a:pt x="2290" y="0"/>
                  </a:moveTo>
                  <a:lnTo>
                    <a:pt x="2290" y="0"/>
                  </a:lnTo>
                  <a:lnTo>
                    <a:pt x="2181" y="37"/>
                  </a:lnTo>
                  <a:lnTo>
                    <a:pt x="2181" y="37"/>
                  </a:lnTo>
                  <a:lnTo>
                    <a:pt x="1963" y="291"/>
                  </a:lnTo>
                  <a:lnTo>
                    <a:pt x="1745" y="618"/>
                  </a:lnTo>
                  <a:lnTo>
                    <a:pt x="1527" y="1018"/>
                  </a:lnTo>
                  <a:lnTo>
                    <a:pt x="1309" y="1490"/>
                  </a:lnTo>
                  <a:lnTo>
                    <a:pt x="1127" y="1999"/>
                  </a:lnTo>
                  <a:lnTo>
                    <a:pt x="909" y="2544"/>
                  </a:lnTo>
                  <a:lnTo>
                    <a:pt x="727" y="3162"/>
                  </a:lnTo>
                  <a:lnTo>
                    <a:pt x="582" y="3780"/>
                  </a:lnTo>
                  <a:lnTo>
                    <a:pt x="436" y="4434"/>
                  </a:lnTo>
                  <a:lnTo>
                    <a:pt x="291" y="5125"/>
                  </a:lnTo>
                  <a:lnTo>
                    <a:pt x="182" y="5816"/>
                  </a:lnTo>
                  <a:lnTo>
                    <a:pt x="109" y="6506"/>
                  </a:lnTo>
                  <a:lnTo>
                    <a:pt x="37" y="7197"/>
                  </a:lnTo>
                  <a:lnTo>
                    <a:pt x="0" y="7887"/>
                  </a:lnTo>
                  <a:lnTo>
                    <a:pt x="37" y="8541"/>
                  </a:lnTo>
                  <a:lnTo>
                    <a:pt x="73" y="9196"/>
                  </a:lnTo>
                  <a:lnTo>
                    <a:pt x="73" y="9196"/>
                  </a:lnTo>
                  <a:lnTo>
                    <a:pt x="73" y="9232"/>
                  </a:lnTo>
                  <a:lnTo>
                    <a:pt x="73" y="9232"/>
                  </a:lnTo>
                  <a:lnTo>
                    <a:pt x="37" y="8578"/>
                  </a:lnTo>
                  <a:lnTo>
                    <a:pt x="37" y="7887"/>
                  </a:lnTo>
                  <a:lnTo>
                    <a:pt x="73" y="7197"/>
                  </a:lnTo>
                  <a:lnTo>
                    <a:pt x="146" y="6470"/>
                  </a:lnTo>
                  <a:lnTo>
                    <a:pt x="218" y="5743"/>
                  </a:lnTo>
                  <a:lnTo>
                    <a:pt x="327" y="5052"/>
                  </a:lnTo>
                  <a:lnTo>
                    <a:pt x="473" y="4362"/>
                  </a:lnTo>
                  <a:lnTo>
                    <a:pt x="618" y="3671"/>
                  </a:lnTo>
                  <a:lnTo>
                    <a:pt x="800" y="3017"/>
                  </a:lnTo>
                  <a:lnTo>
                    <a:pt x="982" y="2435"/>
                  </a:lnTo>
                  <a:lnTo>
                    <a:pt x="1200" y="1854"/>
                  </a:lnTo>
                  <a:lnTo>
                    <a:pt x="1418" y="1345"/>
                  </a:lnTo>
                  <a:lnTo>
                    <a:pt x="1636" y="909"/>
                  </a:lnTo>
                  <a:lnTo>
                    <a:pt x="1854" y="509"/>
                  </a:lnTo>
                  <a:lnTo>
                    <a:pt x="2072" y="218"/>
                  </a:lnTo>
                  <a:lnTo>
                    <a:pt x="2290" y="0"/>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18" name="Google Shape;2747;p11">
              <a:extLst>
                <a:ext uri="{FF2B5EF4-FFF2-40B4-BE49-F238E27FC236}">
                  <a16:creationId xmlns:a16="http://schemas.microsoft.com/office/drawing/2014/main" id="{B2290704-91F2-3738-7369-12DF45C86ABB}"/>
                </a:ext>
              </a:extLst>
            </p:cNvPr>
            <p:cNvSpPr/>
            <p:nvPr/>
          </p:nvSpPr>
          <p:spPr>
            <a:xfrm>
              <a:off x="6653125" y="3083725"/>
              <a:ext cx="95450" cy="229000"/>
            </a:xfrm>
            <a:custGeom>
              <a:avLst/>
              <a:gdLst/>
              <a:ahLst/>
              <a:cxnLst/>
              <a:rect l="l" t="t" r="r" b="b"/>
              <a:pathLst>
                <a:path w="3818" h="9160" extrusionOk="0">
                  <a:moveTo>
                    <a:pt x="3817" y="1"/>
                  </a:moveTo>
                  <a:lnTo>
                    <a:pt x="3417" y="291"/>
                  </a:lnTo>
                  <a:lnTo>
                    <a:pt x="3017" y="582"/>
                  </a:lnTo>
                  <a:lnTo>
                    <a:pt x="2654" y="873"/>
                  </a:lnTo>
                  <a:lnTo>
                    <a:pt x="2291" y="1236"/>
                  </a:lnTo>
                  <a:lnTo>
                    <a:pt x="1963" y="1563"/>
                  </a:lnTo>
                  <a:lnTo>
                    <a:pt x="1636" y="1927"/>
                  </a:lnTo>
                  <a:lnTo>
                    <a:pt x="1091" y="2690"/>
                  </a:lnTo>
                  <a:lnTo>
                    <a:pt x="619" y="3417"/>
                  </a:lnTo>
                  <a:lnTo>
                    <a:pt x="255" y="4108"/>
                  </a:lnTo>
                  <a:lnTo>
                    <a:pt x="146" y="4398"/>
                  </a:lnTo>
                  <a:lnTo>
                    <a:pt x="37" y="4689"/>
                  </a:lnTo>
                  <a:lnTo>
                    <a:pt x="1" y="4980"/>
                  </a:lnTo>
                  <a:lnTo>
                    <a:pt x="1" y="5198"/>
                  </a:lnTo>
                  <a:lnTo>
                    <a:pt x="37" y="5525"/>
                  </a:lnTo>
                  <a:lnTo>
                    <a:pt x="182" y="5925"/>
                  </a:lnTo>
                  <a:lnTo>
                    <a:pt x="364" y="6434"/>
                  </a:lnTo>
                  <a:lnTo>
                    <a:pt x="582" y="6979"/>
                  </a:lnTo>
                  <a:lnTo>
                    <a:pt x="1127" y="8069"/>
                  </a:lnTo>
                  <a:lnTo>
                    <a:pt x="1709" y="9160"/>
                  </a:lnTo>
                  <a:lnTo>
                    <a:pt x="1673" y="8505"/>
                  </a:lnTo>
                  <a:lnTo>
                    <a:pt x="1636" y="7851"/>
                  </a:lnTo>
                  <a:lnTo>
                    <a:pt x="1673" y="7161"/>
                  </a:lnTo>
                  <a:lnTo>
                    <a:pt x="1745" y="6470"/>
                  </a:lnTo>
                  <a:lnTo>
                    <a:pt x="1818" y="5780"/>
                  </a:lnTo>
                  <a:lnTo>
                    <a:pt x="1927" y="5089"/>
                  </a:lnTo>
                  <a:lnTo>
                    <a:pt x="2072" y="4398"/>
                  </a:lnTo>
                  <a:lnTo>
                    <a:pt x="2218" y="3744"/>
                  </a:lnTo>
                  <a:lnTo>
                    <a:pt x="2363" y="3126"/>
                  </a:lnTo>
                  <a:lnTo>
                    <a:pt x="2545" y="2508"/>
                  </a:lnTo>
                  <a:lnTo>
                    <a:pt x="2763" y="1963"/>
                  </a:lnTo>
                  <a:lnTo>
                    <a:pt x="2945" y="1454"/>
                  </a:lnTo>
                  <a:lnTo>
                    <a:pt x="3163" y="982"/>
                  </a:lnTo>
                  <a:lnTo>
                    <a:pt x="3381" y="582"/>
                  </a:lnTo>
                  <a:lnTo>
                    <a:pt x="3599" y="255"/>
                  </a:lnTo>
                  <a:lnTo>
                    <a:pt x="3817" y="1"/>
                  </a:lnTo>
                  <a:close/>
                </a:path>
              </a:pathLst>
            </a:custGeom>
            <a:solidFill>
              <a:srgbClr val="C1332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19" name="Google Shape;2748;p11">
              <a:extLst>
                <a:ext uri="{FF2B5EF4-FFF2-40B4-BE49-F238E27FC236}">
                  <a16:creationId xmlns:a16="http://schemas.microsoft.com/office/drawing/2014/main" id="{31101714-0E19-8D70-17D8-1DEE06BD9914}"/>
                </a:ext>
              </a:extLst>
            </p:cNvPr>
            <p:cNvSpPr/>
            <p:nvPr/>
          </p:nvSpPr>
          <p:spPr>
            <a:xfrm>
              <a:off x="6653125" y="3083725"/>
              <a:ext cx="95450" cy="229000"/>
            </a:xfrm>
            <a:custGeom>
              <a:avLst/>
              <a:gdLst/>
              <a:ahLst/>
              <a:cxnLst/>
              <a:rect l="l" t="t" r="r" b="b"/>
              <a:pathLst>
                <a:path w="3818" h="9160" fill="none" extrusionOk="0">
                  <a:moveTo>
                    <a:pt x="3817" y="1"/>
                  </a:moveTo>
                  <a:lnTo>
                    <a:pt x="3817" y="1"/>
                  </a:lnTo>
                  <a:lnTo>
                    <a:pt x="3417" y="291"/>
                  </a:lnTo>
                  <a:lnTo>
                    <a:pt x="3017" y="582"/>
                  </a:lnTo>
                  <a:lnTo>
                    <a:pt x="2654" y="873"/>
                  </a:lnTo>
                  <a:lnTo>
                    <a:pt x="2291" y="1236"/>
                  </a:lnTo>
                  <a:lnTo>
                    <a:pt x="1963" y="1563"/>
                  </a:lnTo>
                  <a:lnTo>
                    <a:pt x="1636" y="1927"/>
                  </a:lnTo>
                  <a:lnTo>
                    <a:pt x="1091" y="2690"/>
                  </a:lnTo>
                  <a:lnTo>
                    <a:pt x="619" y="3417"/>
                  </a:lnTo>
                  <a:lnTo>
                    <a:pt x="255" y="4108"/>
                  </a:lnTo>
                  <a:lnTo>
                    <a:pt x="146" y="4398"/>
                  </a:lnTo>
                  <a:lnTo>
                    <a:pt x="37" y="4689"/>
                  </a:lnTo>
                  <a:lnTo>
                    <a:pt x="1" y="4980"/>
                  </a:lnTo>
                  <a:lnTo>
                    <a:pt x="1" y="5198"/>
                  </a:lnTo>
                  <a:lnTo>
                    <a:pt x="1" y="5198"/>
                  </a:lnTo>
                  <a:lnTo>
                    <a:pt x="37" y="5525"/>
                  </a:lnTo>
                  <a:lnTo>
                    <a:pt x="182" y="5925"/>
                  </a:lnTo>
                  <a:lnTo>
                    <a:pt x="364" y="6434"/>
                  </a:lnTo>
                  <a:lnTo>
                    <a:pt x="582" y="6979"/>
                  </a:lnTo>
                  <a:lnTo>
                    <a:pt x="1127" y="8069"/>
                  </a:lnTo>
                  <a:lnTo>
                    <a:pt x="1709" y="9160"/>
                  </a:lnTo>
                  <a:lnTo>
                    <a:pt x="1709" y="9160"/>
                  </a:lnTo>
                  <a:lnTo>
                    <a:pt x="1673" y="8505"/>
                  </a:lnTo>
                  <a:lnTo>
                    <a:pt x="1636" y="7851"/>
                  </a:lnTo>
                  <a:lnTo>
                    <a:pt x="1673" y="7161"/>
                  </a:lnTo>
                  <a:lnTo>
                    <a:pt x="1745" y="6470"/>
                  </a:lnTo>
                  <a:lnTo>
                    <a:pt x="1818" y="5780"/>
                  </a:lnTo>
                  <a:lnTo>
                    <a:pt x="1927" y="5089"/>
                  </a:lnTo>
                  <a:lnTo>
                    <a:pt x="2072" y="4398"/>
                  </a:lnTo>
                  <a:lnTo>
                    <a:pt x="2218" y="3744"/>
                  </a:lnTo>
                  <a:lnTo>
                    <a:pt x="2363" y="3126"/>
                  </a:lnTo>
                  <a:lnTo>
                    <a:pt x="2545" y="2508"/>
                  </a:lnTo>
                  <a:lnTo>
                    <a:pt x="2763" y="1963"/>
                  </a:lnTo>
                  <a:lnTo>
                    <a:pt x="2945" y="1454"/>
                  </a:lnTo>
                  <a:lnTo>
                    <a:pt x="3163" y="982"/>
                  </a:lnTo>
                  <a:lnTo>
                    <a:pt x="3381" y="582"/>
                  </a:lnTo>
                  <a:lnTo>
                    <a:pt x="3599" y="255"/>
                  </a:lnTo>
                  <a:lnTo>
                    <a:pt x="3817"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20" name="Google Shape;2749;p11">
              <a:extLst>
                <a:ext uri="{FF2B5EF4-FFF2-40B4-BE49-F238E27FC236}">
                  <a16:creationId xmlns:a16="http://schemas.microsoft.com/office/drawing/2014/main" id="{26389602-67E3-63AB-C8B1-924385EB649B}"/>
                </a:ext>
              </a:extLst>
            </p:cNvPr>
            <p:cNvSpPr/>
            <p:nvPr/>
          </p:nvSpPr>
          <p:spPr>
            <a:xfrm>
              <a:off x="6571350" y="2800225"/>
              <a:ext cx="196300" cy="88175"/>
            </a:xfrm>
            <a:custGeom>
              <a:avLst/>
              <a:gdLst/>
              <a:ahLst/>
              <a:cxnLst/>
              <a:rect l="l" t="t" r="r" b="b"/>
              <a:pathLst>
                <a:path w="7852" h="3527" extrusionOk="0">
                  <a:moveTo>
                    <a:pt x="2727" y="1"/>
                  </a:moveTo>
                  <a:lnTo>
                    <a:pt x="1" y="800"/>
                  </a:lnTo>
                  <a:lnTo>
                    <a:pt x="110" y="1018"/>
                  </a:lnTo>
                  <a:lnTo>
                    <a:pt x="328" y="1236"/>
                  </a:lnTo>
                  <a:lnTo>
                    <a:pt x="582" y="1491"/>
                  </a:lnTo>
                  <a:lnTo>
                    <a:pt x="909" y="1709"/>
                  </a:lnTo>
                  <a:lnTo>
                    <a:pt x="1273" y="1927"/>
                  </a:lnTo>
                  <a:lnTo>
                    <a:pt x="1709" y="2181"/>
                  </a:lnTo>
                  <a:lnTo>
                    <a:pt x="2618" y="2581"/>
                  </a:lnTo>
                  <a:lnTo>
                    <a:pt x="3599" y="2981"/>
                  </a:lnTo>
                  <a:lnTo>
                    <a:pt x="4617" y="3272"/>
                  </a:lnTo>
                  <a:lnTo>
                    <a:pt x="5089" y="3381"/>
                  </a:lnTo>
                  <a:lnTo>
                    <a:pt x="5562" y="3454"/>
                  </a:lnTo>
                  <a:lnTo>
                    <a:pt x="5998" y="3526"/>
                  </a:lnTo>
                  <a:lnTo>
                    <a:pt x="6507" y="3526"/>
                  </a:lnTo>
                  <a:lnTo>
                    <a:pt x="7851" y="3490"/>
                  </a:lnTo>
                  <a:lnTo>
                    <a:pt x="7197" y="2945"/>
                  </a:lnTo>
                  <a:lnTo>
                    <a:pt x="6579" y="2436"/>
                  </a:lnTo>
                  <a:lnTo>
                    <a:pt x="5961" y="1963"/>
                  </a:lnTo>
                  <a:lnTo>
                    <a:pt x="5307" y="1491"/>
                  </a:lnTo>
                  <a:lnTo>
                    <a:pt x="4653" y="1055"/>
                  </a:lnTo>
                  <a:lnTo>
                    <a:pt x="4035" y="655"/>
                  </a:lnTo>
                  <a:lnTo>
                    <a:pt x="3381" y="291"/>
                  </a:lnTo>
                  <a:lnTo>
                    <a:pt x="2727" y="1"/>
                  </a:lnTo>
                  <a:close/>
                </a:path>
              </a:pathLst>
            </a:custGeom>
            <a:solidFill>
              <a:srgbClr val="C1332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21" name="Google Shape;2750;p11">
              <a:extLst>
                <a:ext uri="{FF2B5EF4-FFF2-40B4-BE49-F238E27FC236}">
                  <a16:creationId xmlns:a16="http://schemas.microsoft.com/office/drawing/2014/main" id="{02B32407-AE70-D9B5-8723-04FEF1E3DDD2}"/>
                </a:ext>
              </a:extLst>
            </p:cNvPr>
            <p:cNvSpPr/>
            <p:nvPr/>
          </p:nvSpPr>
          <p:spPr>
            <a:xfrm>
              <a:off x="6571350" y="2800225"/>
              <a:ext cx="196300" cy="88175"/>
            </a:xfrm>
            <a:custGeom>
              <a:avLst/>
              <a:gdLst/>
              <a:ahLst/>
              <a:cxnLst/>
              <a:rect l="l" t="t" r="r" b="b"/>
              <a:pathLst>
                <a:path w="7852" h="3527" fill="none" extrusionOk="0">
                  <a:moveTo>
                    <a:pt x="2727" y="1"/>
                  </a:moveTo>
                  <a:lnTo>
                    <a:pt x="1" y="800"/>
                  </a:lnTo>
                  <a:lnTo>
                    <a:pt x="1" y="800"/>
                  </a:lnTo>
                  <a:lnTo>
                    <a:pt x="110" y="1018"/>
                  </a:lnTo>
                  <a:lnTo>
                    <a:pt x="328" y="1236"/>
                  </a:lnTo>
                  <a:lnTo>
                    <a:pt x="582" y="1491"/>
                  </a:lnTo>
                  <a:lnTo>
                    <a:pt x="909" y="1709"/>
                  </a:lnTo>
                  <a:lnTo>
                    <a:pt x="1273" y="1927"/>
                  </a:lnTo>
                  <a:lnTo>
                    <a:pt x="1709" y="2181"/>
                  </a:lnTo>
                  <a:lnTo>
                    <a:pt x="2618" y="2581"/>
                  </a:lnTo>
                  <a:lnTo>
                    <a:pt x="3599" y="2981"/>
                  </a:lnTo>
                  <a:lnTo>
                    <a:pt x="4617" y="3272"/>
                  </a:lnTo>
                  <a:lnTo>
                    <a:pt x="5089" y="3381"/>
                  </a:lnTo>
                  <a:lnTo>
                    <a:pt x="5562" y="3454"/>
                  </a:lnTo>
                  <a:lnTo>
                    <a:pt x="5998" y="3526"/>
                  </a:lnTo>
                  <a:lnTo>
                    <a:pt x="6397" y="3526"/>
                  </a:lnTo>
                  <a:lnTo>
                    <a:pt x="6397" y="3526"/>
                  </a:lnTo>
                  <a:lnTo>
                    <a:pt x="6507" y="3526"/>
                  </a:lnTo>
                  <a:lnTo>
                    <a:pt x="6507" y="3526"/>
                  </a:lnTo>
                  <a:lnTo>
                    <a:pt x="7851" y="3490"/>
                  </a:lnTo>
                  <a:lnTo>
                    <a:pt x="7851" y="3490"/>
                  </a:lnTo>
                  <a:lnTo>
                    <a:pt x="7197" y="2945"/>
                  </a:lnTo>
                  <a:lnTo>
                    <a:pt x="6579" y="2436"/>
                  </a:lnTo>
                  <a:lnTo>
                    <a:pt x="5961" y="1963"/>
                  </a:lnTo>
                  <a:lnTo>
                    <a:pt x="5307" y="1491"/>
                  </a:lnTo>
                  <a:lnTo>
                    <a:pt x="4653" y="1055"/>
                  </a:lnTo>
                  <a:lnTo>
                    <a:pt x="4035" y="655"/>
                  </a:lnTo>
                  <a:lnTo>
                    <a:pt x="3381" y="291"/>
                  </a:lnTo>
                  <a:lnTo>
                    <a:pt x="2727" y="1"/>
                  </a:lnTo>
                </a:path>
              </a:pathLst>
            </a:custGeom>
            <a:no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22" name="Google Shape;2751;p11">
              <a:extLst>
                <a:ext uri="{FF2B5EF4-FFF2-40B4-BE49-F238E27FC236}">
                  <a16:creationId xmlns:a16="http://schemas.microsoft.com/office/drawing/2014/main" id="{E0DB4807-94B4-06D3-5EF9-E3DC46A08794}"/>
                </a:ext>
              </a:extLst>
            </p:cNvPr>
            <p:cNvSpPr/>
            <p:nvPr/>
          </p:nvSpPr>
          <p:spPr>
            <a:xfrm>
              <a:off x="6411425" y="2535825"/>
              <a:ext cx="170850" cy="169025"/>
            </a:xfrm>
            <a:custGeom>
              <a:avLst/>
              <a:gdLst/>
              <a:ahLst/>
              <a:cxnLst/>
              <a:rect l="l" t="t" r="r" b="b"/>
              <a:pathLst>
                <a:path w="6834" h="6761" extrusionOk="0">
                  <a:moveTo>
                    <a:pt x="2254" y="0"/>
                  </a:moveTo>
                  <a:lnTo>
                    <a:pt x="1818" y="618"/>
                  </a:lnTo>
                  <a:lnTo>
                    <a:pt x="1418" y="1127"/>
                  </a:lnTo>
                  <a:lnTo>
                    <a:pt x="728" y="1926"/>
                  </a:lnTo>
                  <a:lnTo>
                    <a:pt x="473" y="2217"/>
                  </a:lnTo>
                  <a:lnTo>
                    <a:pt x="364" y="2435"/>
                  </a:lnTo>
                  <a:lnTo>
                    <a:pt x="364" y="2544"/>
                  </a:lnTo>
                  <a:lnTo>
                    <a:pt x="364" y="2617"/>
                  </a:lnTo>
                  <a:lnTo>
                    <a:pt x="437" y="2690"/>
                  </a:lnTo>
                  <a:lnTo>
                    <a:pt x="546" y="2762"/>
                  </a:lnTo>
                  <a:lnTo>
                    <a:pt x="582" y="2799"/>
                  </a:lnTo>
                  <a:lnTo>
                    <a:pt x="582" y="2871"/>
                  </a:lnTo>
                  <a:lnTo>
                    <a:pt x="619" y="3017"/>
                  </a:lnTo>
                  <a:lnTo>
                    <a:pt x="582" y="3235"/>
                  </a:lnTo>
                  <a:lnTo>
                    <a:pt x="510" y="3489"/>
                  </a:lnTo>
                  <a:lnTo>
                    <a:pt x="328" y="4144"/>
                  </a:lnTo>
                  <a:lnTo>
                    <a:pt x="110" y="4870"/>
                  </a:lnTo>
                  <a:lnTo>
                    <a:pt x="37" y="5234"/>
                  </a:lnTo>
                  <a:lnTo>
                    <a:pt x="1" y="5561"/>
                  </a:lnTo>
                  <a:lnTo>
                    <a:pt x="1" y="5888"/>
                  </a:lnTo>
                  <a:lnTo>
                    <a:pt x="37" y="6179"/>
                  </a:lnTo>
                  <a:lnTo>
                    <a:pt x="146" y="6397"/>
                  </a:lnTo>
                  <a:lnTo>
                    <a:pt x="255" y="6506"/>
                  </a:lnTo>
                  <a:lnTo>
                    <a:pt x="328" y="6579"/>
                  </a:lnTo>
                  <a:lnTo>
                    <a:pt x="473" y="6651"/>
                  </a:lnTo>
                  <a:lnTo>
                    <a:pt x="582" y="6688"/>
                  </a:lnTo>
                  <a:lnTo>
                    <a:pt x="764" y="6724"/>
                  </a:lnTo>
                  <a:lnTo>
                    <a:pt x="946" y="6760"/>
                  </a:lnTo>
                  <a:lnTo>
                    <a:pt x="1745" y="6724"/>
                  </a:lnTo>
                  <a:lnTo>
                    <a:pt x="2472" y="6615"/>
                  </a:lnTo>
                  <a:lnTo>
                    <a:pt x="2836" y="6542"/>
                  </a:lnTo>
                  <a:lnTo>
                    <a:pt x="3199" y="6433"/>
                  </a:lnTo>
                  <a:lnTo>
                    <a:pt x="3526" y="6324"/>
                  </a:lnTo>
                  <a:lnTo>
                    <a:pt x="3853" y="6179"/>
                  </a:lnTo>
                  <a:lnTo>
                    <a:pt x="4144" y="5997"/>
                  </a:lnTo>
                  <a:lnTo>
                    <a:pt x="4435" y="5815"/>
                  </a:lnTo>
                  <a:lnTo>
                    <a:pt x="4689" y="5597"/>
                  </a:lnTo>
                  <a:lnTo>
                    <a:pt x="4944" y="5343"/>
                  </a:lnTo>
                  <a:lnTo>
                    <a:pt x="5162" y="5052"/>
                  </a:lnTo>
                  <a:lnTo>
                    <a:pt x="5344" y="4761"/>
                  </a:lnTo>
                  <a:lnTo>
                    <a:pt x="5525" y="4398"/>
                  </a:lnTo>
                  <a:lnTo>
                    <a:pt x="5671" y="4034"/>
                  </a:lnTo>
                  <a:lnTo>
                    <a:pt x="6507" y="1563"/>
                  </a:lnTo>
                  <a:lnTo>
                    <a:pt x="6834" y="691"/>
                  </a:lnTo>
                  <a:lnTo>
                    <a:pt x="2254" y="0"/>
                  </a:lnTo>
                  <a:close/>
                </a:path>
              </a:pathLst>
            </a:custGeom>
            <a:solidFill>
              <a:srgbClr val="F5B1B4"/>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23" name="Google Shape;2752;p11">
              <a:extLst>
                <a:ext uri="{FF2B5EF4-FFF2-40B4-BE49-F238E27FC236}">
                  <a16:creationId xmlns:a16="http://schemas.microsoft.com/office/drawing/2014/main" id="{DC31247F-4336-9900-5DA2-D57B51D6E064}"/>
                </a:ext>
              </a:extLst>
            </p:cNvPr>
            <p:cNvSpPr/>
            <p:nvPr/>
          </p:nvSpPr>
          <p:spPr>
            <a:xfrm>
              <a:off x="6460500" y="2464025"/>
              <a:ext cx="262625" cy="533400"/>
            </a:xfrm>
            <a:custGeom>
              <a:avLst/>
              <a:gdLst/>
              <a:ahLst/>
              <a:cxnLst/>
              <a:rect l="l" t="t" r="r" b="b"/>
              <a:pathLst>
                <a:path w="10505" h="21336" extrusionOk="0">
                  <a:moveTo>
                    <a:pt x="3090" y="1"/>
                  </a:moveTo>
                  <a:lnTo>
                    <a:pt x="2763" y="37"/>
                  </a:lnTo>
                  <a:lnTo>
                    <a:pt x="2472" y="74"/>
                  </a:lnTo>
                  <a:lnTo>
                    <a:pt x="1963" y="219"/>
                  </a:lnTo>
                  <a:lnTo>
                    <a:pt x="1491" y="437"/>
                  </a:lnTo>
                  <a:lnTo>
                    <a:pt x="1091" y="691"/>
                  </a:lnTo>
                  <a:lnTo>
                    <a:pt x="727" y="946"/>
                  </a:lnTo>
                  <a:lnTo>
                    <a:pt x="400" y="1237"/>
                  </a:lnTo>
                  <a:lnTo>
                    <a:pt x="182" y="1491"/>
                  </a:lnTo>
                  <a:lnTo>
                    <a:pt x="37" y="1745"/>
                  </a:lnTo>
                  <a:lnTo>
                    <a:pt x="0" y="2000"/>
                  </a:lnTo>
                  <a:lnTo>
                    <a:pt x="0" y="2218"/>
                  </a:lnTo>
                  <a:lnTo>
                    <a:pt x="37" y="2400"/>
                  </a:lnTo>
                  <a:lnTo>
                    <a:pt x="109" y="2581"/>
                  </a:lnTo>
                  <a:lnTo>
                    <a:pt x="291" y="2872"/>
                  </a:lnTo>
                  <a:lnTo>
                    <a:pt x="509" y="3163"/>
                  </a:lnTo>
                  <a:lnTo>
                    <a:pt x="727" y="3381"/>
                  </a:lnTo>
                  <a:lnTo>
                    <a:pt x="945" y="3599"/>
                  </a:lnTo>
                  <a:lnTo>
                    <a:pt x="1127" y="3817"/>
                  </a:lnTo>
                  <a:lnTo>
                    <a:pt x="1309" y="4072"/>
                  </a:lnTo>
                  <a:lnTo>
                    <a:pt x="1418" y="4399"/>
                  </a:lnTo>
                  <a:lnTo>
                    <a:pt x="1491" y="4835"/>
                  </a:lnTo>
                  <a:lnTo>
                    <a:pt x="1527" y="5416"/>
                  </a:lnTo>
                  <a:lnTo>
                    <a:pt x="1527" y="5707"/>
                  </a:lnTo>
                  <a:lnTo>
                    <a:pt x="1563" y="5816"/>
                  </a:lnTo>
                  <a:lnTo>
                    <a:pt x="1636" y="5852"/>
                  </a:lnTo>
                  <a:lnTo>
                    <a:pt x="1672" y="5889"/>
                  </a:lnTo>
                  <a:lnTo>
                    <a:pt x="1745" y="5925"/>
                  </a:lnTo>
                  <a:lnTo>
                    <a:pt x="1927" y="5889"/>
                  </a:lnTo>
                  <a:lnTo>
                    <a:pt x="2072" y="5816"/>
                  </a:lnTo>
                  <a:lnTo>
                    <a:pt x="2254" y="5707"/>
                  </a:lnTo>
                  <a:lnTo>
                    <a:pt x="2472" y="5453"/>
                  </a:lnTo>
                  <a:lnTo>
                    <a:pt x="2581" y="5380"/>
                  </a:lnTo>
                  <a:lnTo>
                    <a:pt x="2690" y="5307"/>
                  </a:lnTo>
                  <a:lnTo>
                    <a:pt x="2835" y="5271"/>
                  </a:lnTo>
                  <a:lnTo>
                    <a:pt x="2981" y="5271"/>
                  </a:lnTo>
                  <a:lnTo>
                    <a:pt x="3126" y="5307"/>
                  </a:lnTo>
                  <a:lnTo>
                    <a:pt x="3272" y="5344"/>
                  </a:lnTo>
                  <a:lnTo>
                    <a:pt x="3453" y="5453"/>
                  </a:lnTo>
                  <a:lnTo>
                    <a:pt x="3599" y="5562"/>
                  </a:lnTo>
                  <a:lnTo>
                    <a:pt x="3744" y="5707"/>
                  </a:lnTo>
                  <a:lnTo>
                    <a:pt x="3780" y="5889"/>
                  </a:lnTo>
                  <a:lnTo>
                    <a:pt x="3744" y="6071"/>
                  </a:lnTo>
                  <a:lnTo>
                    <a:pt x="3671" y="6252"/>
                  </a:lnTo>
                  <a:lnTo>
                    <a:pt x="3562" y="6434"/>
                  </a:lnTo>
                  <a:lnTo>
                    <a:pt x="3417" y="6616"/>
                  </a:lnTo>
                  <a:lnTo>
                    <a:pt x="3090" y="6943"/>
                  </a:lnTo>
                  <a:lnTo>
                    <a:pt x="3053" y="7052"/>
                  </a:lnTo>
                  <a:lnTo>
                    <a:pt x="3017" y="7197"/>
                  </a:lnTo>
                  <a:lnTo>
                    <a:pt x="3053" y="7524"/>
                  </a:lnTo>
                  <a:lnTo>
                    <a:pt x="3090" y="7851"/>
                  </a:lnTo>
                  <a:lnTo>
                    <a:pt x="3090" y="7997"/>
                  </a:lnTo>
                  <a:lnTo>
                    <a:pt x="3017" y="8106"/>
                  </a:lnTo>
                  <a:lnTo>
                    <a:pt x="2799" y="8397"/>
                  </a:lnTo>
                  <a:lnTo>
                    <a:pt x="2545" y="8796"/>
                  </a:lnTo>
                  <a:lnTo>
                    <a:pt x="2436" y="9015"/>
                  </a:lnTo>
                  <a:lnTo>
                    <a:pt x="2363" y="9305"/>
                  </a:lnTo>
                  <a:lnTo>
                    <a:pt x="2290" y="9596"/>
                  </a:lnTo>
                  <a:lnTo>
                    <a:pt x="2218" y="9923"/>
                  </a:lnTo>
                  <a:lnTo>
                    <a:pt x="2218" y="10250"/>
                  </a:lnTo>
                  <a:lnTo>
                    <a:pt x="2254" y="10614"/>
                  </a:lnTo>
                  <a:lnTo>
                    <a:pt x="2290" y="11014"/>
                  </a:lnTo>
                  <a:lnTo>
                    <a:pt x="2436" y="11413"/>
                  </a:lnTo>
                  <a:lnTo>
                    <a:pt x="2581" y="11813"/>
                  </a:lnTo>
                  <a:lnTo>
                    <a:pt x="2835" y="12249"/>
                  </a:lnTo>
                  <a:lnTo>
                    <a:pt x="3126" y="12722"/>
                  </a:lnTo>
                  <a:lnTo>
                    <a:pt x="3490" y="13158"/>
                  </a:lnTo>
                  <a:lnTo>
                    <a:pt x="3599" y="13340"/>
                  </a:lnTo>
                  <a:lnTo>
                    <a:pt x="3671" y="13485"/>
                  </a:lnTo>
                  <a:lnTo>
                    <a:pt x="3635" y="13667"/>
                  </a:lnTo>
                  <a:lnTo>
                    <a:pt x="3599" y="13812"/>
                  </a:lnTo>
                  <a:lnTo>
                    <a:pt x="3490" y="13994"/>
                  </a:lnTo>
                  <a:lnTo>
                    <a:pt x="3344" y="14176"/>
                  </a:lnTo>
                  <a:lnTo>
                    <a:pt x="2981" y="14575"/>
                  </a:lnTo>
                  <a:lnTo>
                    <a:pt x="2581" y="14975"/>
                  </a:lnTo>
                  <a:lnTo>
                    <a:pt x="2145" y="15448"/>
                  </a:lnTo>
                  <a:lnTo>
                    <a:pt x="1963" y="15702"/>
                  </a:lnTo>
                  <a:lnTo>
                    <a:pt x="1781" y="15957"/>
                  </a:lnTo>
                  <a:lnTo>
                    <a:pt x="1636" y="16247"/>
                  </a:lnTo>
                  <a:lnTo>
                    <a:pt x="1491" y="16538"/>
                  </a:lnTo>
                  <a:lnTo>
                    <a:pt x="1418" y="16865"/>
                  </a:lnTo>
                  <a:lnTo>
                    <a:pt x="1345" y="17192"/>
                  </a:lnTo>
                  <a:lnTo>
                    <a:pt x="1345" y="17519"/>
                  </a:lnTo>
                  <a:lnTo>
                    <a:pt x="1345" y="17883"/>
                  </a:lnTo>
                  <a:lnTo>
                    <a:pt x="1418" y="18210"/>
                  </a:lnTo>
                  <a:lnTo>
                    <a:pt x="1491" y="18573"/>
                  </a:lnTo>
                  <a:lnTo>
                    <a:pt x="1636" y="18901"/>
                  </a:lnTo>
                  <a:lnTo>
                    <a:pt x="1781" y="19264"/>
                  </a:lnTo>
                  <a:lnTo>
                    <a:pt x="1963" y="19591"/>
                  </a:lnTo>
                  <a:lnTo>
                    <a:pt x="2145" y="19882"/>
                  </a:lnTo>
                  <a:lnTo>
                    <a:pt x="2399" y="20173"/>
                  </a:lnTo>
                  <a:lnTo>
                    <a:pt x="2654" y="20463"/>
                  </a:lnTo>
                  <a:lnTo>
                    <a:pt x="2981" y="20718"/>
                  </a:lnTo>
                  <a:lnTo>
                    <a:pt x="3272" y="20936"/>
                  </a:lnTo>
                  <a:lnTo>
                    <a:pt x="3635" y="21118"/>
                  </a:lnTo>
                  <a:lnTo>
                    <a:pt x="3998" y="21263"/>
                  </a:lnTo>
                  <a:lnTo>
                    <a:pt x="4326" y="21336"/>
                  </a:lnTo>
                  <a:lnTo>
                    <a:pt x="4544" y="21336"/>
                  </a:lnTo>
                  <a:lnTo>
                    <a:pt x="4616" y="21263"/>
                  </a:lnTo>
                  <a:lnTo>
                    <a:pt x="4689" y="21190"/>
                  </a:lnTo>
                  <a:lnTo>
                    <a:pt x="4798" y="21009"/>
                  </a:lnTo>
                  <a:lnTo>
                    <a:pt x="4834" y="20791"/>
                  </a:lnTo>
                  <a:lnTo>
                    <a:pt x="4871" y="20500"/>
                  </a:lnTo>
                  <a:lnTo>
                    <a:pt x="4834" y="19846"/>
                  </a:lnTo>
                  <a:lnTo>
                    <a:pt x="4798" y="19155"/>
                  </a:lnTo>
                  <a:lnTo>
                    <a:pt x="4798" y="18828"/>
                  </a:lnTo>
                  <a:lnTo>
                    <a:pt x="4871" y="18537"/>
                  </a:lnTo>
                  <a:lnTo>
                    <a:pt x="4943" y="18283"/>
                  </a:lnTo>
                  <a:lnTo>
                    <a:pt x="5016" y="18210"/>
                  </a:lnTo>
                  <a:lnTo>
                    <a:pt x="5125" y="18101"/>
                  </a:lnTo>
                  <a:lnTo>
                    <a:pt x="5198" y="18065"/>
                  </a:lnTo>
                  <a:lnTo>
                    <a:pt x="5343" y="17992"/>
                  </a:lnTo>
                  <a:lnTo>
                    <a:pt x="5489" y="17956"/>
                  </a:lnTo>
                  <a:lnTo>
                    <a:pt x="6288" y="17956"/>
                  </a:lnTo>
                  <a:lnTo>
                    <a:pt x="6797" y="17919"/>
                  </a:lnTo>
                  <a:lnTo>
                    <a:pt x="7161" y="17810"/>
                  </a:lnTo>
                  <a:lnTo>
                    <a:pt x="7415" y="17665"/>
                  </a:lnTo>
                  <a:lnTo>
                    <a:pt x="7524" y="17592"/>
                  </a:lnTo>
                  <a:lnTo>
                    <a:pt x="7597" y="17519"/>
                  </a:lnTo>
                  <a:lnTo>
                    <a:pt x="7706" y="17301"/>
                  </a:lnTo>
                  <a:lnTo>
                    <a:pt x="7706" y="17083"/>
                  </a:lnTo>
                  <a:lnTo>
                    <a:pt x="7706" y="16829"/>
                  </a:lnTo>
                  <a:lnTo>
                    <a:pt x="7633" y="16538"/>
                  </a:lnTo>
                  <a:lnTo>
                    <a:pt x="7524" y="16284"/>
                  </a:lnTo>
                  <a:lnTo>
                    <a:pt x="7306" y="15739"/>
                  </a:lnTo>
                  <a:lnTo>
                    <a:pt x="7197" y="15448"/>
                  </a:lnTo>
                  <a:lnTo>
                    <a:pt x="7124" y="15193"/>
                  </a:lnTo>
                  <a:lnTo>
                    <a:pt x="7088" y="14939"/>
                  </a:lnTo>
                  <a:lnTo>
                    <a:pt x="7124" y="14721"/>
                  </a:lnTo>
                  <a:lnTo>
                    <a:pt x="7161" y="14612"/>
                  </a:lnTo>
                  <a:lnTo>
                    <a:pt x="7233" y="14466"/>
                  </a:lnTo>
                  <a:lnTo>
                    <a:pt x="7415" y="14248"/>
                  </a:lnTo>
                  <a:lnTo>
                    <a:pt x="7633" y="14067"/>
                  </a:lnTo>
                  <a:lnTo>
                    <a:pt x="7924" y="13921"/>
                  </a:lnTo>
                  <a:lnTo>
                    <a:pt x="8215" y="13739"/>
                  </a:lnTo>
                  <a:lnTo>
                    <a:pt x="8542" y="13521"/>
                  </a:lnTo>
                  <a:lnTo>
                    <a:pt x="8869" y="13267"/>
                  </a:lnTo>
                  <a:lnTo>
                    <a:pt x="9232" y="12940"/>
                  </a:lnTo>
                  <a:lnTo>
                    <a:pt x="9523" y="12576"/>
                  </a:lnTo>
                  <a:lnTo>
                    <a:pt x="9777" y="12177"/>
                  </a:lnTo>
                  <a:lnTo>
                    <a:pt x="10032" y="11740"/>
                  </a:lnTo>
                  <a:lnTo>
                    <a:pt x="10214" y="11268"/>
                  </a:lnTo>
                  <a:lnTo>
                    <a:pt x="10359" y="10759"/>
                  </a:lnTo>
                  <a:lnTo>
                    <a:pt x="10468" y="10214"/>
                  </a:lnTo>
                  <a:lnTo>
                    <a:pt x="10504" y="9632"/>
                  </a:lnTo>
                  <a:lnTo>
                    <a:pt x="10468" y="9015"/>
                  </a:lnTo>
                  <a:lnTo>
                    <a:pt x="10432" y="8615"/>
                  </a:lnTo>
                  <a:lnTo>
                    <a:pt x="10359" y="8251"/>
                  </a:lnTo>
                  <a:lnTo>
                    <a:pt x="10250" y="7961"/>
                  </a:lnTo>
                  <a:lnTo>
                    <a:pt x="10141" y="7706"/>
                  </a:lnTo>
                  <a:lnTo>
                    <a:pt x="10032" y="7524"/>
                  </a:lnTo>
                  <a:lnTo>
                    <a:pt x="9886" y="7343"/>
                  </a:lnTo>
                  <a:lnTo>
                    <a:pt x="9705" y="7197"/>
                  </a:lnTo>
                  <a:lnTo>
                    <a:pt x="9559" y="7052"/>
                  </a:lnTo>
                  <a:lnTo>
                    <a:pt x="9196" y="6870"/>
                  </a:lnTo>
                  <a:lnTo>
                    <a:pt x="8869" y="6652"/>
                  </a:lnTo>
                  <a:lnTo>
                    <a:pt x="8542" y="6434"/>
                  </a:lnTo>
                  <a:lnTo>
                    <a:pt x="8396" y="6252"/>
                  </a:lnTo>
                  <a:lnTo>
                    <a:pt x="8251" y="6107"/>
                  </a:lnTo>
                  <a:lnTo>
                    <a:pt x="8178" y="5889"/>
                  </a:lnTo>
                  <a:lnTo>
                    <a:pt x="8106" y="5598"/>
                  </a:lnTo>
                  <a:lnTo>
                    <a:pt x="8033" y="4871"/>
                  </a:lnTo>
                  <a:lnTo>
                    <a:pt x="7960" y="3999"/>
                  </a:lnTo>
                  <a:lnTo>
                    <a:pt x="7924" y="3563"/>
                  </a:lnTo>
                  <a:lnTo>
                    <a:pt x="7815" y="3090"/>
                  </a:lnTo>
                  <a:lnTo>
                    <a:pt x="7706" y="2618"/>
                  </a:lnTo>
                  <a:lnTo>
                    <a:pt x="7488" y="2145"/>
                  </a:lnTo>
                  <a:lnTo>
                    <a:pt x="7233" y="1709"/>
                  </a:lnTo>
                  <a:lnTo>
                    <a:pt x="7088" y="1491"/>
                  </a:lnTo>
                  <a:lnTo>
                    <a:pt x="6906" y="1273"/>
                  </a:lnTo>
                  <a:lnTo>
                    <a:pt x="6724" y="1091"/>
                  </a:lnTo>
                  <a:lnTo>
                    <a:pt x="6506" y="909"/>
                  </a:lnTo>
                  <a:lnTo>
                    <a:pt x="6252" y="728"/>
                  </a:lnTo>
                  <a:lnTo>
                    <a:pt x="5961" y="582"/>
                  </a:lnTo>
                  <a:lnTo>
                    <a:pt x="5670" y="437"/>
                  </a:lnTo>
                  <a:lnTo>
                    <a:pt x="5343" y="292"/>
                  </a:lnTo>
                  <a:lnTo>
                    <a:pt x="4980" y="183"/>
                  </a:lnTo>
                  <a:lnTo>
                    <a:pt x="4616" y="110"/>
                  </a:lnTo>
                  <a:lnTo>
                    <a:pt x="4180" y="37"/>
                  </a:lnTo>
                  <a:lnTo>
                    <a:pt x="3780" y="1"/>
                  </a:lnTo>
                  <a:close/>
                </a:path>
              </a:pathLst>
            </a:custGeom>
            <a:solidFill>
              <a:srgbClr val="6A433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24" name="Google Shape;2753;p11">
              <a:extLst>
                <a:ext uri="{FF2B5EF4-FFF2-40B4-BE49-F238E27FC236}">
                  <a16:creationId xmlns:a16="http://schemas.microsoft.com/office/drawing/2014/main" id="{DAAE378C-EE81-ED2C-21DE-A34C838E8417}"/>
                </a:ext>
              </a:extLst>
            </p:cNvPr>
            <p:cNvSpPr/>
            <p:nvPr/>
          </p:nvSpPr>
          <p:spPr>
            <a:xfrm>
              <a:off x="5186575" y="5062750"/>
              <a:ext cx="231725" cy="377100"/>
            </a:xfrm>
            <a:custGeom>
              <a:avLst/>
              <a:gdLst/>
              <a:ahLst/>
              <a:cxnLst/>
              <a:rect l="l" t="t" r="r" b="b"/>
              <a:pathLst>
                <a:path w="9269" h="15084" extrusionOk="0">
                  <a:moveTo>
                    <a:pt x="1564" y="1"/>
                  </a:moveTo>
                  <a:lnTo>
                    <a:pt x="37" y="11050"/>
                  </a:lnTo>
                  <a:lnTo>
                    <a:pt x="1" y="11377"/>
                  </a:lnTo>
                  <a:lnTo>
                    <a:pt x="1" y="11740"/>
                  </a:lnTo>
                  <a:lnTo>
                    <a:pt x="37" y="12067"/>
                  </a:lnTo>
                  <a:lnTo>
                    <a:pt x="110" y="12394"/>
                  </a:lnTo>
                  <a:lnTo>
                    <a:pt x="219" y="12722"/>
                  </a:lnTo>
                  <a:lnTo>
                    <a:pt x="364" y="13012"/>
                  </a:lnTo>
                  <a:lnTo>
                    <a:pt x="510" y="13303"/>
                  </a:lnTo>
                  <a:lnTo>
                    <a:pt x="691" y="13594"/>
                  </a:lnTo>
                  <a:lnTo>
                    <a:pt x="909" y="13848"/>
                  </a:lnTo>
                  <a:lnTo>
                    <a:pt x="1164" y="14066"/>
                  </a:lnTo>
                  <a:lnTo>
                    <a:pt x="1418" y="14284"/>
                  </a:lnTo>
                  <a:lnTo>
                    <a:pt x="1673" y="14466"/>
                  </a:lnTo>
                  <a:lnTo>
                    <a:pt x="2000" y="14648"/>
                  </a:lnTo>
                  <a:lnTo>
                    <a:pt x="2291" y="14757"/>
                  </a:lnTo>
                  <a:lnTo>
                    <a:pt x="2618" y="14866"/>
                  </a:lnTo>
                  <a:lnTo>
                    <a:pt x="2981" y="14939"/>
                  </a:lnTo>
                  <a:lnTo>
                    <a:pt x="3817" y="15048"/>
                  </a:lnTo>
                  <a:lnTo>
                    <a:pt x="4181" y="15084"/>
                  </a:lnTo>
                  <a:lnTo>
                    <a:pt x="4544" y="15084"/>
                  </a:lnTo>
                  <a:lnTo>
                    <a:pt x="4871" y="15048"/>
                  </a:lnTo>
                  <a:lnTo>
                    <a:pt x="5198" y="14975"/>
                  </a:lnTo>
                  <a:lnTo>
                    <a:pt x="5525" y="14866"/>
                  </a:lnTo>
                  <a:lnTo>
                    <a:pt x="5816" y="14721"/>
                  </a:lnTo>
                  <a:lnTo>
                    <a:pt x="6107" y="14575"/>
                  </a:lnTo>
                  <a:lnTo>
                    <a:pt x="6398" y="14393"/>
                  </a:lnTo>
                  <a:lnTo>
                    <a:pt x="6652" y="14175"/>
                  </a:lnTo>
                  <a:lnTo>
                    <a:pt x="6870" y="13921"/>
                  </a:lnTo>
                  <a:lnTo>
                    <a:pt x="7088" y="13667"/>
                  </a:lnTo>
                  <a:lnTo>
                    <a:pt x="7270" y="13412"/>
                  </a:lnTo>
                  <a:lnTo>
                    <a:pt x="7415" y="13085"/>
                  </a:lnTo>
                  <a:lnTo>
                    <a:pt x="7561" y="12794"/>
                  </a:lnTo>
                  <a:lnTo>
                    <a:pt x="7670" y="12431"/>
                  </a:lnTo>
                  <a:lnTo>
                    <a:pt x="7742" y="12104"/>
                  </a:lnTo>
                  <a:lnTo>
                    <a:pt x="9269" y="1055"/>
                  </a:lnTo>
                  <a:lnTo>
                    <a:pt x="1564" y="1"/>
                  </a:lnTo>
                  <a:close/>
                </a:path>
              </a:pathLst>
            </a:custGeom>
            <a:solidFill>
              <a:srgbClr val="DC536A"/>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25" name="Google Shape;2754;p11">
              <a:extLst>
                <a:ext uri="{FF2B5EF4-FFF2-40B4-BE49-F238E27FC236}">
                  <a16:creationId xmlns:a16="http://schemas.microsoft.com/office/drawing/2014/main" id="{873E48FB-B59B-5F92-1125-AE96EFC0B7B7}"/>
                </a:ext>
              </a:extLst>
            </p:cNvPr>
            <p:cNvSpPr/>
            <p:nvPr/>
          </p:nvSpPr>
          <p:spPr>
            <a:xfrm>
              <a:off x="5207475" y="2079675"/>
              <a:ext cx="595200" cy="3143025"/>
            </a:xfrm>
            <a:custGeom>
              <a:avLst/>
              <a:gdLst/>
              <a:ahLst/>
              <a:cxnLst/>
              <a:rect l="l" t="t" r="r" b="b"/>
              <a:pathLst>
                <a:path w="23808" h="125721" extrusionOk="0">
                  <a:moveTo>
                    <a:pt x="20790" y="1"/>
                  </a:moveTo>
                  <a:lnTo>
                    <a:pt x="20572" y="73"/>
                  </a:lnTo>
                  <a:lnTo>
                    <a:pt x="20354" y="146"/>
                  </a:lnTo>
                  <a:lnTo>
                    <a:pt x="20173" y="255"/>
                  </a:lnTo>
                  <a:lnTo>
                    <a:pt x="19991" y="437"/>
                  </a:lnTo>
                  <a:lnTo>
                    <a:pt x="19845" y="618"/>
                  </a:lnTo>
                  <a:lnTo>
                    <a:pt x="19700" y="837"/>
                  </a:lnTo>
                  <a:lnTo>
                    <a:pt x="16138" y="8505"/>
                  </a:lnTo>
                  <a:lnTo>
                    <a:pt x="1" y="124666"/>
                  </a:lnTo>
                  <a:lnTo>
                    <a:pt x="7670" y="125720"/>
                  </a:lnTo>
                  <a:lnTo>
                    <a:pt x="23807" y="9559"/>
                  </a:lnTo>
                  <a:lnTo>
                    <a:pt x="22462" y="1200"/>
                  </a:lnTo>
                  <a:lnTo>
                    <a:pt x="22390" y="946"/>
                  </a:lnTo>
                  <a:lnTo>
                    <a:pt x="22281" y="727"/>
                  </a:lnTo>
                  <a:lnTo>
                    <a:pt x="22172" y="546"/>
                  </a:lnTo>
                  <a:lnTo>
                    <a:pt x="22026" y="364"/>
                  </a:lnTo>
                  <a:lnTo>
                    <a:pt x="21844" y="255"/>
                  </a:lnTo>
                  <a:lnTo>
                    <a:pt x="21626" y="146"/>
                  </a:lnTo>
                  <a:lnTo>
                    <a:pt x="21445" y="73"/>
                  </a:lnTo>
                  <a:lnTo>
                    <a:pt x="21227" y="1"/>
                  </a:lnTo>
                  <a:close/>
                </a:path>
              </a:pathLst>
            </a:custGeom>
            <a:solidFill>
              <a:srgbClr val="FCBF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26" name="Google Shape;2755;p11">
              <a:extLst>
                <a:ext uri="{FF2B5EF4-FFF2-40B4-BE49-F238E27FC236}">
                  <a16:creationId xmlns:a16="http://schemas.microsoft.com/office/drawing/2014/main" id="{89F47491-2C4E-1DDE-0112-A32F2F160025}"/>
                </a:ext>
              </a:extLst>
            </p:cNvPr>
            <p:cNvSpPr/>
            <p:nvPr/>
          </p:nvSpPr>
          <p:spPr>
            <a:xfrm>
              <a:off x="5610000" y="2018800"/>
              <a:ext cx="192675" cy="309875"/>
            </a:xfrm>
            <a:custGeom>
              <a:avLst/>
              <a:gdLst/>
              <a:ahLst/>
              <a:cxnLst/>
              <a:rect l="l" t="t" r="r" b="b"/>
              <a:pathLst>
                <a:path w="7707" h="12395" extrusionOk="0">
                  <a:moveTo>
                    <a:pt x="5307" y="0"/>
                  </a:moveTo>
                  <a:lnTo>
                    <a:pt x="5162" y="37"/>
                  </a:lnTo>
                  <a:lnTo>
                    <a:pt x="4980" y="73"/>
                  </a:lnTo>
                  <a:lnTo>
                    <a:pt x="4835" y="109"/>
                  </a:lnTo>
                  <a:lnTo>
                    <a:pt x="4726" y="218"/>
                  </a:lnTo>
                  <a:lnTo>
                    <a:pt x="4580" y="328"/>
                  </a:lnTo>
                  <a:lnTo>
                    <a:pt x="4471" y="473"/>
                  </a:lnTo>
                  <a:lnTo>
                    <a:pt x="4399" y="618"/>
                  </a:lnTo>
                  <a:lnTo>
                    <a:pt x="37" y="10940"/>
                  </a:lnTo>
                  <a:lnTo>
                    <a:pt x="1" y="11086"/>
                  </a:lnTo>
                  <a:lnTo>
                    <a:pt x="401" y="11304"/>
                  </a:lnTo>
                  <a:lnTo>
                    <a:pt x="691" y="11522"/>
                  </a:lnTo>
                  <a:lnTo>
                    <a:pt x="910" y="11740"/>
                  </a:lnTo>
                  <a:lnTo>
                    <a:pt x="1091" y="11922"/>
                  </a:lnTo>
                  <a:lnTo>
                    <a:pt x="1200" y="12104"/>
                  </a:lnTo>
                  <a:lnTo>
                    <a:pt x="1346" y="12249"/>
                  </a:lnTo>
                  <a:lnTo>
                    <a:pt x="1527" y="12358"/>
                  </a:lnTo>
                  <a:lnTo>
                    <a:pt x="1709" y="12394"/>
                  </a:lnTo>
                  <a:lnTo>
                    <a:pt x="1854" y="12394"/>
                  </a:lnTo>
                  <a:lnTo>
                    <a:pt x="2000" y="12322"/>
                  </a:lnTo>
                  <a:lnTo>
                    <a:pt x="2145" y="12249"/>
                  </a:lnTo>
                  <a:lnTo>
                    <a:pt x="2291" y="12140"/>
                  </a:lnTo>
                  <a:lnTo>
                    <a:pt x="2545" y="11885"/>
                  </a:lnTo>
                  <a:lnTo>
                    <a:pt x="2799" y="11595"/>
                  </a:lnTo>
                  <a:lnTo>
                    <a:pt x="3090" y="11304"/>
                  </a:lnTo>
                  <a:lnTo>
                    <a:pt x="3345" y="11050"/>
                  </a:lnTo>
                  <a:lnTo>
                    <a:pt x="3490" y="10940"/>
                  </a:lnTo>
                  <a:lnTo>
                    <a:pt x="3635" y="10868"/>
                  </a:lnTo>
                  <a:lnTo>
                    <a:pt x="3781" y="10831"/>
                  </a:lnTo>
                  <a:lnTo>
                    <a:pt x="3963" y="10831"/>
                  </a:lnTo>
                  <a:lnTo>
                    <a:pt x="4108" y="10868"/>
                  </a:lnTo>
                  <a:lnTo>
                    <a:pt x="4217" y="10904"/>
                  </a:lnTo>
                  <a:lnTo>
                    <a:pt x="4326" y="10977"/>
                  </a:lnTo>
                  <a:lnTo>
                    <a:pt x="4399" y="11050"/>
                  </a:lnTo>
                  <a:lnTo>
                    <a:pt x="4508" y="11231"/>
                  </a:lnTo>
                  <a:lnTo>
                    <a:pt x="4544" y="11413"/>
                  </a:lnTo>
                  <a:lnTo>
                    <a:pt x="4617" y="11558"/>
                  </a:lnTo>
                  <a:lnTo>
                    <a:pt x="4726" y="11740"/>
                  </a:lnTo>
                  <a:lnTo>
                    <a:pt x="4799" y="11813"/>
                  </a:lnTo>
                  <a:lnTo>
                    <a:pt x="4908" y="11885"/>
                  </a:lnTo>
                  <a:lnTo>
                    <a:pt x="5017" y="11922"/>
                  </a:lnTo>
                  <a:lnTo>
                    <a:pt x="5162" y="11958"/>
                  </a:lnTo>
                  <a:lnTo>
                    <a:pt x="5453" y="11958"/>
                  </a:lnTo>
                  <a:lnTo>
                    <a:pt x="5671" y="11922"/>
                  </a:lnTo>
                  <a:lnTo>
                    <a:pt x="5853" y="11885"/>
                  </a:lnTo>
                  <a:lnTo>
                    <a:pt x="6034" y="11776"/>
                  </a:lnTo>
                  <a:lnTo>
                    <a:pt x="6289" y="11631"/>
                  </a:lnTo>
                  <a:lnTo>
                    <a:pt x="6434" y="11595"/>
                  </a:lnTo>
                  <a:lnTo>
                    <a:pt x="6616" y="11595"/>
                  </a:lnTo>
                  <a:lnTo>
                    <a:pt x="6761" y="11631"/>
                  </a:lnTo>
                  <a:lnTo>
                    <a:pt x="6870" y="11667"/>
                  </a:lnTo>
                  <a:lnTo>
                    <a:pt x="6907" y="11776"/>
                  </a:lnTo>
                  <a:lnTo>
                    <a:pt x="6979" y="11813"/>
                  </a:lnTo>
                  <a:lnTo>
                    <a:pt x="7125" y="11885"/>
                  </a:lnTo>
                  <a:lnTo>
                    <a:pt x="7343" y="11958"/>
                  </a:lnTo>
                  <a:lnTo>
                    <a:pt x="7706" y="11994"/>
                  </a:lnTo>
                  <a:lnTo>
                    <a:pt x="6325" y="873"/>
                  </a:lnTo>
                  <a:lnTo>
                    <a:pt x="6289" y="691"/>
                  </a:lnTo>
                  <a:lnTo>
                    <a:pt x="6216" y="546"/>
                  </a:lnTo>
                  <a:lnTo>
                    <a:pt x="6107" y="400"/>
                  </a:lnTo>
                  <a:lnTo>
                    <a:pt x="5998" y="291"/>
                  </a:lnTo>
                  <a:lnTo>
                    <a:pt x="5889" y="182"/>
                  </a:lnTo>
                  <a:lnTo>
                    <a:pt x="5743" y="109"/>
                  </a:lnTo>
                  <a:lnTo>
                    <a:pt x="5598" y="37"/>
                  </a:lnTo>
                  <a:lnTo>
                    <a:pt x="5453" y="37"/>
                  </a:lnTo>
                  <a:lnTo>
                    <a:pt x="5307" y="0"/>
                  </a:lnTo>
                  <a:close/>
                </a:path>
              </a:pathLst>
            </a:custGeom>
            <a:solidFill>
              <a:srgbClr val="FFAE8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27" name="Google Shape;2756;p11">
              <a:extLst>
                <a:ext uri="{FF2B5EF4-FFF2-40B4-BE49-F238E27FC236}">
                  <a16:creationId xmlns:a16="http://schemas.microsoft.com/office/drawing/2014/main" id="{FFDA95CD-E250-85BE-E66F-2EF0BA3FF30D}"/>
                </a:ext>
              </a:extLst>
            </p:cNvPr>
            <p:cNvSpPr/>
            <p:nvPr/>
          </p:nvSpPr>
          <p:spPr>
            <a:xfrm>
              <a:off x="5696325" y="1989725"/>
              <a:ext cx="79075" cy="114500"/>
            </a:xfrm>
            <a:custGeom>
              <a:avLst/>
              <a:gdLst/>
              <a:ahLst/>
              <a:cxnLst/>
              <a:rect l="l" t="t" r="r" b="b"/>
              <a:pathLst>
                <a:path w="3163" h="4580" extrusionOk="0">
                  <a:moveTo>
                    <a:pt x="2000" y="0"/>
                  </a:moveTo>
                  <a:lnTo>
                    <a:pt x="1818" y="37"/>
                  </a:lnTo>
                  <a:lnTo>
                    <a:pt x="1673" y="146"/>
                  </a:lnTo>
                  <a:lnTo>
                    <a:pt x="1564" y="327"/>
                  </a:lnTo>
                  <a:lnTo>
                    <a:pt x="1" y="3998"/>
                  </a:lnTo>
                  <a:lnTo>
                    <a:pt x="1" y="4071"/>
                  </a:lnTo>
                  <a:lnTo>
                    <a:pt x="37" y="4144"/>
                  </a:lnTo>
                  <a:lnTo>
                    <a:pt x="328" y="4289"/>
                  </a:lnTo>
                  <a:lnTo>
                    <a:pt x="582" y="4325"/>
                  </a:lnTo>
                  <a:lnTo>
                    <a:pt x="800" y="4325"/>
                  </a:lnTo>
                  <a:lnTo>
                    <a:pt x="1018" y="4253"/>
                  </a:lnTo>
                  <a:lnTo>
                    <a:pt x="1382" y="4107"/>
                  </a:lnTo>
                  <a:lnTo>
                    <a:pt x="1564" y="4035"/>
                  </a:lnTo>
                  <a:lnTo>
                    <a:pt x="1782" y="4071"/>
                  </a:lnTo>
                  <a:lnTo>
                    <a:pt x="2036" y="4144"/>
                  </a:lnTo>
                  <a:lnTo>
                    <a:pt x="2327" y="4253"/>
                  </a:lnTo>
                  <a:lnTo>
                    <a:pt x="3017" y="4580"/>
                  </a:lnTo>
                  <a:lnTo>
                    <a:pt x="3126" y="4580"/>
                  </a:lnTo>
                  <a:lnTo>
                    <a:pt x="3163" y="4507"/>
                  </a:lnTo>
                  <a:lnTo>
                    <a:pt x="3163" y="4471"/>
                  </a:lnTo>
                  <a:lnTo>
                    <a:pt x="2654" y="473"/>
                  </a:lnTo>
                  <a:lnTo>
                    <a:pt x="2618" y="291"/>
                  </a:lnTo>
                  <a:lnTo>
                    <a:pt x="2472" y="146"/>
                  </a:lnTo>
                  <a:lnTo>
                    <a:pt x="2327" y="37"/>
                  </a:lnTo>
                  <a:lnTo>
                    <a:pt x="2181" y="0"/>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28" name="Google Shape;2757;p11">
              <a:extLst>
                <a:ext uri="{FF2B5EF4-FFF2-40B4-BE49-F238E27FC236}">
                  <a16:creationId xmlns:a16="http://schemas.microsoft.com/office/drawing/2014/main" id="{2A2EE0B5-79C4-6C22-9BB6-CA8DD2E1AD59}"/>
                </a:ext>
              </a:extLst>
            </p:cNvPr>
            <p:cNvSpPr/>
            <p:nvPr/>
          </p:nvSpPr>
          <p:spPr>
            <a:xfrm>
              <a:off x="2780500" y="5030950"/>
              <a:ext cx="238075" cy="388025"/>
            </a:xfrm>
            <a:custGeom>
              <a:avLst/>
              <a:gdLst/>
              <a:ahLst/>
              <a:cxnLst/>
              <a:rect l="l" t="t" r="r" b="b"/>
              <a:pathLst>
                <a:path w="9523" h="15521" extrusionOk="0">
                  <a:moveTo>
                    <a:pt x="1600" y="0"/>
                  </a:moveTo>
                  <a:lnTo>
                    <a:pt x="37" y="11340"/>
                  </a:lnTo>
                  <a:lnTo>
                    <a:pt x="0" y="11704"/>
                  </a:lnTo>
                  <a:lnTo>
                    <a:pt x="0" y="12067"/>
                  </a:lnTo>
                  <a:lnTo>
                    <a:pt x="37" y="12431"/>
                  </a:lnTo>
                  <a:lnTo>
                    <a:pt x="109" y="12758"/>
                  </a:lnTo>
                  <a:lnTo>
                    <a:pt x="218" y="13085"/>
                  </a:lnTo>
                  <a:lnTo>
                    <a:pt x="364" y="13412"/>
                  </a:lnTo>
                  <a:lnTo>
                    <a:pt x="509" y="13703"/>
                  </a:lnTo>
                  <a:lnTo>
                    <a:pt x="691" y="13994"/>
                  </a:lnTo>
                  <a:lnTo>
                    <a:pt x="909" y="14248"/>
                  </a:lnTo>
                  <a:lnTo>
                    <a:pt x="1163" y="14466"/>
                  </a:lnTo>
                  <a:lnTo>
                    <a:pt x="1418" y="14684"/>
                  </a:lnTo>
                  <a:lnTo>
                    <a:pt x="1709" y="14902"/>
                  </a:lnTo>
                  <a:lnTo>
                    <a:pt x="2036" y="15048"/>
                  </a:lnTo>
                  <a:lnTo>
                    <a:pt x="2363" y="15193"/>
                  </a:lnTo>
                  <a:lnTo>
                    <a:pt x="2690" y="15302"/>
                  </a:lnTo>
                  <a:lnTo>
                    <a:pt x="3053" y="15338"/>
                  </a:lnTo>
                  <a:lnTo>
                    <a:pt x="3926" y="15484"/>
                  </a:lnTo>
                  <a:lnTo>
                    <a:pt x="4289" y="15520"/>
                  </a:lnTo>
                  <a:lnTo>
                    <a:pt x="4653" y="15484"/>
                  </a:lnTo>
                  <a:lnTo>
                    <a:pt x="4980" y="15447"/>
                  </a:lnTo>
                  <a:lnTo>
                    <a:pt x="5343" y="15375"/>
                  </a:lnTo>
                  <a:lnTo>
                    <a:pt x="5670" y="15266"/>
                  </a:lnTo>
                  <a:lnTo>
                    <a:pt x="5961" y="15157"/>
                  </a:lnTo>
                  <a:lnTo>
                    <a:pt x="6288" y="14975"/>
                  </a:lnTo>
                  <a:lnTo>
                    <a:pt x="6543" y="14793"/>
                  </a:lnTo>
                  <a:lnTo>
                    <a:pt x="6797" y="14575"/>
                  </a:lnTo>
                  <a:lnTo>
                    <a:pt x="7051" y="14321"/>
                  </a:lnTo>
                  <a:lnTo>
                    <a:pt x="7269" y="14066"/>
                  </a:lnTo>
                  <a:lnTo>
                    <a:pt x="7451" y="13775"/>
                  </a:lnTo>
                  <a:lnTo>
                    <a:pt x="7633" y="13485"/>
                  </a:lnTo>
                  <a:lnTo>
                    <a:pt x="7742" y="13158"/>
                  </a:lnTo>
                  <a:lnTo>
                    <a:pt x="7851" y="12794"/>
                  </a:lnTo>
                  <a:lnTo>
                    <a:pt x="7924" y="12431"/>
                  </a:lnTo>
                  <a:lnTo>
                    <a:pt x="9523" y="1091"/>
                  </a:lnTo>
                  <a:lnTo>
                    <a:pt x="1600" y="0"/>
                  </a:lnTo>
                  <a:close/>
                </a:path>
              </a:pathLst>
            </a:custGeom>
            <a:solidFill>
              <a:srgbClr val="DC536A"/>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29" name="Google Shape;2758;p11">
              <a:extLst>
                <a:ext uri="{FF2B5EF4-FFF2-40B4-BE49-F238E27FC236}">
                  <a16:creationId xmlns:a16="http://schemas.microsoft.com/office/drawing/2014/main" id="{B947A8BA-A3D6-DD18-225E-918B6FAA0F6D}"/>
                </a:ext>
              </a:extLst>
            </p:cNvPr>
            <p:cNvSpPr/>
            <p:nvPr/>
          </p:nvSpPr>
          <p:spPr>
            <a:xfrm>
              <a:off x="2801400" y="1964275"/>
              <a:ext cx="612450" cy="3231150"/>
            </a:xfrm>
            <a:custGeom>
              <a:avLst/>
              <a:gdLst/>
              <a:ahLst/>
              <a:cxnLst/>
              <a:rect l="l" t="t" r="r" b="b"/>
              <a:pathLst>
                <a:path w="24498" h="129246" extrusionOk="0">
                  <a:moveTo>
                    <a:pt x="21590" y="1"/>
                  </a:moveTo>
                  <a:lnTo>
                    <a:pt x="21372" y="37"/>
                  </a:lnTo>
                  <a:lnTo>
                    <a:pt x="21153" y="73"/>
                  </a:lnTo>
                  <a:lnTo>
                    <a:pt x="20935" y="182"/>
                  </a:lnTo>
                  <a:lnTo>
                    <a:pt x="20754" y="291"/>
                  </a:lnTo>
                  <a:lnTo>
                    <a:pt x="20572" y="437"/>
                  </a:lnTo>
                  <a:lnTo>
                    <a:pt x="20427" y="655"/>
                  </a:lnTo>
                  <a:lnTo>
                    <a:pt x="20281" y="873"/>
                  </a:lnTo>
                  <a:lnTo>
                    <a:pt x="16574" y="8760"/>
                  </a:lnTo>
                  <a:lnTo>
                    <a:pt x="0" y="128156"/>
                  </a:lnTo>
                  <a:lnTo>
                    <a:pt x="7924" y="129246"/>
                  </a:lnTo>
                  <a:lnTo>
                    <a:pt x="24497" y="9850"/>
                  </a:lnTo>
                  <a:lnTo>
                    <a:pt x="23080" y="1273"/>
                  </a:lnTo>
                  <a:lnTo>
                    <a:pt x="23007" y="1018"/>
                  </a:lnTo>
                  <a:lnTo>
                    <a:pt x="22934" y="764"/>
                  </a:lnTo>
                  <a:lnTo>
                    <a:pt x="22789" y="582"/>
                  </a:lnTo>
                  <a:lnTo>
                    <a:pt x="22644" y="400"/>
                  </a:lnTo>
                  <a:lnTo>
                    <a:pt x="22462" y="255"/>
                  </a:lnTo>
                  <a:lnTo>
                    <a:pt x="22244" y="146"/>
                  </a:lnTo>
                  <a:lnTo>
                    <a:pt x="22062" y="73"/>
                  </a:lnTo>
                  <a:lnTo>
                    <a:pt x="21808" y="37"/>
                  </a:lnTo>
                  <a:lnTo>
                    <a:pt x="21590" y="1"/>
                  </a:lnTo>
                  <a:close/>
                </a:path>
              </a:pathLst>
            </a:custGeom>
            <a:solidFill>
              <a:srgbClr val="FCBF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30" name="Google Shape;2759;p11">
              <a:extLst>
                <a:ext uri="{FF2B5EF4-FFF2-40B4-BE49-F238E27FC236}">
                  <a16:creationId xmlns:a16="http://schemas.microsoft.com/office/drawing/2014/main" id="{57FEA73C-BC3B-9502-E92B-741A268A5400}"/>
                </a:ext>
              </a:extLst>
            </p:cNvPr>
            <p:cNvSpPr/>
            <p:nvPr/>
          </p:nvSpPr>
          <p:spPr>
            <a:xfrm>
              <a:off x="3215725" y="1902500"/>
              <a:ext cx="198125" cy="318050"/>
            </a:xfrm>
            <a:custGeom>
              <a:avLst/>
              <a:gdLst/>
              <a:ahLst/>
              <a:cxnLst/>
              <a:rect l="l" t="t" r="r" b="b"/>
              <a:pathLst>
                <a:path w="7925" h="12722" extrusionOk="0">
                  <a:moveTo>
                    <a:pt x="5271" y="0"/>
                  </a:moveTo>
                  <a:lnTo>
                    <a:pt x="5126" y="37"/>
                  </a:lnTo>
                  <a:lnTo>
                    <a:pt x="4980" y="109"/>
                  </a:lnTo>
                  <a:lnTo>
                    <a:pt x="4835" y="182"/>
                  </a:lnTo>
                  <a:lnTo>
                    <a:pt x="4726" y="327"/>
                  </a:lnTo>
                  <a:lnTo>
                    <a:pt x="4617" y="436"/>
                  </a:lnTo>
                  <a:lnTo>
                    <a:pt x="4508" y="618"/>
                  </a:lnTo>
                  <a:lnTo>
                    <a:pt x="1" y="11231"/>
                  </a:lnTo>
                  <a:lnTo>
                    <a:pt x="1" y="11376"/>
                  </a:lnTo>
                  <a:lnTo>
                    <a:pt x="401" y="11594"/>
                  </a:lnTo>
                  <a:lnTo>
                    <a:pt x="691" y="11813"/>
                  </a:lnTo>
                  <a:lnTo>
                    <a:pt x="910" y="12031"/>
                  </a:lnTo>
                  <a:lnTo>
                    <a:pt x="1091" y="12249"/>
                  </a:lnTo>
                  <a:lnTo>
                    <a:pt x="1237" y="12430"/>
                  </a:lnTo>
                  <a:lnTo>
                    <a:pt x="1382" y="12576"/>
                  </a:lnTo>
                  <a:lnTo>
                    <a:pt x="1527" y="12685"/>
                  </a:lnTo>
                  <a:lnTo>
                    <a:pt x="1746" y="12721"/>
                  </a:lnTo>
                  <a:lnTo>
                    <a:pt x="1891" y="12721"/>
                  </a:lnTo>
                  <a:lnTo>
                    <a:pt x="2036" y="12648"/>
                  </a:lnTo>
                  <a:lnTo>
                    <a:pt x="2182" y="12576"/>
                  </a:lnTo>
                  <a:lnTo>
                    <a:pt x="2327" y="12467"/>
                  </a:lnTo>
                  <a:lnTo>
                    <a:pt x="2618" y="12212"/>
                  </a:lnTo>
                  <a:lnTo>
                    <a:pt x="2872" y="11885"/>
                  </a:lnTo>
                  <a:lnTo>
                    <a:pt x="3163" y="11594"/>
                  </a:lnTo>
                  <a:lnTo>
                    <a:pt x="3417" y="11340"/>
                  </a:lnTo>
                  <a:lnTo>
                    <a:pt x="3563" y="11231"/>
                  </a:lnTo>
                  <a:lnTo>
                    <a:pt x="3745" y="11158"/>
                  </a:lnTo>
                  <a:lnTo>
                    <a:pt x="3890" y="11122"/>
                  </a:lnTo>
                  <a:lnTo>
                    <a:pt x="4035" y="11122"/>
                  </a:lnTo>
                  <a:lnTo>
                    <a:pt x="4217" y="11158"/>
                  </a:lnTo>
                  <a:lnTo>
                    <a:pt x="4326" y="11195"/>
                  </a:lnTo>
                  <a:lnTo>
                    <a:pt x="4435" y="11267"/>
                  </a:lnTo>
                  <a:lnTo>
                    <a:pt x="4508" y="11340"/>
                  </a:lnTo>
                  <a:lnTo>
                    <a:pt x="4617" y="11522"/>
                  </a:lnTo>
                  <a:lnTo>
                    <a:pt x="4690" y="11703"/>
                  </a:lnTo>
                  <a:lnTo>
                    <a:pt x="4762" y="11885"/>
                  </a:lnTo>
                  <a:lnTo>
                    <a:pt x="4835" y="12067"/>
                  </a:lnTo>
                  <a:lnTo>
                    <a:pt x="4908" y="12140"/>
                  </a:lnTo>
                  <a:lnTo>
                    <a:pt x="5017" y="12176"/>
                  </a:lnTo>
                  <a:lnTo>
                    <a:pt x="5126" y="12249"/>
                  </a:lnTo>
                  <a:lnTo>
                    <a:pt x="5307" y="12249"/>
                  </a:lnTo>
                  <a:lnTo>
                    <a:pt x="5598" y="12285"/>
                  </a:lnTo>
                  <a:lnTo>
                    <a:pt x="5816" y="12249"/>
                  </a:lnTo>
                  <a:lnTo>
                    <a:pt x="5998" y="12176"/>
                  </a:lnTo>
                  <a:lnTo>
                    <a:pt x="6180" y="12103"/>
                  </a:lnTo>
                  <a:lnTo>
                    <a:pt x="6470" y="11958"/>
                  </a:lnTo>
                  <a:lnTo>
                    <a:pt x="6616" y="11922"/>
                  </a:lnTo>
                  <a:lnTo>
                    <a:pt x="6798" y="11922"/>
                  </a:lnTo>
                  <a:lnTo>
                    <a:pt x="6943" y="11958"/>
                  </a:lnTo>
                  <a:lnTo>
                    <a:pt x="7016" y="11994"/>
                  </a:lnTo>
                  <a:lnTo>
                    <a:pt x="7088" y="12103"/>
                  </a:lnTo>
                  <a:lnTo>
                    <a:pt x="7161" y="12140"/>
                  </a:lnTo>
                  <a:lnTo>
                    <a:pt x="7306" y="12212"/>
                  </a:lnTo>
                  <a:lnTo>
                    <a:pt x="7524" y="12249"/>
                  </a:lnTo>
                  <a:lnTo>
                    <a:pt x="7924" y="12321"/>
                  </a:lnTo>
                  <a:lnTo>
                    <a:pt x="7924" y="12321"/>
                  </a:lnTo>
                  <a:lnTo>
                    <a:pt x="6470" y="909"/>
                  </a:lnTo>
                  <a:lnTo>
                    <a:pt x="6434" y="691"/>
                  </a:lnTo>
                  <a:lnTo>
                    <a:pt x="6361" y="545"/>
                  </a:lnTo>
                  <a:lnTo>
                    <a:pt x="6289" y="400"/>
                  </a:lnTo>
                  <a:lnTo>
                    <a:pt x="6180" y="291"/>
                  </a:lnTo>
                  <a:lnTo>
                    <a:pt x="6034" y="182"/>
                  </a:lnTo>
                  <a:lnTo>
                    <a:pt x="5889" y="109"/>
                  </a:lnTo>
                  <a:lnTo>
                    <a:pt x="5744" y="37"/>
                  </a:lnTo>
                  <a:lnTo>
                    <a:pt x="5598" y="0"/>
                  </a:lnTo>
                  <a:close/>
                </a:path>
              </a:pathLst>
            </a:custGeom>
            <a:solidFill>
              <a:srgbClr val="FFAE8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sp>
          <p:nvSpPr>
            <p:cNvPr id="531" name="Google Shape;2760;p11">
              <a:extLst>
                <a:ext uri="{FF2B5EF4-FFF2-40B4-BE49-F238E27FC236}">
                  <a16:creationId xmlns:a16="http://schemas.microsoft.com/office/drawing/2014/main" id="{FB04EDD3-9733-AD6B-40DB-E32F30B1C0E7}"/>
                </a:ext>
              </a:extLst>
            </p:cNvPr>
            <p:cNvSpPr/>
            <p:nvPr/>
          </p:nvSpPr>
          <p:spPr>
            <a:xfrm>
              <a:off x="3303875" y="1871600"/>
              <a:ext cx="81800" cy="118150"/>
            </a:xfrm>
            <a:custGeom>
              <a:avLst/>
              <a:gdLst/>
              <a:ahLst/>
              <a:cxnLst/>
              <a:rect l="l" t="t" r="r" b="b"/>
              <a:pathLst>
                <a:path w="3272" h="4726" extrusionOk="0">
                  <a:moveTo>
                    <a:pt x="2254" y="0"/>
                  </a:moveTo>
                  <a:lnTo>
                    <a:pt x="2072" y="37"/>
                  </a:lnTo>
                  <a:lnTo>
                    <a:pt x="1890" y="73"/>
                  </a:lnTo>
                  <a:lnTo>
                    <a:pt x="1745" y="182"/>
                  </a:lnTo>
                  <a:lnTo>
                    <a:pt x="1636" y="364"/>
                  </a:lnTo>
                  <a:lnTo>
                    <a:pt x="0" y="4144"/>
                  </a:lnTo>
                  <a:lnTo>
                    <a:pt x="0" y="4217"/>
                  </a:lnTo>
                  <a:lnTo>
                    <a:pt x="73" y="4289"/>
                  </a:lnTo>
                  <a:lnTo>
                    <a:pt x="364" y="4435"/>
                  </a:lnTo>
                  <a:lnTo>
                    <a:pt x="618" y="4471"/>
                  </a:lnTo>
                  <a:lnTo>
                    <a:pt x="836" y="4471"/>
                  </a:lnTo>
                  <a:lnTo>
                    <a:pt x="1054" y="4398"/>
                  </a:lnTo>
                  <a:lnTo>
                    <a:pt x="1418" y="4217"/>
                  </a:lnTo>
                  <a:lnTo>
                    <a:pt x="1636" y="4180"/>
                  </a:lnTo>
                  <a:lnTo>
                    <a:pt x="1854" y="4217"/>
                  </a:lnTo>
                  <a:lnTo>
                    <a:pt x="2108" y="4289"/>
                  </a:lnTo>
                  <a:lnTo>
                    <a:pt x="2399" y="4398"/>
                  </a:lnTo>
                  <a:lnTo>
                    <a:pt x="3090" y="4725"/>
                  </a:lnTo>
                  <a:lnTo>
                    <a:pt x="3199" y="4725"/>
                  </a:lnTo>
                  <a:lnTo>
                    <a:pt x="3235" y="4653"/>
                  </a:lnTo>
                  <a:lnTo>
                    <a:pt x="3272" y="4616"/>
                  </a:lnTo>
                  <a:lnTo>
                    <a:pt x="2763" y="509"/>
                  </a:lnTo>
                  <a:lnTo>
                    <a:pt x="2690" y="328"/>
                  </a:lnTo>
                  <a:lnTo>
                    <a:pt x="2581" y="182"/>
                  </a:lnTo>
                  <a:lnTo>
                    <a:pt x="2436" y="73"/>
                  </a:lnTo>
                  <a:lnTo>
                    <a:pt x="2254" y="0"/>
                  </a:lnTo>
                  <a:close/>
                </a:path>
              </a:pathLst>
            </a:custGeom>
            <a:solidFill>
              <a:srgbClr val="0000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1400"/>
                <a:buFontTx/>
                <a:buNone/>
                <a:tabLst/>
                <a:defRPr/>
              </a:pPr>
              <a:endParaRPr kumimoji="0" lang="nb-NO" sz="1800" b="0" i="0" u="none" strike="noStrike" kern="0" cap="none" spc="0" normalizeH="0" baseline="0" noProof="0">
                <a:ln>
                  <a:noFill/>
                </a:ln>
                <a:solidFill>
                  <a:sysClr val="windowText" lastClr="000000"/>
                </a:solidFill>
                <a:effectLst/>
                <a:uLnTx/>
                <a:uFillTx/>
                <a:latin typeface="+mj-lt"/>
              </a:endParaRPr>
            </a:p>
          </p:txBody>
        </p:sp>
      </p:grpSp>
      <p:sp>
        <p:nvSpPr>
          <p:cNvPr id="532" name="Google Shape;2761;p11">
            <a:extLst>
              <a:ext uri="{FF2B5EF4-FFF2-40B4-BE49-F238E27FC236}">
                <a16:creationId xmlns:a16="http://schemas.microsoft.com/office/drawing/2014/main" id="{76FB9A99-77A1-E31B-48C8-505628D0555B}"/>
              </a:ext>
            </a:extLst>
          </p:cNvPr>
          <p:cNvSpPr/>
          <p:nvPr/>
        </p:nvSpPr>
        <p:spPr>
          <a:xfrm>
            <a:off x="3531150" y="4862962"/>
            <a:ext cx="2287800" cy="306000"/>
          </a:xfrm>
          <a:prstGeom prst="roundRect">
            <a:avLst>
              <a:gd name="adj" fmla="val 16667"/>
            </a:avLst>
          </a:pr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800"/>
              <a:buFontTx/>
              <a:buNone/>
              <a:tabLst/>
              <a:defRPr/>
            </a:pPr>
            <a:r>
              <a:rPr lang="nb-NO" sz="800" kern="0">
                <a:solidFill>
                  <a:srgbClr val="464646"/>
                </a:solidFill>
                <a:latin typeface="+mj-lt"/>
              </a:rPr>
              <a:t>Visualisering av prosesser ved hjelp av tjenestedesigner</a:t>
            </a:r>
            <a:endParaRPr kumimoji="0" lang="nb-NO" sz="800" b="0" i="0" u="none" strike="noStrike" kern="0" cap="none" spc="0" normalizeH="0" baseline="0" noProof="0">
              <a:ln>
                <a:noFill/>
              </a:ln>
              <a:solidFill>
                <a:srgbClr val="464646"/>
              </a:solidFill>
              <a:effectLst/>
              <a:uLnTx/>
              <a:uFillTx/>
              <a:latin typeface="+mj-lt"/>
            </a:endParaRPr>
          </a:p>
        </p:txBody>
      </p:sp>
      <p:sp>
        <p:nvSpPr>
          <p:cNvPr id="533" name="Google Shape;2762;p11">
            <a:extLst>
              <a:ext uri="{FF2B5EF4-FFF2-40B4-BE49-F238E27FC236}">
                <a16:creationId xmlns:a16="http://schemas.microsoft.com/office/drawing/2014/main" id="{B5563979-11C0-20E0-6791-69DC74FFCC0A}"/>
              </a:ext>
            </a:extLst>
          </p:cNvPr>
          <p:cNvSpPr/>
          <p:nvPr/>
        </p:nvSpPr>
        <p:spPr>
          <a:xfrm>
            <a:off x="8737175" y="5213431"/>
            <a:ext cx="2287800" cy="306900"/>
          </a:xfrm>
          <a:prstGeom prst="roundRect">
            <a:avLst>
              <a:gd name="adj" fmla="val 16667"/>
            </a:avLst>
          </a:pr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800"/>
              <a:buFontTx/>
              <a:buNone/>
              <a:tabLst/>
              <a:defRPr/>
            </a:pPr>
            <a:r>
              <a:rPr lang="nb-NO" sz="800" kern="0">
                <a:solidFill>
                  <a:srgbClr val="464646"/>
                </a:solidFill>
                <a:latin typeface="+mj-lt"/>
              </a:rPr>
              <a:t>Overgang til drift og vedlikehold</a:t>
            </a:r>
            <a:endParaRPr kumimoji="0" lang="nb-NO" sz="800" b="0" i="0" u="none" strike="noStrike" kern="0" cap="none" spc="0" normalizeH="0" baseline="0" noProof="0">
              <a:ln>
                <a:noFill/>
              </a:ln>
              <a:solidFill>
                <a:srgbClr val="464646"/>
              </a:solidFill>
              <a:effectLst/>
              <a:uLnTx/>
              <a:uFillTx/>
              <a:latin typeface="+mj-lt"/>
            </a:endParaRPr>
          </a:p>
        </p:txBody>
      </p:sp>
      <p:sp>
        <p:nvSpPr>
          <p:cNvPr id="535" name="Google Shape;2765;p11">
            <a:extLst>
              <a:ext uri="{FF2B5EF4-FFF2-40B4-BE49-F238E27FC236}">
                <a16:creationId xmlns:a16="http://schemas.microsoft.com/office/drawing/2014/main" id="{33A7EF87-0810-21D8-7284-0BB998589CCC}"/>
              </a:ext>
            </a:extLst>
          </p:cNvPr>
          <p:cNvSpPr/>
          <p:nvPr/>
        </p:nvSpPr>
        <p:spPr>
          <a:xfrm>
            <a:off x="933325" y="5213437"/>
            <a:ext cx="2287800" cy="306000"/>
          </a:xfrm>
          <a:prstGeom prst="roundRect">
            <a:avLst>
              <a:gd name="adj" fmla="val 16667"/>
            </a:avLst>
          </a:pr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800"/>
              <a:buFontTx/>
              <a:buNone/>
              <a:tabLst/>
              <a:defRPr/>
            </a:pPr>
            <a:r>
              <a:rPr lang="nb-NO" sz="800" kern="0">
                <a:solidFill>
                  <a:srgbClr val="464646"/>
                </a:solidFill>
                <a:latin typeface="+mj-lt"/>
              </a:rPr>
              <a:t>Konseptutredning</a:t>
            </a:r>
            <a:endParaRPr kumimoji="0" lang="nb-NO" sz="800" b="0" i="0" u="none" strike="noStrike" kern="0" cap="none" spc="0" normalizeH="0" baseline="0" noProof="0">
              <a:ln>
                <a:noFill/>
              </a:ln>
              <a:solidFill>
                <a:srgbClr val="464646"/>
              </a:solidFill>
              <a:effectLst/>
              <a:uLnTx/>
              <a:uFillTx/>
              <a:latin typeface="+mj-lt"/>
            </a:endParaRPr>
          </a:p>
        </p:txBody>
      </p:sp>
      <p:pic>
        <p:nvPicPr>
          <p:cNvPr id="538" name="Grafikk 537" descr="Pil høyre kontur">
            <a:extLst>
              <a:ext uri="{FF2B5EF4-FFF2-40B4-BE49-F238E27FC236}">
                <a16:creationId xmlns:a16="http://schemas.microsoft.com/office/drawing/2014/main" id="{751E77F8-C6AD-ED3E-29F3-E432EBFF99C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85900" y="3497724"/>
            <a:ext cx="389189" cy="389189"/>
          </a:xfrm>
          <a:prstGeom prst="rect">
            <a:avLst/>
          </a:prstGeom>
        </p:spPr>
      </p:pic>
      <p:sp>
        <p:nvSpPr>
          <p:cNvPr id="539" name="Google Shape;2260;p11">
            <a:extLst>
              <a:ext uri="{FF2B5EF4-FFF2-40B4-BE49-F238E27FC236}">
                <a16:creationId xmlns:a16="http://schemas.microsoft.com/office/drawing/2014/main" id="{C57D2543-9616-DF33-1E9E-5E3F2CC692AE}"/>
              </a:ext>
            </a:extLst>
          </p:cNvPr>
          <p:cNvSpPr/>
          <p:nvPr/>
        </p:nvSpPr>
        <p:spPr>
          <a:xfrm>
            <a:off x="6128969" y="5222989"/>
            <a:ext cx="2287800" cy="306000"/>
          </a:xfrm>
          <a:prstGeom prst="roundRect">
            <a:avLst>
              <a:gd name="adj" fmla="val 16667"/>
            </a:avLst>
          </a:pr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Pts val="800"/>
              <a:buFontTx/>
              <a:buNone/>
              <a:tabLst/>
              <a:defRPr/>
            </a:pPr>
            <a:r>
              <a:rPr lang="nb-NO" sz="800" kern="0">
                <a:solidFill>
                  <a:srgbClr val="464646"/>
                </a:solidFill>
                <a:latin typeface="+mj-lt"/>
              </a:rPr>
              <a:t>Gjennomføre anskaffelse og velge leverandør(er)</a:t>
            </a:r>
            <a:endParaRPr kumimoji="0" lang="nb-NO" sz="800" b="0" i="0" u="none" strike="noStrike" kern="0" cap="none" spc="0" normalizeH="0" baseline="0" noProof="0">
              <a:ln>
                <a:noFill/>
              </a:ln>
              <a:solidFill>
                <a:srgbClr val="464646"/>
              </a:solidFill>
              <a:effectLst/>
              <a:uLnTx/>
              <a:uFillTx/>
              <a:latin typeface="+mj-lt"/>
            </a:endParaRPr>
          </a:p>
        </p:txBody>
      </p:sp>
    </p:spTree>
    <p:extLst>
      <p:ext uri="{BB962C8B-B14F-4D97-AF65-F5344CB8AC3E}">
        <p14:creationId xmlns:p14="http://schemas.microsoft.com/office/powerpoint/2010/main" val="5319595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2">
            <a:extLst>
              <a:ext uri="{FF2B5EF4-FFF2-40B4-BE49-F238E27FC236}">
                <a16:creationId xmlns:a16="http://schemas.microsoft.com/office/drawing/2014/main" id="{E9243736-EB94-78CA-6116-857A5817ECA0}"/>
              </a:ext>
            </a:extLst>
          </p:cNvPr>
          <p:cNvSpPr>
            <a:spLocks noGrp="1"/>
          </p:cNvSpPr>
          <p:nvPr>
            <p:ph type="sldNum" sz="quarter" idx="12"/>
          </p:nvPr>
        </p:nvSpPr>
        <p:spPr>
          <a:xfrm>
            <a:off x="10792460" y="6348715"/>
            <a:ext cx="391477" cy="153889"/>
          </a:xfrm>
        </p:spPr>
        <p:txBody>
          <a:bodyPr vert="horz" lIns="0" tIns="0" rIns="0" bIns="0" rtlCol="0" anchor="t" anchorCtr="0">
            <a:normAutofit/>
          </a:bodyPr>
          <a:lstStyle/>
          <a:p>
            <a:pPr>
              <a:spcAft>
                <a:spcPts val="600"/>
              </a:spcAft>
            </a:pPr>
            <a:fld id="{BE2ACD00-28B2-4D17-A930-2C9F8441C7CA}" type="slidenum">
              <a:rPr lang="nb-NO" smtClean="0"/>
              <a:pPr>
                <a:spcAft>
                  <a:spcPts val="600"/>
                </a:spcAft>
              </a:pPr>
              <a:t>6</a:t>
            </a:fld>
            <a:endParaRPr lang="nb-NO"/>
          </a:p>
        </p:txBody>
      </p:sp>
      <p:sp>
        <p:nvSpPr>
          <p:cNvPr id="2" name="TekstSylinder 1">
            <a:extLst>
              <a:ext uri="{FF2B5EF4-FFF2-40B4-BE49-F238E27FC236}">
                <a16:creationId xmlns:a16="http://schemas.microsoft.com/office/drawing/2014/main" id="{FF55B20F-7685-A1AA-516C-DBC609C63827}"/>
              </a:ext>
            </a:extLst>
          </p:cNvPr>
          <p:cNvSpPr txBox="1"/>
          <p:nvPr/>
        </p:nvSpPr>
        <p:spPr>
          <a:xfrm>
            <a:off x="1029494" y="553505"/>
            <a:ext cx="10154444" cy="769442"/>
          </a:xfrm>
          <a:prstGeom prst="rect">
            <a:avLst/>
          </a:prstGeom>
        </p:spPr>
        <p:style>
          <a:lnRef idx="0">
            <a:schemeClr val="accent1"/>
          </a:lnRef>
          <a:fillRef idx="0">
            <a:schemeClr val="accent1"/>
          </a:fillRef>
          <a:effectRef idx="0">
            <a:schemeClr val="accent1"/>
          </a:effectRef>
          <a:fontRef idx="minor">
            <a:schemeClr val="dk1"/>
          </a:fontRef>
        </p:style>
        <p:txBody>
          <a:bodyPr vert="horz" wrap="square" lIns="0" tIns="0" rIns="0" bIns="0" rtlCol="0" anchor="t" anchorCtr="0">
            <a:normAutofit/>
          </a:bodyPr>
          <a:lstStyle/>
          <a:p>
            <a:pPr>
              <a:spcBef>
                <a:spcPct val="0"/>
              </a:spcBef>
              <a:spcAft>
                <a:spcPts val="600"/>
              </a:spcAft>
              <a:buSzPct val="120000"/>
            </a:pPr>
            <a:r>
              <a:rPr lang="nb-NO" sz="3600" u="none" kern="1200">
                <a:solidFill>
                  <a:schemeClr val="accent1"/>
                </a:solidFill>
                <a:latin typeface="Brockmann" pitchFamily="50" charset="0"/>
                <a:ea typeface="+mj-ea"/>
                <a:cs typeface="+mj-cs"/>
              </a:rPr>
              <a:t>Metodisk tilnærming</a:t>
            </a:r>
          </a:p>
        </p:txBody>
      </p:sp>
      <p:grpSp>
        <p:nvGrpSpPr>
          <p:cNvPr id="4" name="Gruppe 3">
            <a:extLst>
              <a:ext uri="{FF2B5EF4-FFF2-40B4-BE49-F238E27FC236}">
                <a16:creationId xmlns:a16="http://schemas.microsoft.com/office/drawing/2014/main" id="{5C5C6019-ACD1-8B85-13DF-D47AEF27619D}"/>
              </a:ext>
            </a:extLst>
          </p:cNvPr>
          <p:cNvGrpSpPr/>
          <p:nvPr/>
        </p:nvGrpSpPr>
        <p:grpSpPr>
          <a:xfrm>
            <a:off x="1034228" y="2360274"/>
            <a:ext cx="10149709" cy="3294856"/>
            <a:chOff x="1031861" y="2744788"/>
            <a:chExt cx="10149709" cy="3294856"/>
          </a:xfrm>
        </p:grpSpPr>
        <p:sp>
          <p:nvSpPr>
            <p:cNvPr id="5" name="Friform 4">
              <a:extLst>
                <a:ext uri="{FF2B5EF4-FFF2-40B4-BE49-F238E27FC236}">
                  <a16:creationId xmlns:a16="http://schemas.microsoft.com/office/drawing/2014/main" id="{223C66FB-39B5-9D8C-919B-7770A290A442}"/>
                </a:ext>
              </a:extLst>
            </p:cNvPr>
            <p:cNvSpPr/>
            <p:nvPr/>
          </p:nvSpPr>
          <p:spPr>
            <a:xfrm>
              <a:off x="1031861" y="2744788"/>
              <a:ext cx="2481591" cy="3294856"/>
            </a:xfrm>
            <a:custGeom>
              <a:avLst/>
              <a:gdLst>
                <a:gd name="connsiteX0" fmla="*/ 0 w 2481591"/>
                <a:gd name="connsiteY0" fmla="*/ 248159 h 3294856"/>
                <a:gd name="connsiteX1" fmla="*/ 248159 w 2481591"/>
                <a:gd name="connsiteY1" fmla="*/ 0 h 3294856"/>
                <a:gd name="connsiteX2" fmla="*/ 2233432 w 2481591"/>
                <a:gd name="connsiteY2" fmla="*/ 0 h 3294856"/>
                <a:gd name="connsiteX3" fmla="*/ 2481591 w 2481591"/>
                <a:gd name="connsiteY3" fmla="*/ 248159 h 3294856"/>
                <a:gd name="connsiteX4" fmla="*/ 2481591 w 2481591"/>
                <a:gd name="connsiteY4" fmla="*/ 3046697 h 3294856"/>
                <a:gd name="connsiteX5" fmla="*/ 2233432 w 2481591"/>
                <a:gd name="connsiteY5" fmla="*/ 3294856 h 3294856"/>
                <a:gd name="connsiteX6" fmla="*/ 248159 w 2481591"/>
                <a:gd name="connsiteY6" fmla="*/ 3294856 h 3294856"/>
                <a:gd name="connsiteX7" fmla="*/ 0 w 2481591"/>
                <a:gd name="connsiteY7" fmla="*/ 3046697 h 3294856"/>
                <a:gd name="connsiteX8" fmla="*/ 0 w 2481591"/>
                <a:gd name="connsiteY8" fmla="*/ 248159 h 3294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1591" h="3294856">
                  <a:moveTo>
                    <a:pt x="0" y="248159"/>
                  </a:moveTo>
                  <a:cubicBezTo>
                    <a:pt x="0" y="111105"/>
                    <a:pt x="111105" y="0"/>
                    <a:pt x="248159" y="0"/>
                  </a:cubicBezTo>
                  <a:lnTo>
                    <a:pt x="2233432" y="0"/>
                  </a:lnTo>
                  <a:cubicBezTo>
                    <a:pt x="2370486" y="0"/>
                    <a:pt x="2481591" y="111105"/>
                    <a:pt x="2481591" y="248159"/>
                  </a:cubicBezTo>
                  <a:lnTo>
                    <a:pt x="2481591" y="3046697"/>
                  </a:lnTo>
                  <a:cubicBezTo>
                    <a:pt x="2481591" y="3183751"/>
                    <a:pt x="2370486" y="3294856"/>
                    <a:pt x="2233432" y="3294856"/>
                  </a:cubicBezTo>
                  <a:lnTo>
                    <a:pt x="248159" y="3294856"/>
                  </a:lnTo>
                  <a:cubicBezTo>
                    <a:pt x="111105" y="3294856"/>
                    <a:pt x="0" y="3183751"/>
                    <a:pt x="0" y="3046697"/>
                  </a:cubicBezTo>
                  <a:lnTo>
                    <a:pt x="0" y="24815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9352" tIns="1467294" rIns="149352" bIns="808324" numCol="1" spcCol="1270" anchor="ctr" anchorCtr="0">
              <a:noAutofit/>
            </a:bodyPr>
            <a:lstStyle/>
            <a:p>
              <a:pPr marL="0" lvl="0" indent="0" algn="ctr" defTabSz="933450">
                <a:lnSpc>
                  <a:spcPct val="90000"/>
                </a:lnSpc>
                <a:spcBef>
                  <a:spcPct val="0"/>
                </a:spcBef>
                <a:spcAft>
                  <a:spcPct val="35000"/>
                </a:spcAft>
                <a:buNone/>
              </a:pPr>
              <a:r>
                <a:rPr lang="nb-NO" sz="2100" kern="1200"/>
                <a:t>Trekker tjenestene ut av systemet</a:t>
              </a:r>
              <a:endParaRPr lang="en-US" sz="2100" kern="1200"/>
            </a:p>
          </p:txBody>
        </p:sp>
        <p:sp>
          <p:nvSpPr>
            <p:cNvPr id="8" name="Friform 7">
              <a:extLst>
                <a:ext uri="{FF2B5EF4-FFF2-40B4-BE49-F238E27FC236}">
                  <a16:creationId xmlns:a16="http://schemas.microsoft.com/office/drawing/2014/main" id="{588B9D59-F180-DFF8-C25E-F2FA6D7D0C70}"/>
                </a:ext>
              </a:extLst>
            </p:cNvPr>
            <p:cNvSpPr/>
            <p:nvPr/>
          </p:nvSpPr>
          <p:spPr>
            <a:xfrm>
              <a:off x="3587900" y="2744788"/>
              <a:ext cx="2481591" cy="3294856"/>
            </a:xfrm>
            <a:custGeom>
              <a:avLst/>
              <a:gdLst>
                <a:gd name="connsiteX0" fmla="*/ 0 w 2481591"/>
                <a:gd name="connsiteY0" fmla="*/ 248159 h 3294856"/>
                <a:gd name="connsiteX1" fmla="*/ 248159 w 2481591"/>
                <a:gd name="connsiteY1" fmla="*/ 0 h 3294856"/>
                <a:gd name="connsiteX2" fmla="*/ 2233432 w 2481591"/>
                <a:gd name="connsiteY2" fmla="*/ 0 h 3294856"/>
                <a:gd name="connsiteX3" fmla="*/ 2481591 w 2481591"/>
                <a:gd name="connsiteY3" fmla="*/ 248159 h 3294856"/>
                <a:gd name="connsiteX4" fmla="*/ 2481591 w 2481591"/>
                <a:gd name="connsiteY4" fmla="*/ 3046697 h 3294856"/>
                <a:gd name="connsiteX5" fmla="*/ 2233432 w 2481591"/>
                <a:gd name="connsiteY5" fmla="*/ 3294856 h 3294856"/>
                <a:gd name="connsiteX6" fmla="*/ 248159 w 2481591"/>
                <a:gd name="connsiteY6" fmla="*/ 3294856 h 3294856"/>
                <a:gd name="connsiteX7" fmla="*/ 0 w 2481591"/>
                <a:gd name="connsiteY7" fmla="*/ 3046697 h 3294856"/>
                <a:gd name="connsiteX8" fmla="*/ 0 w 2481591"/>
                <a:gd name="connsiteY8" fmla="*/ 248159 h 3294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1591" h="3294856">
                  <a:moveTo>
                    <a:pt x="0" y="248159"/>
                  </a:moveTo>
                  <a:cubicBezTo>
                    <a:pt x="0" y="111105"/>
                    <a:pt x="111105" y="0"/>
                    <a:pt x="248159" y="0"/>
                  </a:cubicBezTo>
                  <a:lnTo>
                    <a:pt x="2233432" y="0"/>
                  </a:lnTo>
                  <a:cubicBezTo>
                    <a:pt x="2370486" y="0"/>
                    <a:pt x="2481591" y="111105"/>
                    <a:pt x="2481591" y="248159"/>
                  </a:cubicBezTo>
                  <a:lnTo>
                    <a:pt x="2481591" y="3046697"/>
                  </a:lnTo>
                  <a:cubicBezTo>
                    <a:pt x="2481591" y="3183751"/>
                    <a:pt x="2370486" y="3294856"/>
                    <a:pt x="2233432" y="3294856"/>
                  </a:cubicBezTo>
                  <a:lnTo>
                    <a:pt x="248159" y="3294856"/>
                  </a:lnTo>
                  <a:cubicBezTo>
                    <a:pt x="111105" y="3294856"/>
                    <a:pt x="0" y="3183751"/>
                    <a:pt x="0" y="3046697"/>
                  </a:cubicBezTo>
                  <a:lnTo>
                    <a:pt x="0" y="24815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9352" tIns="1467294" rIns="149352" bIns="808324" numCol="1" spcCol="1270" anchor="ctr" anchorCtr="0">
              <a:noAutofit/>
            </a:bodyPr>
            <a:lstStyle/>
            <a:p>
              <a:pPr marL="0" lvl="0" indent="0" algn="ctr" defTabSz="933450">
                <a:lnSpc>
                  <a:spcPct val="90000"/>
                </a:lnSpc>
                <a:spcBef>
                  <a:spcPct val="0"/>
                </a:spcBef>
                <a:spcAft>
                  <a:spcPct val="35000"/>
                </a:spcAft>
                <a:buNone/>
              </a:pPr>
              <a:r>
                <a:rPr lang="nb-NO" sz="2100" kern="1200"/>
                <a:t>Ser avhengigheter mellom tjenestene</a:t>
              </a:r>
              <a:endParaRPr lang="en-US" sz="2100" kern="1200"/>
            </a:p>
          </p:txBody>
        </p:sp>
        <p:sp>
          <p:nvSpPr>
            <p:cNvPr id="10" name="Friform 9">
              <a:extLst>
                <a:ext uri="{FF2B5EF4-FFF2-40B4-BE49-F238E27FC236}">
                  <a16:creationId xmlns:a16="http://schemas.microsoft.com/office/drawing/2014/main" id="{D260D5BD-B908-1179-E97D-96A84A10C145}"/>
                </a:ext>
              </a:extLst>
            </p:cNvPr>
            <p:cNvSpPr/>
            <p:nvPr/>
          </p:nvSpPr>
          <p:spPr>
            <a:xfrm>
              <a:off x="6143939" y="2744788"/>
              <a:ext cx="2481591" cy="3294856"/>
            </a:xfrm>
            <a:custGeom>
              <a:avLst/>
              <a:gdLst>
                <a:gd name="connsiteX0" fmla="*/ 0 w 2481591"/>
                <a:gd name="connsiteY0" fmla="*/ 248159 h 3294856"/>
                <a:gd name="connsiteX1" fmla="*/ 248159 w 2481591"/>
                <a:gd name="connsiteY1" fmla="*/ 0 h 3294856"/>
                <a:gd name="connsiteX2" fmla="*/ 2233432 w 2481591"/>
                <a:gd name="connsiteY2" fmla="*/ 0 h 3294856"/>
                <a:gd name="connsiteX3" fmla="*/ 2481591 w 2481591"/>
                <a:gd name="connsiteY3" fmla="*/ 248159 h 3294856"/>
                <a:gd name="connsiteX4" fmla="*/ 2481591 w 2481591"/>
                <a:gd name="connsiteY4" fmla="*/ 3046697 h 3294856"/>
                <a:gd name="connsiteX5" fmla="*/ 2233432 w 2481591"/>
                <a:gd name="connsiteY5" fmla="*/ 3294856 h 3294856"/>
                <a:gd name="connsiteX6" fmla="*/ 248159 w 2481591"/>
                <a:gd name="connsiteY6" fmla="*/ 3294856 h 3294856"/>
                <a:gd name="connsiteX7" fmla="*/ 0 w 2481591"/>
                <a:gd name="connsiteY7" fmla="*/ 3046697 h 3294856"/>
                <a:gd name="connsiteX8" fmla="*/ 0 w 2481591"/>
                <a:gd name="connsiteY8" fmla="*/ 248159 h 3294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1591" h="3294856">
                  <a:moveTo>
                    <a:pt x="0" y="248159"/>
                  </a:moveTo>
                  <a:cubicBezTo>
                    <a:pt x="0" y="111105"/>
                    <a:pt x="111105" y="0"/>
                    <a:pt x="248159" y="0"/>
                  </a:cubicBezTo>
                  <a:lnTo>
                    <a:pt x="2233432" y="0"/>
                  </a:lnTo>
                  <a:cubicBezTo>
                    <a:pt x="2370486" y="0"/>
                    <a:pt x="2481591" y="111105"/>
                    <a:pt x="2481591" y="248159"/>
                  </a:cubicBezTo>
                  <a:lnTo>
                    <a:pt x="2481591" y="3046697"/>
                  </a:lnTo>
                  <a:cubicBezTo>
                    <a:pt x="2481591" y="3183751"/>
                    <a:pt x="2370486" y="3294856"/>
                    <a:pt x="2233432" y="3294856"/>
                  </a:cubicBezTo>
                  <a:lnTo>
                    <a:pt x="248159" y="3294856"/>
                  </a:lnTo>
                  <a:cubicBezTo>
                    <a:pt x="111105" y="3294856"/>
                    <a:pt x="0" y="3183751"/>
                    <a:pt x="0" y="3046697"/>
                  </a:cubicBezTo>
                  <a:lnTo>
                    <a:pt x="0" y="24815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9352" tIns="1467294" rIns="149352" bIns="808324" numCol="1" spcCol="1270" anchor="ctr" anchorCtr="0">
              <a:noAutofit/>
            </a:bodyPr>
            <a:lstStyle/>
            <a:p>
              <a:pPr marL="0" lvl="0" indent="0" algn="ctr" defTabSz="933450">
                <a:lnSpc>
                  <a:spcPct val="90000"/>
                </a:lnSpc>
                <a:spcBef>
                  <a:spcPct val="0"/>
                </a:spcBef>
                <a:spcAft>
                  <a:spcPct val="35000"/>
                </a:spcAft>
                <a:buNone/>
              </a:pPr>
              <a:r>
                <a:rPr lang="nb-NO" sz="2100" kern="1200"/>
                <a:t>Forklarer behovene gjennom brukerreiser</a:t>
              </a:r>
              <a:endParaRPr lang="en-US" sz="2100" kern="1200"/>
            </a:p>
          </p:txBody>
        </p:sp>
        <p:sp>
          <p:nvSpPr>
            <p:cNvPr id="14" name="Friform 13">
              <a:extLst>
                <a:ext uri="{FF2B5EF4-FFF2-40B4-BE49-F238E27FC236}">
                  <a16:creationId xmlns:a16="http://schemas.microsoft.com/office/drawing/2014/main" id="{86625C35-03C3-B7B7-24A3-2B034FC3BA14}"/>
                </a:ext>
              </a:extLst>
            </p:cNvPr>
            <p:cNvSpPr/>
            <p:nvPr/>
          </p:nvSpPr>
          <p:spPr>
            <a:xfrm>
              <a:off x="8699979" y="2744788"/>
              <a:ext cx="2481591" cy="3294856"/>
            </a:xfrm>
            <a:custGeom>
              <a:avLst/>
              <a:gdLst>
                <a:gd name="connsiteX0" fmla="*/ 0 w 2481591"/>
                <a:gd name="connsiteY0" fmla="*/ 248159 h 3294856"/>
                <a:gd name="connsiteX1" fmla="*/ 248159 w 2481591"/>
                <a:gd name="connsiteY1" fmla="*/ 0 h 3294856"/>
                <a:gd name="connsiteX2" fmla="*/ 2233432 w 2481591"/>
                <a:gd name="connsiteY2" fmla="*/ 0 h 3294856"/>
                <a:gd name="connsiteX3" fmla="*/ 2481591 w 2481591"/>
                <a:gd name="connsiteY3" fmla="*/ 248159 h 3294856"/>
                <a:gd name="connsiteX4" fmla="*/ 2481591 w 2481591"/>
                <a:gd name="connsiteY4" fmla="*/ 3046697 h 3294856"/>
                <a:gd name="connsiteX5" fmla="*/ 2233432 w 2481591"/>
                <a:gd name="connsiteY5" fmla="*/ 3294856 h 3294856"/>
                <a:gd name="connsiteX6" fmla="*/ 248159 w 2481591"/>
                <a:gd name="connsiteY6" fmla="*/ 3294856 h 3294856"/>
                <a:gd name="connsiteX7" fmla="*/ 0 w 2481591"/>
                <a:gd name="connsiteY7" fmla="*/ 3046697 h 3294856"/>
                <a:gd name="connsiteX8" fmla="*/ 0 w 2481591"/>
                <a:gd name="connsiteY8" fmla="*/ 248159 h 3294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1591" h="3294856">
                  <a:moveTo>
                    <a:pt x="0" y="248159"/>
                  </a:moveTo>
                  <a:cubicBezTo>
                    <a:pt x="0" y="111105"/>
                    <a:pt x="111105" y="0"/>
                    <a:pt x="248159" y="0"/>
                  </a:cubicBezTo>
                  <a:lnTo>
                    <a:pt x="2233432" y="0"/>
                  </a:lnTo>
                  <a:cubicBezTo>
                    <a:pt x="2370486" y="0"/>
                    <a:pt x="2481591" y="111105"/>
                    <a:pt x="2481591" y="248159"/>
                  </a:cubicBezTo>
                  <a:lnTo>
                    <a:pt x="2481591" y="3046697"/>
                  </a:lnTo>
                  <a:cubicBezTo>
                    <a:pt x="2481591" y="3183751"/>
                    <a:pt x="2370486" y="3294856"/>
                    <a:pt x="2233432" y="3294856"/>
                  </a:cubicBezTo>
                  <a:lnTo>
                    <a:pt x="248159" y="3294856"/>
                  </a:lnTo>
                  <a:cubicBezTo>
                    <a:pt x="111105" y="3294856"/>
                    <a:pt x="0" y="3183751"/>
                    <a:pt x="0" y="3046697"/>
                  </a:cubicBezTo>
                  <a:lnTo>
                    <a:pt x="0" y="24815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9352" tIns="1467294" rIns="149352" bIns="808324" numCol="1" spcCol="1270" anchor="ctr" anchorCtr="0">
              <a:noAutofit/>
            </a:bodyPr>
            <a:lstStyle/>
            <a:p>
              <a:pPr marL="0" lvl="0" indent="0" algn="ctr" defTabSz="933450">
                <a:lnSpc>
                  <a:spcPct val="90000"/>
                </a:lnSpc>
                <a:spcBef>
                  <a:spcPct val="0"/>
                </a:spcBef>
                <a:spcAft>
                  <a:spcPct val="35000"/>
                </a:spcAft>
                <a:buNone/>
              </a:pPr>
              <a:r>
                <a:rPr lang="nb-NO" sz="2100" kern="1200"/>
                <a:t>Kartlegger systemet gjennom viktige prosesser</a:t>
              </a:r>
              <a:endParaRPr lang="en-US" sz="2100" kern="1200"/>
            </a:p>
          </p:txBody>
        </p:sp>
      </p:grpSp>
      <p:sp>
        <p:nvSpPr>
          <p:cNvPr id="7" name="TekstSylinder 6">
            <a:extLst>
              <a:ext uri="{FF2B5EF4-FFF2-40B4-BE49-F238E27FC236}">
                <a16:creationId xmlns:a16="http://schemas.microsoft.com/office/drawing/2014/main" id="{C2976AAC-94D0-3586-DCB5-49AF8309E203}"/>
              </a:ext>
            </a:extLst>
          </p:cNvPr>
          <p:cNvSpPr txBox="1"/>
          <p:nvPr/>
        </p:nvSpPr>
        <p:spPr>
          <a:xfrm>
            <a:off x="1008062" y="1202870"/>
            <a:ext cx="10062709" cy="830997"/>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a:spAutoFit/>
          </a:bodyPr>
          <a:lstStyle/>
          <a:p>
            <a:r>
              <a:rPr lang="nb-NO" sz="2400"/>
              <a:t>For å skape en helhetlig forståelse av behovene VIGO-systemet dekker gjennom tjenester, har vi valgt en metodisk tilnærming som:</a:t>
            </a:r>
          </a:p>
        </p:txBody>
      </p:sp>
      <p:pic>
        <p:nvPicPr>
          <p:cNvPr id="12" name="Grafikk 11" descr="Rakett kontur">
            <a:extLst>
              <a:ext uri="{FF2B5EF4-FFF2-40B4-BE49-F238E27FC236}">
                <a16:creationId xmlns:a16="http://schemas.microsoft.com/office/drawing/2014/main" id="{DF6D0735-9961-3CFC-AEA0-B12C4EE3B6E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929901" y="2587286"/>
            <a:ext cx="914400" cy="914400"/>
          </a:xfrm>
          <a:prstGeom prst="rect">
            <a:avLst/>
          </a:prstGeom>
        </p:spPr>
      </p:pic>
      <p:pic>
        <p:nvPicPr>
          <p:cNvPr id="17" name="Grafikk 16" descr="Bygger murvegg kontur">
            <a:extLst>
              <a:ext uri="{FF2B5EF4-FFF2-40B4-BE49-F238E27FC236}">
                <a16:creationId xmlns:a16="http://schemas.microsoft.com/office/drawing/2014/main" id="{3647D9E6-70E0-69B0-5D43-8EF4201FB3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26870" y="2587286"/>
            <a:ext cx="914400" cy="914400"/>
          </a:xfrm>
          <a:prstGeom prst="rect">
            <a:avLst/>
          </a:prstGeom>
        </p:spPr>
      </p:pic>
      <p:pic>
        <p:nvPicPr>
          <p:cNvPr id="6" name="Grafikk 5" descr="Arbeidsflyt kontur">
            <a:extLst>
              <a:ext uri="{FF2B5EF4-FFF2-40B4-BE49-F238E27FC236}">
                <a16:creationId xmlns:a16="http://schemas.microsoft.com/office/drawing/2014/main" id="{6F278D0D-16EC-0321-113E-7CA89E0AFD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485941" y="2587286"/>
            <a:ext cx="914400" cy="914400"/>
          </a:xfrm>
          <a:prstGeom prst="rect">
            <a:avLst/>
          </a:prstGeom>
        </p:spPr>
      </p:pic>
      <p:pic>
        <p:nvPicPr>
          <p:cNvPr id="13" name="Grafikk 12" descr="Puslespillbiter kontur">
            <a:extLst>
              <a:ext uri="{FF2B5EF4-FFF2-40B4-BE49-F238E27FC236}">
                <a16:creationId xmlns:a16="http://schemas.microsoft.com/office/drawing/2014/main" id="{3C23EBB4-F3F5-2137-B070-4AC800FE3F6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48310" y="2587286"/>
            <a:ext cx="914400" cy="914400"/>
          </a:xfrm>
          <a:prstGeom prst="rect">
            <a:avLst/>
          </a:prstGeom>
        </p:spPr>
      </p:pic>
    </p:spTree>
    <p:extLst>
      <p:ext uri="{BB962C8B-B14F-4D97-AF65-F5344CB8AC3E}">
        <p14:creationId xmlns:p14="http://schemas.microsoft.com/office/powerpoint/2010/main" val="30328199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ktangel: avrundede hjørner øverst 5">
            <a:extLst>
              <a:ext uri="{FF2B5EF4-FFF2-40B4-BE49-F238E27FC236}">
                <a16:creationId xmlns:a16="http://schemas.microsoft.com/office/drawing/2014/main" id="{70D3C8BE-D412-2212-5624-49FA36BB3558}"/>
              </a:ext>
            </a:extLst>
          </p:cNvPr>
          <p:cNvSpPr/>
          <p:nvPr/>
        </p:nvSpPr>
        <p:spPr>
          <a:xfrm>
            <a:off x="7590" y="3779455"/>
            <a:ext cx="12192000" cy="3094055"/>
          </a:xfrm>
          <a:prstGeom prst="round2SameRect">
            <a:avLst>
              <a:gd name="adj1" fmla="val 0"/>
              <a:gd name="adj2" fmla="val 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900">
              <a:solidFill>
                <a:schemeClr val="tx2"/>
              </a:solidFill>
            </a:endParaRPr>
          </a:p>
        </p:txBody>
      </p:sp>
      <p:graphicFrame>
        <p:nvGraphicFramePr>
          <p:cNvPr id="7" name="think-cell data - do not delete" hidden="1">
            <a:extLst>
              <a:ext uri="{FF2B5EF4-FFF2-40B4-BE49-F238E27FC236}">
                <a16:creationId xmlns:a16="http://schemas.microsoft.com/office/drawing/2014/main" id="{51D2BF95-3E00-A25E-E03C-6D14894369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7" name="think-cell data - do not delete" hidden="1">
                        <a:extLst>
                          <a:ext uri="{FF2B5EF4-FFF2-40B4-BE49-F238E27FC236}">
                            <a16:creationId xmlns:a16="http://schemas.microsoft.com/office/drawing/2014/main" id="{51D2BF95-3E00-A25E-E03C-6D1489436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ssholder for innhold 2">
            <a:extLst>
              <a:ext uri="{FF2B5EF4-FFF2-40B4-BE49-F238E27FC236}">
                <a16:creationId xmlns:a16="http://schemas.microsoft.com/office/drawing/2014/main" id="{83DE0336-14AF-CD46-E1DB-D095B0156E30}"/>
              </a:ext>
            </a:extLst>
          </p:cNvPr>
          <p:cNvSpPr>
            <a:spLocks noGrp="1"/>
          </p:cNvSpPr>
          <p:nvPr>
            <p:ph idx="1"/>
          </p:nvPr>
        </p:nvSpPr>
        <p:spPr>
          <a:xfrm>
            <a:off x="1147616" y="960335"/>
            <a:ext cx="9540626" cy="3294856"/>
          </a:xfrm>
        </p:spPr>
        <p:txBody>
          <a:bodyPr/>
          <a:lstStyle/>
          <a:p>
            <a:pPr marL="0" indent="0" algn="ctr">
              <a:buNone/>
            </a:pPr>
            <a:r>
              <a:rPr lang="nb-NO" sz="1800">
                <a:latin typeface="Inter Medium" panose="02000503000000020004" pitchFamily="2" charset="0"/>
                <a:ea typeface="Inter Medium" panose="02000503000000020004" pitchFamily="2" charset="0"/>
              </a:rPr>
              <a:t>SIKRE AT </a:t>
            </a:r>
            <a:r>
              <a:rPr lang="nb-NO" sz="1800" b="1">
                <a:latin typeface="Inter ExtraBold" panose="02000503000000020004" pitchFamily="2" charset="0"/>
                <a:ea typeface="Inter ExtraBold" panose="02000503000000020004" pitchFamily="2" charset="0"/>
              </a:rPr>
              <a:t>ALLE UNGDOMMER OG VOKSNE </a:t>
            </a:r>
            <a:r>
              <a:rPr lang="nb-NO" sz="1800">
                <a:latin typeface="Inter Medium" panose="02000503000000020004" pitchFamily="2" charset="0"/>
                <a:ea typeface="Inter Medium" panose="02000503000000020004" pitchFamily="2" charset="0"/>
              </a:rPr>
              <a:t>SOM HAR RETT TIL VIDEREGÅENDE OPPLÆRING FÅR ET </a:t>
            </a:r>
            <a:r>
              <a:rPr lang="nb-NO" sz="1800" b="1">
                <a:latin typeface="Inter ExtraBold" panose="02000503000000020004" pitchFamily="2" charset="0"/>
                <a:ea typeface="Inter ExtraBold" panose="02000503000000020004" pitchFamily="2" charset="0"/>
              </a:rPr>
              <a:t>KVALITATIVT GODT OG TILGJENGELIG OPPLÆRINGSTILBUD</a:t>
            </a:r>
            <a:r>
              <a:rPr lang="nb-NO" sz="1800">
                <a:latin typeface="Inter Medium" panose="02000503000000020004" pitchFamily="2" charset="0"/>
                <a:ea typeface="Inter Medium" panose="02000503000000020004" pitchFamily="2" charset="0"/>
              </a:rPr>
              <a:t>.</a:t>
            </a:r>
          </a:p>
        </p:txBody>
      </p:sp>
      <p:sp>
        <p:nvSpPr>
          <p:cNvPr id="4" name="Plassholder for lysbildenummer 3">
            <a:extLst>
              <a:ext uri="{FF2B5EF4-FFF2-40B4-BE49-F238E27FC236}">
                <a16:creationId xmlns:a16="http://schemas.microsoft.com/office/drawing/2014/main" id="{0FF83238-BAF8-C8C2-C8C4-9079BEB8AAA8}"/>
              </a:ext>
            </a:extLst>
          </p:cNvPr>
          <p:cNvSpPr>
            <a:spLocks noGrp="1"/>
          </p:cNvSpPr>
          <p:nvPr>
            <p:ph type="sldNum" sz="quarter" idx="12"/>
          </p:nvPr>
        </p:nvSpPr>
        <p:spPr>
          <a:xfrm>
            <a:off x="11317393" y="6338953"/>
            <a:ext cx="391477" cy="153889"/>
          </a:xfrm>
        </p:spPr>
        <p:txBody>
          <a:bodyPr/>
          <a:lstStyle/>
          <a:p>
            <a:fld id="{BE2ACD00-28B2-4D17-A930-2C9F8441C7CA}" type="slidenum">
              <a:rPr lang="nb-NO" smtClean="0"/>
              <a:pPr/>
              <a:t>7</a:t>
            </a:fld>
            <a:endParaRPr lang="nb-NO"/>
          </a:p>
        </p:txBody>
      </p:sp>
      <p:sp>
        <p:nvSpPr>
          <p:cNvPr id="6" name="Rektangel: avrundede hjørner øverst 5">
            <a:extLst>
              <a:ext uri="{FF2B5EF4-FFF2-40B4-BE49-F238E27FC236}">
                <a16:creationId xmlns:a16="http://schemas.microsoft.com/office/drawing/2014/main" id="{5A625B1B-A7C1-4D03-84B5-9F317792C1E3}"/>
              </a:ext>
            </a:extLst>
          </p:cNvPr>
          <p:cNvSpPr/>
          <p:nvPr/>
        </p:nvSpPr>
        <p:spPr>
          <a:xfrm>
            <a:off x="1012865" y="4640014"/>
            <a:ext cx="2331171" cy="136528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t"/>
          <a:lstStyle/>
          <a:p>
            <a:r>
              <a:rPr lang="nb-NO" sz="900">
                <a:solidFill>
                  <a:schemeClr val="tx1"/>
                </a:solidFill>
              </a:rPr>
              <a:t>Videregående opplæring i Norge er en lovfestet rett for ungdom, samt for voksne med behov for videre opplæring. Det skal sikres at alle som har denne retten, får en rettferdig mulighet til å søke, velge og bli tatt inn til et opplæringsløp. Inntaksprosessene skal følge nasjonale føringer og fylkeskommunale beslutninger for å sikre like muligheter uavhengig av bosted og bakgrunn.</a:t>
            </a:r>
          </a:p>
        </p:txBody>
      </p:sp>
      <p:sp>
        <p:nvSpPr>
          <p:cNvPr id="13" name="Rektangel: avrundede hjørner 12">
            <a:extLst>
              <a:ext uri="{FF2B5EF4-FFF2-40B4-BE49-F238E27FC236}">
                <a16:creationId xmlns:a16="http://schemas.microsoft.com/office/drawing/2014/main" id="{464C0834-EDDE-7DEB-9D80-50BA5099156E}"/>
              </a:ext>
            </a:extLst>
          </p:cNvPr>
          <p:cNvSpPr/>
          <p:nvPr/>
        </p:nvSpPr>
        <p:spPr>
          <a:xfrm>
            <a:off x="1012865" y="4094915"/>
            <a:ext cx="2331171" cy="513712"/>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200">
                <a:solidFill>
                  <a:schemeClr val="bg1"/>
                </a:solidFill>
              </a:rPr>
              <a:t>Rett til videregående opplæring</a:t>
            </a:r>
          </a:p>
        </p:txBody>
      </p:sp>
      <p:sp>
        <p:nvSpPr>
          <p:cNvPr id="14" name="Rektangel: avrundede hjørner øverst 13">
            <a:extLst>
              <a:ext uri="{FF2B5EF4-FFF2-40B4-BE49-F238E27FC236}">
                <a16:creationId xmlns:a16="http://schemas.microsoft.com/office/drawing/2014/main" id="{40DAB5FA-AD43-7CA5-AAD9-2F781FCAA6E0}"/>
              </a:ext>
            </a:extLst>
          </p:cNvPr>
          <p:cNvSpPr/>
          <p:nvPr/>
        </p:nvSpPr>
        <p:spPr>
          <a:xfrm>
            <a:off x="3495673" y="4636344"/>
            <a:ext cx="2331171" cy="136528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t"/>
          <a:lstStyle/>
          <a:p>
            <a:r>
              <a:rPr lang="nb-NO" sz="900">
                <a:solidFill>
                  <a:schemeClr val="tx1"/>
                </a:solidFill>
              </a:rPr>
              <a:t>Videregående opplæring skal gi elevene og lærlingene et strukturert og tilpasset opplæringsløp, enten gjennom skole eller i bedrift. Det skal legges til rette for at hver enkelt får nødvendig veiledning og oppfølging, slik at de kan fullføre sin opplæring på en måte som fremmer læring, mestring og personlig utvikling.</a:t>
            </a:r>
          </a:p>
        </p:txBody>
      </p:sp>
      <p:sp>
        <p:nvSpPr>
          <p:cNvPr id="15" name="Rektangel: avrundede hjørner 14">
            <a:extLst>
              <a:ext uri="{FF2B5EF4-FFF2-40B4-BE49-F238E27FC236}">
                <a16:creationId xmlns:a16="http://schemas.microsoft.com/office/drawing/2014/main" id="{C3A7E132-04EF-5781-0CD5-DAA055F8ECAD}"/>
              </a:ext>
            </a:extLst>
          </p:cNvPr>
          <p:cNvSpPr/>
          <p:nvPr/>
        </p:nvSpPr>
        <p:spPr>
          <a:xfrm>
            <a:off x="3495673" y="4094915"/>
            <a:ext cx="2331171" cy="513712"/>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200">
                <a:solidFill>
                  <a:schemeClr val="bg1"/>
                </a:solidFill>
              </a:rPr>
              <a:t>Administrasjon av utdanningsløpet</a:t>
            </a:r>
          </a:p>
        </p:txBody>
      </p:sp>
      <p:sp>
        <p:nvSpPr>
          <p:cNvPr id="16" name="Rektangel: avrundede hjørner øverst 15">
            <a:extLst>
              <a:ext uri="{FF2B5EF4-FFF2-40B4-BE49-F238E27FC236}">
                <a16:creationId xmlns:a16="http://schemas.microsoft.com/office/drawing/2014/main" id="{16BA4801-955C-FD17-32A5-97EB4AF4F82E}"/>
              </a:ext>
            </a:extLst>
          </p:cNvPr>
          <p:cNvSpPr/>
          <p:nvPr/>
        </p:nvSpPr>
        <p:spPr>
          <a:xfrm>
            <a:off x="5978481" y="4641175"/>
            <a:ext cx="2331171" cy="136528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t"/>
          <a:lstStyle/>
          <a:p>
            <a:r>
              <a:rPr lang="nb-NO" sz="900">
                <a:solidFill>
                  <a:schemeClr val="tx1"/>
                </a:solidFill>
              </a:rPr>
              <a:t>Fag- og yrkesopplæringen er en sentral del av videregående opplæring og skal sikre at elever og lærlinger får kompetansen de trenger for arbeidslivet. Det må være gode ordninger for formidling av lærlinger til bedrifter, oppfølging av lærekontrakter og gjennomføring av fag- og svenneprøver. Samarbeidet mellom opplæringssektoren og næringslivet må være godt forankret for å sikre at arbeidslivet får kvalifiserte fagarbeidere, og at elever og lærlinger får relevante ferdigheter og erfaringer.</a:t>
            </a:r>
          </a:p>
        </p:txBody>
      </p:sp>
      <p:sp>
        <p:nvSpPr>
          <p:cNvPr id="17" name="Rektangel: avrundede hjørner 16">
            <a:extLst>
              <a:ext uri="{FF2B5EF4-FFF2-40B4-BE49-F238E27FC236}">
                <a16:creationId xmlns:a16="http://schemas.microsoft.com/office/drawing/2014/main" id="{6969DB9F-2D8B-9253-3078-38709364F633}"/>
              </a:ext>
            </a:extLst>
          </p:cNvPr>
          <p:cNvSpPr/>
          <p:nvPr/>
        </p:nvSpPr>
        <p:spPr>
          <a:xfrm>
            <a:off x="5978481" y="4094915"/>
            <a:ext cx="2331171" cy="513712"/>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200">
                <a:solidFill>
                  <a:schemeClr val="bg1"/>
                </a:solidFill>
              </a:rPr>
              <a:t>Støtte til yrkesrettet utdanning</a:t>
            </a:r>
          </a:p>
        </p:txBody>
      </p:sp>
      <p:sp>
        <p:nvSpPr>
          <p:cNvPr id="19" name="Rektangel: avrundede hjørner øverst 18">
            <a:extLst>
              <a:ext uri="{FF2B5EF4-FFF2-40B4-BE49-F238E27FC236}">
                <a16:creationId xmlns:a16="http://schemas.microsoft.com/office/drawing/2014/main" id="{5867D835-1923-8A76-3C5E-E15465203216}"/>
              </a:ext>
            </a:extLst>
          </p:cNvPr>
          <p:cNvSpPr/>
          <p:nvPr/>
        </p:nvSpPr>
        <p:spPr>
          <a:xfrm>
            <a:off x="8461289" y="4640014"/>
            <a:ext cx="2331171" cy="136528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t"/>
          <a:lstStyle/>
          <a:p>
            <a:r>
              <a:rPr lang="nb-NO" sz="900">
                <a:solidFill>
                  <a:schemeClr val="tx1"/>
                </a:solidFill>
              </a:rPr>
              <a:t>Videregående opplæring skal være tilgjengelig for alle, inkludert de som av ulike grunner har behov for ekstra oppfølging. Ungdom som står utenfor skole og arbeid, skal få tilbud om individuell veiledning og tilpassede tiltak for å komme tilbake i opplæring eller over i arbeid. Oppfølgingstjenesten spiller en avgjørende rolle i å fange opp og følge opp ungdom utenfor opplæring og arbeid, slik at alle får muligheten til å realisere sitt opplæringspotensial.</a:t>
            </a:r>
          </a:p>
        </p:txBody>
      </p:sp>
      <p:sp>
        <p:nvSpPr>
          <p:cNvPr id="20" name="Rektangel: avrundede hjørner 19">
            <a:extLst>
              <a:ext uri="{FF2B5EF4-FFF2-40B4-BE49-F238E27FC236}">
                <a16:creationId xmlns:a16="http://schemas.microsoft.com/office/drawing/2014/main" id="{1FF0EF05-DC02-7E70-2765-257B2D277F71}"/>
              </a:ext>
            </a:extLst>
          </p:cNvPr>
          <p:cNvSpPr/>
          <p:nvPr/>
        </p:nvSpPr>
        <p:spPr>
          <a:xfrm>
            <a:off x="8461289" y="4094915"/>
            <a:ext cx="2331171" cy="513712"/>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200">
                <a:solidFill>
                  <a:schemeClr val="bg1"/>
                </a:solidFill>
              </a:rPr>
              <a:t>Oppfølging av ungdom utenfor opplæring og arbeid</a:t>
            </a:r>
          </a:p>
        </p:txBody>
      </p:sp>
      <p:pic>
        <p:nvPicPr>
          <p:cNvPr id="9" name="Bilde 8" descr="Et bilde som inneholder klær, stående, person&#10;&#10;KI-generert innhold kan være feil.">
            <a:extLst>
              <a:ext uri="{FF2B5EF4-FFF2-40B4-BE49-F238E27FC236}">
                <a16:creationId xmlns:a16="http://schemas.microsoft.com/office/drawing/2014/main" id="{15FA9E3B-DEAA-AA60-E246-3D5BA7F92A1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03758" y="1194726"/>
            <a:ext cx="8549640" cy="2817799"/>
          </a:xfrm>
          <a:prstGeom prst="rect">
            <a:avLst/>
          </a:prstGeom>
        </p:spPr>
      </p:pic>
      <p:sp>
        <p:nvSpPr>
          <p:cNvPr id="2" name="Google Shape;1007;g2e0683f995c_0_0">
            <a:extLst>
              <a:ext uri="{FF2B5EF4-FFF2-40B4-BE49-F238E27FC236}">
                <a16:creationId xmlns:a16="http://schemas.microsoft.com/office/drawing/2014/main" id="{49BD3573-C146-AB88-B979-BB2D56AC61ED}"/>
              </a:ext>
            </a:extLst>
          </p:cNvPr>
          <p:cNvSpPr txBox="1">
            <a:spLocks/>
          </p:cNvSpPr>
          <p:nvPr/>
        </p:nvSpPr>
        <p:spPr>
          <a:xfrm>
            <a:off x="382000" y="486981"/>
            <a:ext cx="11520900" cy="538974"/>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nb-NO" sz="2200" i="0" u="none" strike="noStrike" kern="0" cap="none" spc="0" normalizeH="0" baseline="0" noProof="0">
                <a:ln>
                  <a:noFill/>
                </a:ln>
                <a:solidFill>
                  <a:schemeClr val="accent1"/>
                </a:solidFill>
                <a:effectLst/>
                <a:uLnTx/>
                <a:uFillTx/>
                <a:latin typeface="Brockmann"/>
                <a:sym typeface="Calibri"/>
              </a:rPr>
              <a:t>VIGO-systemet | </a:t>
            </a:r>
            <a:r>
              <a:rPr kumimoji="0" lang="nb-NO" sz="2200" i="0" u="none" strike="noStrike" kern="0" cap="none" spc="0" normalizeH="0" baseline="0" noProof="0">
                <a:ln>
                  <a:noFill/>
                </a:ln>
                <a:solidFill>
                  <a:schemeClr val="accent1"/>
                </a:solidFill>
                <a:effectLst/>
                <a:uLnTx/>
                <a:uFillTx/>
                <a:latin typeface="Brockmann"/>
                <a:ea typeface="+mn-ea"/>
                <a:cs typeface="Georgia"/>
                <a:sym typeface="Georgia"/>
              </a:rPr>
              <a:t>Samfunnsoppdraget for videregående opplæring</a:t>
            </a:r>
            <a:endParaRPr kumimoji="0" lang="nb-NO" sz="2200" i="0" u="none" strike="noStrike" kern="0" cap="none" spc="0" normalizeH="0" baseline="0" noProof="0">
              <a:ln>
                <a:noFill/>
              </a:ln>
              <a:solidFill>
                <a:schemeClr val="accent1"/>
              </a:solidFill>
              <a:effectLst/>
              <a:uLnTx/>
              <a:uFillTx/>
              <a:latin typeface="Brockmann"/>
              <a:sym typeface="Calibri"/>
            </a:endParaRPr>
          </a:p>
        </p:txBody>
      </p:sp>
    </p:spTree>
    <p:extLst>
      <p:ext uri="{BB962C8B-B14F-4D97-AF65-F5344CB8AC3E}">
        <p14:creationId xmlns:p14="http://schemas.microsoft.com/office/powerpoint/2010/main" val="21319354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1C9EE1-B858-BC9E-DEA8-5B869BFF9B2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2DE7E9C-9EE8-7B22-D3DC-8448477896B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A2DE7E9C-9EE8-7B22-D3DC-8448477896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7631E97D-9422-2C3E-E9B7-26BB69D7EE6E}"/>
              </a:ext>
            </a:extLst>
          </p:cNvPr>
          <p:cNvSpPr>
            <a:spLocks noGrp="1"/>
          </p:cNvSpPr>
          <p:nvPr>
            <p:ph type="sldNum" sz="quarter" idx="12"/>
          </p:nvPr>
        </p:nvSpPr>
        <p:spPr/>
        <p:txBody>
          <a:bodyPr/>
          <a:lstStyle/>
          <a:p>
            <a:fld id="{BE2ACD00-28B2-4D17-A930-2C9F8441C7CA}" type="slidenum">
              <a:rPr lang="nb-NO" smtClean="0"/>
              <a:pPr/>
              <a:t>8</a:t>
            </a:fld>
            <a:endParaRPr lang="nb-NO"/>
          </a:p>
        </p:txBody>
      </p:sp>
      <p:sp>
        <p:nvSpPr>
          <p:cNvPr id="7" name="Rectangle 27">
            <a:extLst>
              <a:ext uri="{FF2B5EF4-FFF2-40B4-BE49-F238E27FC236}">
                <a16:creationId xmlns:a16="http://schemas.microsoft.com/office/drawing/2014/main" id="{145783C8-D746-54A6-BADF-67678B9B73BF}"/>
              </a:ext>
            </a:extLst>
          </p:cNvPr>
          <p:cNvSpPr/>
          <p:nvPr/>
        </p:nvSpPr>
        <p:spPr>
          <a:xfrm>
            <a:off x="1594754" y="3745578"/>
            <a:ext cx="2265498" cy="2294869"/>
          </a:xfrm>
          <a:prstGeom prst="rect">
            <a:avLst/>
          </a:prstGeom>
          <a:solidFill>
            <a:schemeClr val="bg2"/>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nb-NO" sz="1050">
                <a:solidFill>
                  <a:srgbClr val="6B133D"/>
                </a:solidFill>
              </a:rPr>
              <a:t>Mottak og behandling av søknader til videregående opplæring.</a:t>
            </a:r>
          </a:p>
          <a:p>
            <a:pPr marL="285750" indent="-285750">
              <a:buFont typeface="Arial" panose="020B0604020202020204" pitchFamily="34" charset="0"/>
              <a:buChar char="•"/>
            </a:pPr>
            <a:r>
              <a:rPr lang="nb-NO" sz="1050">
                <a:solidFill>
                  <a:srgbClr val="6B133D"/>
                </a:solidFill>
              </a:rPr>
              <a:t>Poengberegning og rangering av søkere.</a:t>
            </a:r>
          </a:p>
          <a:p>
            <a:pPr marL="285750" indent="-285750">
              <a:buFont typeface="Arial" panose="020B0604020202020204" pitchFamily="34" charset="0"/>
              <a:buChar char="•"/>
            </a:pPr>
            <a:r>
              <a:rPr lang="nb-NO" sz="1050">
                <a:solidFill>
                  <a:srgbClr val="6B133D"/>
                </a:solidFill>
              </a:rPr>
              <a:t>Fordeling av skoleplasser basert på regler og kriterier.</a:t>
            </a:r>
          </a:p>
          <a:p>
            <a:pPr marL="285750" indent="-285750">
              <a:buFont typeface="Arial" panose="020B0604020202020204" pitchFamily="34" charset="0"/>
              <a:buChar char="•"/>
            </a:pPr>
            <a:r>
              <a:rPr lang="nb-NO" sz="1050">
                <a:solidFill>
                  <a:srgbClr val="6B133D"/>
                </a:solidFill>
              </a:rPr>
              <a:t>Håndtering av søknad om fortrinnsrett, ventelister og overføring mellom fylker.</a:t>
            </a:r>
          </a:p>
          <a:p>
            <a:pPr marL="285750" indent="-285750">
              <a:buFont typeface="Arial" panose="020B0604020202020204" pitchFamily="34" charset="0"/>
              <a:buChar char="•"/>
            </a:pPr>
            <a:r>
              <a:rPr lang="nb-NO" sz="1050">
                <a:solidFill>
                  <a:srgbClr val="6B133D"/>
                </a:solidFill>
              </a:rPr>
              <a:t>Overføring av inntaksdata.</a:t>
            </a:r>
          </a:p>
        </p:txBody>
      </p:sp>
      <p:sp>
        <p:nvSpPr>
          <p:cNvPr id="11" name="Rectangle 27">
            <a:extLst>
              <a:ext uri="{FF2B5EF4-FFF2-40B4-BE49-F238E27FC236}">
                <a16:creationId xmlns:a16="http://schemas.microsoft.com/office/drawing/2014/main" id="{58FBFD9D-BDB8-6F8E-6657-6C19C39326AE}"/>
              </a:ext>
            </a:extLst>
          </p:cNvPr>
          <p:cNvSpPr/>
          <p:nvPr/>
        </p:nvSpPr>
        <p:spPr>
          <a:xfrm>
            <a:off x="1594754" y="1262610"/>
            <a:ext cx="2265498" cy="463345"/>
          </a:xfrm>
          <a:prstGeom prst="rect">
            <a:avLst/>
          </a:prstGeom>
          <a:solidFill>
            <a:schemeClr val="bg2"/>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a:solidFill>
                  <a:srgbClr val="6B133D"/>
                </a:solidFill>
              </a:rPr>
              <a:t>Inntak</a:t>
            </a:r>
          </a:p>
        </p:txBody>
      </p:sp>
      <p:sp>
        <p:nvSpPr>
          <p:cNvPr id="12" name="Rectangle 27">
            <a:extLst>
              <a:ext uri="{FF2B5EF4-FFF2-40B4-BE49-F238E27FC236}">
                <a16:creationId xmlns:a16="http://schemas.microsoft.com/office/drawing/2014/main" id="{8CF49C72-4224-0BAE-3C6F-5EF0B89A4E61}"/>
              </a:ext>
            </a:extLst>
          </p:cNvPr>
          <p:cNvSpPr/>
          <p:nvPr/>
        </p:nvSpPr>
        <p:spPr>
          <a:xfrm>
            <a:off x="3911300" y="1262609"/>
            <a:ext cx="2265498" cy="463345"/>
          </a:xfrm>
          <a:prstGeom prst="rect">
            <a:avLst/>
          </a:prstGeom>
          <a:solidFill>
            <a:schemeClr val="bg2"/>
          </a:solidFill>
          <a:ln w="25400">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b-NO" sz="1600">
                <a:solidFill>
                  <a:srgbClr val="6B133D"/>
                </a:solidFill>
              </a:rPr>
              <a:t>Yrkesfagsformidling</a:t>
            </a:r>
            <a:endParaRPr lang="en-US"/>
          </a:p>
        </p:txBody>
      </p:sp>
      <p:sp>
        <p:nvSpPr>
          <p:cNvPr id="13" name="Rectangle 27">
            <a:extLst>
              <a:ext uri="{FF2B5EF4-FFF2-40B4-BE49-F238E27FC236}">
                <a16:creationId xmlns:a16="http://schemas.microsoft.com/office/drawing/2014/main" id="{AFF8E295-8A3F-3815-17DE-84B4A58349B0}"/>
              </a:ext>
            </a:extLst>
          </p:cNvPr>
          <p:cNvSpPr/>
          <p:nvPr/>
        </p:nvSpPr>
        <p:spPr>
          <a:xfrm>
            <a:off x="6246896" y="1264621"/>
            <a:ext cx="2265498" cy="463345"/>
          </a:xfrm>
          <a:prstGeom prst="rect">
            <a:avLst/>
          </a:prstGeom>
          <a:solidFill>
            <a:schemeClr val="bg2"/>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600">
                <a:solidFill>
                  <a:srgbClr val="6B133D"/>
                </a:solidFill>
              </a:rPr>
              <a:t>Oppfølgingstjenesten</a:t>
            </a:r>
            <a:endParaRPr lang="nb-NO">
              <a:solidFill>
                <a:srgbClr val="6B133D"/>
              </a:solidFill>
            </a:endParaRPr>
          </a:p>
        </p:txBody>
      </p:sp>
      <p:sp>
        <p:nvSpPr>
          <p:cNvPr id="14" name="Rectangle 27">
            <a:extLst>
              <a:ext uri="{FF2B5EF4-FFF2-40B4-BE49-F238E27FC236}">
                <a16:creationId xmlns:a16="http://schemas.microsoft.com/office/drawing/2014/main" id="{ED8F70E6-4CB1-3F33-1974-D2F4AD9C03AC}"/>
              </a:ext>
            </a:extLst>
          </p:cNvPr>
          <p:cNvSpPr/>
          <p:nvPr/>
        </p:nvSpPr>
        <p:spPr>
          <a:xfrm>
            <a:off x="8592017" y="1262608"/>
            <a:ext cx="2265498" cy="463345"/>
          </a:xfrm>
          <a:prstGeom prst="rect">
            <a:avLst/>
          </a:prstGeom>
          <a:solidFill>
            <a:schemeClr val="bg2"/>
          </a:solidFill>
          <a:ln w="25400">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b-NO">
                <a:solidFill>
                  <a:srgbClr val="6B133D"/>
                </a:solidFill>
              </a:rPr>
              <a:t>Deling av data</a:t>
            </a:r>
          </a:p>
        </p:txBody>
      </p:sp>
      <p:sp>
        <p:nvSpPr>
          <p:cNvPr id="15" name="Rectangle 27">
            <a:extLst>
              <a:ext uri="{FF2B5EF4-FFF2-40B4-BE49-F238E27FC236}">
                <a16:creationId xmlns:a16="http://schemas.microsoft.com/office/drawing/2014/main" id="{C0432401-7713-AE1F-E63A-158FD3E5B8F9}"/>
              </a:ext>
            </a:extLst>
          </p:cNvPr>
          <p:cNvSpPr/>
          <p:nvPr/>
        </p:nvSpPr>
        <p:spPr>
          <a:xfrm>
            <a:off x="1594754" y="1815221"/>
            <a:ext cx="2265498" cy="1928175"/>
          </a:xfrm>
          <a:prstGeom prst="rect">
            <a:avLst/>
          </a:prstGeom>
          <a:solidFill>
            <a:srgbClr val="6B133D"/>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nb-NO" sz="1050">
                <a:solidFill>
                  <a:srgbClr val="F8ECDC"/>
                </a:solidFill>
              </a:rPr>
              <a:t>Inntak skal sikre en </a:t>
            </a:r>
            <a:r>
              <a:rPr lang="nb-NO" sz="1050" b="1">
                <a:solidFill>
                  <a:srgbClr val="F8ECDC"/>
                </a:solidFill>
              </a:rPr>
              <a:t>rettferdig, effektiv og transparent inntaksprosess</a:t>
            </a:r>
            <a:r>
              <a:rPr lang="nb-NO" sz="1050">
                <a:solidFill>
                  <a:srgbClr val="F8ECDC"/>
                </a:solidFill>
              </a:rPr>
              <a:t> til videregående opplæring. Målet er at alle søkere får riktig tilbud i samsvar med sine rettigheter og ønsker, og at fylkene får nødvendig støtte for å administrere inntaket på en smidig måte.</a:t>
            </a:r>
          </a:p>
        </p:txBody>
      </p:sp>
      <p:sp>
        <p:nvSpPr>
          <p:cNvPr id="16" name="Rectangle 27">
            <a:extLst>
              <a:ext uri="{FF2B5EF4-FFF2-40B4-BE49-F238E27FC236}">
                <a16:creationId xmlns:a16="http://schemas.microsoft.com/office/drawing/2014/main" id="{348F2CB1-5200-0781-C5B4-A1D0D9A0C952}"/>
              </a:ext>
            </a:extLst>
          </p:cNvPr>
          <p:cNvSpPr/>
          <p:nvPr/>
        </p:nvSpPr>
        <p:spPr>
          <a:xfrm>
            <a:off x="3911300" y="1815221"/>
            <a:ext cx="2265498" cy="1928175"/>
          </a:xfrm>
          <a:prstGeom prst="rect">
            <a:avLst/>
          </a:prstGeom>
          <a:solidFill>
            <a:srgbClr val="6B133D"/>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nb-NO" sz="1100">
                <a:solidFill>
                  <a:srgbClr val="F8ECDC"/>
                </a:solidFill>
              </a:rPr>
              <a:t>Yrkesfagsformidling skal støtte fylkeskommunene i </a:t>
            </a:r>
            <a:r>
              <a:rPr lang="nb-NO" sz="1100" b="1">
                <a:solidFill>
                  <a:srgbClr val="F8ECDC"/>
                </a:solidFill>
              </a:rPr>
              <a:t>effektiv administrasjon av lærlingeordningen. </a:t>
            </a:r>
            <a:r>
              <a:rPr lang="nb-NO" sz="1100">
                <a:solidFill>
                  <a:srgbClr val="F8ECDC"/>
                </a:solidFill>
              </a:rPr>
              <a:t>Tjenestens formål er å få flest mulig elever ut i lære.</a:t>
            </a:r>
          </a:p>
        </p:txBody>
      </p:sp>
      <p:sp>
        <p:nvSpPr>
          <p:cNvPr id="17" name="Rectangle 27">
            <a:extLst>
              <a:ext uri="{FF2B5EF4-FFF2-40B4-BE49-F238E27FC236}">
                <a16:creationId xmlns:a16="http://schemas.microsoft.com/office/drawing/2014/main" id="{4DF2F126-659F-8987-68B0-7F16951094DF}"/>
              </a:ext>
            </a:extLst>
          </p:cNvPr>
          <p:cNvSpPr/>
          <p:nvPr/>
        </p:nvSpPr>
        <p:spPr>
          <a:xfrm>
            <a:off x="6246896" y="1815221"/>
            <a:ext cx="2265498" cy="1928175"/>
          </a:xfrm>
          <a:prstGeom prst="rect">
            <a:avLst/>
          </a:prstGeom>
          <a:solidFill>
            <a:srgbClr val="6B133D"/>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nb-NO" sz="1100">
                <a:solidFill>
                  <a:srgbClr val="F8ECDC"/>
                </a:solidFill>
              </a:rPr>
              <a:t>Oppfølgingstjenesten skal bidra til at </a:t>
            </a:r>
            <a:r>
              <a:rPr lang="nb-NO" sz="1100" b="1">
                <a:solidFill>
                  <a:srgbClr val="F8ECDC"/>
                </a:solidFill>
              </a:rPr>
              <a:t>ungdom som ikke er i opplæring eller arbeid, får nødvendig oppfølging og veiledning. </a:t>
            </a:r>
            <a:r>
              <a:rPr lang="nb-NO" sz="1100">
                <a:solidFill>
                  <a:srgbClr val="F8ECDC"/>
                </a:solidFill>
              </a:rPr>
              <a:t>Målet er å sikre at ungdom får et tilpasset tilbud som kan føre til videre utdanning eller arbeid.</a:t>
            </a:r>
          </a:p>
        </p:txBody>
      </p:sp>
      <p:sp>
        <p:nvSpPr>
          <p:cNvPr id="18" name="Rectangle 27">
            <a:extLst>
              <a:ext uri="{FF2B5EF4-FFF2-40B4-BE49-F238E27FC236}">
                <a16:creationId xmlns:a16="http://schemas.microsoft.com/office/drawing/2014/main" id="{0F74D4AC-BB45-F438-8999-07598A6211F9}"/>
              </a:ext>
            </a:extLst>
          </p:cNvPr>
          <p:cNvSpPr/>
          <p:nvPr/>
        </p:nvSpPr>
        <p:spPr>
          <a:xfrm>
            <a:off x="8592017" y="1815221"/>
            <a:ext cx="2265498" cy="1928175"/>
          </a:xfrm>
          <a:prstGeom prst="rect">
            <a:avLst/>
          </a:prstGeom>
          <a:solidFill>
            <a:srgbClr val="6B133D"/>
          </a:solidFill>
          <a:ln w="25400">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nb-NO" sz="1050">
                <a:solidFill>
                  <a:srgbClr val="F8ECDC"/>
                </a:solidFill>
              </a:rPr>
              <a:t>Deling av data i VIGO skal sikre </a:t>
            </a:r>
            <a:r>
              <a:rPr lang="nb-NO" sz="1050" b="1">
                <a:solidFill>
                  <a:srgbClr val="F8ECDC"/>
                </a:solidFill>
              </a:rPr>
              <a:t>kvalitetssikret datagrunnlag </a:t>
            </a:r>
            <a:r>
              <a:rPr lang="nb-NO" sz="1050">
                <a:solidFill>
                  <a:srgbClr val="F8ECDC"/>
                </a:solidFill>
              </a:rPr>
              <a:t>for beslutningstaking, styring, statistikk og analyse innenfor videregående opplæring.</a:t>
            </a:r>
          </a:p>
        </p:txBody>
      </p:sp>
      <p:sp>
        <p:nvSpPr>
          <p:cNvPr id="19" name="Rectangle 27">
            <a:extLst>
              <a:ext uri="{FF2B5EF4-FFF2-40B4-BE49-F238E27FC236}">
                <a16:creationId xmlns:a16="http://schemas.microsoft.com/office/drawing/2014/main" id="{360175A3-E6E9-45E4-71C4-A5F090D53712}"/>
              </a:ext>
            </a:extLst>
          </p:cNvPr>
          <p:cNvSpPr/>
          <p:nvPr/>
        </p:nvSpPr>
        <p:spPr>
          <a:xfrm>
            <a:off x="3911300" y="3745578"/>
            <a:ext cx="2265498" cy="2294869"/>
          </a:xfrm>
          <a:prstGeom prst="rect">
            <a:avLst/>
          </a:prstGeom>
          <a:solidFill>
            <a:schemeClr val="bg2"/>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nb-NO" sz="1050">
                <a:solidFill>
                  <a:srgbClr val="6B133D"/>
                </a:solidFill>
              </a:rPr>
              <a:t>Formidling av lærlinger til lærebedrifter.</a:t>
            </a:r>
          </a:p>
          <a:p>
            <a:pPr marL="285750" indent="-285750">
              <a:buFont typeface="Arial" panose="020B0604020202020204" pitchFamily="34" charset="0"/>
              <a:buChar char="•"/>
            </a:pPr>
            <a:r>
              <a:rPr lang="nb-NO" sz="1050">
                <a:solidFill>
                  <a:srgbClr val="6B133D"/>
                </a:solidFill>
              </a:rPr>
              <a:t>Opprettelse og digital signering av lærekontrakter.</a:t>
            </a:r>
          </a:p>
          <a:p>
            <a:pPr marL="285750" indent="-285750">
              <a:buFont typeface="Arial" panose="020B0604020202020204" pitchFamily="34" charset="0"/>
              <a:buChar char="•"/>
            </a:pPr>
            <a:r>
              <a:rPr lang="nb-NO" sz="1050">
                <a:solidFill>
                  <a:srgbClr val="6B133D"/>
                </a:solidFill>
              </a:rPr>
              <a:t>Oppfølging av lærlinger og tilrettelegging av opplæring.</a:t>
            </a:r>
          </a:p>
          <a:p>
            <a:pPr marL="285750" indent="-285750">
              <a:buFont typeface="Arial" panose="020B0604020202020204" pitchFamily="34" charset="0"/>
              <a:buChar char="•"/>
            </a:pPr>
            <a:r>
              <a:rPr lang="nb-NO" sz="1050">
                <a:solidFill>
                  <a:srgbClr val="6B133D"/>
                </a:solidFill>
              </a:rPr>
              <a:t>Administrasjon av fag-, svenne- og kompetanseprøver.</a:t>
            </a:r>
          </a:p>
          <a:p>
            <a:pPr marL="285750" indent="-285750">
              <a:buFont typeface="Arial" panose="020B0604020202020204" pitchFamily="34" charset="0"/>
              <a:buChar char="•"/>
            </a:pPr>
            <a:r>
              <a:rPr lang="nb-NO" sz="1050">
                <a:solidFill>
                  <a:srgbClr val="6B133D"/>
                </a:solidFill>
              </a:rPr>
              <a:t>Beregning og utbetaling av tilskudd til lærebedrifter.</a:t>
            </a:r>
          </a:p>
        </p:txBody>
      </p:sp>
      <p:sp>
        <p:nvSpPr>
          <p:cNvPr id="20" name="Rectangle 27">
            <a:extLst>
              <a:ext uri="{FF2B5EF4-FFF2-40B4-BE49-F238E27FC236}">
                <a16:creationId xmlns:a16="http://schemas.microsoft.com/office/drawing/2014/main" id="{BF39E967-E81B-9989-AE96-B2AC0EDB7565}"/>
              </a:ext>
            </a:extLst>
          </p:cNvPr>
          <p:cNvSpPr/>
          <p:nvPr/>
        </p:nvSpPr>
        <p:spPr>
          <a:xfrm>
            <a:off x="6246896" y="3743567"/>
            <a:ext cx="2265498" cy="2294869"/>
          </a:xfrm>
          <a:prstGeom prst="rect">
            <a:avLst/>
          </a:prstGeom>
          <a:solidFill>
            <a:schemeClr val="bg2"/>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nb-NO" sz="1000">
                <a:solidFill>
                  <a:srgbClr val="6B133D"/>
                </a:solidFill>
              </a:rPr>
              <a:t>Identifisering og registrering av ungdom som trenger oppfølging.</a:t>
            </a:r>
          </a:p>
          <a:p>
            <a:pPr marL="285750" indent="-285750">
              <a:buFont typeface="Arial" panose="020B0604020202020204" pitchFamily="34" charset="0"/>
              <a:buChar char="•"/>
            </a:pPr>
            <a:r>
              <a:rPr lang="nb-NO" sz="1000">
                <a:solidFill>
                  <a:srgbClr val="6B133D"/>
                </a:solidFill>
              </a:rPr>
              <a:t>Opprettelse av individuelle tiltaksplaner.</a:t>
            </a:r>
          </a:p>
          <a:p>
            <a:pPr marL="285750" indent="-285750">
              <a:buFont typeface="Arial" panose="020B0604020202020204" pitchFamily="34" charset="0"/>
              <a:buChar char="•"/>
            </a:pPr>
            <a:r>
              <a:rPr lang="nb-NO" sz="1000">
                <a:solidFill>
                  <a:srgbClr val="6B133D"/>
                </a:solidFill>
              </a:rPr>
              <a:t>Samarbeid med NAV, skoler og andre aktører for veiledning.</a:t>
            </a:r>
          </a:p>
          <a:p>
            <a:pPr marL="285750" indent="-285750">
              <a:buFont typeface="Arial" panose="020B0604020202020204" pitchFamily="34" charset="0"/>
              <a:buChar char="•"/>
            </a:pPr>
            <a:r>
              <a:rPr lang="nb-NO" sz="1000">
                <a:solidFill>
                  <a:srgbClr val="6B133D"/>
                </a:solidFill>
              </a:rPr>
              <a:t>Løpende oppfølging og vurdering av tiltak.</a:t>
            </a:r>
          </a:p>
          <a:p>
            <a:pPr marL="285750" indent="-285750">
              <a:buFont typeface="Arial" panose="020B0604020202020204" pitchFamily="34" charset="0"/>
              <a:buChar char="•"/>
            </a:pPr>
            <a:r>
              <a:rPr lang="nb-NO" sz="1000">
                <a:solidFill>
                  <a:srgbClr val="6B133D"/>
                </a:solidFill>
              </a:rPr>
              <a:t>Rapportering og statistikk på ungdom utenfor opplæring.</a:t>
            </a:r>
          </a:p>
        </p:txBody>
      </p:sp>
      <p:sp>
        <p:nvSpPr>
          <p:cNvPr id="21" name="Rectangle 27">
            <a:extLst>
              <a:ext uri="{FF2B5EF4-FFF2-40B4-BE49-F238E27FC236}">
                <a16:creationId xmlns:a16="http://schemas.microsoft.com/office/drawing/2014/main" id="{DB1659B9-2951-AC98-AE65-91D3BB7A31BE}"/>
              </a:ext>
            </a:extLst>
          </p:cNvPr>
          <p:cNvSpPr/>
          <p:nvPr/>
        </p:nvSpPr>
        <p:spPr>
          <a:xfrm>
            <a:off x="8592017" y="3743567"/>
            <a:ext cx="2265498" cy="2294869"/>
          </a:xfrm>
          <a:prstGeom prst="rect">
            <a:avLst/>
          </a:prstGeom>
          <a:solidFill>
            <a:schemeClr val="bg2"/>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nb-NO" sz="1000">
                <a:solidFill>
                  <a:srgbClr val="6B133D"/>
                </a:solidFill>
              </a:rPr>
              <a:t>Innsamling av data fra ulike moduler i VIGO.</a:t>
            </a:r>
          </a:p>
          <a:p>
            <a:pPr marL="285750" indent="-285750">
              <a:buFont typeface="Arial" panose="020B0604020202020204" pitchFamily="34" charset="0"/>
              <a:buChar char="•"/>
            </a:pPr>
            <a:r>
              <a:rPr lang="nb-NO" sz="1000">
                <a:solidFill>
                  <a:srgbClr val="6B133D"/>
                </a:solidFill>
              </a:rPr>
              <a:t>Kvalitetssikring og validering av data.</a:t>
            </a:r>
          </a:p>
          <a:p>
            <a:pPr marL="285750" indent="-285750">
              <a:buFont typeface="Arial" panose="020B0604020202020204" pitchFamily="34" charset="0"/>
              <a:buChar char="•"/>
            </a:pPr>
            <a:r>
              <a:rPr lang="nb-NO" sz="1000">
                <a:solidFill>
                  <a:srgbClr val="6B133D"/>
                </a:solidFill>
              </a:rPr>
              <a:t>Produksjon av statistikk og rapporter til fylkeskommuner, skoler og statlige etater (f. eks. Utdanningsdirektoratet, SSB, Lånekassen m.fl.).</a:t>
            </a:r>
          </a:p>
          <a:p>
            <a:pPr marL="285750" indent="-285750">
              <a:buFont typeface="Arial" panose="020B0604020202020204" pitchFamily="34" charset="0"/>
              <a:buChar char="•"/>
            </a:pPr>
            <a:r>
              <a:rPr lang="nb-NO" sz="1000">
                <a:solidFill>
                  <a:srgbClr val="6B133D"/>
                </a:solidFill>
              </a:rPr>
              <a:t>Distribusjon av data via integrasjoner og eksportfunksjoner.</a:t>
            </a:r>
          </a:p>
        </p:txBody>
      </p:sp>
      <p:sp>
        <p:nvSpPr>
          <p:cNvPr id="2" name="Rectangle 27">
            <a:extLst>
              <a:ext uri="{FF2B5EF4-FFF2-40B4-BE49-F238E27FC236}">
                <a16:creationId xmlns:a16="http://schemas.microsoft.com/office/drawing/2014/main" id="{43DB1E40-94AA-CC80-FD9E-74C2614856A4}"/>
              </a:ext>
            </a:extLst>
          </p:cNvPr>
          <p:cNvSpPr/>
          <p:nvPr/>
        </p:nvSpPr>
        <p:spPr>
          <a:xfrm>
            <a:off x="1095606" y="1815221"/>
            <a:ext cx="429854" cy="1928175"/>
          </a:xfrm>
          <a:prstGeom prst="rect">
            <a:avLst/>
          </a:prstGeom>
          <a:solidFill>
            <a:srgbClr val="6B133D"/>
          </a:solidFill>
          <a:ln w="25400">
            <a:no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nb-NO" sz="1050">
                <a:solidFill>
                  <a:srgbClr val="F8ECDC"/>
                </a:solidFill>
              </a:rPr>
              <a:t>Formål</a:t>
            </a:r>
          </a:p>
        </p:txBody>
      </p:sp>
      <p:sp>
        <p:nvSpPr>
          <p:cNvPr id="3" name="Rectangle 27">
            <a:extLst>
              <a:ext uri="{FF2B5EF4-FFF2-40B4-BE49-F238E27FC236}">
                <a16:creationId xmlns:a16="http://schemas.microsoft.com/office/drawing/2014/main" id="{D6D6BC37-4037-0454-8874-DA2AF757DFF0}"/>
              </a:ext>
            </a:extLst>
          </p:cNvPr>
          <p:cNvSpPr/>
          <p:nvPr/>
        </p:nvSpPr>
        <p:spPr>
          <a:xfrm>
            <a:off x="1095606" y="3743567"/>
            <a:ext cx="429854" cy="2294869"/>
          </a:xfrm>
          <a:prstGeom prst="rect">
            <a:avLst/>
          </a:prstGeom>
          <a:solidFill>
            <a:schemeClr val="bg2"/>
          </a:solidFill>
          <a:ln w="25400">
            <a:no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nb-NO" sz="1050">
                <a:solidFill>
                  <a:srgbClr val="6B133D"/>
                </a:solidFill>
              </a:rPr>
              <a:t>Prosesser</a:t>
            </a:r>
          </a:p>
        </p:txBody>
      </p:sp>
      <p:sp>
        <p:nvSpPr>
          <p:cNvPr id="8" name="Google Shape;1007;g2e0683f995c_0_0">
            <a:extLst>
              <a:ext uri="{FF2B5EF4-FFF2-40B4-BE49-F238E27FC236}">
                <a16:creationId xmlns:a16="http://schemas.microsoft.com/office/drawing/2014/main" id="{D554481D-A17B-881F-8DB7-44349E91CAC3}"/>
              </a:ext>
            </a:extLst>
          </p:cNvPr>
          <p:cNvSpPr txBox="1">
            <a:spLocks/>
          </p:cNvSpPr>
          <p:nvPr/>
        </p:nvSpPr>
        <p:spPr>
          <a:xfrm>
            <a:off x="382000" y="486981"/>
            <a:ext cx="11520900" cy="538974"/>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nb-NO" sz="2200" i="0" u="none" strike="noStrike" kern="0" cap="none" spc="0" normalizeH="0" baseline="0" noProof="0">
                <a:ln>
                  <a:noFill/>
                </a:ln>
                <a:solidFill>
                  <a:schemeClr val="accent1"/>
                </a:solidFill>
                <a:effectLst/>
                <a:uLnTx/>
                <a:uFillTx/>
                <a:latin typeface="Brockmann"/>
                <a:sym typeface="Calibri"/>
              </a:rPr>
              <a:t>Forretningsbehov| </a:t>
            </a:r>
            <a:r>
              <a:rPr lang="nb-NO" sz="2200" kern="0">
                <a:solidFill>
                  <a:schemeClr val="accent1"/>
                </a:solidFill>
                <a:latin typeface="Brockmann"/>
                <a:ea typeface="+mn-ea"/>
                <a:sym typeface="Georgia"/>
              </a:rPr>
              <a:t>Overordnede tjenester</a:t>
            </a:r>
            <a:endParaRPr kumimoji="0" lang="nb-NO" sz="2200" i="0" u="none" strike="noStrike" kern="0" cap="none" spc="0" normalizeH="0" baseline="0" noProof="0">
              <a:ln>
                <a:noFill/>
              </a:ln>
              <a:solidFill>
                <a:schemeClr val="accent1"/>
              </a:solidFill>
              <a:effectLst/>
              <a:uLnTx/>
              <a:uFillTx/>
              <a:latin typeface="Brockmann"/>
              <a:sym typeface="Calibri"/>
            </a:endParaRPr>
          </a:p>
        </p:txBody>
      </p:sp>
    </p:spTree>
    <p:extLst>
      <p:ext uri="{BB962C8B-B14F-4D97-AF65-F5344CB8AC3E}">
        <p14:creationId xmlns:p14="http://schemas.microsoft.com/office/powerpoint/2010/main" val="13059747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med avrundede hjørner på samme side 6">
            <a:extLst>
              <a:ext uri="{FF2B5EF4-FFF2-40B4-BE49-F238E27FC236}">
                <a16:creationId xmlns:a16="http://schemas.microsoft.com/office/drawing/2014/main" id="{B0B26EFF-5680-C01C-A06D-2772A3708BC6}"/>
              </a:ext>
            </a:extLst>
          </p:cNvPr>
          <p:cNvSpPr/>
          <p:nvPr/>
        </p:nvSpPr>
        <p:spPr>
          <a:xfrm>
            <a:off x="349321" y="312999"/>
            <a:ext cx="11568701" cy="960290"/>
          </a:xfrm>
          <a:prstGeom prst="round2SameRect">
            <a:avLst>
              <a:gd name="adj1" fmla="val 26296"/>
              <a:gd name="adj2" fmla="val 0"/>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pPr algn="ctr"/>
            <a:r>
              <a:rPr lang="nb-NO" sz="1200">
                <a:solidFill>
                  <a:schemeClr val="bg1"/>
                </a:solidFill>
                <a:latin typeface="Inter ExtraLight" panose="02000503000000020004" pitchFamily="2" charset="0"/>
                <a:ea typeface="Inter ExtraLight" panose="02000503000000020004" pitchFamily="2" charset="0"/>
                <a:cs typeface="Helvetica Neue" panose="02000503000000020004" pitchFamily="2" charset="0"/>
              </a:rPr>
              <a:t>MÅL FOR MODERNISERING AV VIGO-SYSTEMET</a:t>
            </a:r>
          </a:p>
          <a:p>
            <a:pPr algn="ctr"/>
            <a:r>
              <a:rPr lang="nb-NO" sz="1600">
                <a:latin typeface="Inter Italic" panose="02000503000000020004" pitchFamily="2" charset="0"/>
                <a:ea typeface="Inter Italic" panose="02000503000000020004" pitchFamily="2" charset="0"/>
                <a:cs typeface="Helvetica Neue Medium" panose="02000503000000020004" pitchFamily="2" charset="0"/>
              </a:rPr>
              <a:t>Systemstøtten er så god at tjenestene kan hjelpe flere unge å fullføre </a:t>
            </a:r>
            <a:br>
              <a:rPr lang="nb-NO" sz="1600">
                <a:latin typeface="Inter Italic" panose="02000503000000020004" pitchFamily="2" charset="0"/>
                <a:ea typeface="Inter Italic" panose="02000503000000020004" pitchFamily="2" charset="0"/>
                <a:cs typeface="Helvetica Neue Medium" panose="02000503000000020004" pitchFamily="2" charset="0"/>
              </a:rPr>
            </a:br>
            <a:r>
              <a:rPr lang="nb-NO" sz="1600">
                <a:latin typeface="Inter Italic" panose="02000503000000020004" pitchFamily="2" charset="0"/>
                <a:ea typeface="Inter Italic" panose="02000503000000020004" pitchFamily="2" charset="0"/>
                <a:cs typeface="Helvetica Neue Medium" panose="02000503000000020004" pitchFamily="2" charset="0"/>
              </a:rPr>
              <a:t>videregående opplæring og levere et likeverdig tjenestetilbud nasjonalt</a:t>
            </a:r>
          </a:p>
        </p:txBody>
      </p:sp>
      <p:sp>
        <p:nvSpPr>
          <p:cNvPr id="8" name="Rektangel 7">
            <a:extLst>
              <a:ext uri="{FF2B5EF4-FFF2-40B4-BE49-F238E27FC236}">
                <a16:creationId xmlns:a16="http://schemas.microsoft.com/office/drawing/2014/main" id="{716B2CE6-363F-6966-5F85-90C0D9C4EDA5}"/>
              </a:ext>
            </a:extLst>
          </p:cNvPr>
          <p:cNvSpPr/>
          <p:nvPr/>
        </p:nvSpPr>
        <p:spPr>
          <a:xfrm>
            <a:off x="349321" y="1321047"/>
            <a:ext cx="11568701" cy="192594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tIns="108000" rtlCol="0" anchor="t"/>
          <a:lstStyle/>
          <a:p>
            <a:pPr algn="ctr"/>
            <a:r>
              <a:rPr lang="nb-NO" sz="1200">
                <a:solidFill>
                  <a:schemeClr val="accent4"/>
                </a:solidFill>
                <a:latin typeface="Inter ExtraLight" panose="02000503000000020004" pitchFamily="2" charset="0"/>
                <a:ea typeface="Inter ExtraLight" panose="02000503000000020004" pitchFamily="2" charset="0"/>
                <a:cs typeface="Helvetica Neue" panose="02000503000000020004" pitchFamily="2" charset="0"/>
              </a:rPr>
              <a:t>FOR Å LYKKES MED DETTE MÅ TJENESTENE HA </a:t>
            </a:r>
          </a:p>
          <a:p>
            <a:pPr algn="ctr"/>
            <a:r>
              <a:rPr lang="nb-NO" sz="1600" b="1">
                <a:solidFill>
                  <a:schemeClr val="accent4"/>
                </a:solidFill>
                <a:latin typeface="Inter" panose="02000503000000020004" pitchFamily="2" charset="0"/>
                <a:ea typeface="Inter" panose="02000503000000020004" pitchFamily="2" charset="0"/>
                <a:cs typeface="Helvetica Neue" panose="02000503000000020004" pitchFamily="2" charset="0"/>
              </a:rPr>
              <a:t>EN SAMMENHENGENDE DIGITAL LØSNING </a:t>
            </a:r>
          </a:p>
          <a:p>
            <a:pPr algn="ctr"/>
            <a:r>
              <a:rPr lang="nb-NO" sz="1200">
                <a:solidFill>
                  <a:schemeClr val="accent4"/>
                </a:solidFill>
                <a:latin typeface="Inter ExtraLight" panose="02000503000000020004" pitchFamily="2" charset="0"/>
                <a:ea typeface="Inter ExtraLight" panose="02000503000000020004" pitchFamily="2" charset="0"/>
                <a:cs typeface="Helvetica Neue" panose="02000503000000020004" pitchFamily="2" charset="0"/>
              </a:rPr>
              <a:t>SOM BIDRAR TIL</a:t>
            </a:r>
          </a:p>
        </p:txBody>
      </p:sp>
      <p:sp>
        <p:nvSpPr>
          <p:cNvPr id="14" name="TekstSylinder 13">
            <a:extLst>
              <a:ext uri="{FF2B5EF4-FFF2-40B4-BE49-F238E27FC236}">
                <a16:creationId xmlns:a16="http://schemas.microsoft.com/office/drawing/2014/main" id="{2DAA3BC4-15FD-2759-2FD6-05B4241D9F35}"/>
              </a:ext>
            </a:extLst>
          </p:cNvPr>
          <p:cNvSpPr txBox="1"/>
          <p:nvPr/>
        </p:nvSpPr>
        <p:spPr>
          <a:xfrm>
            <a:off x="349321" y="2317808"/>
            <a:ext cx="2630185" cy="738664"/>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chor="t">
            <a:spAutoFit/>
          </a:bodyPr>
          <a:lstStyle/>
          <a:p>
            <a:pPr algn="ctr">
              <a:tabLst>
                <a:tab pos="2527300" algn="l"/>
              </a:tabLst>
            </a:pPr>
            <a:r>
              <a:rPr lang="nb-NO" sz="1600" err="1">
                <a:solidFill>
                  <a:schemeClr val="accent4"/>
                </a:solidFill>
                <a:latin typeface="Inter Light" panose="02000503000000020004" pitchFamily="2" charset="0"/>
                <a:ea typeface="Inter Light" panose="02000503000000020004" pitchFamily="2" charset="0"/>
                <a:cs typeface="+mn-lt"/>
              </a:rPr>
              <a:t>Systemstøtte</a:t>
            </a:r>
            <a:r>
              <a:rPr lang="nb-NO" sz="1600">
                <a:solidFill>
                  <a:schemeClr val="accent4"/>
                </a:solidFill>
                <a:latin typeface="Inter Light" panose="02000503000000020004" pitchFamily="2" charset="0"/>
                <a:ea typeface="Inter Light" panose="02000503000000020004" pitchFamily="2" charset="0"/>
                <a:cs typeface="+mn-lt"/>
              </a:rPr>
              <a:t> til et helhetlig og fleksibelt tjenestetilbud</a:t>
            </a:r>
            <a:endParaRPr lang="en-US">
              <a:solidFill>
                <a:schemeClr val="accent4"/>
              </a:solidFill>
              <a:latin typeface="Inter Light" panose="02000503000000020004" pitchFamily="2" charset="0"/>
              <a:ea typeface="Inter Light" panose="02000503000000020004" pitchFamily="2" charset="0"/>
              <a:cs typeface="+mn-lt"/>
            </a:endParaRPr>
          </a:p>
          <a:p>
            <a:pPr algn="ctr">
              <a:tabLst>
                <a:tab pos="2527300" algn="l"/>
              </a:tabLst>
            </a:pPr>
            <a:endParaRPr lang="nb-NO" sz="1600">
              <a:solidFill>
                <a:schemeClr val="accent4"/>
              </a:solidFill>
              <a:latin typeface="Inter Light" panose="02000503000000020004" pitchFamily="2" charset="0"/>
              <a:ea typeface="Inter Light" panose="02000503000000020004" pitchFamily="2" charset="0"/>
              <a:cs typeface="Helvetica Neue" panose="02000503000000020004" pitchFamily="2" charset="0"/>
            </a:endParaRPr>
          </a:p>
        </p:txBody>
      </p:sp>
      <p:sp>
        <p:nvSpPr>
          <p:cNvPr id="16" name="TekstSylinder 15">
            <a:extLst>
              <a:ext uri="{FF2B5EF4-FFF2-40B4-BE49-F238E27FC236}">
                <a16:creationId xmlns:a16="http://schemas.microsoft.com/office/drawing/2014/main" id="{1726282E-9DFC-3DAF-C78A-4D9B533D15DF}"/>
              </a:ext>
            </a:extLst>
          </p:cNvPr>
          <p:cNvSpPr txBox="1"/>
          <p:nvPr/>
        </p:nvSpPr>
        <p:spPr>
          <a:xfrm>
            <a:off x="3332204" y="2297073"/>
            <a:ext cx="2635369" cy="738664"/>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chor="t">
            <a:spAutoFit/>
          </a:bodyPr>
          <a:lstStyle/>
          <a:p>
            <a:pPr algn="ctr"/>
            <a:r>
              <a:rPr lang="nb-NO" sz="1600">
                <a:solidFill>
                  <a:schemeClr val="accent4"/>
                </a:solidFill>
                <a:latin typeface="Inter Light" panose="02000503000000020004" pitchFamily="2" charset="0"/>
                <a:ea typeface="Inter Light" panose="02000503000000020004" pitchFamily="2" charset="0"/>
                <a:cs typeface="+mn-lt"/>
              </a:rPr>
              <a:t>Støtte til en lokal organisering med nasjonale føringer</a:t>
            </a:r>
            <a:endParaRPr lang="en-US">
              <a:latin typeface="Inter Light" panose="02000503000000020004" pitchFamily="2" charset="0"/>
              <a:ea typeface="Inter Light" panose="02000503000000020004" pitchFamily="2" charset="0"/>
            </a:endParaRPr>
          </a:p>
          <a:p>
            <a:pPr algn="ctr"/>
            <a:endParaRPr lang="nb-NO" sz="1600">
              <a:solidFill>
                <a:schemeClr val="accent4"/>
              </a:solidFill>
              <a:latin typeface="Inter Light" panose="02000503000000020004" pitchFamily="2" charset="0"/>
              <a:ea typeface="Inter Light" panose="02000503000000020004" pitchFamily="2" charset="0"/>
              <a:cs typeface="Helvetica Neue" panose="02000503000000020004" pitchFamily="2" charset="0"/>
            </a:endParaRPr>
          </a:p>
        </p:txBody>
      </p:sp>
      <p:sp>
        <p:nvSpPr>
          <p:cNvPr id="17" name="TekstSylinder 16">
            <a:extLst>
              <a:ext uri="{FF2B5EF4-FFF2-40B4-BE49-F238E27FC236}">
                <a16:creationId xmlns:a16="http://schemas.microsoft.com/office/drawing/2014/main" id="{48256F71-F815-AD6B-E527-85045C3D5EC9}"/>
              </a:ext>
            </a:extLst>
          </p:cNvPr>
          <p:cNvSpPr txBox="1"/>
          <p:nvPr/>
        </p:nvSpPr>
        <p:spPr>
          <a:xfrm>
            <a:off x="6745332" y="2281522"/>
            <a:ext cx="1863003" cy="4924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chor="ctr">
            <a:spAutoFit/>
          </a:bodyPr>
          <a:lstStyle/>
          <a:p>
            <a:pPr algn="ctr"/>
            <a:r>
              <a:rPr lang="nb-NO" sz="1600">
                <a:solidFill>
                  <a:schemeClr val="accent4"/>
                </a:solidFill>
                <a:latin typeface="Inter Light" panose="02000503000000020004" pitchFamily="2" charset="0"/>
                <a:ea typeface="Inter Light" panose="02000503000000020004" pitchFamily="2" charset="0"/>
                <a:cs typeface="Helvetica Neue" panose="02000503000000020004" pitchFamily="2" charset="0"/>
              </a:rPr>
              <a:t>Færre avhengigheter til manuelle oppgaver</a:t>
            </a:r>
          </a:p>
        </p:txBody>
      </p:sp>
      <p:sp>
        <p:nvSpPr>
          <p:cNvPr id="18" name="TekstSylinder 17">
            <a:extLst>
              <a:ext uri="{FF2B5EF4-FFF2-40B4-BE49-F238E27FC236}">
                <a16:creationId xmlns:a16="http://schemas.microsoft.com/office/drawing/2014/main" id="{0868C9CE-70F9-7832-B702-A8FA29C4809B}"/>
              </a:ext>
            </a:extLst>
          </p:cNvPr>
          <p:cNvSpPr txBox="1"/>
          <p:nvPr/>
        </p:nvSpPr>
        <p:spPr>
          <a:xfrm>
            <a:off x="9886278" y="2387245"/>
            <a:ext cx="1577163" cy="4924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chor="ctr">
            <a:spAutoFit/>
          </a:bodyPr>
          <a:lstStyle/>
          <a:p>
            <a:pPr algn="ctr"/>
            <a:r>
              <a:rPr lang="nb-NO" sz="1600">
                <a:solidFill>
                  <a:schemeClr val="accent4"/>
                </a:solidFill>
                <a:latin typeface="Inter Light" panose="02000503000000020004" pitchFamily="2" charset="0"/>
                <a:ea typeface="Inter Light" panose="02000503000000020004" pitchFamily="2" charset="0"/>
                <a:cs typeface="Helvetica Neue" panose="02000503000000020004" pitchFamily="2" charset="0"/>
              </a:rPr>
              <a:t>Mindre veksling </a:t>
            </a:r>
            <a:br>
              <a:rPr lang="nb-NO" sz="1600">
                <a:solidFill>
                  <a:schemeClr val="accent4"/>
                </a:solidFill>
                <a:latin typeface="Inter Light" panose="02000503000000020004" pitchFamily="2" charset="0"/>
                <a:ea typeface="Inter Light" panose="02000503000000020004" pitchFamily="2" charset="0"/>
                <a:cs typeface="Helvetica Neue" panose="02000503000000020004" pitchFamily="2" charset="0"/>
              </a:rPr>
            </a:br>
            <a:r>
              <a:rPr lang="nb-NO" sz="1600">
                <a:solidFill>
                  <a:schemeClr val="accent4"/>
                </a:solidFill>
                <a:latin typeface="Inter Light" panose="02000503000000020004" pitchFamily="2" charset="0"/>
                <a:ea typeface="Inter Light" panose="02000503000000020004" pitchFamily="2" charset="0"/>
                <a:cs typeface="Helvetica Neue" panose="02000503000000020004" pitchFamily="2" charset="0"/>
              </a:rPr>
              <a:t>mellom moduler</a:t>
            </a:r>
          </a:p>
        </p:txBody>
      </p:sp>
      <p:sp>
        <p:nvSpPr>
          <p:cNvPr id="19" name="Ramme 18">
            <a:extLst>
              <a:ext uri="{FF2B5EF4-FFF2-40B4-BE49-F238E27FC236}">
                <a16:creationId xmlns:a16="http://schemas.microsoft.com/office/drawing/2014/main" id="{665A60EC-0198-C37E-01B2-482EAAFE8DA7}"/>
              </a:ext>
            </a:extLst>
          </p:cNvPr>
          <p:cNvSpPr/>
          <p:nvPr/>
        </p:nvSpPr>
        <p:spPr>
          <a:xfrm>
            <a:off x="349321" y="3300317"/>
            <a:ext cx="11568701" cy="3363530"/>
          </a:xfrm>
          <a:prstGeom prst="frame">
            <a:avLst>
              <a:gd name="adj1" fmla="val 2138"/>
            </a:avLst>
          </a:prstGeom>
          <a:noFill/>
          <a:ln w="127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tIns="108000" rtlCol="0" anchor="t"/>
          <a:lstStyle/>
          <a:p>
            <a:pPr algn="ctr"/>
            <a:endParaRPr lang="nb-NO" sz="1200">
              <a:latin typeface="Helvetica Neue UltraLight" panose="02000206000000020004" pitchFamily="2" charset="0"/>
              <a:ea typeface="Helvetica Neue UltraLight" panose="02000206000000020004" pitchFamily="2" charset="0"/>
              <a:cs typeface="Helvetica Neue" panose="02000503000000020004" pitchFamily="2" charset="0"/>
            </a:endParaRPr>
          </a:p>
        </p:txBody>
      </p:sp>
      <p:cxnSp>
        <p:nvCxnSpPr>
          <p:cNvPr id="40" name="Rett linje 39">
            <a:extLst>
              <a:ext uri="{FF2B5EF4-FFF2-40B4-BE49-F238E27FC236}">
                <a16:creationId xmlns:a16="http://schemas.microsoft.com/office/drawing/2014/main" id="{E8578ECB-A3D9-505B-06CE-2718DC578656}"/>
              </a:ext>
            </a:extLst>
          </p:cNvPr>
          <p:cNvCxnSpPr>
            <a:cxnSpLocks/>
          </p:cNvCxnSpPr>
          <p:nvPr/>
        </p:nvCxnSpPr>
        <p:spPr>
          <a:xfrm>
            <a:off x="3158447" y="2271710"/>
            <a:ext cx="0" cy="65427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Rett linje 40">
            <a:extLst>
              <a:ext uri="{FF2B5EF4-FFF2-40B4-BE49-F238E27FC236}">
                <a16:creationId xmlns:a16="http://schemas.microsoft.com/office/drawing/2014/main" id="{C0F307B7-DDE2-724E-4730-D43A3FB4435E}"/>
              </a:ext>
            </a:extLst>
          </p:cNvPr>
          <p:cNvCxnSpPr>
            <a:cxnSpLocks/>
          </p:cNvCxnSpPr>
          <p:nvPr/>
        </p:nvCxnSpPr>
        <p:spPr>
          <a:xfrm>
            <a:off x="6146514" y="2271710"/>
            <a:ext cx="0" cy="65427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2" name="Rett linje 41">
            <a:extLst>
              <a:ext uri="{FF2B5EF4-FFF2-40B4-BE49-F238E27FC236}">
                <a16:creationId xmlns:a16="http://schemas.microsoft.com/office/drawing/2014/main" id="{875DEA33-6D87-71DB-E321-FE4F4297BFE5}"/>
              </a:ext>
            </a:extLst>
          </p:cNvPr>
          <p:cNvCxnSpPr>
            <a:cxnSpLocks/>
          </p:cNvCxnSpPr>
          <p:nvPr/>
        </p:nvCxnSpPr>
        <p:spPr>
          <a:xfrm>
            <a:off x="9134581" y="2271710"/>
            <a:ext cx="0" cy="65427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kstSylinder 43">
            <a:extLst>
              <a:ext uri="{FF2B5EF4-FFF2-40B4-BE49-F238E27FC236}">
                <a16:creationId xmlns:a16="http://schemas.microsoft.com/office/drawing/2014/main" id="{D5BCCC27-155A-3D97-00F0-182C2966C39B}"/>
              </a:ext>
            </a:extLst>
          </p:cNvPr>
          <p:cNvSpPr txBox="1"/>
          <p:nvPr/>
        </p:nvSpPr>
        <p:spPr>
          <a:xfrm>
            <a:off x="4074301" y="3537592"/>
            <a:ext cx="4183414" cy="430887"/>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chor="t">
            <a:spAutoFit/>
          </a:bodyPr>
          <a:lstStyle/>
          <a:p>
            <a:pPr algn="ctr">
              <a:tabLst>
                <a:tab pos="2527300" algn="l"/>
              </a:tabLst>
            </a:pPr>
            <a:r>
              <a:rPr lang="nb-NO" sz="1200">
                <a:solidFill>
                  <a:schemeClr val="accent4"/>
                </a:solidFill>
                <a:latin typeface="Inter ExtraLight"/>
                <a:ea typeface="Inter ExtraLight" panose="02000503000000020004" pitchFamily="2" charset="0"/>
                <a:cs typeface="Helvetica Neue" panose="02000503000000020004" pitchFamily="2" charset="0"/>
              </a:rPr>
              <a:t>DETTE KREVER </a:t>
            </a:r>
            <a:br>
              <a:rPr lang="nb-NO" sz="1200">
                <a:latin typeface="Helvetica Neue UltraLight" panose="02000206000000020004" pitchFamily="2" charset="0"/>
                <a:ea typeface="Helvetica Neue UltraLight" panose="02000206000000020004" pitchFamily="2" charset="0"/>
                <a:cs typeface="Helvetica Neue" panose="02000503000000020004" pitchFamily="2" charset="0"/>
              </a:rPr>
            </a:br>
            <a:r>
              <a:rPr lang="nb-NO" sz="1600" b="1">
                <a:solidFill>
                  <a:schemeClr val="accent4"/>
                </a:solidFill>
                <a:latin typeface="Inter"/>
                <a:ea typeface="Helvetica Neue UltraLight" panose="02000206000000020004" pitchFamily="2" charset="0"/>
                <a:cs typeface="Helvetica Neue" panose="02000503000000020004" pitchFamily="2" charset="0"/>
              </a:rPr>
              <a:t>INNOVASJON, FORENKLING</a:t>
            </a:r>
            <a:r>
              <a:rPr lang="nb-NO" sz="1600" b="1">
                <a:solidFill>
                  <a:schemeClr val="accent4"/>
                </a:solidFill>
                <a:latin typeface="Inter"/>
                <a:ea typeface="Inter" panose="02000503000000020004" pitchFamily="2" charset="0"/>
                <a:cs typeface="Helvetica Neue" panose="02000503000000020004" pitchFamily="2" charset="0"/>
              </a:rPr>
              <a:t> OG MODERNISERING</a:t>
            </a:r>
          </a:p>
        </p:txBody>
      </p:sp>
      <p:sp>
        <p:nvSpPr>
          <p:cNvPr id="53" name="TekstSylinder 52">
            <a:extLst>
              <a:ext uri="{FF2B5EF4-FFF2-40B4-BE49-F238E27FC236}">
                <a16:creationId xmlns:a16="http://schemas.microsoft.com/office/drawing/2014/main" id="{8A2A986D-089E-10E9-851A-19B475FC285A}"/>
              </a:ext>
            </a:extLst>
          </p:cNvPr>
          <p:cNvSpPr txBox="1"/>
          <p:nvPr/>
        </p:nvSpPr>
        <p:spPr>
          <a:xfrm>
            <a:off x="5041667" y="5373967"/>
            <a:ext cx="2184007" cy="553998"/>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chor="t">
            <a:spAutoFit/>
          </a:bodyPr>
          <a:lstStyle/>
          <a:p>
            <a:pPr algn="ctr">
              <a:tabLst>
                <a:tab pos="2527300" algn="l"/>
              </a:tabLst>
            </a:pPr>
            <a:r>
              <a:rPr lang="nb-NO" sz="1200">
                <a:solidFill>
                  <a:schemeClr val="accent4"/>
                </a:solidFill>
                <a:latin typeface="Inter" panose="02000503000000020004" pitchFamily="2" charset="0"/>
                <a:ea typeface="Inter" panose="02000503000000020004" pitchFamily="2" charset="0"/>
                <a:cs typeface="Helvetica Neue" panose="02000503000000020004" pitchFamily="2" charset="0"/>
              </a:rPr>
              <a:t>Prosess- og brukerorientert</a:t>
            </a:r>
          </a:p>
          <a:p>
            <a:pPr algn="ctr">
              <a:tabLst>
                <a:tab pos="2527300" algn="l"/>
              </a:tabLst>
            </a:pPr>
            <a:r>
              <a:rPr lang="nb-NO" sz="1200" b="1">
                <a:solidFill>
                  <a:schemeClr val="accent4"/>
                </a:solidFill>
                <a:latin typeface="Inter" panose="02000503000000020004" pitchFamily="2" charset="0"/>
                <a:ea typeface="Inter" panose="02000503000000020004" pitchFamily="2" charset="0"/>
                <a:cs typeface="Helvetica Neue" panose="02000503000000020004" pitchFamily="2" charset="0"/>
              </a:rPr>
              <a:t>grensesnitt</a:t>
            </a:r>
            <a:r>
              <a:rPr lang="nb-NO" sz="1200">
                <a:solidFill>
                  <a:schemeClr val="accent4"/>
                </a:solidFill>
                <a:latin typeface="Inter" panose="02000503000000020004" pitchFamily="2" charset="0"/>
                <a:ea typeface="Inter" panose="02000503000000020004" pitchFamily="2" charset="0"/>
                <a:cs typeface="Helvetica Neue" panose="02000503000000020004" pitchFamily="2" charset="0"/>
              </a:rPr>
              <a:t> for enkel samhandling</a:t>
            </a:r>
          </a:p>
        </p:txBody>
      </p:sp>
      <p:sp>
        <p:nvSpPr>
          <p:cNvPr id="48" name="TekstSylinder 47">
            <a:extLst>
              <a:ext uri="{FF2B5EF4-FFF2-40B4-BE49-F238E27FC236}">
                <a16:creationId xmlns:a16="http://schemas.microsoft.com/office/drawing/2014/main" id="{3F979C57-5962-1843-D84C-B4AD41CE251D}"/>
              </a:ext>
            </a:extLst>
          </p:cNvPr>
          <p:cNvSpPr txBox="1"/>
          <p:nvPr/>
        </p:nvSpPr>
        <p:spPr>
          <a:xfrm>
            <a:off x="9623528" y="5373967"/>
            <a:ext cx="1755696" cy="369332"/>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chor="t">
            <a:spAutoFit/>
          </a:bodyPr>
          <a:lstStyle/>
          <a:p>
            <a:pPr algn="ctr">
              <a:tabLst>
                <a:tab pos="2527300" algn="l"/>
              </a:tabLst>
            </a:pPr>
            <a:r>
              <a:rPr lang="nb-NO" sz="1200" b="1">
                <a:solidFill>
                  <a:schemeClr val="accent4"/>
                </a:solidFill>
                <a:latin typeface="Inter" panose="02000503000000020004" pitchFamily="2" charset="0"/>
                <a:ea typeface="Inter" panose="02000503000000020004" pitchFamily="2" charset="0"/>
                <a:cs typeface="Helvetica Neue" panose="02000503000000020004" pitchFamily="2" charset="0"/>
              </a:rPr>
              <a:t>Kostnadseffektiv</a:t>
            </a:r>
            <a:r>
              <a:rPr lang="nb-NO" sz="1200">
                <a:solidFill>
                  <a:schemeClr val="accent4"/>
                </a:solidFill>
                <a:latin typeface="Inter" panose="02000503000000020004" pitchFamily="2" charset="0"/>
                <a:ea typeface="Inter" panose="02000503000000020004" pitchFamily="2" charset="0"/>
                <a:cs typeface="Helvetica Neue" panose="02000503000000020004" pitchFamily="2" charset="0"/>
              </a:rPr>
              <a:t> løsning og vedlikehold</a:t>
            </a:r>
          </a:p>
        </p:txBody>
      </p:sp>
      <p:sp>
        <p:nvSpPr>
          <p:cNvPr id="55" name="TekstSylinder 54">
            <a:extLst>
              <a:ext uri="{FF2B5EF4-FFF2-40B4-BE49-F238E27FC236}">
                <a16:creationId xmlns:a16="http://schemas.microsoft.com/office/drawing/2014/main" id="{1204E7BD-51E8-78D3-B35C-76615D380031}"/>
              </a:ext>
            </a:extLst>
          </p:cNvPr>
          <p:cNvSpPr txBox="1"/>
          <p:nvPr/>
        </p:nvSpPr>
        <p:spPr>
          <a:xfrm>
            <a:off x="7535759" y="5373967"/>
            <a:ext cx="1633137" cy="369332"/>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chor="t">
            <a:spAutoFit/>
          </a:bodyPr>
          <a:lstStyle/>
          <a:p>
            <a:pPr algn="ctr">
              <a:tabLst>
                <a:tab pos="2527300" algn="l"/>
              </a:tabLst>
            </a:pPr>
            <a:r>
              <a:rPr lang="nb-NO" sz="1200">
                <a:solidFill>
                  <a:schemeClr val="accent4"/>
                </a:solidFill>
                <a:latin typeface="Inter" panose="02000503000000020004" pitchFamily="2" charset="0"/>
                <a:ea typeface="Inter" panose="02000503000000020004" pitchFamily="2" charset="0"/>
                <a:cs typeface="Helvetica Neue" panose="02000503000000020004" pitchFamily="2" charset="0"/>
              </a:rPr>
              <a:t>Fokus på </a:t>
            </a:r>
            <a:r>
              <a:rPr lang="nb-NO" sz="1200" b="1">
                <a:solidFill>
                  <a:schemeClr val="accent4"/>
                </a:solidFill>
                <a:latin typeface="Inter" panose="02000503000000020004" pitchFamily="2" charset="0"/>
                <a:ea typeface="Inter" panose="02000503000000020004" pitchFamily="2" charset="0"/>
                <a:cs typeface="Helvetica Neue" panose="02000503000000020004" pitchFamily="2" charset="0"/>
              </a:rPr>
              <a:t>sikkerhet</a:t>
            </a:r>
            <a:r>
              <a:rPr lang="nb-NO" sz="1200">
                <a:solidFill>
                  <a:schemeClr val="accent4"/>
                </a:solidFill>
                <a:latin typeface="Inter" panose="02000503000000020004" pitchFamily="2" charset="0"/>
                <a:ea typeface="Inter" panose="02000503000000020004" pitchFamily="2" charset="0"/>
                <a:cs typeface="Helvetica Neue" panose="02000503000000020004" pitchFamily="2" charset="0"/>
              </a:rPr>
              <a:t> og personvern</a:t>
            </a:r>
          </a:p>
        </p:txBody>
      </p:sp>
      <p:sp>
        <p:nvSpPr>
          <p:cNvPr id="47" name="TekstSylinder 46">
            <a:extLst>
              <a:ext uri="{FF2B5EF4-FFF2-40B4-BE49-F238E27FC236}">
                <a16:creationId xmlns:a16="http://schemas.microsoft.com/office/drawing/2014/main" id="{5EA82397-2155-90A8-EC25-497548E92AF9}"/>
              </a:ext>
            </a:extLst>
          </p:cNvPr>
          <p:cNvSpPr txBox="1"/>
          <p:nvPr/>
        </p:nvSpPr>
        <p:spPr>
          <a:xfrm>
            <a:off x="2844178" y="5373967"/>
            <a:ext cx="2160178" cy="92333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chor="t">
            <a:spAutoFit/>
          </a:bodyPr>
          <a:lstStyle/>
          <a:p>
            <a:pPr algn="ctr">
              <a:tabLst>
                <a:tab pos="2527300" algn="l"/>
              </a:tabLst>
            </a:pPr>
            <a:r>
              <a:rPr lang="nb-NO" sz="1200">
                <a:solidFill>
                  <a:schemeClr val="accent4"/>
                </a:solidFill>
                <a:latin typeface="Inter" panose="02000503000000020004" pitchFamily="2" charset="0"/>
                <a:ea typeface="Inter" panose="02000503000000020004" pitchFamily="2" charset="0"/>
                <a:cs typeface="Helvetica Neue" panose="02000503000000020004" pitchFamily="2" charset="0"/>
              </a:rPr>
              <a:t>Sømløs </a:t>
            </a:r>
            <a:r>
              <a:rPr lang="nb-NO" sz="1200" b="1">
                <a:solidFill>
                  <a:schemeClr val="accent4"/>
                </a:solidFill>
                <a:latin typeface="Inter" panose="02000503000000020004" pitchFamily="2" charset="0"/>
                <a:ea typeface="Inter" panose="02000503000000020004" pitchFamily="2" charset="0"/>
                <a:cs typeface="Helvetica Neue" panose="02000503000000020004" pitchFamily="2" charset="0"/>
              </a:rPr>
              <a:t>prosess-</a:t>
            </a:r>
            <a:r>
              <a:rPr lang="nb-NO" sz="1200">
                <a:solidFill>
                  <a:schemeClr val="accent4"/>
                </a:solidFill>
                <a:latin typeface="Inter" panose="02000503000000020004" pitchFamily="2" charset="0"/>
                <a:ea typeface="Inter" panose="02000503000000020004" pitchFamily="2" charset="0"/>
                <a:cs typeface="Helvetica Neue" panose="02000503000000020004" pitchFamily="2" charset="0"/>
              </a:rPr>
              <a:t> og </a:t>
            </a:r>
            <a:r>
              <a:rPr lang="nb-NO" sz="1200" b="1">
                <a:solidFill>
                  <a:schemeClr val="accent4"/>
                </a:solidFill>
                <a:latin typeface="Inter" panose="02000503000000020004" pitchFamily="2" charset="0"/>
                <a:ea typeface="Inter" panose="02000503000000020004" pitchFamily="2" charset="0"/>
                <a:cs typeface="Helvetica Neue" panose="02000503000000020004" pitchFamily="2" charset="0"/>
              </a:rPr>
              <a:t>informasjonsflyt fra søking til arkivering, og datastyring</a:t>
            </a:r>
            <a:r>
              <a:rPr lang="nb-NO" sz="1200">
                <a:solidFill>
                  <a:schemeClr val="accent4"/>
                </a:solidFill>
                <a:latin typeface="Inter" panose="02000503000000020004" pitchFamily="2" charset="0"/>
                <a:ea typeface="Inter" panose="02000503000000020004" pitchFamily="2" charset="0"/>
                <a:cs typeface="Helvetica Neue" panose="02000503000000020004" pitchFamily="2" charset="0"/>
              </a:rPr>
              <a:t> for integritet og kvalitet</a:t>
            </a:r>
          </a:p>
        </p:txBody>
      </p:sp>
      <p:sp>
        <p:nvSpPr>
          <p:cNvPr id="56" name="TekstSylinder 55">
            <a:extLst>
              <a:ext uri="{FF2B5EF4-FFF2-40B4-BE49-F238E27FC236}">
                <a16:creationId xmlns:a16="http://schemas.microsoft.com/office/drawing/2014/main" id="{9FE0B1E6-430F-2FD3-58F7-45439DAC16D0}"/>
              </a:ext>
            </a:extLst>
          </p:cNvPr>
          <p:cNvSpPr txBox="1"/>
          <p:nvPr/>
        </p:nvSpPr>
        <p:spPr>
          <a:xfrm>
            <a:off x="525315" y="5373967"/>
            <a:ext cx="2281552" cy="553998"/>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chor="t">
            <a:spAutoFit/>
          </a:bodyPr>
          <a:lstStyle/>
          <a:p>
            <a:pPr algn="ctr">
              <a:tabLst>
                <a:tab pos="2527300" algn="l"/>
              </a:tabLst>
            </a:pPr>
            <a:r>
              <a:rPr lang="nb-NO" sz="1200" b="1">
                <a:solidFill>
                  <a:schemeClr val="accent4"/>
                </a:solidFill>
                <a:latin typeface="Inter" panose="02000503000000020004" pitchFamily="2" charset="0"/>
                <a:ea typeface="Inter" panose="02000503000000020004" pitchFamily="2" charset="0"/>
                <a:cs typeface="Helvetica Neue" panose="02000503000000020004" pitchFamily="2" charset="0"/>
              </a:rPr>
              <a:t>Standardisering</a:t>
            </a:r>
            <a:r>
              <a:rPr lang="nb-NO" sz="1200">
                <a:solidFill>
                  <a:schemeClr val="accent4"/>
                </a:solidFill>
                <a:latin typeface="Inter" panose="02000503000000020004" pitchFamily="2" charset="0"/>
                <a:ea typeface="Inter" panose="02000503000000020004" pitchFamily="2" charset="0"/>
                <a:cs typeface="Helvetica Neue" panose="02000503000000020004" pitchFamily="2" charset="0"/>
              </a:rPr>
              <a:t> for </a:t>
            </a:r>
            <a:r>
              <a:rPr lang="nb-NO" sz="1200" b="1">
                <a:solidFill>
                  <a:schemeClr val="accent4"/>
                </a:solidFill>
                <a:latin typeface="Inter" panose="02000503000000020004" pitchFamily="2" charset="0"/>
                <a:ea typeface="Inter" panose="02000503000000020004" pitchFamily="2" charset="0"/>
                <a:cs typeface="Helvetica Neue" panose="02000503000000020004" pitchFamily="2" charset="0"/>
              </a:rPr>
              <a:t>automatisering</a:t>
            </a:r>
            <a:r>
              <a:rPr lang="nb-NO" sz="1200">
                <a:solidFill>
                  <a:schemeClr val="accent4"/>
                </a:solidFill>
                <a:latin typeface="Inter" panose="02000503000000020004" pitchFamily="2" charset="0"/>
                <a:ea typeface="Inter" panose="02000503000000020004" pitchFamily="2" charset="0"/>
                <a:cs typeface="Helvetica Neue" panose="02000503000000020004" pitchFamily="2" charset="0"/>
              </a:rPr>
              <a:t> av manuelle rutiner og </a:t>
            </a:r>
            <a:r>
              <a:rPr lang="nb-NO" sz="1200" b="1">
                <a:solidFill>
                  <a:schemeClr val="accent4"/>
                </a:solidFill>
                <a:latin typeface="Inter" panose="02000503000000020004" pitchFamily="2" charset="0"/>
                <a:ea typeface="Inter" panose="02000503000000020004" pitchFamily="2" charset="0"/>
                <a:cs typeface="Helvetica Neue" panose="02000503000000020004" pitchFamily="2" charset="0"/>
              </a:rPr>
              <a:t>integrasjoner</a:t>
            </a:r>
            <a:r>
              <a:rPr lang="nb-NO" sz="1200">
                <a:solidFill>
                  <a:schemeClr val="accent4"/>
                </a:solidFill>
                <a:latin typeface="Inter" panose="02000503000000020004" pitchFamily="2" charset="0"/>
                <a:ea typeface="Inter" panose="02000503000000020004" pitchFamily="2" charset="0"/>
                <a:cs typeface="Helvetica Neue" panose="02000503000000020004" pitchFamily="2" charset="0"/>
              </a:rPr>
              <a:t> mot eksterne aktører </a:t>
            </a:r>
          </a:p>
        </p:txBody>
      </p:sp>
      <p:pic>
        <p:nvPicPr>
          <p:cNvPr id="63" name="Bilde 62">
            <a:extLst>
              <a:ext uri="{FF2B5EF4-FFF2-40B4-BE49-F238E27FC236}">
                <a16:creationId xmlns:a16="http://schemas.microsoft.com/office/drawing/2014/main" id="{A5DFC88D-7FA7-B3C0-7553-8D4D6A4BE923}"/>
              </a:ext>
            </a:extLst>
          </p:cNvPr>
          <p:cNvPicPr>
            <a:picLocks noChangeAspect="1"/>
          </p:cNvPicPr>
          <p:nvPr/>
        </p:nvPicPr>
        <p:blipFill>
          <a:blip r:embed="rId3"/>
          <a:stretch>
            <a:fillRect/>
          </a:stretch>
        </p:blipFill>
        <p:spPr>
          <a:xfrm>
            <a:off x="3322492" y="4559445"/>
            <a:ext cx="1203549" cy="728662"/>
          </a:xfrm>
          <a:prstGeom prst="rect">
            <a:avLst/>
          </a:prstGeom>
        </p:spPr>
      </p:pic>
      <p:pic>
        <p:nvPicPr>
          <p:cNvPr id="64" name="Bilde 63">
            <a:extLst>
              <a:ext uri="{FF2B5EF4-FFF2-40B4-BE49-F238E27FC236}">
                <a16:creationId xmlns:a16="http://schemas.microsoft.com/office/drawing/2014/main" id="{04AFD494-6EF5-AF8B-1826-6B471AF144BC}"/>
              </a:ext>
            </a:extLst>
          </p:cNvPr>
          <p:cNvPicPr>
            <a:picLocks noChangeAspect="1"/>
          </p:cNvPicPr>
          <p:nvPr/>
        </p:nvPicPr>
        <p:blipFill>
          <a:blip r:embed="rId4"/>
          <a:stretch>
            <a:fillRect/>
          </a:stretch>
        </p:blipFill>
        <p:spPr>
          <a:xfrm>
            <a:off x="1000790" y="4659986"/>
            <a:ext cx="1147051" cy="577788"/>
          </a:xfrm>
          <a:prstGeom prst="rect">
            <a:avLst/>
          </a:prstGeom>
        </p:spPr>
      </p:pic>
      <p:pic>
        <p:nvPicPr>
          <p:cNvPr id="65" name="Bilde 64">
            <a:extLst>
              <a:ext uri="{FF2B5EF4-FFF2-40B4-BE49-F238E27FC236}">
                <a16:creationId xmlns:a16="http://schemas.microsoft.com/office/drawing/2014/main" id="{5F820735-CFE1-0A93-D5A2-16B6F2F9A4C9}"/>
              </a:ext>
            </a:extLst>
          </p:cNvPr>
          <p:cNvPicPr>
            <a:picLocks noChangeAspect="1"/>
          </p:cNvPicPr>
          <p:nvPr/>
        </p:nvPicPr>
        <p:blipFill>
          <a:blip r:embed="rId5"/>
          <a:stretch>
            <a:fillRect/>
          </a:stretch>
        </p:blipFill>
        <p:spPr>
          <a:xfrm>
            <a:off x="5578750" y="4442262"/>
            <a:ext cx="1034500" cy="841947"/>
          </a:xfrm>
          <a:prstGeom prst="rect">
            <a:avLst/>
          </a:prstGeom>
        </p:spPr>
      </p:pic>
      <p:pic>
        <p:nvPicPr>
          <p:cNvPr id="66" name="Bilde 65">
            <a:extLst>
              <a:ext uri="{FF2B5EF4-FFF2-40B4-BE49-F238E27FC236}">
                <a16:creationId xmlns:a16="http://schemas.microsoft.com/office/drawing/2014/main" id="{20BDEB41-0A69-7D39-2AF8-C534188011C1}"/>
              </a:ext>
            </a:extLst>
          </p:cNvPr>
          <p:cNvPicPr>
            <a:picLocks noChangeAspect="1"/>
          </p:cNvPicPr>
          <p:nvPr/>
        </p:nvPicPr>
        <p:blipFill>
          <a:blip r:embed="rId6"/>
          <a:stretch>
            <a:fillRect/>
          </a:stretch>
        </p:blipFill>
        <p:spPr>
          <a:xfrm>
            <a:off x="7640547" y="4657741"/>
            <a:ext cx="989975" cy="650771"/>
          </a:xfrm>
          <a:prstGeom prst="rect">
            <a:avLst/>
          </a:prstGeom>
        </p:spPr>
      </p:pic>
      <p:pic>
        <p:nvPicPr>
          <p:cNvPr id="67" name="Bilde 66">
            <a:extLst>
              <a:ext uri="{FF2B5EF4-FFF2-40B4-BE49-F238E27FC236}">
                <a16:creationId xmlns:a16="http://schemas.microsoft.com/office/drawing/2014/main" id="{AF0FCFE3-905B-58F4-5357-A6DEF645BCE7}"/>
              </a:ext>
            </a:extLst>
          </p:cNvPr>
          <p:cNvPicPr>
            <a:picLocks noChangeAspect="1"/>
          </p:cNvPicPr>
          <p:nvPr/>
        </p:nvPicPr>
        <p:blipFill>
          <a:blip r:embed="rId7"/>
          <a:stretch>
            <a:fillRect/>
          </a:stretch>
        </p:blipFill>
        <p:spPr>
          <a:xfrm>
            <a:off x="10232311" y="4615347"/>
            <a:ext cx="538129" cy="668862"/>
          </a:xfrm>
          <a:prstGeom prst="rect">
            <a:avLst/>
          </a:prstGeom>
        </p:spPr>
      </p:pic>
    </p:spTree>
    <p:extLst>
      <p:ext uri="{BB962C8B-B14F-4D97-AF65-F5344CB8AC3E}">
        <p14:creationId xmlns:p14="http://schemas.microsoft.com/office/powerpoint/2010/main" val="14457518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vari">
  <a:themeElements>
    <a:clrScheme name="Novari">
      <a:dk1>
        <a:srgbClr val="0D0D0D"/>
      </a:dk1>
      <a:lt1>
        <a:srgbClr val="FFFFFF"/>
      </a:lt1>
      <a:dk2>
        <a:srgbClr val="570F31"/>
      </a:dk2>
      <a:lt2>
        <a:srgbClr val="F8ECDC"/>
      </a:lt2>
      <a:accent1>
        <a:srgbClr val="6B133D"/>
      </a:accent1>
      <a:accent2>
        <a:srgbClr val="7F78E8"/>
      </a:accent2>
      <a:accent3>
        <a:srgbClr val="F76650"/>
      </a:accent3>
      <a:accent4>
        <a:srgbClr val="570F31"/>
      </a:accent4>
      <a:accent5>
        <a:srgbClr val="FBB3A8"/>
      </a:accent5>
      <a:accent6>
        <a:srgbClr val="5A51E1"/>
      </a:accent6>
      <a:hlink>
        <a:srgbClr val="5A51E1"/>
      </a:hlink>
      <a:folHlink>
        <a:srgbClr val="570F31"/>
      </a:folHlink>
    </a:clrScheme>
    <a:fontScheme name="Inter">
      <a:majorFont>
        <a:latin typeface="Inter"/>
        <a:ea typeface=""/>
        <a:cs typeface=""/>
      </a:majorFont>
      <a:minorFont>
        <a:latin typeface="Inter"/>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solidFill>
        <a:solidFill>
          <a:schemeClr val="phClr"/>
        </a:solidFill>
      </a:bgFillStyleLst>
    </a:fmtScheme>
  </a:themeElements>
  <a:objectDefaults>
    <a:spDef>
      <a:spPr>
        <a:solidFill>
          <a:schemeClr val="accent6"/>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ln w="38100">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ln w="6350">
          <a:noFill/>
        </a:ln>
        <a:effectLst/>
      </a:spPr>
      <a:bodyPr wrap="square" lIns="0" tIns="0" rIns="0" bIns="0" rtlCol="0">
        <a:spAutoFit/>
      </a:bodyPr>
      <a:lstStyle>
        <a:defPPr algn="l">
          <a:defRPr dirty="0" err="1" smtClean="0">
            <a:solidFill>
              <a:schemeClr val="accent1"/>
            </a:solidFill>
          </a:defRPr>
        </a:defPPr>
      </a:lstStyle>
      <a:style>
        <a:lnRef idx="0">
          <a:schemeClr val="accent1"/>
        </a:lnRef>
        <a:fillRef idx="0">
          <a:schemeClr val="accent1"/>
        </a:fillRef>
        <a:effectRef idx="0">
          <a:schemeClr val="accent1"/>
        </a:effectRef>
        <a:fontRef idx="minor">
          <a:schemeClr val="dk1"/>
        </a:fontRef>
      </a:style>
    </a:txDef>
  </a:objectDefaults>
  <a:extraClrSchemeLst/>
  <a:extLst>
    <a:ext uri="{05A4C25C-085E-4340-85A3-A5531E510DB2}">
      <thm15:themeFamily xmlns:thm15="http://schemas.microsoft.com/office/thememl/2012/main" name="novari_mal" id="{7741D5D2-0CE7-4EE8-B7F1-3B923E3E17B5}" vid="{B6DA05DE-C9FF-4D08-982E-C471DA7E6D57}"/>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855DF83BC07CB54CA278962DEC505ADF" ma:contentTypeVersion="12" ma:contentTypeDescription="Opprett et nytt dokument." ma:contentTypeScope="" ma:versionID="6b11518c9a54f8ed3eb9e1892be94997">
  <xsd:schema xmlns:xsd="http://www.w3.org/2001/XMLSchema" xmlns:xs="http://www.w3.org/2001/XMLSchema" xmlns:p="http://schemas.microsoft.com/office/2006/metadata/properties" xmlns:ns2="f307069b-67f2-4216-aed1-f2f7862bf94c" xmlns:ns3="fd3e8b7d-fdbe-4383-84a9-e440df2cdb02" targetNamespace="http://schemas.microsoft.com/office/2006/metadata/properties" ma:root="true" ma:fieldsID="e1aa6d2b138ce74021e08fee8559718a" ns2:_="" ns3:_="">
    <xsd:import namespace="f307069b-67f2-4216-aed1-f2f7862bf94c"/>
    <xsd:import namespace="fd3e8b7d-fdbe-4383-84a9-e440df2cdb02"/>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3:SharedWithUsers" minOccurs="0"/>
                <xsd:element ref="ns3:SharedWithDetails" minOccurs="0"/>
                <xsd:element ref="ns2:lcf76f155ced4ddcb4097134ff3c332f"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307069b-67f2-4216-aed1-f2f7862bf9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Bildemerkelapper" ma:readOnly="false" ma:fieldId="{5cf76f15-5ced-4ddc-b409-7134ff3c332f}" ma:taxonomyMulti="true" ma:sspId="875eb0eb-fbd3-4028-abcf-55f8c06e8dcc"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d3e8b7d-fdbe-4383-84a9-e440df2cdb02" elementFormDefault="qualified">
    <xsd:import namespace="http://schemas.microsoft.com/office/2006/documentManagement/types"/>
    <xsd:import namespace="http://schemas.microsoft.com/office/infopath/2007/PartnerControls"/>
    <xsd:element name="SharedWithUsers" ma:index="12"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lings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307069b-67f2-4216-aed1-f2f7862bf94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D149E7FC-25A5-446C-8547-5414234F0327}">
  <ds:schemaRefs>
    <ds:schemaRef ds:uri="http://schemas.microsoft.com/sharepoint/v3/contenttype/forms"/>
  </ds:schemaRefs>
</ds:datastoreItem>
</file>

<file path=customXml/itemProps2.xml><?xml version="1.0" encoding="utf-8"?>
<ds:datastoreItem xmlns:ds="http://schemas.openxmlformats.org/officeDocument/2006/customXml" ds:itemID="{0456A352-B3C9-4C03-A117-406961CAADE8}">
  <ds:schemaRefs>
    <ds:schemaRef ds:uri="f307069b-67f2-4216-aed1-f2f7862bf94c"/>
    <ds:schemaRef ds:uri="fd3e8b7d-fdbe-4383-84a9-e440df2cdb0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CFD3D93-926B-4FF9-B495-2628FFEAE231}">
  <ds:schemaRefs>
    <ds:schemaRef ds:uri="f307069b-67f2-4216-aed1-f2f7862bf94c"/>
    <ds:schemaRef ds:uri="fd3e8b7d-fdbe-4383-84a9-e440df2cdb02"/>
    <ds:schemaRef ds:uri="http://purl.org/dc/elements/1.1/"/>
    <ds:schemaRef ds:uri="http://schemas.microsoft.com/office/infopath/2007/PartnerControls"/>
    <ds:schemaRef ds:uri="http://www.w3.org/XML/1998/namespace"/>
    <ds:schemaRef ds:uri="http://schemas.microsoft.com/office/2006/metadata/properties"/>
    <ds:schemaRef ds:uri="http://purl.org/dc/terms/"/>
    <ds:schemaRef ds:uri="http://schemas.microsoft.com/office/2006/documentManagement/types"/>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Novari</Template>
  <TotalTime>0</TotalTime>
  <Words>2911</Words>
  <Application>Microsoft Macintosh PowerPoint</Application>
  <PresentationFormat>Widescreen</PresentationFormat>
  <Paragraphs>415</Paragraphs>
  <Slides>24</Slides>
  <Notes>15</Notes>
  <HiddenSlides>0</HiddenSlides>
  <MMClips>0</MMClips>
  <ScaleCrop>false</ScaleCrop>
  <HeadingPairs>
    <vt:vector size="8" baseType="variant">
      <vt:variant>
        <vt:lpstr>Brukte skrifter</vt:lpstr>
      </vt:variant>
      <vt:variant>
        <vt:i4>13</vt:i4>
      </vt:variant>
      <vt:variant>
        <vt:lpstr>Tema</vt:lpstr>
      </vt:variant>
      <vt:variant>
        <vt:i4>1</vt:i4>
      </vt:variant>
      <vt:variant>
        <vt:lpstr>Innebygde OLE-servere</vt:lpstr>
      </vt:variant>
      <vt:variant>
        <vt:i4>1</vt:i4>
      </vt:variant>
      <vt:variant>
        <vt:lpstr>Lysbildetitler</vt:lpstr>
      </vt:variant>
      <vt:variant>
        <vt:i4>24</vt:i4>
      </vt:variant>
    </vt:vector>
  </HeadingPairs>
  <TitlesOfParts>
    <vt:vector size="39" baseType="lpstr">
      <vt:lpstr>Aptos</vt:lpstr>
      <vt:lpstr>Arial</vt:lpstr>
      <vt:lpstr>Brockmann</vt:lpstr>
      <vt:lpstr>Calibri</vt:lpstr>
      <vt:lpstr>Courier New</vt:lpstr>
      <vt:lpstr>Georgia</vt:lpstr>
      <vt:lpstr>Helvetica Neue UltraLight</vt:lpstr>
      <vt:lpstr>Inter</vt:lpstr>
      <vt:lpstr>Inter ExtraBold</vt:lpstr>
      <vt:lpstr>Inter ExtraLight</vt:lpstr>
      <vt:lpstr>Inter Italic</vt:lpstr>
      <vt:lpstr>Inter Light</vt:lpstr>
      <vt:lpstr>Inter Medium</vt:lpstr>
      <vt:lpstr>Novari</vt:lpstr>
      <vt:lpstr>think-cell Slide</vt:lpstr>
      <vt:lpstr>Informasjonsmøte VIGO Moderniseringe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Overordnet prosjektplan for gjennomføringen av anskaffelsen 2025/2026 </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Alle spørsmål angående VIGO moderniseringen kan rettes til:  Anne Synnøve Sundsteigen anne.synnove.sundsteigen@novari.no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enedicte Aas Glad</dc:creator>
  <cp:lastModifiedBy>Benedicte Aas Glad</cp:lastModifiedBy>
  <cp:revision>1</cp:revision>
  <dcterms:created xsi:type="dcterms:W3CDTF">2025-06-03T08:04:41Z</dcterms:created>
  <dcterms:modified xsi:type="dcterms:W3CDTF">2025-06-13T05:43: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5DF83BC07CB54CA278962DEC505ADF</vt:lpwstr>
  </property>
  <property fmtid="{D5CDD505-2E9C-101B-9397-08002B2CF9AE}" pid="3" name="MediaServiceImageTags">
    <vt:lpwstr/>
  </property>
</Properties>
</file>